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55" r:id="rId2"/>
  </p:sldMasterIdLst>
  <p:notesMasterIdLst>
    <p:notesMasterId r:id="rId21"/>
  </p:notesMasterIdLst>
  <p:sldIdLst>
    <p:sldId id="374" r:id="rId3"/>
    <p:sldId id="375" r:id="rId4"/>
    <p:sldId id="371" r:id="rId5"/>
    <p:sldId id="377" r:id="rId6"/>
    <p:sldId id="382" r:id="rId7"/>
    <p:sldId id="373" r:id="rId8"/>
    <p:sldId id="308" r:id="rId9"/>
    <p:sldId id="271" r:id="rId10"/>
    <p:sldId id="360" r:id="rId11"/>
    <p:sldId id="361" r:id="rId12"/>
    <p:sldId id="362" r:id="rId13"/>
    <p:sldId id="370" r:id="rId14"/>
    <p:sldId id="363" r:id="rId15"/>
    <p:sldId id="364" r:id="rId16"/>
    <p:sldId id="378" r:id="rId17"/>
    <p:sldId id="379" r:id="rId18"/>
    <p:sldId id="380" r:id="rId19"/>
    <p:sldId id="381" r:id="rId20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1B3E5"/>
    <a:srgbClr val="D93E3F"/>
    <a:srgbClr val="930052"/>
    <a:srgbClr val="A6B405"/>
    <a:srgbClr val="2C61AC"/>
    <a:srgbClr val="4CC0E7"/>
    <a:srgbClr val="FFD100"/>
    <a:srgbClr val="5F9855"/>
    <a:srgbClr val="F2F2F2"/>
    <a:srgbClr val="99D8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702" autoAdjust="0"/>
    <p:restoredTop sz="93878" autoAdjust="0"/>
  </p:normalViewPr>
  <p:slideViewPr>
    <p:cSldViewPr snapToGrid="0" snapToObjects="1">
      <p:cViewPr varScale="1">
        <p:scale>
          <a:sx n="71" d="100"/>
          <a:sy n="71" d="100"/>
        </p:scale>
        <p:origin x="806" y="53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8075F1-9258-41F4-B2C1-0483152162DE}" type="datetimeFigureOut">
              <a:rPr lang="es-AR" smtClean="0"/>
              <a:t>29/5/2019</a:t>
            </a:fld>
            <a:endParaRPr lang="es-AR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AR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AR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D24C43-6226-4865-B0AF-74186F0CC4BC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5463009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Google Shape;199;g52a1bb3925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0" name="Google Shape;200;g52a1bb3925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57742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52a1bb3925_0_5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52a1bb3925_0_5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017998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7" name="Google Shape;527;g4aff6eadb4_0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528" name="Google Shape;528;g4aff6eadb4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0614296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" name="Google Shape;314;g33d09d82bf_1_7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15" name="Google Shape;315;g33d09d82bf_1_7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16" name="Google Shape;316;g33d09d82bf_1_7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fld id="{00000000-1234-1234-1234-123412341234}" type="slidenum">
              <a:rPr lang="en"/>
              <a:t>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777346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4" name="Google Shape;664;g54440a07e6_0_30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665" name="Google Shape;665;g54440a07e6_0_30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043267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7" name="Google Shape;527;g4aff6eadb4_0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528" name="Google Shape;528;g4aff6eadb4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2515464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Shape 8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89" name="Shape 8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Font typeface="Arial"/>
              <a:buNone/>
            </a:pPr>
            <a:endParaRPr sz="1100" b="0" i="0" u="none" strike="noStrike" cap="none"/>
          </a:p>
        </p:txBody>
      </p:sp>
    </p:spTree>
    <p:extLst>
      <p:ext uri="{BB962C8B-B14F-4D97-AF65-F5344CB8AC3E}">
        <p14:creationId xmlns:p14="http://schemas.microsoft.com/office/powerpoint/2010/main" val="12452594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99688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18583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97920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  <a:prstGeom prst="rect">
            <a:avLst/>
          </a:prstGeom>
        </p:spPr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smtClean="0"/>
              <a:t>Haga clic para modificar el estilo de subtítulo del patrón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3A77D2E-3BA6-8442-94EA-EE4A8F1A90E2}" type="datetimeFigureOut">
              <a:rPr lang="es-ES" smtClean="0"/>
              <a:t>29/05/2019</a:t>
            </a:fld>
            <a:endParaRPr lang="es-ES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s-ES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F86588DC-4C14-774B-85FF-E764407079AD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9571687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3A77D2E-3BA6-8442-94EA-EE4A8F1A90E2}" type="datetimeFigureOut">
              <a:rPr lang="es-ES" smtClean="0"/>
              <a:t>29/05/2019</a:t>
            </a:fld>
            <a:endParaRPr lang="es-ES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s-ES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F86588DC-4C14-774B-85FF-E764407079AD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6578269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3A77D2E-3BA6-8442-94EA-EE4A8F1A90E2}" type="datetimeFigureOut">
              <a:rPr lang="es-ES" smtClean="0"/>
              <a:t>29/05/2019</a:t>
            </a:fld>
            <a:endParaRPr lang="es-ES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s-ES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F86588DC-4C14-774B-85FF-E764407079AD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9295034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3A77D2E-3BA6-8442-94EA-EE4A8F1A90E2}" type="datetimeFigureOut">
              <a:rPr lang="es-ES" smtClean="0"/>
              <a:t>29/05/2019</a:t>
            </a:fld>
            <a:endParaRPr lang="es-ES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s-ES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F86588DC-4C14-774B-85FF-E764407079AD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5153143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3A77D2E-3BA6-8442-94EA-EE4A8F1A90E2}" type="datetimeFigureOut">
              <a:rPr lang="es-ES" smtClean="0"/>
              <a:t>29/05/2019</a:t>
            </a:fld>
            <a:endParaRPr lang="es-ES" dirty="0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s-ES" dirty="0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F86588DC-4C14-774B-85FF-E764407079AD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899671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3A77D2E-3BA6-8442-94EA-EE4A8F1A90E2}" type="datetimeFigureOut">
              <a:rPr lang="es-ES" smtClean="0"/>
              <a:t>29/05/2019</a:t>
            </a:fld>
            <a:endParaRPr lang="es-ES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s-ES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F86588DC-4C14-774B-85FF-E764407079AD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9927515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3A77D2E-3BA6-8442-94EA-EE4A8F1A90E2}" type="datetimeFigureOut">
              <a:rPr lang="es-ES" smtClean="0"/>
              <a:t>29/05/2019</a:t>
            </a:fld>
            <a:endParaRPr lang="es-ES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F86588DC-4C14-774B-85FF-E764407079AD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3606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3A77D2E-3BA6-8442-94EA-EE4A8F1A90E2}" type="datetimeFigureOut">
              <a:rPr lang="es-ES" smtClean="0"/>
              <a:t>29/05/2019</a:t>
            </a:fld>
            <a:endParaRPr lang="es-ES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s-ES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F86588DC-4C14-774B-85FF-E764407079AD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239112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0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1757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 dirty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3A77D2E-3BA6-8442-94EA-EE4A8F1A90E2}" type="datetimeFigureOut">
              <a:rPr lang="es-ES" smtClean="0"/>
              <a:t>29/05/2019</a:t>
            </a:fld>
            <a:endParaRPr lang="es-ES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s-ES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F86588DC-4C14-774B-85FF-E764407079AD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5144723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3A77D2E-3BA6-8442-94EA-EE4A8F1A90E2}" type="datetimeFigureOut">
              <a:rPr lang="es-ES" smtClean="0"/>
              <a:t>29/05/2019</a:t>
            </a:fld>
            <a:endParaRPr lang="es-ES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s-ES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F86588DC-4C14-774B-85FF-E764407079AD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82163446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  <a:prstGeom prst="rect">
            <a:avLst/>
          </a:prstGeom>
        </p:spPr>
        <p:txBody>
          <a:bodyPr vert="eaVert"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3A77D2E-3BA6-8442-94EA-EE4A8F1A90E2}" type="datetimeFigureOut">
              <a:rPr lang="es-ES" smtClean="0"/>
              <a:t>29/05/2019</a:t>
            </a:fld>
            <a:endParaRPr lang="es-ES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es-ES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F86588DC-4C14-774B-85FF-E764407079AD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0232024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caratula0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0268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0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0" y="3827971"/>
            <a:ext cx="9144000" cy="131553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294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58ACD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3927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6"/>
          <p:cNvSpPr txBox="1">
            <a:spLocks noGrp="1"/>
          </p:cNvSpPr>
          <p:nvPr>
            <p:ph type="sldNum" idx="12"/>
          </p:nvPr>
        </p:nvSpPr>
        <p:spPr>
          <a:xfrm>
            <a:off x="8472458" y="466321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792305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828022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005745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y objetos" type="obj">
  <p:cSld name="Título y objetos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36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34" name="Google Shape;134;p36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lvl="0" indent="-3175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  <a:defRPr/>
            </a:lvl1pPr>
            <a:lvl2pPr marL="914400" lvl="1" indent="-3175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/>
            </a:lvl2pPr>
            <a:lvl3pPr marL="1371600" lvl="2" indent="-3175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Char char="■"/>
              <a:defRPr/>
            </a:lvl3pPr>
            <a:lvl4pPr marL="1828800" lvl="3" indent="-3175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  <a:defRPr/>
            </a:lvl4pPr>
            <a:lvl5pPr marL="2286000" lvl="4" indent="-3175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/>
            </a:lvl5pPr>
            <a:lvl6pPr marL="2743200" lvl="5" indent="-3175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Char char="■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35" name="Google Shape;135;p36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6" name="Google Shape;136;p36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7" name="Google Shape;137;p36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712871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8246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D7D2C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9028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  <p:sldLayoutId id="2147483662" r:id="rId7"/>
    <p:sldLayoutId id="2147483663" r:id="rId8"/>
    <p:sldLayoutId id="2147483664" r:id="rId9"/>
    <p:sldLayoutId id="2147483665" r:id="rId10"/>
    <p:sldLayoutId id="2147483666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7" Type="http://schemas.openxmlformats.org/officeDocument/2006/relationships/image" Target="../media/image25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6.png"/><Relationship Id="rId4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7.png"/><Relationship Id="rId4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7" Type="http://schemas.openxmlformats.org/officeDocument/2006/relationships/image" Target="../media/image30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335" Type="http://schemas.openxmlformats.org/officeDocument/2006/relationships/tags" Target="../tags/tag335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279" Type="http://schemas.openxmlformats.org/officeDocument/2006/relationships/tags" Target="../tags/tag279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46" Type="http://schemas.openxmlformats.org/officeDocument/2006/relationships/tags" Target="../tags/tag346.xml"/><Relationship Id="rId388" Type="http://schemas.openxmlformats.org/officeDocument/2006/relationships/image" Target="../media/image34.png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tags" Target="../tags/tag315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326" Type="http://schemas.openxmlformats.org/officeDocument/2006/relationships/tags" Target="../tags/tag326.xml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281" Type="http://schemas.openxmlformats.org/officeDocument/2006/relationships/tags" Target="../tags/tag281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76" Type="http://schemas.openxmlformats.org/officeDocument/2006/relationships/tags" Target="../tags/tag76.xml"/><Relationship Id="rId141" Type="http://schemas.openxmlformats.org/officeDocument/2006/relationships/tags" Target="../tags/tag141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83" Type="http://schemas.openxmlformats.org/officeDocument/2006/relationships/tags" Target="../tags/tag183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45" Type="http://schemas.openxmlformats.org/officeDocument/2006/relationships/tags" Target="../tags/tag45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348" Type="http://schemas.openxmlformats.org/officeDocument/2006/relationships/tags" Target="../tags/tag348.xml"/><Relationship Id="rId152" Type="http://schemas.openxmlformats.org/officeDocument/2006/relationships/tags" Target="../tags/tag152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56" Type="http://schemas.openxmlformats.org/officeDocument/2006/relationships/tags" Target="../tags/tag56.xml"/><Relationship Id="rId317" Type="http://schemas.openxmlformats.org/officeDocument/2006/relationships/tags" Target="../tags/tag317.xml"/><Relationship Id="rId359" Type="http://schemas.openxmlformats.org/officeDocument/2006/relationships/tags" Target="../tags/tag359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63" Type="http://schemas.openxmlformats.org/officeDocument/2006/relationships/tags" Target="../tags/tag163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" Type="http://schemas.openxmlformats.org/officeDocument/2006/relationships/tags" Target="../tags/tag25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328" Type="http://schemas.openxmlformats.org/officeDocument/2006/relationships/tags" Target="../tags/tag328.xml"/><Relationship Id="rId132" Type="http://schemas.openxmlformats.org/officeDocument/2006/relationships/tags" Target="../tags/tag132.xml"/><Relationship Id="rId174" Type="http://schemas.openxmlformats.org/officeDocument/2006/relationships/tags" Target="../tags/tag174.xml"/><Relationship Id="rId381" Type="http://schemas.openxmlformats.org/officeDocument/2006/relationships/tags" Target="../tags/tag381.xml"/><Relationship Id="rId241" Type="http://schemas.openxmlformats.org/officeDocument/2006/relationships/tags" Target="../tags/tag241.xml"/><Relationship Id="rId36" Type="http://schemas.openxmlformats.org/officeDocument/2006/relationships/tags" Target="../tags/tag36.xml"/><Relationship Id="rId283" Type="http://schemas.openxmlformats.org/officeDocument/2006/relationships/tags" Target="../tags/tag283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101" Type="http://schemas.openxmlformats.org/officeDocument/2006/relationships/tags" Target="../tags/tag101.xml"/><Relationship Id="rId143" Type="http://schemas.openxmlformats.org/officeDocument/2006/relationships/tags" Target="../tags/tag143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52" Type="http://schemas.openxmlformats.org/officeDocument/2006/relationships/tags" Target="../tags/tag252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47" Type="http://schemas.openxmlformats.org/officeDocument/2006/relationships/tags" Target="../tags/tag47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54" Type="http://schemas.openxmlformats.org/officeDocument/2006/relationships/tags" Target="../tags/tag154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9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notesSlide" Target="../notesSlides/notesSlide7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384" Type="http://schemas.openxmlformats.org/officeDocument/2006/relationships/image" Target="../media/image31.png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385" Type="http://schemas.openxmlformats.org/officeDocument/2006/relationships/image" Target="../media/image32.emf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386" Type="http://schemas.openxmlformats.org/officeDocument/2006/relationships/image" Target="../media/image33.png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387" Type="http://schemas.openxmlformats.org/officeDocument/2006/relationships/image" Target="../media/image11.svg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56" Type="http://schemas.openxmlformats.org/officeDocument/2006/relationships/tags" Target="../tags/tag356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325" Type="http://schemas.openxmlformats.org/officeDocument/2006/relationships/tags" Target="../tags/tag325.xml"/><Relationship Id="rId367" Type="http://schemas.openxmlformats.org/officeDocument/2006/relationships/tags" Target="../tags/tag367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36" Type="http://schemas.openxmlformats.org/officeDocument/2006/relationships/tags" Target="../tags/tag336.xml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389" Type="http://schemas.openxmlformats.org/officeDocument/2006/relationships/image" Target="../media/image13.svg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tags" Target="../tags/tag316.xml"/><Relationship Id="rId55" Type="http://schemas.openxmlformats.org/officeDocument/2006/relationships/tags" Target="../tags/tag55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358" Type="http://schemas.openxmlformats.org/officeDocument/2006/relationships/tags" Target="../tags/tag358.xml"/><Relationship Id="rId162" Type="http://schemas.openxmlformats.org/officeDocument/2006/relationships/tags" Target="../tags/tag162.xml"/><Relationship Id="rId218" Type="http://schemas.openxmlformats.org/officeDocument/2006/relationships/tags" Target="../tags/tag218.xml"/><Relationship Id="rId271" Type="http://schemas.openxmlformats.org/officeDocument/2006/relationships/tags" Target="../tags/tag271.xml"/><Relationship Id="rId24" Type="http://schemas.openxmlformats.org/officeDocument/2006/relationships/tags" Target="../tags/tag24.xml"/><Relationship Id="rId66" Type="http://schemas.openxmlformats.org/officeDocument/2006/relationships/tags" Target="../tags/tag66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69" Type="http://schemas.openxmlformats.org/officeDocument/2006/relationships/tags" Target="../tags/tag369.xml"/><Relationship Id="rId173" Type="http://schemas.openxmlformats.org/officeDocument/2006/relationships/tags" Target="../tags/tag173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35" Type="http://schemas.openxmlformats.org/officeDocument/2006/relationships/tags" Target="../tags/tag35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38" Type="http://schemas.openxmlformats.org/officeDocument/2006/relationships/tags" Target="../tags/tag338.xml"/><Relationship Id="rId8" Type="http://schemas.openxmlformats.org/officeDocument/2006/relationships/tags" Target="../tags/tag8.xml"/><Relationship Id="rId142" Type="http://schemas.openxmlformats.org/officeDocument/2006/relationships/tags" Target="../tags/tag142.xml"/><Relationship Id="rId184" Type="http://schemas.openxmlformats.org/officeDocument/2006/relationships/tags" Target="../tags/tag184.xml"/><Relationship Id="rId251" Type="http://schemas.openxmlformats.org/officeDocument/2006/relationships/tags" Target="../tags/tag251.xml"/><Relationship Id="rId46" Type="http://schemas.openxmlformats.org/officeDocument/2006/relationships/tags" Target="../tags/tag46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53" Type="http://schemas.openxmlformats.org/officeDocument/2006/relationships/tags" Target="../tags/tag153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220" Type="http://schemas.openxmlformats.org/officeDocument/2006/relationships/tags" Target="../tags/tag220.xml"/><Relationship Id="rId15" Type="http://schemas.openxmlformats.org/officeDocument/2006/relationships/tags" Target="../tags/tag15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318" Type="http://schemas.openxmlformats.org/officeDocument/2006/relationships/tags" Target="../tags/tag318.xml"/><Relationship Id="rId99" Type="http://schemas.openxmlformats.org/officeDocument/2006/relationships/tags" Target="../tags/tag99.xml"/><Relationship Id="rId122" Type="http://schemas.openxmlformats.org/officeDocument/2006/relationships/tags" Target="../tags/tag122.xml"/><Relationship Id="rId164" Type="http://schemas.openxmlformats.org/officeDocument/2006/relationships/tags" Target="../tags/tag164.xml"/><Relationship Id="rId371" Type="http://schemas.openxmlformats.org/officeDocument/2006/relationships/tags" Target="../tags/tag371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73" Type="http://schemas.openxmlformats.org/officeDocument/2006/relationships/tags" Target="../tags/tag273.xml"/><Relationship Id="rId329" Type="http://schemas.openxmlformats.org/officeDocument/2006/relationships/tags" Target="../tags/tag329.xml"/><Relationship Id="rId68" Type="http://schemas.openxmlformats.org/officeDocument/2006/relationships/tags" Target="../tags/tag68.xml"/><Relationship Id="rId133" Type="http://schemas.openxmlformats.org/officeDocument/2006/relationships/tags" Target="../tags/tag133.xml"/><Relationship Id="rId175" Type="http://schemas.openxmlformats.org/officeDocument/2006/relationships/tags" Target="../tags/tag175.xml"/><Relationship Id="rId340" Type="http://schemas.openxmlformats.org/officeDocument/2006/relationships/tags" Target="../tags/tag34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32.emf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9.jp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Relationship Id="rId9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7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1.jpeg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2" name="Google Shape;202;p5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9153692" cy="5143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3" name="Google Shape;203;p54"/>
          <p:cNvPicPr preferRelativeResize="0"/>
          <p:nvPr/>
        </p:nvPicPr>
        <p:blipFill rotWithShape="1">
          <a:blip r:embed="rId4">
            <a:alphaModFix/>
          </a:blip>
          <a:srcRect l="11590" r="-11589"/>
          <a:stretch/>
        </p:blipFill>
        <p:spPr>
          <a:xfrm>
            <a:off x="0" y="2725"/>
            <a:ext cx="7339825" cy="5138048"/>
          </a:xfrm>
          <a:prstGeom prst="rect">
            <a:avLst/>
          </a:prstGeom>
          <a:noFill/>
          <a:ln>
            <a:noFill/>
          </a:ln>
        </p:spPr>
      </p:pic>
      <p:sp>
        <p:nvSpPr>
          <p:cNvPr id="204" name="Google Shape;204;p54"/>
          <p:cNvSpPr txBox="1"/>
          <p:nvPr/>
        </p:nvSpPr>
        <p:spPr>
          <a:xfrm>
            <a:off x="782074" y="2244193"/>
            <a:ext cx="2865015" cy="24329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s-AR" sz="3000" dirty="0" smtClean="0">
                <a:solidFill>
                  <a:srgbClr val="FFFFFF"/>
                </a:solidFill>
                <a:latin typeface="+mn-lt"/>
                <a:ea typeface="Nunito SemiBold"/>
                <a:cs typeface="Nunito SemiBold"/>
                <a:sym typeface="Nunito SemiBold"/>
              </a:rPr>
              <a:t>HERRAMIENTAS DE FINANCIACIÓN A LA OFERTA EXPOTABLE</a:t>
            </a:r>
            <a:endParaRPr sz="3000" dirty="0">
              <a:solidFill>
                <a:srgbClr val="FFFFFF"/>
              </a:solidFill>
              <a:latin typeface="+mn-lt"/>
              <a:ea typeface="Nunito SemiBold"/>
              <a:cs typeface="Nunito SemiBold"/>
              <a:sym typeface="Nunito SemiBold"/>
            </a:endParaRPr>
          </a:p>
        </p:txBody>
      </p:sp>
      <p:pic>
        <p:nvPicPr>
          <p:cNvPr id="206" name="Google Shape;206;p54"/>
          <p:cNvPicPr preferRelativeResize="0"/>
          <p:nvPr/>
        </p:nvPicPr>
        <p:blipFill rotWithShape="1">
          <a:blip r:embed="rId5">
            <a:alphaModFix/>
          </a:blip>
          <a:srcRect l="951" r="941"/>
          <a:stretch/>
        </p:blipFill>
        <p:spPr>
          <a:xfrm>
            <a:off x="842375" y="490275"/>
            <a:ext cx="1178276" cy="3225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008522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 descr="barra_degradé_colores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95333"/>
            <a:ext cx="9144000" cy="155864"/>
          </a:xfrm>
          <a:prstGeom prst="rect">
            <a:avLst/>
          </a:prstGeom>
        </p:spPr>
      </p:pic>
      <p:sp>
        <p:nvSpPr>
          <p:cNvPr id="36" name="TextBox 3"/>
          <p:cNvSpPr txBox="1"/>
          <p:nvPr/>
        </p:nvSpPr>
        <p:spPr>
          <a:xfrm>
            <a:off x="446306" y="644525"/>
            <a:ext cx="75813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spc="300" dirty="0" smtClean="0">
                <a:solidFill>
                  <a:srgbClr val="2C61AC"/>
                </a:solidFill>
                <a:latin typeface="Arial"/>
                <a:cs typeface="Arial"/>
              </a:rPr>
              <a:t>FINANCIÓN DE EXPORTACIONES A MEDIANO Y LARGO PLAZO</a:t>
            </a:r>
            <a:endParaRPr lang="en-US" sz="1400" b="1" spc="300" dirty="0">
              <a:solidFill>
                <a:srgbClr val="2C61AC"/>
              </a:solidFill>
              <a:latin typeface="Arial"/>
              <a:cs typeface="Arial"/>
            </a:endParaRPr>
          </a:p>
        </p:txBody>
      </p:sp>
      <p:pic>
        <p:nvPicPr>
          <p:cNvPr id="37" name="Imagen 3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1477" y="390551"/>
            <a:ext cx="821624" cy="230832"/>
          </a:xfrm>
          <a:prstGeom prst="rect">
            <a:avLst/>
          </a:prstGeom>
        </p:spPr>
      </p:pic>
      <p:pic>
        <p:nvPicPr>
          <p:cNvPr id="38" name="Imagen 3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140" y="390551"/>
            <a:ext cx="2348491" cy="91149"/>
          </a:xfrm>
          <a:prstGeom prst="rect">
            <a:avLst/>
          </a:prstGeom>
        </p:spPr>
      </p:pic>
      <p:pic>
        <p:nvPicPr>
          <p:cNvPr id="30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0879" y="1136654"/>
            <a:ext cx="2576726" cy="16623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12 CuadroTexto"/>
          <p:cNvSpPr txBox="1">
            <a:spLocks noChangeArrowheads="1"/>
          </p:cNvSpPr>
          <p:nvPr/>
        </p:nvSpPr>
        <p:spPr bwMode="auto">
          <a:xfrm>
            <a:off x="516957" y="3478248"/>
            <a:ext cx="2575219" cy="50013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285750" indent="-285750">
              <a:spcBef>
                <a:spcPts val="300"/>
              </a:spcBef>
              <a:buClr>
                <a:srgbClr val="0078BF"/>
              </a:buClr>
              <a:buSzPct val="125000"/>
            </a:pPr>
            <a:r>
              <a:rPr lang="es-ES" altLang="es-AR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tras de cambio</a:t>
            </a:r>
            <a:endParaRPr lang="es-ES" altLang="es-AR" sz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300"/>
              </a:spcBef>
              <a:buClr>
                <a:srgbClr val="0078BF"/>
              </a:buClr>
              <a:buSzPct val="125000"/>
            </a:pPr>
            <a:r>
              <a:rPr lang="es-ES" altLang="es-AR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éditos Documentarios</a:t>
            </a:r>
          </a:p>
        </p:txBody>
      </p:sp>
      <p:sp>
        <p:nvSpPr>
          <p:cNvPr id="32" name="14 Rectángulo"/>
          <p:cNvSpPr>
            <a:spLocks noChangeArrowheads="1"/>
          </p:cNvSpPr>
          <p:nvPr/>
        </p:nvSpPr>
        <p:spPr bwMode="auto">
          <a:xfrm>
            <a:off x="516957" y="2934178"/>
            <a:ext cx="2575219" cy="461665"/>
          </a:xfrm>
          <a:prstGeom prst="rect">
            <a:avLst/>
          </a:prstGeom>
          <a:solidFill>
            <a:srgbClr val="0078BF"/>
          </a:solidFill>
          <a:ln>
            <a:noFill/>
          </a:ln>
          <a:extLst/>
        </p:spPr>
        <p:txBody>
          <a:bodyPr wrap="square">
            <a:spAutoFit/>
          </a:bodyPr>
          <a:lstStyle>
            <a:lvl1pPr marL="342900" indent="-34290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lvl="1">
              <a:spcBef>
                <a:spcPct val="0"/>
              </a:spcBef>
              <a:buFontTx/>
              <a:buNone/>
            </a:pPr>
            <a:r>
              <a:rPr lang="es-MX" altLang="es-AR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Instrumentos Financieros elegibles</a:t>
            </a:r>
          </a:p>
        </p:txBody>
      </p:sp>
      <p:sp>
        <p:nvSpPr>
          <p:cNvPr id="33" name="19 Rectángulo"/>
          <p:cNvSpPr>
            <a:spLocks noChangeArrowheads="1"/>
          </p:cNvSpPr>
          <p:nvPr/>
        </p:nvSpPr>
        <p:spPr bwMode="auto">
          <a:xfrm>
            <a:off x="3460879" y="2934178"/>
            <a:ext cx="2576726" cy="461665"/>
          </a:xfrm>
          <a:prstGeom prst="rect">
            <a:avLst/>
          </a:prstGeom>
          <a:solidFill>
            <a:srgbClr val="00A4CA"/>
          </a:solidFill>
          <a:ln>
            <a:noFill/>
          </a:ln>
          <a:extLst/>
        </p:spPr>
        <p:txBody>
          <a:bodyPr wrap="square">
            <a:spAutoFit/>
          </a:bodyPr>
          <a:lstStyle>
            <a:lvl1pPr marL="342900" indent="-34290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lvl="1" defTabSz="216000">
              <a:spcBef>
                <a:spcPct val="0"/>
              </a:spcBef>
              <a:buFontTx/>
              <a:buNone/>
            </a:pPr>
            <a:r>
              <a:rPr lang="es-MX" altLang="es-AR" sz="1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es-MX" altLang="es-AR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MX" altLang="es-AR" sz="1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zo financiación</a:t>
            </a:r>
          </a:p>
          <a:p>
            <a:pPr marL="0" lvl="1" defTabSz="216000">
              <a:spcBef>
                <a:spcPct val="0"/>
              </a:spcBef>
              <a:buFontTx/>
              <a:buNone/>
            </a:pPr>
            <a:endParaRPr lang="es-AR" altLang="es-AR" sz="1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20 CuadroTexto"/>
          <p:cNvSpPr txBox="1">
            <a:spLocks noChangeArrowheads="1"/>
          </p:cNvSpPr>
          <p:nvPr/>
        </p:nvSpPr>
        <p:spPr bwMode="auto">
          <a:xfrm>
            <a:off x="6390881" y="2934178"/>
            <a:ext cx="2558040" cy="461665"/>
          </a:xfrm>
          <a:prstGeom prst="rect">
            <a:avLst/>
          </a:prstGeom>
          <a:solidFill>
            <a:srgbClr val="69C3C4"/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lvl="1">
              <a:spcBef>
                <a:spcPct val="0"/>
              </a:spcBef>
              <a:buFontTx/>
              <a:buNone/>
            </a:pPr>
            <a:r>
              <a:rPr lang="es-MX" altLang="es-AR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es-MX" altLang="es-AR" sz="1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ortaciones elegibles</a:t>
            </a:r>
          </a:p>
          <a:p>
            <a:pPr marL="0" lvl="1">
              <a:spcBef>
                <a:spcPct val="0"/>
              </a:spcBef>
              <a:buFontTx/>
              <a:buNone/>
            </a:pPr>
            <a:endParaRPr lang="es-MX" altLang="es-AR" sz="1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Cheurón 40"/>
          <p:cNvSpPr/>
          <p:nvPr/>
        </p:nvSpPr>
        <p:spPr>
          <a:xfrm>
            <a:off x="626516" y="2994229"/>
            <a:ext cx="103887" cy="149516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20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Cheurón 41"/>
          <p:cNvSpPr/>
          <p:nvPr/>
        </p:nvSpPr>
        <p:spPr>
          <a:xfrm>
            <a:off x="6512819" y="3016263"/>
            <a:ext cx="103887" cy="149516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20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Cheurón 42"/>
          <p:cNvSpPr/>
          <p:nvPr/>
        </p:nvSpPr>
        <p:spPr>
          <a:xfrm>
            <a:off x="3554283" y="3016263"/>
            <a:ext cx="103887" cy="149516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20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12 CuadroTexto"/>
          <p:cNvSpPr txBox="1">
            <a:spLocks noChangeArrowheads="1"/>
          </p:cNvSpPr>
          <p:nvPr/>
        </p:nvSpPr>
        <p:spPr bwMode="auto">
          <a:xfrm>
            <a:off x="3457165" y="3478248"/>
            <a:ext cx="2575219" cy="50013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285750" indent="-285750">
              <a:spcBef>
                <a:spcPts val="300"/>
              </a:spcBef>
              <a:buClr>
                <a:srgbClr val="0078BF"/>
              </a:buClr>
              <a:buSzPct val="125000"/>
            </a:pPr>
            <a:r>
              <a:rPr lang="es-ES" altLang="es-AR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zo mínimo: 1 año</a:t>
            </a:r>
            <a:endParaRPr lang="es-ES" altLang="es-AR" sz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300"/>
              </a:spcBef>
              <a:buClr>
                <a:srgbClr val="0078BF"/>
              </a:buClr>
              <a:buSzPct val="125000"/>
            </a:pPr>
            <a:r>
              <a:rPr lang="es-ES" altLang="es-AR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zo máximo: 10 años</a:t>
            </a:r>
          </a:p>
        </p:txBody>
      </p:sp>
      <p:sp>
        <p:nvSpPr>
          <p:cNvPr id="45" name="12 CuadroTexto"/>
          <p:cNvSpPr txBox="1">
            <a:spLocks noChangeArrowheads="1"/>
          </p:cNvSpPr>
          <p:nvPr/>
        </p:nvSpPr>
        <p:spPr bwMode="auto">
          <a:xfrm>
            <a:off x="6390881" y="3478248"/>
            <a:ext cx="2575219" cy="9079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285750" indent="-285750">
              <a:spcBef>
                <a:spcPts val="300"/>
              </a:spcBef>
              <a:buClr>
                <a:srgbClr val="0078BF"/>
              </a:buClr>
              <a:buSzPct val="125000"/>
            </a:pPr>
            <a:r>
              <a:rPr lang="es-ES" altLang="es-AR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I</a:t>
            </a:r>
            <a:endParaRPr lang="es-ES" altLang="es-AR" sz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300"/>
              </a:spcBef>
              <a:buClr>
                <a:srgbClr val="0078BF"/>
              </a:buClr>
              <a:buSzPct val="125000"/>
            </a:pPr>
            <a:r>
              <a:rPr lang="es-ES" altLang="es-AR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enes de Capital</a:t>
            </a:r>
            <a:endParaRPr lang="es-ES" altLang="es-AR" sz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300"/>
              </a:spcBef>
              <a:buClr>
                <a:srgbClr val="0078BF"/>
              </a:buClr>
              <a:buSzPct val="125000"/>
            </a:pPr>
            <a:r>
              <a:rPr lang="es-ES" altLang="es-AR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gimen de exportación Llave en mano</a:t>
            </a:r>
            <a:endParaRPr lang="es-ES" altLang="es-AR" sz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6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1489" y="1136654"/>
            <a:ext cx="2575219" cy="162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962" y="1136654"/>
            <a:ext cx="2558039" cy="1522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80974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 descr="barra_degradé_colores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95333"/>
            <a:ext cx="9144000" cy="155864"/>
          </a:xfrm>
          <a:prstGeom prst="rect">
            <a:avLst/>
          </a:prstGeom>
        </p:spPr>
      </p:pic>
      <p:sp>
        <p:nvSpPr>
          <p:cNvPr id="36" name="TextBox 3"/>
          <p:cNvSpPr txBox="1"/>
          <p:nvPr/>
        </p:nvSpPr>
        <p:spPr>
          <a:xfrm>
            <a:off x="448788" y="569027"/>
            <a:ext cx="75813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spc="300" dirty="0" smtClean="0">
                <a:solidFill>
                  <a:srgbClr val="2C61AC"/>
                </a:solidFill>
                <a:latin typeface="Arial"/>
                <a:cs typeface="Arial"/>
              </a:rPr>
              <a:t>FINANCIÓN DE EXPORTACIONES A MEDIANO Y LARGO PLAZO</a:t>
            </a:r>
            <a:endParaRPr lang="en-US" sz="1400" b="1" spc="300" dirty="0">
              <a:solidFill>
                <a:srgbClr val="2C61AC"/>
              </a:solidFill>
              <a:latin typeface="Arial"/>
              <a:cs typeface="Arial"/>
            </a:endParaRPr>
          </a:p>
        </p:txBody>
      </p:sp>
      <p:pic>
        <p:nvPicPr>
          <p:cNvPr id="37" name="Imagen 3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1477" y="390551"/>
            <a:ext cx="821624" cy="230832"/>
          </a:xfrm>
          <a:prstGeom prst="rect">
            <a:avLst/>
          </a:prstGeom>
        </p:spPr>
      </p:pic>
      <p:pic>
        <p:nvPicPr>
          <p:cNvPr id="38" name="Imagen 3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140" y="390551"/>
            <a:ext cx="2348491" cy="91149"/>
          </a:xfrm>
          <a:prstGeom prst="rect">
            <a:avLst/>
          </a:prstGeom>
        </p:spPr>
      </p:pic>
      <p:sp>
        <p:nvSpPr>
          <p:cNvPr id="18" name="Rectángulo 16"/>
          <p:cNvSpPr/>
          <p:nvPr/>
        </p:nvSpPr>
        <p:spPr>
          <a:xfrm rot="16200000">
            <a:off x="-236040" y="2257705"/>
            <a:ext cx="2641538" cy="885215"/>
          </a:xfrm>
          <a:prstGeom prst="rect">
            <a:avLst/>
          </a:prstGeom>
          <a:solidFill>
            <a:srgbClr val="00A4CA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lvl="0" algn="ctr" defTabSz="102235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AR" sz="1100" b="1" kern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ciación de exportaciones a mediano y largo plazo</a:t>
            </a:r>
            <a:endParaRPr lang="es-AR" sz="1100" b="1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3 Abrir llave"/>
          <p:cNvSpPr/>
          <p:nvPr/>
        </p:nvSpPr>
        <p:spPr>
          <a:xfrm>
            <a:off x="2307272" y="1269478"/>
            <a:ext cx="238125" cy="2881313"/>
          </a:xfrm>
          <a:prstGeom prst="leftBrace">
            <a:avLst>
              <a:gd name="adj1" fmla="val 117510"/>
              <a:gd name="adj2" fmla="val 50000"/>
            </a:avLst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s-AR" sz="110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0" name="4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625341"/>
              </p:ext>
            </p:extLst>
          </p:nvPr>
        </p:nvGraphicFramePr>
        <p:xfrm>
          <a:off x="3006980" y="1220516"/>
          <a:ext cx="3041280" cy="3369425"/>
        </p:xfrm>
        <a:graphic>
          <a:graphicData uri="http://schemas.openxmlformats.org/drawingml/2006/table">
            <a:tbl>
              <a:tblPr firstRow="1" bandRow="1">
                <a:tableStyleId>{74C1A8A3-306A-4EB7-A6B1-4F7E0EB9C5D6}</a:tableStyleId>
              </a:tblPr>
              <a:tblGrid>
                <a:gridCol w="129401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4726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638095">
                <a:tc>
                  <a:txBody>
                    <a:bodyPr/>
                    <a:lstStyle/>
                    <a:p>
                      <a:pPr algn="ctr"/>
                      <a:r>
                        <a:rPr lang="es-A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ZO</a:t>
                      </a:r>
                      <a:endParaRPr lang="es-AR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3" marR="91443" marT="45706" marB="45706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75C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READ</a:t>
                      </a:r>
                      <a:endParaRPr lang="es-AR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3" marR="91443" marT="45706" marB="45706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75C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90190">
                <a:tc>
                  <a:txBody>
                    <a:bodyPr/>
                    <a:lstStyle/>
                    <a:p>
                      <a:pPr algn="ctr"/>
                      <a:r>
                        <a:rPr lang="es-AR" sz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sta 1 año</a:t>
                      </a:r>
                      <a:endParaRPr lang="es-AR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3" marR="91443" marT="45706" marB="45706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+3,00%</a:t>
                      </a:r>
                      <a:endParaRPr lang="es-AR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3" marR="91443" marT="45706" marB="45706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90190">
                <a:tc>
                  <a:txBody>
                    <a:bodyPr/>
                    <a:lstStyle/>
                    <a:p>
                      <a:pPr algn="ctr"/>
                      <a:r>
                        <a:rPr lang="es-AR" sz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sta 2 años</a:t>
                      </a:r>
                      <a:endParaRPr lang="es-AR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3" marR="91443" marT="45706" marB="457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+4,00%</a:t>
                      </a:r>
                      <a:endParaRPr lang="es-AR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3" marR="91443" marT="45706" marB="457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90190">
                <a:tc>
                  <a:txBody>
                    <a:bodyPr/>
                    <a:lstStyle/>
                    <a:p>
                      <a:pPr algn="ctr"/>
                      <a:r>
                        <a:rPr lang="es-AR" sz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sta 3 años</a:t>
                      </a:r>
                      <a:endParaRPr lang="es-AR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3" marR="91443" marT="45706" marB="457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+4,25%</a:t>
                      </a:r>
                      <a:endParaRPr lang="es-AR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3" marR="91443" marT="45706" marB="457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90190">
                <a:tc>
                  <a:txBody>
                    <a:bodyPr/>
                    <a:lstStyle/>
                    <a:p>
                      <a:pPr algn="ctr"/>
                      <a:r>
                        <a:rPr lang="es-AR" sz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sta</a:t>
                      </a:r>
                      <a:r>
                        <a:rPr lang="es-AR" sz="1200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 años</a:t>
                      </a:r>
                      <a:endParaRPr lang="es-AR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3" marR="91443" marT="45706" marB="457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+4,50%</a:t>
                      </a:r>
                    </a:p>
                  </a:txBody>
                  <a:tcPr marL="91443" marR="91443" marT="45706" marB="457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9019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MX" sz="120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asta 5 años</a:t>
                      </a:r>
                      <a:endParaRPr lang="es-AR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43" marR="91443" marT="45706" marB="457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20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+5,00%</a:t>
                      </a:r>
                      <a:endParaRPr lang="es-AR" sz="1200" kern="12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43" marR="91443" marT="45706" marB="457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90190">
                <a:tc>
                  <a:txBody>
                    <a:bodyPr/>
                    <a:lstStyle/>
                    <a:p>
                      <a:pPr algn="ctr"/>
                      <a:r>
                        <a:rPr lang="es-MX" sz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sta 7 años</a:t>
                      </a:r>
                      <a:endParaRPr lang="es-AR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3" marR="91443" marT="45706" marB="457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+7,00%</a:t>
                      </a:r>
                    </a:p>
                  </a:txBody>
                  <a:tcPr marL="91443" marR="91443" marT="45706" marB="457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9019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20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asta 10 años</a:t>
                      </a:r>
                      <a:endParaRPr lang="es-AR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43" marR="91443" marT="45706" marB="457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20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+8,50%</a:t>
                      </a:r>
                    </a:p>
                  </a:txBody>
                  <a:tcPr marL="91443" marR="91443" marT="45706" marB="4570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21" name="Forma libre 11"/>
          <p:cNvSpPr/>
          <p:nvPr/>
        </p:nvSpPr>
        <p:spPr>
          <a:xfrm>
            <a:off x="1527337" y="3971078"/>
            <a:ext cx="1466992" cy="693832"/>
          </a:xfrm>
          <a:custGeom>
            <a:avLst/>
            <a:gdLst>
              <a:gd name="connsiteX0" fmla="*/ 0 w 1141438"/>
              <a:gd name="connsiteY0" fmla="*/ 346916 h 693832"/>
              <a:gd name="connsiteX1" fmla="*/ 570719 w 1141438"/>
              <a:gd name="connsiteY1" fmla="*/ 0 h 693832"/>
              <a:gd name="connsiteX2" fmla="*/ 1141438 w 1141438"/>
              <a:gd name="connsiteY2" fmla="*/ 346916 h 693832"/>
              <a:gd name="connsiteX3" fmla="*/ 570719 w 1141438"/>
              <a:gd name="connsiteY3" fmla="*/ 693832 h 693832"/>
              <a:gd name="connsiteX4" fmla="*/ 0 w 1141438"/>
              <a:gd name="connsiteY4" fmla="*/ 346916 h 69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1438" h="693832">
                <a:moveTo>
                  <a:pt x="0" y="346916"/>
                </a:moveTo>
                <a:cubicBezTo>
                  <a:pt x="0" y="155320"/>
                  <a:pt x="255520" y="0"/>
                  <a:pt x="570719" y="0"/>
                </a:cubicBezTo>
                <a:cubicBezTo>
                  <a:pt x="885918" y="0"/>
                  <a:pt x="1141438" y="155320"/>
                  <a:pt x="1141438" y="346916"/>
                </a:cubicBezTo>
                <a:cubicBezTo>
                  <a:pt x="1141438" y="538512"/>
                  <a:pt x="885918" y="693832"/>
                  <a:pt x="570719" y="693832"/>
                </a:cubicBezTo>
                <a:cubicBezTo>
                  <a:pt x="255520" y="693832"/>
                  <a:pt x="0" y="538512"/>
                  <a:pt x="0" y="346916"/>
                </a:cubicBezTo>
                <a:close/>
              </a:path>
            </a:pathLst>
          </a:custGeom>
          <a:solidFill>
            <a:srgbClr val="64CBC8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67160" tIns="101609" rIns="167160" bIns="101609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AR" sz="1100" b="1" i="1" kern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bor de 180 días</a:t>
            </a:r>
            <a:endParaRPr lang="es-AR" sz="110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Forma libre 11"/>
          <p:cNvSpPr/>
          <p:nvPr/>
        </p:nvSpPr>
        <p:spPr>
          <a:xfrm>
            <a:off x="6344951" y="1773413"/>
            <a:ext cx="2194559" cy="2037806"/>
          </a:xfrm>
          <a:custGeom>
            <a:avLst/>
            <a:gdLst>
              <a:gd name="connsiteX0" fmla="*/ 0 w 1141438"/>
              <a:gd name="connsiteY0" fmla="*/ 346916 h 693832"/>
              <a:gd name="connsiteX1" fmla="*/ 570719 w 1141438"/>
              <a:gd name="connsiteY1" fmla="*/ 0 h 693832"/>
              <a:gd name="connsiteX2" fmla="*/ 1141438 w 1141438"/>
              <a:gd name="connsiteY2" fmla="*/ 346916 h 693832"/>
              <a:gd name="connsiteX3" fmla="*/ 570719 w 1141438"/>
              <a:gd name="connsiteY3" fmla="*/ 693832 h 693832"/>
              <a:gd name="connsiteX4" fmla="*/ 0 w 1141438"/>
              <a:gd name="connsiteY4" fmla="*/ 346916 h 69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1438" h="693832">
                <a:moveTo>
                  <a:pt x="0" y="346916"/>
                </a:moveTo>
                <a:cubicBezTo>
                  <a:pt x="0" y="155320"/>
                  <a:pt x="255520" y="0"/>
                  <a:pt x="570719" y="0"/>
                </a:cubicBezTo>
                <a:cubicBezTo>
                  <a:pt x="885918" y="0"/>
                  <a:pt x="1141438" y="155320"/>
                  <a:pt x="1141438" y="346916"/>
                </a:cubicBezTo>
                <a:cubicBezTo>
                  <a:pt x="1141438" y="538512"/>
                  <a:pt x="885918" y="693832"/>
                  <a:pt x="570719" y="693832"/>
                </a:cubicBezTo>
                <a:cubicBezTo>
                  <a:pt x="255520" y="693832"/>
                  <a:pt x="0" y="538512"/>
                  <a:pt x="0" y="346916"/>
                </a:cubicBezTo>
                <a:close/>
              </a:path>
            </a:pathLst>
          </a:custGeom>
          <a:solidFill>
            <a:srgbClr val="64CBC8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67160" tIns="101609" rIns="167160" bIns="101609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AR" sz="1100" b="1" i="1" kern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3 puntos Bonificación de tasa para plazos hasta 5 años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AR" sz="1100" b="1" i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sión de Desembolso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AR" sz="1100" b="1" i="1" kern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,3% flat</a:t>
            </a:r>
            <a:endParaRPr lang="es-AR" sz="110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orma libre 11"/>
          <p:cNvSpPr/>
          <p:nvPr/>
        </p:nvSpPr>
        <p:spPr>
          <a:xfrm>
            <a:off x="1539988" y="1698375"/>
            <a:ext cx="1466992" cy="693832"/>
          </a:xfrm>
          <a:custGeom>
            <a:avLst/>
            <a:gdLst>
              <a:gd name="connsiteX0" fmla="*/ 0 w 1141438"/>
              <a:gd name="connsiteY0" fmla="*/ 346916 h 693832"/>
              <a:gd name="connsiteX1" fmla="*/ 570719 w 1141438"/>
              <a:gd name="connsiteY1" fmla="*/ 0 h 693832"/>
              <a:gd name="connsiteX2" fmla="*/ 1141438 w 1141438"/>
              <a:gd name="connsiteY2" fmla="*/ 346916 h 693832"/>
              <a:gd name="connsiteX3" fmla="*/ 570719 w 1141438"/>
              <a:gd name="connsiteY3" fmla="*/ 693832 h 693832"/>
              <a:gd name="connsiteX4" fmla="*/ 0 w 1141438"/>
              <a:gd name="connsiteY4" fmla="*/ 346916 h 69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1438" h="693832">
                <a:moveTo>
                  <a:pt x="0" y="346916"/>
                </a:moveTo>
                <a:cubicBezTo>
                  <a:pt x="0" y="155320"/>
                  <a:pt x="255520" y="0"/>
                  <a:pt x="570719" y="0"/>
                </a:cubicBezTo>
                <a:cubicBezTo>
                  <a:pt x="885918" y="0"/>
                  <a:pt x="1141438" y="155320"/>
                  <a:pt x="1141438" y="346916"/>
                </a:cubicBezTo>
                <a:cubicBezTo>
                  <a:pt x="1141438" y="538512"/>
                  <a:pt x="885918" y="693832"/>
                  <a:pt x="570719" y="693832"/>
                </a:cubicBezTo>
                <a:cubicBezTo>
                  <a:pt x="255520" y="693832"/>
                  <a:pt x="0" y="538512"/>
                  <a:pt x="0" y="346916"/>
                </a:cubicBezTo>
                <a:close/>
              </a:path>
            </a:pathLst>
          </a:custGeom>
          <a:solidFill>
            <a:srgbClr val="64CBC8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67160" tIns="101609" rIns="167160" bIns="101609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AR" sz="1100" b="1" i="1" kern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bor de 360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AR" sz="1100" b="1" i="1" kern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ías</a:t>
            </a:r>
            <a:endParaRPr lang="es-AR" sz="110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2340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 descr="barra_degradé_colores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95333"/>
            <a:ext cx="9144000" cy="155864"/>
          </a:xfrm>
          <a:prstGeom prst="rect">
            <a:avLst/>
          </a:prstGeom>
        </p:spPr>
      </p:pic>
      <p:sp>
        <p:nvSpPr>
          <p:cNvPr id="36" name="TextBox 3"/>
          <p:cNvSpPr txBox="1"/>
          <p:nvPr/>
        </p:nvSpPr>
        <p:spPr>
          <a:xfrm>
            <a:off x="448788" y="569027"/>
            <a:ext cx="75816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spc="300" dirty="0" smtClean="0">
                <a:solidFill>
                  <a:srgbClr val="2C61AC"/>
                </a:solidFill>
                <a:latin typeface="Arial"/>
                <a:cs typeface="Arial"/>
              </a:rPr>
              <a:t>COMISIONES CORRESPONDIENTES AL INTRUMENTO DE PAGO</a:t>
            </a:r>
            <a:endParaRPr lang="en-US" sz="1400" b="1" spc="300" dirty="0">
              <a:solidFill>
                <a:srgbClr val="2C61AC"/>
              </a:solidFill>
              <a:latin typeface="Arial"/>
              <a:cs typeface="Arial"/>
            </a:endParaRPr>
          </a:p>
        </p:txBody>
      </p:sp>
      <p:pic>
        <p:nvPicPr>
          <p:cNvPr id="37" name="Imagen 3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1477" y="390551"/>
            <a:ext cx="821624" cy="230832"/>
          </a:xfrm>
          <a:prstGeom prst="rect">
            <a:avLst/>
          </a:prstGeom>
        </p:spPr>
      </p:pic>
      <p:pic>
        <p:nvPicPr>
          <p:cNvPr id="38" name="Imagen 3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140" y="390551"/>
            <a:ext cx="2348491" cy="91149"/>
          </a:xfrm>
          <a:prstGeom prst="rect">
            <a:avLst/>
          </a:prstGeom>
        </p:spPr>
      </p:pic>
      <p:sp>
        <p:nvSpPr>
          <p:cNvPr id="18" name="Rectángulo 16"/>
          <p:cNvSpPr/>
          <p:nvPr/>
        </p:nvSpPr>
        <p:spPr>
          <a:xfrm rot="16200000">
            <a:off x="-409542" y="2219001"/>
            <a:ext cx="2641538" cy="885215"/>
          </a:xfrm>
          <a:prstGeom prst="rect">
            <a:avLst/>
          </a:prstGeom>
          <a:solidFill>
            <a:srgbClr val="00A4CA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87630" tIns="87630" rIns="87630" bIns="87630" numCol="1" spcCol="1270" anchor="ctr" anchorCtr="0">
            <a:noAutofit/>
          </a:bodyPr>
          <a:lstStyle/>
          <a:p>
            <a:pPr lvl="0" algn="ctr" defTabSz="102235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AR" sz="1100" b="1" kern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rumentos de Pagos a ser </a:t>
            </a:r>
            <a:r>
              <a:rPr lang="es-AR" sz="11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zado  en Programa de </a:t>
            </a:r>
            <a:r>
              <a:rPr lang="es-AR" sz="11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faiting</a:t>
            </a:r>
            <a:endParaRPr lang="es-AR" sz="1100" b="1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Forma libre 11"/>
          <p:cNvSpPr/>
          <p:nvPr/>
        </p:nvSpPr>
        <p:spPr>
          <a:xfrm>
            <a:off x="1560662" y="3245328"/>
            <a:ext cx="1466992" cy="693832"/>
          </a:xfrm>
          <a:custGeom>
            <a:avLst/>
            <a:gdLst>
              <a:gd name="connsiteX0" fmla="*/ 0 w 1141438"/>
              <a:gd name="connsiteY0" fmla="*/ 346916 h 693832"/>
              <a:gd name="connsiteX1" fmla="*/ 570719 w 1141438"/>
              <a:gd name="connsiteY1" fmla="*/ 0 h 693832"/>
              <a:gd name="connsiteX2" fmla="*/ 1141438 w 1141438"/>
              <a:gd name="connsiteY2" fmla="*/ 346916 h 693832"/>
              <a:gd name="connsiteX3" fmla="*/ 570719 w 1141438"/>
              <a:gd name="connsiteY3" fmla="*/ 693832 h 693832"/>
              <a:gd name="connsiteX4" fmla="*/ 0 w 1141438"/>
              <a:gd name="connsiteY4" fmla="*/ 346916 h 69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1438" h="693832">
                <a:moveTo>
                  <a:pt x="0" y="346916"/>
                </a:moveTo>
                <a:cubicBezTo>
                  <a:pt x="0" y="155320"/>
                  <a:pt x="255520" y="0"/>
                  <a:pt x="570719" y="0"/>
                </a:cubicBezTo>
                <a:cubicBezTo>
                  <a:pt x="885918" y="0"/>
                  <a:pt x="1141438" y="155320"/>
                  <a:pt x="1141438" y="346916"/>
                </a:cubicBezTo>
                <a:cubicBezTo>
                  <a:pt x="1141438" y="538512"/>
                  <a:pt x="885918" y="693832"/>
                  <a:pt x="570719" y="693832"/>
                </a:cubicBezTo>
                <a:cubicBezTo>
                  <a:pt x="255520" y="693832"/>
                  <a:pt x="0" y="538512"/>
                  <a:pt x="0" y="346916"/>
                </a:cubicBezTo>
                <a:close/>
              </a:path>
            </a:pathLst>
          </a:custGeom>
          <a:solidFill>
            <a:srgbClr val="64CBC8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67160" tIns="101609" rIns="167160" bIns="101609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AR" sz="1100" b="1" i="1" kern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tras Avaladas</a:t>
            </a:r>
            <a:endParaRPr lang="es-AR" sz="110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orma libre 11"/>
          <p:cNvSpPr/>
          <p:nvPr/>
        </p:nvSpPr>
        <p:spPr>
          <a:xfrm>
            <a:off x="1539988" y="1555565"/>
            <a:ext cx="1466992" cy="693832"/>
          </a:xfrm>
          <a:custGeom>
            <a:avLst/>
            <a:gdLst>
              <a:gd name="connsiteX0" fmla="*/ 0 w 1141438"/>
              <a:gd name="connsiteY0" fmla="*/ 346916 h 693832"/>
              <a:gd name="connsiteX1" fmla="*/ 570719 w 1141438"/>
              <a:gd name="connsiteY1" fmla="*/ 0 h 693832"/>
              <a:gd name="connsiteX2" fmla="*/ 1141438 w 1141438"/>
              <a:gd name="connsiteY2" fmla="*/ 346916 h 693832"/>
              <a:gd name="connsiteX3" fmla="*/ 570719 w 1141438"/>
              <a:gd name="connsiteY3" fmla="*/ 693832 h 693832"/>
              <a:gd name="connsiteX4" fmla="*/ 0 w 1141438"/>
              <a:gd name="connsiteY4" fmla="*/ 346916 h 69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1438" h="693832">
                <a:moveTo>
                  <a:pt x="0" y="346916"/>
                </a:moveTo>
                <a:cubicBezTo>
                  <a:pt x="0" y="155320"/>
                  <a:pt x="255520" y="0"/>
                  <a:pt x="570719" y="0"/>
                </a:cubicBezTo>
                <a:cubicBezTo>
                  <a:pt x="885918" y="0"/>
                  <a:pt x="1141438" y="155320"/>
                  <a:pt x="1141438" y="346916"/>
                </a:cubicBezTo>
                <a:cubicBezTo>
                  <a:pt x="1141438" y="538512"/>
                  <a:pt x="885918" y="693832"/>
                  <a:pt x="570719" y="693832"/>
                </a:cubicBezTo>
                <a:cubicBezTo>
                  <a:pt x="255520" y="693832"/>
                  <a:pt x="0" y="538512"/>
                  <a:pt x="0" y="346916"/>
                </a:cubicBezTo>
                <a:close/>
              </a:path>
            </a:pathLst>
          </a:custGeom>
          <a:solidFill>
            <a:srgbClr val="64CBC8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5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67160" tIns="101609" rIns="167160" bIns="101609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AR" sz="1100" b="1" i="1" kern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ta de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AR" sz="1100" b="1" i="1" kern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édito</a:t>
            </a:r>
            <a:endParaRPr lang="es-AR" sz="110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9284619"/>
              </p:ext>
            </p:extLst>
          </p:nvPr>
        </p:nvGraphicFramePr>
        <p:xfrm>
          <a:off x="3234482" y="1379543"/>
          <a:ext cx="5167807" cy="12820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42367">
                  <a:extLst>
                    <a:ext uri="{9D8B030D-6E8A-4147-A177-3AD203B41FA5}">
                      <a16:colId xmlns="" xmlns:a16="http://schemas.microsoft.com/office/drawing/2014/main" val="3551927713"/>
                    </a:ext>
                  </a:extLst>
                </a:gridCol>
                <a:gridCol w="876773">
                  <a:extLst>
                    <a:ext uri="{9D8B030D-6E8A-4147-A177-3AD203B41FA5}">
                      <a16:colId xmlns="" xmlns:a16="http://schemas.microsoft.com/office/drawing/2014/main" val="2344084460"/>
                    </a:ext>
                  </a:extLst>
                </a:gridCol>
                <a:gridCol w="835514">
                  <a:extLst>
                    <a:ext uri="{9D8B030D-6E8A-4147-A177-3AD203B41FA5}">
                      <a16:colId xmlns="" xmlns:a16="http://schemas.microsoft.com/office/drawing/2014/main" val="1305736058"/>
                    </a:ext>
                  </a:extLst>
                </a:gridCol>
                <a:gridCol w="1413153">
                  <a:extLst>
                    <a:ext uri="{9D8B030D-6E8A-4147-A177-3AD203B41FA5}">
                      <a16:colId xmlns="" xmlns:a16="http://schemas.microsoft.com/office/drawing/2014/main" val="939231700"/>
                    </a:ext>
                  </a:extLst>
                </a:gridCol>
              </a:tblGrid>
              <a:tr h="164197">
                <a:tc>
                  <a:txBody>
                    <a:bodyPr/>
                    <a:lstStyle/>
                    <a:p>
                      <a:pPr algn="ctr" fontAlgn="b"/>
                      <a:r>
                        <a:rPr lang="es-AR" sz="1100" u="none" strike="noStrike">
                          <a:effectLst/>
                        </a:rPr>
                        <a:t>EXPORTACION</a:t>
                      </a:r>
                      <a:endParaRPr lang="es-AR" sz="11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1100" u="none" strike="noStrike">
                          <a:effectLst/>
                        </a:rPr>
                        <a:t>Porcentaje %</a:t>
                      </a:r>
                      <a:endParaRPr lang="es-AR" sz="11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1100" u="none" strike="noStrike">
                          <a:effectLst/>
                        </a:rPr>
                        <a:t>USD Mínimo</a:t>
                      </a:r>
                      <a:endParaRPr lang="es-AR" sz="11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1100" u="none" strike="noStrike" dirty="0">
                          <a:effectLst/>
                        </a:rPr>
                        <a:t>USD Máximo</a:t>
                      </a:r>
                      <a:endParaRPr lang="es-AR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2684780992"/>
                  </a:ext>
                </a:extLst>
              </a:tr>
              <a:tr h="150073">
                <a:tc>
                  <a:txBody>
                    <a:bodyPr/>
                    <a:lstStyle/>
                    <a:p>
                      <a:pPr algn="l" fontAlgn="b"/>
                      <a:r>
                        <a:rPr lang="es-AR" sz="1000" u="none" strike="noStrike">
                          <a:effectLst/>
                        </a:rPr>
                        <a:t>Apertura y/o notificación </a:t>
                      </a:r>
                      <a:endParaRPr lang="es-AR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1000" u="none" strike="noStrike">
                          <a:effectLst/>
                        </a:rPr>
                        <a:t>0,125</a:t>
                      </a:r>
                      <a:endParaRPr lang="es-AR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1000" u="none" strike="noStrike">
                          <a:effectLst/>
                        </a:rPr>
                        <a:t>50</a:t>
                      </a:r>
                      <a:endParaRPr lang="es-AR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1000" u="none" strike="noStrike">
                          <a:effectLst/>
                        </a:rPr>
                        <a:t>300</a:t>
                      </a:r>
                      <a:endParaRPr lang="es-AR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497498428"/>
                  </a:ext>
                </a:extLst>
              </a:tr>
              <a:tr h="150073">
                <a:tc>
                  <a:txBody>
                    <a:bodyPr/>
                    <a:lstStyle/>
                    <a:p>
                      <a:pPr algn="l" fontAlgn="b"/>
                      <a:r>
                        <a:rPr lang="es-AR" sz="1000" u="none" strike="noStrike">
                          <a:effectLst/>
                        </a:rPr>
                        <a:t>Aumento de valor</a:t>
                      </a:r>
                      <a:endParaRPr lang="es-AR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1000" u="none" strike="noStrike">
                          <a:effectLst/>
                        </a:rPr>
                        <a:t>0,125</a:t>
                      </a:r>
                      <a:endParaRPr lang="es-AR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1000" u="none" strike="noStrike">
                          <a:effectLst/>
                        </a:rPr>
                        <a:t>50</a:t>
                      </a:r>
                      <a:endParaRPr lang="es-AR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1000" u="none" strike="noStrike">
                          <a:effectLst/>
                        </a:rPr>
                        <a:t>200</a:t>
                      </a:r>
                      <a:endParaRPr lang="es-AR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3093892739"/>
                  </a:ext>
                </a:extLst>
              </a:tr>
              <a:tr h="450218">
                <a:tc>
                  <a:txBody>
                    <a:bodyPr/>
                    <a:lstStyle/>
                    <a:p>
                      <a:pPr algn="l" fontAlgn="b"/>
                      <a:r>
                        <a:rPr lang="es-AR" sz="1000" u="none" strike="noStrike">
                          <a:effectLst/>
                        </a:rPr>
                        <a:t>Confirmación </a:t>
                      </a:r>
                      <a:endParaRPr lang="es-AR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1000" u="none" strike="noStrike">
                          <a:effectLst/>
                        </a:rPr>
                        <a:t>0,125</a:t>
                      </a:r>
                      <a:endParaRPr lang="es-AR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1000" u="none" strike="noStrike">
                          <a:effectLst/>
                        </a:rPr>
                        <a:t>50</a:t>
                      </a:r>
                      <a:endParaRPr lang="es-AR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1000" u="none" strike="noStrike">
                          <a:effectLst/>
                        </a:rPr>
                        <a:t>Por trimestre o fracción, con excepción de operaciones dentro de ALADI</a:t>
                      </a:r>
                      <a:endParaRPr lang="es-AR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14269880"/>
                  </a:ext>
                </a:extLst>
              </a:tr>
              <a:tr h="150073">
                <a:tc>
                  <a:txBody>
                    <a:bodyPr/>
                    <a:lstStyle/>
                    <a:p>
                      <a:pPr algn="l" fontAlgn="b"/>
                      <a:r>
                        <a:rPr lang="es-AR" sz="1000" u="none" strike="noStrike">
                          <a:effectLst/>
                        </a:rPr>
                        <a:t>Negociación / Utilización</a:t>
                      </a:r>
                      <a:endParaRPr lang="es-AR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1000" u="none" strike="noStrike">
                          <a:effectLst/>
                        </a:rPr>
                        <a:t>0,125</a:t>
                      </a:r>
                      <a:endParaRPr lang="es-AR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1000" u="none" strike="noStrike">
                          <a:effectLst/>
                        </a:rPr>
                        <a:t>50</a:t>
                      </a:r>
                      <a:endParaRPr lang="es-AR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1000" u="none" strike="noStrike" dirty="0">
                          <a:effectLst/>
                        </a:rPr>
                        <a:t>300</a:t>
                      </a:r>
                      <a:endParaRPr lang="es-AR" sz="1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2877670820"/>
                  </a:ext>
                </a:extLst>
              </a:tr>
            </a:tbl>
          </a:graphicData>
        </a:graphic>
      </p:graphicFrame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8801541"/>
              </p:ext>
            </p:extLst>
          </p:nvPr>
        </p:nvGraphicFramePr>
        <p:xfrm>
          <a:off x="3234482" y="3487636"/>
          <a:ext cx="5167808" cy="37385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42367">
                  <a:extLst>
                    <a:ext uri="{9D8B030D-6E8A-4147-A177-3AD203B41FA5}">
                      <a16:colId xmlns="" xmlns:a16="http://schemas.microsoft.com/office/drawing/2014/main" val="3593419837"/>
                    </a:ext>
                  </a:extLst>
                </a:gridCol>
                <a:gridCol w="876774">
                  <a:extLst>
                    <a:ext uri="{9D8B030D-6E8A-4147-A177-3AD203B41FA5}">
                      <a16:colId xmlns="" xmlns:a16="http://schemas.microsoft.com/office/drawing/2014/main" val="3291674514"/>
                    </a:ext>
                  </a:extLst>
                </a:gridCol>
                <a:gridCol w="835514">
                  <a:extLst>
                    <a:ext uri="{9D8B030D-6E8A-4147-A177-3AD203B41FA5}">
                      <a16:colId xmlns="" xmlns:a16="http://schemas.microsoft.com/office/drawing/2014/main" val="3219616580"/>
                    </a:ext>
                  </a:extLst>
                </a:gridCol>
                <a:gridCol w="1413153">
                  <a:extLst>
                    <a:ext uri="{9D8B030D-6E8A-4147-A177-3AD203B41FA5}">
                      <a16:colId xmlns="" xmlns:a16="http://schemas.microsoft.com/office/drawing/2014/main" val="2471059547"/>
                    </a:ext>
                  </a:extLst>
                </a:gridCol>
              </a:tblGrid>
              <a:tr h="195328">
                <a:tc>
                  <a:txBody>
                    <a:bodyPr/>
                    <a:lstStyle/>
                    <a:p>
                      <a:pPr algn="l" fontAlgn="b"/>
                      <a:r>
                        <a:rPr lang="es-AR" sz="1100" u="none" strike="noStrike">
                          <a:effectLst/>
                        </a:rPr>
                        <a:t>Cobranzas   de Exportación </a:t>
                      </a:r>
                      <a:endParaRPr lang="es-AR" sz="11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1000" u="none" strike="noStrike">
                          <a:effectLst/>
                        </a:rPr>
                        <a:t>Porcentaje %</a:t>
                      </a:r>
                      <a:endParaRPr lang="es-AR" sz="10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1000" u="none" strike="noStrike">
                          <a:effectLst/>
                        </a:rPr>
                        <a:t>USD Mínimo</a:t>
                      </a:r>
                      <a:endParaRPr lang="es-AR" sz="10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1000" u="none" strike="noStrike">
                          <a:effectLst/>
                        </a:rPr>
                        <a:t>USD Máximo</a:t>
                      </a:r>
                      <a:endParaRPr lang="es-AR" sz="10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3030310368"/>
                  </a:ext>
                </a:extLst>
              </a:tr>
              <a:tr h="178525">
                <a:tc>
                  <a:txBody>
                    <a:bodyPr/>
                    <a:lstStyle/>
                    <a:p>
                      <a:pPr algn="l" fontAlgn="b"/>
                      <a:r>
                        <a:rPr lang="es-AR" sz="1000" u="none" strike="noStrike">
                          <a:effectLst/>
                        </a:rPr>
                        <a:t>Apertura aceptación y cobro</a:t>
                      </a:r>
                      <a:endParaRPr lang="es-AR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1000" u="none" strike="noStrike">
                          <a:effectLst/>
                        </a:rPr>
                        <a:t>0,25</a:t>
                      </a:r>
                      <a:endParaRPr lang="es-AR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1000" u="none" strike="noStrike">
                          <a:effectLst/>
                        </a:rPr>
                        <a:t>50</a:t>
                      </a:r>
                      <a:endParaRPr lang="es-AR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1000" u="none" strike="noStrike" dirty="0">
                          <a:effectLst/>
                        </a:rPr>
                        <a:t>200 Por trimestre</a:t>
                      </a:r>
                      <a:endParaRPr lang="es-AR" sz="1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32316635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7557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 descr="barra_degradé_colores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95333"/>
            <a:ext cx="9144000" cy="155864"/>
          </a:xfrm>
          <a:prstGeom prst="rect">
            <a:avLst/>
          </a:prstGeom>
        </p:spPr>
      </p:pic>
      <p:pic>
        <p:nvPicPr>
          <p:cNvPr id="37" name="Imagen 3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1477" y="390551"/>
            <a:ext cx="821624" cy="230832"/>
          </a:xfrm>
          <a:prstGeom prst="rect">
            <a:avLst/>
          </a:prstGeom>
        </p:spPr>
      </p:pic>
      <p:pic>
        <p:nvPicPr>
          <p:cNvPr id="38" name="Imagen 3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140" y="390551"/>
            <a:ext cx="2348491" cy="91149"/>
          </a:xfrm>
          <a:prstGeom prst="rect">
            <a:avLst/>
          </a:prstGeom>
        </p:spPr>
      </p:pic>
      <p:grpSp>
        <p:nvGrpSpPr>
          <p:cNvPr id="2" name="Grupo 1"/>
          <p:cNvGrpSpPr/>
          <p:nvPr/>
        </p:nvGrpSpPr>
        <p:grpSpPr>
          <a:xfrm>
            <a:off x="448788" y="1233889"/>
            <a:ext cx="7959301" cy="3299973"/>
            <a:chOff x="557682" y="991926"/>
            <a:chExt cx="10491430" cy="4218495"/>
          </a:xfrm>
        </p:grpSpPr>
        <p:sp>
          <p:nvSpPr>
            <p:cNvPr id="11" name="TextBox 5"/>
            <p:cNvSpPr txBox="1"/>
            <p:nvPr/>
          </p:nvSpPr>
          <p:spPr>
            <a:xfrm>
              <a:off x="667259" y="1570421"/>
              <a:ext cx="2346529" cy="708199"/>
            </a:xfrm>
            <a:prstGeom prst="rect">
              <a:avLst/>
            </a:prstGeom>
            <a:solidFill>
              <a:srgbClr val="4698AB"/>
            </a:solidFill>
          </p:spPr>
          <p:txBody>
            <a:bodyPr wrap="square" rtlCol="0">
              <a:spAutoFit/>
            </a:bodyPr>
            <a:lstStyle/>
            <a:p>
              <a:pPr algn="ctr"/>
              <a:endParaRPr lang="es-AR" sz="1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s-AR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MPORTADOR</a:t>
              </a:r>
            </a:p>
            <a:p>
              <a:pPr algn="ctr"/>
              <a:endParaRPr lang="es-AR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TextBox 5"/>
            <p:cNvSpPr txBox="1"/>
            <p:nvPr/>
          </p:nvSpPr>
          <p:spPr>
            <a:xfrm>
              <a:off x="8702583" y="1498230"/>
              <a:ext cx="2346529" cy="708199"/>
            </a:xfrm>
            <a:prstGeom prst="rect">
              <a:avLst/>
            </a:prstGeom>
            <a:solidFill>
              <a:srgbClr val="4698AB"/>
            </a:solidFill>
          </p:spPr>
          <p:txBody>
            <a:bodyPr wrap="square" rtlCol="0">
              <a:spAutoFit/>
            </a:bodyPr>
            <a:lstStyle/>
            <a:p>
              <a:pPr algn="ctr"/>
              <a:endParaRPr lang="es-AR" sz="1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s-AR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PORTADOR</a:t>
              </a:r>
            </a:p>
            <a:p>
              <a:pPr algn="ctr"/>
              <a:endParaRPr lang="es-AR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TextBox 5"/>
            <p:cNvSpPr txBox="1"/>
            <p:nvPr/>
          </p:nvSpPr>
          <p:spPr>
            <a:xfrm>
              <a:off x="557682" y="3615703"/>
              <a:ext cx="2456107" cy="511478"/>
            </a:xfrm>
            <a:prstGeom prst="rect">
              <a:avLst/>
            </a:prstGeom>
            <a:solidFill>
              <a:srgbClr val="69C3C4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s-AR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ANCO Emisor /Avalista</a:t>
              </a:r>
            </a:p>
            <a:p>
              <a:pPr algn="ctr"/>
              <a:endParaRPr lang="es-AR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5" name="Grupo 14"/>
            <p:cNvGrpSpPr/>
            <p:nvPr/>
          </p:nvGrpSpPr>
          <p:grpSpPr>
            <a:xfrm>
              <a:off x="3249445" y="1759840"/>
              <a:ext cx="5267538" cy="144381"/>
              <a:chOff x="2612571" y="550506"/>
              <a:chExt cx="5267538" cy="144381"/>
            </a:xfrm>
          </p:grpSpPr>
          <p:sp>
            <p:nvSpPr>
              <p:cNvPr id="16" name="Flecha derecha 15"/>
              <p:cNvSpPr/>
              <p:nvPr/>
            </p:nvSpPr>
            <p:spPr>
              <a:xfrm>
                <a:off x="2892490" y="550506"/>
                <a:ext cx="4987619" cy="144381"/>
              </a:xfrm>
              <a:prstGeom prst="rightArrow">
                <a:avLst/>
              </a:prstGeom>
              <a:solidFill>
                <a:srgbClr val="00A4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 sz="10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" name="Flecha derecha 16"/>
              <p:cNvSpPr/>
              <p:nvPr/>
            </p:nvSpPr>
            <p:spPr>
              <a:xfrm rot="10800000">
                <a:off x="2612571" y="550506"/>
                <a:ext cx="559837" cy="144381"/>
              </a:xfrm>
              <a:prstGeom prst="rightArrow">
                <a:avLst/>
              </a:prstGeom>
              <a:solidFill>
                <a:srgbClr val="00A4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 sz="10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23" name="Imagen 2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28411" y="4210619"/>
              <a:ext cx="999801" cy="999802"/>
            </a:xfrm>
            <a:prstGeom prst="rect">
              <a:avLst/>
            </a:prstGeom>
          </p:spPr>
        </p:pic>
        <p:sp>
          <p:nvSpPr>
            <p:cNvPr id="24" name="Rectángulo 23"/>
            <p:cNvSpPr/>
            <p:nvPr/>
          </p:nvSpPr>
          <p:spPr>
            <a:xfrm>
              <a:off x="3466609" y="2082264"/>
              <a:ext cx="4834708" cy="208525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ibor de 180 </a:t>
              </a:r>
              <a:r>
                <a:rPr lang="en-US" sz="1000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ías</a:t>
              </a:r>
              <a:r>
                <a:rPr lang="en-US" sz="1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</a:t>
              </a:r>
              <a:r>
                <a:rPr lang="en-US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</a:t>
              </a:r>
              <a:r>
                <a:rPr lang="en-US" sz="1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,5549) </a:t>
              </a:r>
              <a:r>
                <a:rPr lang="en-US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+ spread </a:t>
              </a:r>
              <a:r>
                <a:rPr lang="en-US" sz="1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5% </a:t>
              </a:r>
              <a:r>
                <a:rPr lang="en-US" sz="10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b</a:t>
              </a:r>
              <a:r>
                <a:rPr lang="en-US" sz="1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 = 6,5549 % -  3 </a:t>
              </a:r>
              <a:r>
                <a:rPr lang="en-US" sz="1000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untos</a:t>
              </a:r>
              <a:r>
                <a:rPr lang="en-US" sz="1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</a:t>
              </a:r>
              <a:r>
                <a:rPr lang="en-US" sz="1000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onificación</a:t>
              </a:r>
              <a:r>
                <a:rPr lang="en-US" sz="1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la </a:t>
              </a:r>
              <a:r>
                <a:rPr lang="en-US" sz="1000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sa</a:t>
              </a:r>
              <a:r>
                <a:rPr lang="en-US" sz="1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</a:t>
              </a:r>
            </a:p>
            <a:p>
              <a:endPara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1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,5549%  FIJA PARA TODA LA FINANCIACIÓN </a:t>
              </a:r>
            </a:p>
            <a:p>
              <a:endPara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s-AR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- Plazo: </a:t>
              </a:r>
              <a:r>
                <a:rPr lang="es-AR" sz="1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 </a:t>
              </a:r>
              <a:r>
                <a:rPr lang="es-AR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ños</a:t>
              </a:r>
            </a:p>
            <a:p>
              <a:r>
                <a:rPr lang="es-AR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- Amortización: </a:t>
              </a:r>
              <a:r>
                <a:rPr lang="es-AR" sz="1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 cuotas iguales y consecutivas de capital</a:t>
              </a:r>
              <a:endParaRPr lang="es-A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s-AR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- Intereses: </a:t>
              </a:r>
              <a:r>
                <a:rPr lang="es-AR" sz="1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mortización semestral según saldo de capital</a:t>
              </a:r>
            </a:p>
            <a:p>
              <a:r>
                <a:rPr lang="es-AR" sz="1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- </a:t>
              </a:r>
              <a:r>
                <a:rPr lang="es-AR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nto: </a:t>
              </a:r>
              <a:r>
                <a:rPr lang="es-AR" sz="1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$2.000.000</a:t>
              </a:r>
              <a:endParaRPr lang="es-A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CuadroTexto 24"/>
            <p:cNvSpPr txBox="1"/>
            <p:nvPr/>
          </p:nvSpPr>
          <p:spPr>
            <a:xfrm flipH="1">
              <a:off x="4118648" y="991926"/>
              <a:ext cx="3479077" cy="6717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s-AR" sz="10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GOCIACIÓN COMERCIAL </a:t>
              </a:r>
              <a:r>
                <a:rPr lang="es-AR" sz="1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PORTACIÓN POR USD 2.000.000</a:t>
              </a:r>
              <a:endParaRPr lang="es-A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7" name="Imagen 2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7011" y="3366267"/>
            <a:ext cx="1391919" cy="391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376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 descr="barra_degradé_colores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95333"/>
            <a:ext cx="9144000" cy="155864"/>
          </a:xfrm>
          <a:prstGeom prst="rect">
            <a:avLst/>
          </a:prstGeom>
        </p:spPr>
      </p:pic>
      <p:pic>
        <p:nvPicPr>
          <p:cNvPr id="37" name="Imagen 3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1477" y="390551"/>
            <a:ext cx="821624" cy="230832"/>
          </a:xfrm>
          <a:prstGeom prst="rect">
            <a:avLst/>
          </a:prstGeom>
        </p:spPr>
      </p:pic>
      <p:pic>
        <p:nvPicPr>
          <p:cNvPr id="38" name="Imagen 3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140" y="390551"/>
            <a:ext cx="2348491" cy="91149"/>
          </a:xfrm>
          <a:prstGeom prst="rect">
            <a:avLst/>
          </a:prstGeom>
        </p:spPr>
      </p:pic>
      <p:sp>
        <p:nvSpPr>
          <p:cNvPr id="18" name="TextBox 5"/>
          <p:cNvSpPr txBox="1"/>
          <p:nvPr/>
        </p:nvSpPr>
        <p:spPr>
          <a:xfrm>
            <a:off x="479853" y="888374"/>
            <a:ext cx="5421085" cy="369332"/>
          </a:xfrm>
          <a:prstGeom prst="rect">
            <a:avLst/>
          </a:prstGeom>
          <a:solidFill>
            <a:srgbClr val="69C3C4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AR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CO Emisor /Avalista</a:t>
            </a:r>
            <a:endParaRPr lang="es-AR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ángulo 18"/>
          <p:cNvSpPr/>
          <p:nvPr/>
        </p:nvSpPr>
        <p:spPr>
          <a:xfrm>
            <a:off x="308453" y="2518847"/>
            <a:ext cx="28819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AR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CO Emisor /Avalista</a:t>
            </a:r>
          </a:p>
        </p:txBody>
      </p:sp>
      <p:graphicFrame>
        <p:nvGraphicFramePr>
          <p:cNvPr id="20" name="Tabla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3142388"/>
              </p:ext>
            </p:extLst>
          </p:nvPr>
        </p:nvGraphicFramePr>
        <p:xfrm>
          <a:off x="479853" y="1931965"/>
          <a:ext cx="5987048" cy="17678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01950">
                  <a:extLst>
                    <a:ext uri="{9D8B030D-6E8A-4147-A177-3AD203B41FA5}">
                      <a16:colId xmlns="" xmlns:a16="http://schemas.microsoft.com/office/drawing/2014/main" val="1057948801"/>
                    </a:ext>
                  </a:extLst>
                </a:gridCol>
                <a:gridCol w="666852">
                  <a:extLst>
                    <a:ext uri="{9D8B030D-6E8A-4147-A177-3AD203B41FA5}">
                      <a16:colId xmlns="" xmlns:a16="http://schemas.microsoft.com/office/drawing/2014/main" val="558026682"/>
                    </a:ext>
                  </a:extLst>
                </a:gridCol>
                <a:gridCol w="833566">
                  <a:extLst>
                    <a:ext uri="{9D8B030D-6E8A-4147-A177-3AD203B41FA5}">
                      <a16:colId xmlns="" xmlns:a16="http://schemas.microsoft.com/office/drawing/2014/main" val="4136708248"/>
                    </a:ext>
                  </a:extLst>
                </a:gridCol>
                <a:gridCol w="833566">
                  <a:extLst>
                    <a:ext uri="{9D8B030D-6E8A-4147-A177-3AD203B41FA5}">
                      <a16:colId xmlns="" xmlns:a16="http://schemas.microsoft.com/office/drawing/2014/main" val="119382005"/>
                    </a:ext>
                  </a:extLst>
                </a:gridCol>
                <a:gridCol w="854039">
                  <a:extLst>
                    <a:ext uri="{9D8B030D-6E8A-4147-A177-3AD203B41FA5}">
                      <a16:colId xmlns="" xmlns:a16="http://schemas.microsoft.com/office/drawing/2014/main" val="2342773405"/>
                    </a:ext>
                  </a:extLst>
                </a:gridCol>
                <a:gridCol w="1149443">
                  <a:extLst>
                    <a:ext uri="{9D8B030D-6E8A-4147-A177-3AD203B41FA5}">
                      <a16:colId xmlns="" xmlns:a16="http://schemas.microsoft.com/office/drawing/2014/main" val="563984438"/>
                    </a:ext>
                  </a:extLst>
                </a:gridCol>
                <a:gridCol w="947632">
                  <a:extLst>
                    <a:ext uri="{9D8B030D-6E8A-4147-A177-3AD203B41FA5}">
                      <a16:colId xmlns="" xmlns:a16="http://schemas.microsoft.com/office/drawing/2014/main" val="2793640780"/>
                    </a:ext>
                  </a:extLst>
                </a:gridCol>
              </a:tblGrid>
              <a:tr h="147318"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1-11-17</a:t>
                      </a:r>
                      <a:endParaRPr lang="es-A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ro</a:t>
                      </a:r>
                      <a:endParaRPr lang="es-A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ldo </a:t>
                      </a:r>
                      <a:endParaRPr lang="es-A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sa</a:t>
                      </a:r>
                      <a:endParaRPr lang="es-A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es</a:t>
                      </a:r>
                      <a:endParaRPr lang="es-A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mortiz.</a:t>
                      </a:r>
                      <a:endParaRPr lang="es-A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uota </a:t>
                      </a:r>
                      <a:endParaRPr lang="es-A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2808291110"/>
                  </a:ext>
                </a:extLst>
              </a:tr>
              <a:tr h="147318"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-04-18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000.000,00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55%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.062,03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.000,00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235.062,03 </a:t>
                      </a:r>
                      <a:endParaRPr lang="es-A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578887845"/>
                  </a:ext>
                </a:extLst>
              </a:tr>
              <a:tr h="147318"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-10-18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800.000,00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55%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.555,82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.000,00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231.555,82 </a:t>
                      </a:r>
                      <a:endParaRPr lang="es-A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331231068"/>
                  </a:ext>
                </a:extLst>
              </a:tr>
              <a:tr h="147318"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-04-19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600.000,00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55%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.049,62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.000,00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228.049,62 </a:t>
                      </a:r>
                      <a:endParaRPr lang="es-A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1114899354"/>
                  </a:ext>
                </a:extLst>
              </a:tr>
              <a:tr h="147318"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-10-19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400.000,00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55%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.543,42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.000,00</a:t>
                      </a:r>
                      <a:endParaRPr lang="es-A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224.543,42 </a:t>
                      </a:r>
                      <a:endParaRPr lang="es-A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1763556827"/>
                  </a:ext>
                </a:extLst>
              </a:tr>
              <a:tr h="147318"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-04-20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200.000,00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55%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.037,22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.000,00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221.037,22 </a:t>
                      </a:r>
                      <a:endParaRPr lang="es-A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4149024173"/>
                  </a:ext>
                </a:extLst>
              </a:tr>
              <a:tr h="147318"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10-20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000.000,00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55%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.531,01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.000,00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217.531,01 </a:t>
                      </a:r>
                      <a:endParaRPr lang="es-A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1342872237"/>
                  </a:ext>
                </a:extLst>
              </a:tr>
              <a:tr h="147318"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-04-21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0.000,00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55%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.024,81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.000,00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214.024,81 </a:t>
                      </a:r>
                      <a:endParaRPr lang="es-A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4013436054"/>
                  </a:ext>
                </a:extLst>
              </a:tr>
              <a:tr h="147318"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-10-21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0.000,00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55%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518,61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.000,00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210.518,61 </a:t>
                      </a:r>
                      <a:endParaRPr lang="es-A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3964109573"/>
                  </a:ext>
                </a:extLst>
              </a:tr>
              <a:tr h="147318"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9-04-22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0.000,00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55%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012,41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.000,00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207.012,41 </a:t>
                      </a:r>
                      <a:endParaRPr lang="es-A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2375435755"/>
                  </a:ext>
                </a:extLst>
              </a:tr>
              <a:tr h="147318"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6-10-22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.000,00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55%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506,20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.000,00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203.506,20 </a:t>
                      </a:r>
                      <a:endParaRPr lang="es-A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3747148913"/>
                  </a:ext>
                </a:extLst>
              </a:tr>
              <a:tr h="147318">
                <a:tc>
                  <a:txBody>
                    <a:bodyPr/>
                    <a:lstStyle/>
                    <a:p>
                      <a:pPr algn="l" fontAlgn="b"/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2.841,15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000.000,00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AR" sz="9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2.192.841,15 </a:t>
                      </a:r>
                      <a:endParaRPr lang="es-A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1311096702"/>
                  </a:ext>
                </a:extLst>
              </a:tr>
            </a:tbl>
          </a:graphicData>
        </a:graphic>
      </p:graphicFrame>
      <p:graphicFrame>
        <p:nvGraphicFramePr>
          <p:cNvPr id="21" name="Tab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768241"/>
              </p:ext>
            </p:extLst>
          </p:nvPr>
        </p:nvGraphicFramePr>
        <p:xfrm>
          <a:off x="6824747" y="1997836"/>
          <a:ext cx="2003435" cy="7334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72826">
                  <a:extLst>
                    <a:ext uri="{9D8B030D-6E8A-4147-A177-3AD203B41FA5}">
                      <a16:colId xmlns="" xmlns:a16="http://schemas.microsoft.com/office/drawing/2014/main" val="1691573943"/>
                    </a:ext>
                  </a:extLst>
                </a:gridCol>
                <a:gridCol w="587286">
                  <a:extLst>
                    <a:ext uri="{9D8B030D-6E8A-4147-A177-3AD203B41FA5}">
                      <a16:colId xmlns="" xmlns:a16="http://schemas.microsoft.com/office/drawing/2014/main" val="1927139719"/>
                    </a:ext>
                  </a:extLst>
                </a:gridCol>
                <a:gridCol w="643323">
                  <a:extLst>
                    <a:ext uri="{9D8B030D-6E8A-4147-A177-3AD203B41FA5}">
                      <a16:colId xmlns="" xmlns:a16="http://schemas.microsoft.com/office/drawing/2014/main" val="31610906"/>
                    </a:ext>
                  </a:extLst>
                </a:gridCol>
              </a:tblGrid>
              <a:tr h="133517">
                <a:tc>
                  <a:txBody>
                    <a:bodyPr/>
                    <a:lstStyle/>
                    <a:p>
                      <a:pPr algn="l" fontAlgn="b"/>
                      <a:r>
                        <a:rPr lang="es-AR" sz="900" u="none" strike="noStrike" dirty="0">
                          <a:effectLst/>
                        </a:rPr>
                        <a:t>Componentes</a:t>
                      </a:r>
                      <a:endParaRPr lang="es-A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 dirty="0">
                          <a:effectLst/>
                        </a:rPr>
                        <a:t>Porcentaje</a:t>
                      </a:r>
                      <a:endParaRPr lang="es-A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</a:rPr>
                        <a:t>Tasa</a:t>
                      </a:r>
                      <a:endParaRPr lang="es-A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2302812183"/>
                  </a:ext>
                </a:extLst>
              </a:tr>
              <a:tr h="133517">
                <a:tc>
                  <a:txBody>
                    <a:bodyPr/>
                    <a:lstStyle/>
                    <a:p>
                      <a:pPr algn="l" fontAlgn="b"/>
                      <a:r>
                        <a:rPr lang="es-AR" sz="900" u="none" strike="noStrike">
                          <a:effectLst/>
                        </a:rPr>
                        <a:t>Libor + 4,25%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</a:rPr>
                        <a:t> 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</a:rPr>
                        <a:t>6,5549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2100982292"/>
                  </a:ext>
                </a:extLst>
              </a:tr>
              <a:tr h="133517">
                <a:tc>
                  <a:txBody>
                    <a:bodyPr/>
                    <a:lstStyle/>
                    <a:p>
                      <a:pPr algn="l" fontAlgn="b"/>
                      <a:r>
                        <a:rPr lang="es-AR" sz="900" u="none" strike="noStrike">
                          <a:effectLst/>
                        </a:rPr>
                        <a:t>Subsidio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</a:rPr>
                        <a:t> 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</a:rPr>
                        <a:t>-3,0000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1246711523"/>
                  </a:ext>
                </a:extLst>
              </a:tr>
              <a:tr h="133517">
                <a:tc>
                  <a:txBody>
                    <a:bodyPr/>
                    <a:lstStyle/>
                    <a:p>
                      <a:pPr algn="l" fontAlgn="b"/>
                      <a:r>
                        <a:rPr lang="es-AR" sz="900" u="none" strike="noStrike">
                          <a:effectLst/>
                        </a:rPr>
                        <a:t> 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</a:rPr>
                        <a:t> 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>
                          <a:effectLst/>
                        </a:rPr>
                        <a:t> 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2811301295"/>
                  </a:ext>
                </a:extLst>
              </a:tr>
              <a:tr h="133517">
                <a:tc>
                  <a:txBody>
                    <a:bodyPr/>
                    <a:lstStyle/>
                    <a:p>
                      <a:pPr algn="l" fontAlgn="b"/>
                      <a:r>
                        <a:rPr lang="es-AR" sz="900" u="none" strike="noStrike">
                          <a:effectLst/>
                        </a:rPr>
                        <a:t>Tasa Final</a:t>
                      </a:r>
                      <a:endParaRPr lang="es-A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AR" sz="900" u="none" strike="noStrike">
                          <a:effectLst/>
                        </a:rPr>
                        <a:t> </a:t>
                      </a:r>
                      <a:endParaRPr lang="es-AR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AR" sz="900" u="none" strike="noStrike" dirty="0">
                          <a:effectLst/>
                        </a:rPr>
                        <a:t>3,5549</a:t>
                      </a:r>
                      <a:endParaRPr lang="es-AR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3963366624"/>
                  </a:ext>
                </a:extLst>
              </a:tr>
            </a:tbl>
          </a:graphicData>
        </a:graphic>
      </p:graphicFrame>
      <p:graphicFrame>
        <p:nvGraphicFramePr>
          <p:cNvPr id="22" name="Tabla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2319521"/>
              </p:ext>
            </p:extLst>
          </p:nvPr>
        </p:nvGraphicFramePr>
        <p:xfrm>
          <a:off x="6839829" y="3079163"/>
          <a:ext cx="1973272" cy="14024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77010">
                  <a:extLst>
                    <a:ext uri="{9D8B030D-6E8A-4147-A177-3AD203B41FA5}">
                      <a16:colId xmlns="" xmlns:a16="http://schemas.microsoft.com/office/drawing/2014/main" val="247269942"/>
                    </a:ext>
                  </a:extLst>
                </a:gridCol>
                <a:gridCol w="1096262">
                  <a:extLst>
                    <a:ext uri="{9D8B030D-6E8A-4147-A177-3AD203B41FA5}">
                      <a16:colId xmlns="" xmlns:a16="http://schemas.microsoft.com/office/drawing/2014/main" val="3916174583"/>
                    </a:ext>
                  </a:extLst>
                </a:gridCol>
              </a:tblGrid>
              <a:tr h="237515">
                <a:tc>
                  <a:txBody>
                    <a:bodyPr/>
                    <a:lstStyle/>
                    <a:p>
                      <a:pPr algn="l" fontAlgn="b"/>
                      <a:r>
                        <a:rPr lang="es-AR" sz="900" u="none" strike="noStrike" dirty="0">
                          <a:effectLst/>
                        </a:rPr>
                        <a:t>Capital</a:t>
                      </a:r>
                      <a:endParaRPr lang="es-A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 dirty="0">
                          <a:effectLst/>
                        </a:rPr>
                        <a:t>2.000.000,00</a:t>
                      </a:r>
                      <a:endParaRPr lang="es-A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1089858176"/>
                  </a:ext>
                </a:extLst>
              </a:tr>
              <a:tr h="226205">
                <a:tc>
                  <a:txBody>
                    <a:bodyPr/>
                    <a:lstStyle/>
                    <a:p>
                      <a:pPr algn="l" fontAlgn="b"/>
                      <a:r>
                        <a:rPr lang="es-AR" sz="900" u="none" strike="noStrike">
                          <a:effectLst/>
                        </a:rPr>
                        <a:t>Cuota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</a:rPr>
                        <a:t>10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2005185022"/>
                  </a:ext>
                </a:extLst>
              </a:tr>
              <a:tr h="226205">
                <a:tc>
                  <a:txBody>
                    <a:bodyPr/>
                    <a:lstStyle/>
                    <a:p>
                      <a:pPr algn="l" fontAlgn="b"/>
                      <a:r>
                        <a:rPr lang="es-AR" sz="900" u="none" strike="noStrike">
                          <a:effectLst/>
                        </a:rPr>
                        <a:t>Gracia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</a:rPr>
                        <a:t>0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1527354280"/>
                  </a:ext>
                </a:extLst>
              </a:tr>
              <a:tr h="237515">
                <a:tc>
                  <a:txBody>
                    <a:bodyPr/>
                    <a:lstStyle/>
                    <a:p>
                      <a:pPr algn="l" fontAlgn="b"/>
                      <a:r>
                        <a:rPr lang="es-AR" sz="900" u="none" strike="noStrike">
                          <a:effectLst/>
                        </a:rPr>
                        <a:t>Tasa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</a:rPr>
                        <a:t>3,5549%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2456008779"/>
                  </a:ext>
                </a:extLst>
              </a:tr>
              <a:tr h="237515">
                <a:tc>
                  <a:txBody>
                    <a:bodyPr/>
                    <a:lstStyle/>
                    <a:p>
                      <a:pPr algn="l" fontAlgn="b"/>
                      <a:r>
                        <a:rPr lang="es-AR" sz="900" u="none" strike="noStrike">
                          <a:effectLst/>
                        </a:rPr>
                        <a:t>Origen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>
                          <a:effectLst/>
                        </a:rPr>
                        <a:t>01-nov-17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2297701177"/>
                  </a:ext>
                </a:extLst>
              </a:tr>
              <a:tr h="237515">
                <a:tc>
                  <a:txBody>
                    <a:bodyPr/>
                    <a:lstStyle/>
                    <a:p>
                      <a:pPr algn="l" fontAlgn="b"/>
                      <a:r>
                        <a:rPr lang="es-AR" sz="900" u="none" strike="noStrike">
                          <a:effectLst/>
                        </a:rPr>
                        <a:t>Periocidad</a:t>
                      </a:r>
                      <a:endParaRPr lang="es-AR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AR" sz="900" u="none" strike="noStrike" dirty="0">
                          <a:effectLst/>
                        </a:rPr>
                        <a:t>180</a:t>
                      </a:r>
                      <a:endParaRPr lang="es-AR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23337218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438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 descr="barra_degradé_colores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95333"/>
            <a:ext cx="9144000" cy="155864"/>
          </a:xfrm>
          <a:prstGeom prst="rect">
            <a:avLst/>
          </a:prstGeom>
        </p:spPr>
      </p:pic>
      <p:sp>
        <p:nvSpPr>
          <p:cNvPr id="36" name="TextBox 3"/>
          <p:cNvSpPr txBox="1"/>
          <p:nvPr/>
        </p:nvSpPr>
        <p:spPr>
          <a:xfrm>
            <a:off x="448788" y="569027"/>
            <a:ext cx="75813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spc="300" dirty="0" smtClean="0">
                <a:solidFill>
                  <a:srgbClr val="2C61AC"/>
                </a:solidFill>
                <a:latin typeface="Arial"/>
                <a:cs typeface="Arial"/>
              </a:rPr>
              <a:t>FINANCIÓN DE EXPORTACIONES A MEDIANO Y LARGO PLAZO</a:t>
            </a:r>
            <a:endParaRPr lang="en-US" sz="1400" b="1" spc="300" dirty="0">
              <a:solidFill>
                <a:srgbClr val="2C61AC"/>
              </a:solidFill>
              <a:latin typeface="Arial"/>
              <a:cs typeface="Arial"/>
            </a:endParaRPr>
          </a:p>
        </p:txBody>
      </p:sp>
      <p:pic>
        <p:nvPicPr>
          <p:cNvPr id="37" name="Imagen 3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1477" y="390551"/>
            <a:ext cx="821624" cy="230832"/>
          </a:xfrm>
          <a:prstGeom prst="rect">
            <a:avLst/>
          </a:prstGeom>
        </p:spPr>
      </p:pic>
      <p:pic>
        <p:nvPicPr>
          <p:cNvPr id="38" name="Imagen 3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140" y="390551"/>
            <a:ext cx="2348491" cy="91149"/>
          </a:xfrm>
          <a:prstGeom prst="rect">
            <a:avLst/>
          </a:prstGeom>
        </p:spPr>
      </p:pic>
      <p:sp>
        <p:nvSpPr>
          <p:cNvPr id="11" name="Elipse 10"/>
          <p:cNvSpPr/>
          <p:nvPr/>
        </p:nvSpPr>
        <p:spPr>
          <a:xfrm>
            <a:off x="745006" y="1338268"/>
            <a:ext cx="880855" cy="88085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hape 1552"/>
          <p:cNvSpPr txBox="1"/>
          <p:nvPr/>
        </p:nvSpPr>
        <p:spPr>
          <a:xfrm>
            <a:off x="3630144" y="1290425"/>
            <a:ext cx="5370637" cy="3218513"/>
          </a:xfrm>
          <a:prstGeom prst="rect">
            <a:avLst/>
          </a:prstGeom>
          <a:noFill/>
          <a:ln>
            <a:noFill/>
          </a:ln>
        </p:spPr>
        <p:txBody>
          <a:bodyPr wrap="square" lIns="55433" tIns="55433" rIns="55433" bIns="55433" anchor="t" anchorCtr="0">
            <a:noAutofit/>
          </a:bodyPr>
          <a:lstStyle/>
          <a:p>
            <a:pPr>
              <a:lnSpc>
                <a:spcPct val="115000"/>
              </a:lnSpc>
              <a:buClr>
                <a:schemeClr val="dk1"/>
              </a:buClr>
              <a:buSzPct val="41666"/>
            </a:pPr>
            <a:r>
              <a:rPr lang="es-AR" sz="1100" dirty="0">
                <a:solidFill>
                  <a:srgbClr val="7F7F7F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</a:rPr>
              <a:t>Financiación destinada a dar apoyo a las Pymes para afrontar los costos y gastos propios de la logística y la distribución física de las mercaderías en zonas francas (</a:t>
            </a:r>
            <a:r>
              <a:rPr lang="es-AR" sz="1100" dirty="0" err="1">
                <a:solidFill>
                  <a:srgbClr val="7F7F7F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</a:rPr>
              <a:t>Hubs</a:t>
            </a:r>
            <a:r>
              <a:rPr lang="es-AR" sz="1100" dirty="0">
                <a:solidFill>
                  <a:srgbClr val="7F7F7F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</a:rPr>
              <a:t>).</a:t>
            </a:r>
            <a:br>
              <a:rPr lang="es-AR" sz="1100" dirty="0">
                <a:solidFill>
                  <a:srgbClr val="7F7F7F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</a:rPr>
            </a:br>
            <a:endParaRPr lang="es-AR" sz="1100" dirty="0">
              <a:solidFill>
                <a:srgbClr val="7F7F7F"/>
              </a:solidFill>
              <a:latin typeface="Arial" panose="020B0604020202020204" pitchFamily="34" charset="0"/>
              <a:ea typeface="Montserrat"/>
              <a:cs typeface="Arial" panose="020B0604020202020204" pitchFamily="34" charset="0"/>
            </a:endParaRPr>
          </a:p>
          <a:p>
            <a:pPr>
              <a:lnSpc>
                <a:spcPct val="115000"/>
              </a:lnSpc>
              <a:buClr>
                <a:schemeClr val="dk1"/>
              </a:buClr>
              <a:buSzPct val="41666"/>
            </a:pPr>
            <a:r>
              <a:rPr lang="es-AR" sz="1100" dirty="0">
                <a:solidFill>
                  <a:srgbClr val="7F7F7F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</a:rPr>
              <a:t>Tasas: grilla </a:t>
            </a:r>
            <a:r>
              <a:rPr lang="es-AR" sz="1100" dirty="0" err="1" smtClean="0">
                <a:solidFill>
                  <a:srgbClr val="7F7F7F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</a:rPr>
              <a:t>Prefi</a:t>
            </a:r>
            <a:r>
              <a:rPr lang="es-AR" sz="1100" dirty="0" smtClean="0">
                <a:solidFill>
                  <a:srgbClr val="7F7F7F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</a:rPr>
              <a:t>/Fi para más de 210 días ( hoy están en el orden de 6% hasta 7,75%).</a:t>
            </a:r>
            <a:r>
              <a:rPr lang="es-AR" sz="1100" dirty="0">
                <a:solidFill>
                  <a:srgbClr val="7F7F7F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</a:rPr>
              <a:t/>
            </a:r>
            <a:br>
              <a:rPr lang="es-AR" sz="1100" dirty="0">
                <a:solidFill>
                  <a:srgbClr val="7F7F7F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</a:rPr>
            </a:br>
            <a:endParaRPr lang="es-AR" sz="1100" dirty="0">
              <a:solidFill>
                <a:srgbClr val="7F7F7F"/>
              </a:solidFill>
              <a:latin typeface="Arial" panose="020B0604020202020204" pitchFamily="34" charset="0"/>
              <a:ea typeface="Montserrat"/>
              <a:cs typeface="Arial" panose="020B0604020202020204" pitchFamily="34" charset="0"/>
            </a:endParaRPr>
          </a:p>
          <a:p>
            <a:pPr>
              <a:lnSpc>
                <a:spcPct val="115000"/>
              </a:lnSpc>
              <a:buClr>
                <a:schemeClr val="dk1"/>
              </a:buClr>
              <a:buSzPct val="41666"/>
            </a:pPr>
            <a:r>
              <a:rPr lang="es-AR" sz="1100" dirty="0">
                <a:solidFill>
                  <a:srgbClr val="7F7F7F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</a:rPr>
              <a:t>Plazo: 360 días + 30 días de prórroga (opcional). Al vencimiento  del plazo la mercadería enviada al exterior a zona franca deberá convertirse en exportación o bien reexportarse a RA</a:t>
            </a:r>
            <a:r>
              <a:rPr lang="es-AR" sz="1100" dirty="0" smtClean="0">
                <a:solidFill>
                  <a:srgbClr val="7F7F7F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</a:rPr>
              <a:t>.</a:t>
            </a:r>
          </a:p>
          <a:p>
            <a:pPr>
              <a:lnSpc>
                <a:spcPct val="115000"/>
              </a:lnSpc>
              <a:buClr>
                <a:schemeClr val="dk1"/>
              </a:buClr>
              <a:buSzPct val="41666"/>
            </a:pPr>
            <a:endParaRPr lang="es-AR" sz="1100" dirty="0">
              <a:solidFill>
                <a:srgbClr val="7F7F7F"/>
              </a:solidFill>
              <a:latin typeface="Arial" panose="020B0604020202020204" pitchFamily="34" charset="0"/>
              <a:ea typeface="Montserrat"/>
              <a:cs typeface="Arial" panose="020B0604020202020204" pitchFamily="34" charset="0"/>
            </a:endParaRPr>
          </a:p>
          <a:p>
            <a:pPr>
              <a:lnSpc>
                <a:spcPct val="115000"/>
              </a:lnSpc>
              <a:buClr>
                <a:schemeClr val="dk1"/>
              </a:buClr>
              <a:buSzPct val="41666"/>
            </a:pPr>
            <a:r>
              <a:rPr lang="es-AR" sz="1100" dirty="0">
                <a:solidFill>
                  <a:srgbClr val="7F7F7F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</a:rPr>
              <a:t>Destinatarios: Empresas presentadas por la Agencia Argentina de Inversiones y Comercio Internacional  (A.A.I.C.I.) en el marco del programa de Expansión de Nuevos Mercados. </a:t>
            </a:r>
            <a:endParaRPr lang="es-AR" sz="1100" dirty="0" smtClean="0">
              <a:solidFill>
                <a:srgbClr val="7F7F7F"/>
              </a:solidFill>
              <a:latin typeface="Arial" panose="020B0604020202020204" pitchFamily="34" charset="0"/>
              <a:ea typeface="Montserrat"/>
              <a:cs typeface="Arial" panose="020B0604020202020204" pitchFamily="34" charset="0"/>
            </a:endParaRPr>
          </a:p>
          <a:p>
            <a:pPr>
              <a:lnSpc>
                <a:spcPct val="115000"/>
              </a:lnSpc>
              <a:buClr>
                <a:schemeClr val="dk1"/>
              </a:buClr>
              <a:buSzPct val="41666"/>
            </a:pPr>
            <a:r>
              <a:rPr lang="es-AR" sz="1100" dirty="0" smtClean="0">
                <a:solidFill>
                  <a:srgbClr val="7F7F7F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</a:rPr>
              <a:t>Comisión de desembolso: 0,30% </a:t>
            </a:r>
          </a:p>
          <a:p>
            <a:pPr>
              <a:lnSpc>
                <a:spcPct val="115000"/>
              </a:lnSpc>
              <a:buClr>
                <a:schemeClr val="dk1"/>
              </a:buClr>
              <a:buSzPct val="41666"/>
            </a:pPr>
            <a:endParaRPr lang="es-AR" sz="1100" dirty="0" smtClean="0">
              <a:solidFill>
                <a:srgbClr val="7F7F7F"/>
              </a:solidFill>
              <a:latin typeface="Arial" panose="020B0604020202020204" pitchFamily="34" charset="0"/>
              <a:ea typeface="Montserrat"/>
              <a:cs typeface="Arial" panose="020B0604020202020204" pitchFamily="34" charset="0"/>
            </a:endParaRPr>
          </a:p>
          <a:p>
            <a:pPr>
              <a:lnSpc>
                <a:spcPct val="115000"/>
              </a:lnSpc>
              <a:buClr>
                <a:schemeClr val="dk1"/>
              </a:buClr>
              <a:buSzPct val="41666"/>
            </a:pPr>
            <a:endParaRPr lang="es-AR" sz="1100" dirty="0">
              <a:solidFill>
                <a:srgbClr val="7F7F7F"/>
              </a:solidFill>
              <a:latin typeface="Arial" panose="020B0604020202020204" pitchFamily="34" charset="0"/>
              <a:ea typeface="Montserrat"/>
              <a:cs typeface="Arial" panose="020B0604020202020204" pitchFamily="34" charset="0"/>
            </a:endParaRPr>
          </a:p>
        </p:txBody>
      </p:sp>
      <p:sp>
        <p:nvSpPr>
          <p:cNvPr id="13" name="Shape 1554"/>
          <p:cNvSpPr txBox="1"/>
          <p:nvPr/>
        </p:nvSpPr>
        <p:spPr>
          <a:xfrm>
            <a:off x="252224" y="2752532"/>
            <a:ext cx="2931651" cy="739815"/>
          </a:xfrm>
          <a:prstGeom prst="rect">
            <a:avLst/>
          </a:prstGeom>
          <a:noFill/>
          <a:ln>
            <a:noFill/>
          </a:ln>
        </p:spPr>
        <p:txBody>
          <a:bodyPr wrap="square" lIns="55433" tIns="55433" rIns="55433" bIns="55433" anchor="t" anchorCtr="0">
            <a:noAutofit/>
          </a:bodyPr>
          <a:lstStyle/>
          <a:p>
            <a:pPr lvl="0">
              <a:buClr>
                <a:srgbClr val="666666"/>
              </a:buClr>
            </a:pPr>
            <a:r>
              <a:rPr lang="es-AR" sz="1200" b="1" dirty="0">
                <a:solidFill>
                  <a:srgbClr val="2C61AC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 ExtraLight"/>
              </a:rPr>
              <a:t>FINANCIACIÓN A LA DISTRIBUCIÓN FÍSICA INTERNACIONAL</a:t>
            </a:r>
          </a:p>
          <a:p>
            <a:pPr lvl="0">
              <a:buClr>
                <a:srgbClr val="666666"/>
              </a:buClr>
            </a:pPr>
            <a:r>
              <a:rPr lang="es-AR" sz="1200" b="1" dirty="0">
                <a:solidFill>
                  <a:srgbClr val="2C61AC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 ExtraLight"/>
              </a:rPr>
              <a:t>(ZONA FRANCA – HUB)</a:t>
            </a:r>
          </a:p>
        </p:txBody>
      </p:sp>
      <p:pic>
        <p:nvPicPr>
          <p:cNvPr id="14" name="Imagen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493" y="1496254"/>
            <a:ext cx="616544" cy="616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538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 descr="barra_degradé_colores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95333"/>
            <a:ext cx="9144000" cy="155864"/>
          </a:xfrm>
          <a:prstGeom prst="rect">
            <a:avLst/>
          </a:prstGeom>
        </p:spPr>
      </p:pic>
      <p:sp>
        <p:nvSpPr>
          <p:cNvPr id="36" name="TextBox 3"/>
          <p:cNvSpPr txBox="1"/>
          <p:nvPr/>
        </p:nvSpPr>
        <p:spPr>
          <a:xfrm>
            <a:off x="448788" y="569027"/>
            <a:ext cx="47310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spc="300" dirty="0" smtClean="0">
                <a:solidFill>
                  <a:srgbClr val="2C61AC"/>
                </a:solidFill>
                <a:latin typeface="Arial"/>
                <a:cs typeface="Arial"/>
              </a:rPr>
              <a:t>FINANCIAMIENTO A LA EXPORTACIÓN</a:t>
            </a:r>
            <a:endParaRPr lang="en-US" sz="1400" b="1" spc="300" dirty="0">
              <a:solidFill>
                <a:srgbClr val="2C61AC"/>
              </a:solidFill>
              <a:latin typeface="Arial"/>
              <a:cs typeface="Arial"/>
            </a:endParaRPr>
          </a:p>
        </p:txBody>
      </p:sp>
      <p:pic>
        <p:nvPicPr>
          <p:cNvPr id="37" name="Imagen 3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1477" y="390551"/>
            <a:ext cx="821624" cy="230832"/>
          </a:xfrm>
          <a:prstGeom prst="rect">
            <a:avLst/>
          </a:prstGeom>
        </p:spPr>
      </p:pic>
      <p:pic>
        <p:nvPicPr>
          <p:cNvPr id="38" name="Imagen 3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140" y="390551"/>
            <a:ext cx="2348491" cy="91149"/>
          </a:xfrm>
          <a:prstGeom prst="rect">
            <a:avLst/>
          </a:prstGeom>
        </p:spPr>
      </p:pic>
      <p:grpSp>
        <p:nvGrpSpPr>
          <p:cNvPr id="582" name="Grupo 581"/>
          <p:cNvGrpSpPr/>
          <p:nvPr/>
        </p:nvGrpSpPr>
        <p:grpSpPr>
          <a:xfrm>
            <a:off x="339383" y="1187738"/>
            <a:ext cx="8590203" cy="3807596"/>
            <a:chOff x="405207" y="1566883"/>
            <a:chExt cx="11556792" cy="4806530"/>
          </a:xfrm>
        </p:grpSpPr>
        <p:cxnSp>
          <p:nvCxnSpPr>
            <p:cNvPr id="583" name="Shape 683"/>
            <p:cNvCxnSpPr/>
            <p:nvPr/>
          </p:nvCxnSpPr>
          <p:spPr>
            <a:xfrm>
              <a:off x="5854765" y="2436719"/>
              <a:ext cx="5930583" cy="0"/>
            </a:xfrm>
            <a:prstGeom prst="straightConnector1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584" name="Shape 2728"/>
            <p:cNvCxnSpPr/>
            <p:nvPr/>
          </p:nvCxnSpPr>
          <p:spPr>
            <a:xfrm>
              <a:off x="558218" y="2221045"/>
              <a:ext cx="11227129" cy="0"/>
            </a:xfrm>
            <a:prstGeom prst="straightConnector1">
              <a:avLst/>
            </a:prstGeom>
            <a:noFill/>
            <a:ln w="19050" cap="flat" cmpd="sng">
              <a:solidFill>
                <a:srgbClr val="41B3E5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585" name="Conector recto 584"/>
            <p:cNvCxnSpPr/>
            <p:nvPr/>
          </p:nvCxnSpPr>
          <p:spPr>
            <a:xfrm>
              <a:off x="5701021" y="2064158"/>
              <a:ext cx="0" cy="162409"/>
            </a:xfrm>
            <a:prstGeom prst="line">
              <a:avLst/>
            </a:prstGeom>
            <a:ln>
              <a:solidFill>
                <a:srgbClr val="93005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86" name="CuadroTexto 585"/>
            <p:cNvSpPr txBox="1"/>
            <p:nvPr/>
          </p:nvSpPr>
          <p:spPr>
            <a:xfrm>
              <a:off x="4580357" y="2286129"/>
              <a:ext cx="2255898" cy="5555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AR" sz="900" b="1" spc="400" dirty="0">
                  <a:solidFill>
                    <a:srgbClr val="7F7F7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MBARQUE</a:t>
              </a:r>
            </a:p>
            <a:p>
              <a:pPr algn="ctr"/>
              <a:endParaRPr lang="es-AR" sz="90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s-AR" sz="900" dirty="0">
                  <a:solidFill>
                    <a:srgbClr val="7F7F7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lete Seguro</a:t>
              </a:r>
            </a:p>
          </p:txBody>
        </p:sp>
        <p:cxnSp>
          <p:nvCxnSpPr>
            <p:cNvPr id="587" name="Conector recto 586"/>
            <p:cNvCxnSpPr/>
            <p:nvPr/>
          </p:nvCxnSpPr>
          <p:spPr>
            <a:xfrm>
              <a:off x="558217" y="2064158"/>
              <a:ext cx="0" cy="162409"/>
            </a:xfrm>
            <a:prstGeom prst="line">
              <a:avLst/>
            </a:prstGeom>
            <a:ln>
              <a:solidFill>
                <a:srgbClr val="93005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88" name="CuadroTexto 587"/>
            <p:cNvSpPr txBox="1"/>
            <p:nvPr/>
          </p:nvSpPr>
          <p:spPr>
            <a:xfrm>
              <a:off x="405207" y="2331682"/>
              <a:ext cx="2462669" cy="4040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AR" sz="900" b="1" spc="400" dirty="0">
                  <a:solidFill>
                    <a:srgbClr val="7F7F7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PORTADOR</a:t>
              </a:r>
            </a:p>
            <a:p>
              <a:r>
                <a:rPr lang="es-AR" sz="900" b="1" dirty="0">
                  <a:solidFill>
                    <a:srgbClr val="7F7F7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endedor</a:t>
              </a:r>
            </a:p>
          </p:txBody>
        </p:sp>
        <p:sp>
          <p:nvSpPr>
            <p:cNvPr id="589" name="CuadroTexto 588"/>
            <p:cNvSpPr txBox="1"/>
            <p:nvPr/>
          </p:nvSpPr>
          <p:spPr>
            <a:xfrm>
              <a:off x="9571888" y="2339842"/>
              <a:ext cx="2390111" cy="4040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AR" sz="900" b="1" spc="400" dirty="0" smtClean="0">
                  <a:solidFill>
                    <a:srgbClr val="7F7F7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MPORTADOR</a:t>
              </a:r>
            </a:p>
            <a:p>
              <a:pPr algn="r"/>
              <a:r>
                <a:rPr lang="es-AR" sz="900" b="1" dirty="0" smtClean="0">
                  <a:solidFill>
                    <a:srgbClr val="7F7F7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prador</a:t>
              </a:r>
              <a:endParaRPr lang="es-AR" sz="900" b="1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590" name="Conector recto 589"/>
            <p:cNvCxnSpPr/>
            <p:nvPr/>
          </p:nvCxnSpPr>
          <p:spPr>
            <a:xfrm>
              <a:off x="11774460" y="2064158"/>
              <a:ext cx="0" cy="162409"/>
            </a:xfrm>
            <a:prstGeom prst="line">
              <a:avLst/>
            </a:prstGeom>
            <a:ln>
              <a:solidFill>
                <a:srgbClr val="93005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91" name="CuadroTexto 590"/>
            <p:cNvSpPr txBox="1"/>
            <p:nvPr/>
          </p:nvSpPr>
          <p:spPr>
            <a:xfrm>
              <a:off x="2833495" y="2751517"/>
              <a:ext cx="1987240" cy="2525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28594" indent="-228594">
                <a:buFont typeface="Arial" panose="020B0604020202020204" pitchFamily="34" charset="0"/>
                <a:buChar char="•"/>
              </a:pPr>
              <a:r>
                <a:rPr lang="es-AR" sz="900" b="1" dirty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financiación</a:t>
              </a:r>
            </a:p>
          </p:txBody>
        </p:sp>
        <p:sp>
          <p:nvSpPr>
            <p:cNvPr id="592" name="CuadroTexto 591"/>
            <p:cNvSpPr txBox="1"/>
            <p:nvPr/>
          </p:nvSpPr>
          <p:spPr>
            <a:xfrm>
              <a:off x="7063000" y="2751516"/>
              <a:ext cx="2137082" cy="4040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28594" indent="-228594">
                <a:buFont typeface="Arial" panose="020B0604020202020204" pitchFamily="34" charset="0"/>
                <a:buChar char="•"/>
              </a:pPr>
              <a:r>
                <a:rPr lang="es-AR" sz="900" b="1" dirty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t-financiación</a:t>
              </a:r>
            </a:p>
            <a:p>
              <a:pPr marL="228594" indent="-228594">
                <a:buFont typeface="Arial" panose="020B0604020202020204" pitchFamily="34" charset="0"/>
                <a:buChar char="•"/>
              </a:pPr>
              <a:r>
                <a:rPr lang="es-AR" sz="900" b="1" dirty="0" err="1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faiting</a:t>
              </a:r>
              <a:endParaRPr lang="es-AR" sz="9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3" name="CuadroTexto 592"/>
            <p:cNvSpPr txBox="1"/>
            <p:nvPr/>
          </p:nvSpPr>
          <p:spPr>
            <a:xfrm>
              <a:off x="2707432" y="1566883"/>
              <a:ext cx="5987175" cy="2525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AR" sz="900" b="1" dirty="0">
                  <a:solidFill>
                    <a:srgbClr val="7F7F7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trato de compra venta internacional tradicional</a:t>
              </a:r>
              <a:endParaRPr lang="es-AR" sz="90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594" name="Shape 683"/>
            <p:cNvCxnSpPr/>
            <p:nvPr/>
          </p:nvCxnSpPr>
          <p:spPr>
            <a:xfrm>
              <a:off x="5854765" y="5054416"/>
              <a:ext cx="5930583" cy="0"/>
            </a:xfrm>
            <a:prstGeom prst="straightConnector1">
              <a:avLst/>
            </a:prstGeom>
            <a:noFill/>
            <a:ln w="19050" cap="flat" cmpd="sng">
              <a:solidFill>
                <a:srgbClr val="FFFFFF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595" name="Shape 2728"/>
            <p:cNvCxnSpPr/>
            <p:nvPr/>
          </p:nvCxnSpPr>
          <p:spPr>
            <a:xfrm>
              <a:off x="558218" y="4838743"/>
              <a:ext cx="11227129" cy="0"/>
            </a:xfrm>
            <a:prstGeom prst="straightConnector1">
              <a:avLst/>
            </a:prstGeom>
            <a:noFill/>
            <a:ln w="19050" cap="flat" cmpd="sng">
              <a:solidFill>
                <a:srgbClr val="41B3E5"/>
              </a:solidFill>
              <a:prstDash val="solid"/>
              <a:round/>
              <a:headEnd type="none" w="lg" len="lg"/>
              <a:tailEnd type="none" w="lg" len="lg"/>
            </a:ln>
          </p:spPr>
        </p:cxnSp>
        <p:cxnSp>
          <p:nvCxnSpPr>
            <p:cNvPr id="596" name="Conector recto 595"/>
            <p:cNvCxnSpPr/>
            <p:nvPr/>
          </p:nvCxnSpPr>
          <p:spPr>
            <a:xfrm>
              <a:off x="5701021" y="4681856"/>
              <a:ext cx="0" cy="162409"/>
            </a:xfrm>
            <a:prstGeom prst="line">
              <a:avLst/>
            </a:prstGeom>
            <a:ln>
              <a:solidFill>
                <a:srgbClr val="93005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97" name="CuadroTexto 596"/>
            <p:cNvSpPr txBox="1"/>
            <p:nvPr/>
          </p:nvSpPr>
          <p:spPr>
            <a:xfrm>
              <a:off x="4580357" y="4903827"/>
              <a:ext cx="2255898" cy="5555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AR" sz="900" b="1" spc="400" dirty="0">
                  <a:solidFill>
                    <a:srgbClr val="7F7F7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MBARQUE</a:t>
              </a:r>
            </a:p>
            <a:p>
              <a:pPr algn="ctr"/>
              <a:endParaRPr lang="es-AR" sz="90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s-AR" sz="900" dirty="0">
                  <a:solidFill>
                    <a:srgbClr val="7F7F7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lete Seguro</a:t>
              </a:r>
            </a:p>
          </p:txBody>
        </p:sp>
        <p:cxnSp>
          <p:nvCxnSpPr>
            <p:cNvPr id="598" name="Conector recto 597"/>
            <p:cNvCxnSpPr/>
            <p:nvPr/>
          </p:nvCxnSpPr>
          <p:spPr>
            <a:xfrm>
              <a:off x="558217" y="4681856"/>
              <a:ext cx="0" cy="162409"/>
            </a:xfrm>
            <a:prstGeom prst="line">
              <a:avLst/>
            </a:prstGeom>
            <a:ln>
              <a:solidFill>
                <a:srgbClr val="93005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99" name="CuadroTexto 598"/>
            <p:cNvSpPr txBox="1"/>
            <p:nvPr/>
          </p:nvSpPr>
          <p:spPr>
            <a:xfrm>
              <a:off x="405207" y="4949379"/>
              <a:ext cx="2462669" cy="4040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AR" sz="900" b="1" spc="400" dirty="0">
                  <a:solidFill>
                    <a:srgbClr val="7F7F7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PORTADOR</a:t>
              </a:r>
            </a:p>
            <a:p>
              <a:r>
                <a:rPr lang="es-AR" sz="900" b="1" dirty="0">
                  <a:solidFill>
                    <a:srgbClr val="7F7F7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endedor</a:t>
              </a:r>
            </a:p>
          </p:txBody>
        </p:sp>
        <p:sp>
          <p:nvSpPr>
            <p:cNvPr id="600" name="CuadroTexto 599"/>
            <p:cNvSpPr txBox="1"/>
            <p:nvPr/>
          </p:nvSpPr>
          <p:spPr>
            <a:xfrm>
              <a:off x="9571888" y="4957540"/>
              <a:ext cx="2390111" cy="4040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s-AR" sz="900" b="1" spc="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MPORTADOR</a:t>
              </a:r>
            </a:p>
            <a:p>
              <a:r>
                <a:rPr lang="es-AR" sz="900" b="1" spc="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s-AR" sz="900" b="1" spc="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</a:t>
              </a:r>
              <a:r>
                <a:rPr lang="es-AR" sz="9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prador</a:t>
              </a:r>
              <a:endParaRPr lang="es-AR" sz="9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601" name="Conector recto 600"/>
            <p:cNvCxnSpPr/>
            <p:nvPr/>
          </p:nvCxnSpPr>
          <p:spPr>
            <a:xfrm>
              <a:off x="11774460" y="4681856"/>
              <a:ext cx="0" cy="162409"/>
            </a:xfrm>
            <a:prstGeom prst="line">
              <a:avLst/>
            </a:prstGeom>
            <a:ln>
              <a:solidFill>
                <a:srgbClr val="93005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02" name="CuadroTexto 601"/>
            <p:cNvSpPr txBox="1"/>
            <p:nvPr/>
          </p:nvSpPr>
          <p:spPr>
            <a:xfrm>
              <a:off x="2641181" y="4265962"/>
              <a:ext cx="5987175" cy="2525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AR" sz="900" b="1" dirty="0">
                  <a:solidFill>
                    <a:srgbClr val="7F7F7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tribución física internacional</a:t>
              </a:r>
            </a:p>
          </p:txBody>
        </p:sp>
        <p:sp>
          <p:nvSpPr>
            <p:cNvPr id="603" name="Rectángulo 602"/>
            <p:cNvSpPr/>
            <p:nvPr/>
          </p:nvSpPr>
          <p:spPr>
            <a:xfrm>
              <a:off x="8010679" y="5224110"/>
              <a:ext cx="824852" cy="435025"/>
            </a:xfrm>
            <a:prstGeom prst="rect">
              <a:avLst/>
            </a:prstGeom>
            <a:solidFill>
              <a:srgbClr val="93005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AR" sz="900" dirty="0">
                  <a:latin typeface="Arial" panose="020B0604020202020204" pitchFamily="34" charset="0"/>
                  <a:cs typeface="Arial" panose="020B0604020202020204" pitchFamily="34" charset="0"/>
                </a:rPr>
                <a:t>HUBS</a:t>
              </a:r>
            </a:p>
          </p:txBody>
        </p:sp>
        <p:sp>
          <p:nvSpPr>
            <p:cNvPr id="604" name="CuadroTexto 603"/>
            <p:cNvSpPr txBox="1"/>
            <p:nvPr/>
          </p:nvSpPr>
          <p:spPr>
            <a:xfrm>
              <a:off x="2734090" y="5641271"/>
              <a:ext cx="1980055" cy="4040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28594" indent="-228594">
                <a:buFont typeface="Arial" panose="020B0604020202020204" pitchFamily="34" charset="0"/>
                <a:buChar char="•"/>
              </a:pPr>
              <a:r>
                <a:rPr lang="es-AR" sz="900" b="1" dirty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anciación de</a:t>
              </a:r>
              <a:br>
                <a:rPr lang="es-AR" sz="900" b="1" dirty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s-AR" sz="900" b="1" dirty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ducción</a:t>
              </a:r>
            </a:p>
          </p:txBody>
        </p:sp>
        <p:sp>
          <p:nvSpPr>
            <p:cNvPr id="605" name="Rectángulo 604"/>
            <p:cNvSpPr/>
            <p:nvPr/>
          </p:nvSpPr>
          <p:spPr>
            <a:xfrm>
              <a:off x="7415586" y="6120902"/>
              <a:ext cx="3159042" cy="25251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28594" indent="-228594">
                <a:buFont typeface="Arial" panose="020B0604020202020204" pitchFamily="34" charset="0"/>
                <a:buChar char="•"/>
              </a:pPr>
              <a:r>
                <a:rPr lang="es-AR" sz="900" b="1" dirty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ducto posicionado en destino</a:t>
              </a:r>
            </a:p>
          </p:txBody>
        </p:sp>
        <p:sp>
          <p:nvSpPr>
            <p:cNvPr id="606" name="CuadroTexto 605"/>
            <p:cNvSpPr txBox="1"/>
            <p:nvPr/>
          </p:nvSpPr>
          <p:spPr>
            <a:xfrm>
              <a:off x="4989441" y="5983148"/>
              <a:ext cx="1980055" cy="2525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28594" indent="-228594">
                <a:buFont typeface="Arial" panose="020B0604020202020204" pitchFamily="34" charset="0"/>
                <a:buChar char="•"/>
              </a:pPr>
              <a:r>
                <a:rPr lang="es-AR" sz="900" b="1" dirty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lete seguro </a:t>
              </a:r>
            </a:p>
          </p:txBody>
        </p:sp>
        <p:sp>
          <p:nvSpPr>
            <p:cNvPr id="607" name="CuadroTexto 606"/>
            <p:cNvSpPr txBox="1"/>
            <p:nvPr/>
          </p:nvSpPr>
          <p:spPr>
            <a:xfrm>
              <a:off x="9762767" y="4272803"/>
              <a:ext cx="2110676" cy="4040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AR" sz="900" dirty="0">
                  <a:solidFill>
                    <a:srgbClr val="7F7F7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trato de compra venta internacional</a:t>
              </a:r>
            </a:p>
          </p:txBody>
        </p:sp>
        <p:pic>
          <p:nvPicPr>
            <p:cNvPr id="608" name="Imagen 60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03644" y="3388664"/>
              <a:ext cx="670816" cy="670816"/>
            </a:xfrm>
            <a:prstGeom prst="rect">
              <a:avLst/>
            </a:prstGeom>
          </p:spPr>
        </p:pic>
        <p:pic>
          <p:nvPicPr>
            <p:cNvPr id="609" name="Imagen 60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1634" y="3372781"/>
              <a:ext cx="686700" cy="686700"/>
            </a:xfrm>
            <a:prstGeom prst="rect">
              <a:avLst/>
            </a:prstGeom>
          </p:spPr>
        </p:pic>
        <p:pic>
          <p:nvPicPr>
            <p:cNvPr id="610" name="Imagen 60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8218" y="3431917"/>
              <a:ext cx="627564" cy="6275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34192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upo 15">
            <a:extLst>
              <a:ext uri="{FF2B5EF4-FFF2-40B4-BE49-F238E27FC236}">
                <a16:creationId xmlns="" xmlns:a16="http://schemas.microsoft.com/office/drawing/2014/main" id="{DE300A44-1919-47C0-B8EF-9E8DF1166E9E}"/>
              </a:ext>
            </a:extLst>
          </p:cNvPr>
          <p:cNvGrpSpPr/>
          <p:nvPr/>
        </p:nvGrpSpPr>
        <p:grpSpPr>
          <a:xfrm>
            <a:off x="-1036126" y="1025039"/>
            <a:ext cx="10292693" cy="5833219"/>
            <a:chOff x="-804856" y="1414145"/>
            <a:chExt cx="9616961" cy="5227740"/>
          </a:xfrm>
        </p:grpSpPr>
        <p:grpSp>
          <p:nvGrpSpPr>
            <p:cNvPr id="3" name="Grupo 2">
              <a:extLst>
                <a:ext uri="{FF2B5EF4-FFF2-40B4-BE49-F238E27FC236}">
                  <a16:creationId xmlns="" xmlns:a16="http://schemas.microsoft.com/office/drawing/2014/main" id="{E6610F51-DE02-4C11-9FD1-8B528A409B00}"/>
                </a:ext>
              </a:extLst>
            </p:cNvPr>
            <p:cNvGrpSpPr/>
            <p:nvPr/>
          </p:nvGrpSpPr>
          <p:grpSpPr>
            <a:xfrm>
              <a:off x="1105199" y="1538690"/>
              <a:ext cx="7337126" cy="3561031"/>
              <a:chOff x="677863" y="1196975"/>
              <a:chExt cx="7500937" cy="4260850"/>
            </a:xfrm>
          </p:grpSpPr>
          <p:sp>
            <p:nvSpPr>
              <p:cNvPr id="1682" name="Freeform 4">
                <a:extLst>
                  <a:ext uri="{FF2B5EF4-FFF2-40B4-BE49-F238E27FC236}">
                    <a16:creationId xmlns="" xmlns:a16="http://schemas.microsoft.com/office/drawing/2014/main" id="{B9DBF6D8-EDAA-4568-A664-84739AA62E68}"/>
                  </a:ext>
                </a:extLst>
              </p:cNvPr>
              <p:cNvSpPr>
                <a:spLocks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2519363" y="5394325"/>
                <a:ext cx="33337" cy="57150"/>
              </a:xfrm>
              <a:custGeom>
                <a:avLst/>
                <a:gdLst>
                  <a:gd name="T0" fmla="*/ 0 w 73"/>
                  <a:gd name="T1" fmla="*/ 0 h 20"/>
                  <a:gd name="T2" fmla="*/ 2147483646 w 73"/>
                  <a:gd name="T3" fmla="*/ 2147483646 h 20"/>
                  <a:gd name="T4" fmla="*/ 2147483646 w 73"/>
                  <a:gd name="T5" fmla="*/ 2147483646 h 20"/>
                  <a:gd name="T6" fmla="*/ 2147483646 w 73"/>
                  <a:gd name="T7" fmla="*/ 2147483646 h 20"/>
                  <a:gd name="T8" fmla="*/ 2147483646 w 73"/>
                  <a:gd name="T9" fmla="*/ 2147483646 h 20"/>
                  <a:gd name="T10" fmla="*/ 2147483646 w 73"/>
                  <a:gd name="T11" fmla="*/ 2147483646 h 20"/>
                  <a:gd name="T12" fmla="*/ 2147483646 w 73"/>
                  <a:gd name="T13" fmla="*/ 2147483646 h 20"/>
                  <a:gd name="T14" fmla="*/ 2147483646 w 73"/>
                  <a:gd name="T15" fmla="*/ 2147483646 h 20"/>
                  <a:gd name="T16" fmla="*/ 2147483646 w 73"/>
                  <a:gd name="T17" fmla="*/ 2147483646 h 20"/>
                  <a:gd name="T18" fmla="*/ 2147483646 w 73"/>
                  <a:gd name="T19" fmla="*/ 2147483646 h 20"/>
                  <a:gd name="T20" fmla="*/ 2147483646 w 73"/>
                  <a:gd name="T21" fmla="*/ 2147483646 h 20"/>
                  <a:gd name="T22" fmla="*/ 2147483646 w 73"/>
                  <a:gd name="T23" fmla="*/ 2147483646 h 20"/>
                  <a:gd name="T24" fmla="*/ 2147483646 w 73"/>
                  <a:gd name="T25" fmla="*/ 2147483646 h 20"/>
                  <a:gd name="T26" fmla="*/ 2147483646 w 73"/>
                  <a:gd name="T27" fmla="*/ 2147483646 h 20"/>
                  <a:gd name="T28" fmla="*/ 2147483646 w 73"/>
                  <a:gd name="T29" fmla="*/ 2147483646 h 20"/>
                  <a:gd name="T30" fmla="*/ 2147483646 w 73"/>
                  <a:gd name="T31" fmla="*/ 2147483646 h 20"/>
                  <a:gd name="T32" fmla="*/ 2147483646 w 73"/>
                  <a:gd name="T33" fmla="*/ 0 h 20"/>
                  <a:gd name="T34" fmla="*/ 0 w 73"/>
                  <a:gd name="T35" fmla="*/ 0 h 20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73"/>
                  <a:gd name="T55" fmla="*/ 0 h 20"/>
                  <a:gd name="T56" fmla="*/ 73 w 73"/>
                  <a:gd name="T57" fmla="*/ 20 h 20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73" h="20">
                    <a:moveTo>
                      <a:pt x="0" y="0"/>
                    </a:moveTo>
                    <a:lnTo>
                      <a:pt x="1" y="5"/>
                    </a:lnTo>
                    <a:lnTo>
                      <a:pt x="4" y="10"/>
                    </a:lnTo>
                    <a:lnTo>
                      <a:pt x="8" y="14"/>
                    </a:lnTo>
                    <a:lnTo>
                      <a:pt x="13" y="20"/>
                    </a:lnTo>
                    <a:lnTo>
                      <a:pt x="16" y="17"/>
                    </a:lnTo>
                    <a:lnTo>
                      <a:pt x="19" y="13"/>
                    </a:lnTo>
                    <a:lnTo>
                      <a:pt x="23" y="11"/>
                    </a:lnTo>
                    <a:lnTo>
                      <a:pt x="27" y="10"/>
                    </a:lnTo>
                    <a:lnTo>
                      <a:pt x="36" y="8"/>
                    </a:lnTo>
                    <a:lnTo>
                      <a:pt x="46" y="7"/>
                    </a:lnTo>
                    <a:lnTo>
                      <a:pt x="54" y="7"/>
                    </a:lnTo>
                    <a:lnTo>
                      <a:pt x="63" y="6"/>
                    </a:lnTo>
                    <a:lnTo>
                      <a:pt x="66" y="5"/>
                    </a:lnTo>
                    <a:lnTo>
                      <a:pt x="69" y="4"/>
                    </a:lnTo>
                    <a:lnTo>
                      <a:pt x="71" y="2"/>
                    </a:lnTo>
                    <a:lnTo>
                      <a:pt x="73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83" name="Freeform 5">
                <a:extLst>
                  <a:ext uri="{FF2B5EF4-FFF2-40B4-BE49-F238E27FC236}">
                    <a16:creationId xmlns="" xmlns:a16="http://schemas.microsoft.com/office/drawing/2014/main" id="{A0A4E196-CDD5-4756-AAD0-185E929D1ED1}"/>
                  </a:ext>
                </a:extLst>
              </p:cNvPr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677863" y="1495425"/>
                <a:ext cx="784225" cy="446088"/>
              </a:xfrm>
              <a:custGeom>
                <a:avLst/>
                <a:gdLst>
                  <a:gd name="T0" fmla="*/ 2147483646 w 1808"/>
                  <a:gd name="T1" fmla="*/ 2147483646 h 850"/>
                  <a:gd name="T2" fmla="*/ 2147483646 w 1808"/>
                  <a:gd name="T3" fmla="*/ 2147483646 h 850"/>
                  <a:gd name="T4" fmla="*/ 2147483646 w 1808"/>
                  <a:gd name="T5" fmla="*/ 2147483646 h 850"/>
                  <a:gd name="T6" fmla="*/ 2147483646 w 1808"/>
                  <a:gd name="T7" fmla="*/ 2147483646 h 850"/>
                  <a:gd name="T8" fmla="*/ 2147483646 w 1808"/>
                  <a:gd name="T9" fmla="*/ 2147483646 h 850"/>
                  <a:gd name="T10" fmla="*/ 2147483646 w 1808"/>
                  <a:gd name="T11" fmla="*/ 2147483646 h 850"/>
                  <a:gd name="T12" fmla="*/ 2147483646 w 1808"/>
                  <a:gd name="T13" fmla="*/ 2147483646 h 850"/>
                  <a:gd name="T14" fmla="*/ 2147483646 w 1808"/>
                  <a:gd name="T15" fmla="*/ 2147483646 h 850"/>
                  <a:gd name="T16" fmla="*/ 2147483646 w 1808"/>
                  <a:gd name="T17" fmla="*/ 2147483646 h 850"/>
                  <a:gd name="T18" fmla="*/ 2147483646 w 1808"/>
                  <a:gd name="T19" fmla="*/ 2147483646 h 850"/>
                  <a:gd name="T20" fmla="*/ 2147483646 w 1808"/>
                  <a:gd name="T21" fmla="*/ 2147483646 h 850"/>
                  <a:gd name="T22" fmla="*/ 2147483646 w 1808"/>
                  <a:gd name="T23" fmla="*/ 2147483646 h 850"/>
                  <a:gd name="T24" fmla="*/ 2147483646 w 1808"/>
                  <a:gd name="T25" fmla="*/ 2147483646 h 850"/>
                  <a:gd name="T26" fmla="*/ 2147483646 w 1808"/>
                  <a:gd name="T27" fmla="*/ 2147483646 h 850"/>
                  <a:gd name="T28" fmla="*/ 2147483646 w 1808"/>
                  <a:gd name="T29" fmla="*/ 2147483646 h 850"/>
                  <a:gd name="T30" fmla="*/ 2147483646 w 1808"/>
                  <a:gd name="T31" fmla="*/ 2147483646 h 850"/>
                  <a:gd name="T32" fmla="*/ 2147483646 w 1808"/>
                  <a:gd name="T33" fmla="*/ 2147483646 h 850"/>
                  <a:gd name="T34" fmla="*/ 2147483646 w 1808"/>
                  <a:gd name="T35" fmla="*/ 2147483646 h 850"/>
                  <a:gd name="T36" fmla="*/ 2147483646 w 1808"/>
                  <a:gd name="T37" fmla="*/ 2147483646 h 850"/>
                  <a:gd name="T38" fmla="*/ 2147483646 w 1808"/>
                  <a:gd name="T39" fmla="*/ 2147483646 h 850"/>
                  <a:gd name="T40" fmla="*/ 2147483646 w 1808"/>
                  <a:gd name="T41" fmla="*/ 2147483646 h 850"/>
                  <a:gd name="T42" fmla="*/ 2147483646 w 1808"/>
                  <a:gd name="T43" fmla="*/ 2147483646 h 850"/>
                  <a:gd name="T44" fmla="*/ 2147483646 w 1808"/>
                  <a:gd name="T45" fmla="*/ 2147483646 h 850"/>
                  <a:gd name="T46" fmla="*/ 2147483646 w 1808"/>
                  <a:gd name="T47" fmla="*/ 2147483646 h 850"/>
                  <a:gd name="T48" fmla="*/ 2147483646 w 1808"/>
                  <a:gd name="T49" fmla="*/ 2147483646 h 850"/>
                  <a:gd name="T50" fmla="*/ 2147483646 w 1808"/>
                  <a:gd name="T51" fmla="*/ 2147483646 h 850"/>
                  <a:gd name="T52" fmla="*/ 2147483646 w 1808"/>
                  <a:gd name="T53" fmla="*/ 2147483646 h 850"/>
                  <a:gd name="T54" fmla="*/ 2147483646 w 1808"/>
                  <a:gd name="T55" fmla="*/ 2147483646 h 850"/>
                  <a:gd name="T56" fmla="*/ 2147483646 w 1808"/>
                  <a:gd name="T57" fmla="*/ 2147483646 h 850"/>
                  <a:gd name="T58" fmla="*/ 2147483646 w 1808"/>
                  <a:gd name="T59" fmla="*/ 2147483646 h 850"/>
                  <a:gd name="T60" fmla="*/ 2147483646 w 1808"/>
                  <a:gd name="T61" fmla="*/ 2147483646 h 850"/>
                  <a:gd name="T62" fmla="*/ 2147483646 w 1808"/>
                  <a:gd name="T63" fmla="*/ 2147483646 h 850"/>
                  <a:gd name="T64" fmla="*/ 2147483646 w 1808"/>
                  <a:gd name="T65" fmla="*/ 2147483646 h 850"/>
                  <a:gd name="T66" fmla="*/ 2147483646 w 1808"/>
                  <a:gd name="T67" fmla="*/ 2147483646 h 850"/>
                  <a:gd name="T68" fmla="*/ 2147483646 w 1808"/>
                  <a:gd name="T69" fmla="*/ 2147483646 h 850"/>
                  <a:gd name="T70" fmla="*/ 2147483646 w 1808"/>
                  <a:gd name="T71" fmla="*/ 2147483646 h 850"/>
                  <a:gd name="T72" fmla="*/ 2147483646 w 1808"/>
                  <a:gd name="T73" fmla="*/ 2147483646 h 850"/>
                  <a:gd name="T74" fmla="*/ 2147483646 w 1808"/>
                  <a:gd name="T75" fmla="*/ 2147483646 h 850"/>
                  <a:gd name="T76" fmla="*/ 2147483646 w 1808"/>
                  <a:gd name="T77" fmla="*/ 2147483646 h 850"/>
                  <a:gd name="T78" fmla="*/ 2147483646 w 1808"/>
                  <a:gd name="T79" fmla="*/ 2147483646 h 850"/>
                  <a:gd name="T80" fmla="*/ 2147483646 w 1808"/>
                  <a:gd name="T81" fmla="*/ 2147483646 h 850"/>
                  <a:gd name="T82" fmla="*/ 2147483646 w 1808"/>
                  <a:gd name="T83" fmla="*/ 2147483646 h 850"/>
                  <a:gd name="T84" fmla="*/ 2147483646 w 1808"/>
                  <a:gd name="T85" fmla="*/ 2147483646 h 850"/>
                  <a:gd name="T86" fmla="*/ 2147483646 w 1808"/>
                  <a:gd name="T87" fmla="*/ 2147483646 h 850"/>
                  <a:gd name="T88" fmla="*/ 2147483646 w 1808"/>
                  <a:gd name="T89" fmla="*/ 2147483646 h 850"/>
                  <a:gd name="T90" fmla="*/ 2147483646 w 1808"/>
                  <a:gd name="T91" fmla="*/ 2147483646 h 850"/>
                  <a:gd name="T92" fmla="*/ 2147483646 w 1808"/>
                  <a:gd name="T93" fmla="*/ 2147483646 h 850"/>
                  <a:gd name="T94" fmla="*/ 2147483646 w 1808"/>
                  <a:gd name="T95" fmla="*/ 2147483646 h 850"/>
                  <a:gd name="T96" fmla="*/ 2147483646 w 1808"/>
                  <a:gd name="T97" fmla="*/ 2147483646 h 850"/>
                  <a:gd name="T98" fmla="*/ 2147483646 w 1808"/>
                  <a:gd name="T99" fmla="*/ 2147483646 h 850"/>
                  <a:gd name="T100" fmla="*/ 2147483646 w 1808"/>
                  <a:gd name="T101" fmla="*/ 2147483646 h 850"/>
                  <a:gd name="T102" fmla="*/ 2147483646 w 1808"/>
                  <a:gd name="T103" fmla="*/ 2147483646 h 850"/>
                  <a:gd name="T104" fmla="*/ 2147483646 w 1808"/>
                  <a:gd name="T105" fmla="*/ 2147483646 h 850"/>
                  <a:gd name="T106" fmla="*/ 2147483646 w 1808"/>
                  <a:gd name="T107" fmla="*/ 2147483646 h 850"/>
                  <a:gd name="T108" fmla="*/ 2147483646 w 1808"/>
                  <a:gd name="T109" fmla="*/ 2147483646 h 850"/>
                  <a:gd name="T110" fmla="*/ 2147483646 w 1808"/>
                  <a:gd name="T111" fmla="*/ 2147483646 h 850"/>
                  <a:gd name="T112" fmla="*/ 2147483646 w 1808"/>
                  <a:gd name="T113" fmla="*/ 2147483646 h 850"/>
                  <a:gd name="T114" fmla="*/ 2147483646 w 1808"/>
                  <a:gd name="T115" fmla="*/ 2147483646 h 850"/>
                  <a:gd name="T116" fmla="*/ 2147483646 w 1808"/>
                  <a:gd name="T117" fmla="*/ 2147483646 h 850"/>
                  <a:gd name="T118" fmla="*/ 2147483646 w 1808"/>
                  <a:gd name="T119" fmla="*/ 2147483646 h 850"/>
                  <a:gd name="T120" fmla="*/ 2147483646 w 1808"/>
                  <a:gd name="T121" fmla="*/ 2147483646 h 85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808"/>
                  <a:gd name="T184" fmla="*/ 0 h 850"/>
                  <a:gd name="T185" fmla="*/ 1808 w 1808"/>
                  <a:gd name="T186" fmla="*/ 850 h 850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808" h="850">
                    <a:moveTo>
                      <a:pt x="1410" y="842"/>
                    </a:moveTo>
                    <a:lnTo>
                      <a:pt x="1405" y="841"/>
                    </a:lnTo>
                    <a:lnTo>
                      <a:pt x="1403" y="838"/>
                    </a:lnTo>
                    <a:lnTo>
                      <a:pt x="1401" y="834"/>
                    </a:lnTo>
                    <a:lnTo>
                      <a:pt x="1399" y="830"/>
                    </a:lnTo>
                    <a:lnTo>
                      <a:pt x="1396" y="819"/>
                    </a:lnTo>
                    <a:lnTo>
                      <a:pt x="1395" y="807"/>
                    </a:lnTo>
                    <a:lnTo>
                      <a:pt x="1396" y="795"/>
                    </a:lnTo>
                    <a:lnTo>
                      <a:pt x="1398" y="784"/>
                    </a:lnTo>
                    <a:lnTo>
                      <a:pt x="1400" y="775"/>
                    </a:lnTo>
                    <a:lnTo>
                      <a:pt x="1402" y="769"/>
                    </a:lnTo>
                    <a:lnTo>
                      <a:pt x="1399" y="764"/>
                    </a:lnTo>
                    <a:lnTo>
                      <a:pt x="1396" y="760"/>
                    </a:lnTo>
                    <a:lnTo>
                      <a:pt x="1394" y="753"/>
                    </a:lnTo>
                    <a:lnTo>
                      <a:pt x="1392" y="746"/>
                    </a:lnTo>
                    <a:lnTo>
                      <a:pt x="1390" y="729"/>
                    </a:lnTo>
                    <a:lnTo>
                      <a:pt x="1389" y="708"/>
                    </a:lnTo>
                    <a:lnTo>
                      <a:pt x="1389" y="670"/>
                    </a:lnTo>
                    <a:lnTo>
                      <a:pt x="1389" y="645"/>
                    </a:lnTo>
                    <a:lnTo>
                      <a:pt x="1382" y="647"/>
                    </a:lnTo>
                    <a:lnTo>
                      <a:pt x="1373" y="648"/>
                    </a:lnTo>
                    <a:lnTo>
                      <a:pt x="1362" y="648"/>
                    </a:lnTo>
                    <a:lnTo>
                      <a:pt x="1351" y="648"/>
                    </a:lnTo>
                    <a:lnTo>
                      <a:pt x="1340" y="647"/>
                    </a:lnTo>
                    <a:lnTo>
                      <a:pt x="1332" y="645"/>
                    </a:lnTo>
                    <a:lnTo>
                      <a:pt x="1327" y="644"/>
                    </a:lnTo>
                    <a:lnTo>
                      <a:pt x="1325" y="642"/>
                    </a:lnTo>
                    <a:lnTo>
                      <a:pt x="1323" y="641"/>
                    </a:lnTo>
                    <a:lnTo>
                      <a:pt x="1323" y="638"/>
                    </a:lnTo>
                    <a:lnTo>
                      <a:pt x="1290" y="682"/>
                    </a:lnTo>
                    <a:lnTo>
                      <a:pt x="1284" y="668"/>
                    </a:lnTo>
                    <a:lnTo>
                      <a:pt x="1279" y="659"/>
                    </a:lnTo>
                    <a:lnTo>
                      <a:pt x="1273" y="650"/>
                    </a:lnTo>
                    <a:lnTo>
                      <a:pt x="1268" y="645"/>
                    </a:lnTo>
                    <a:lnTo>
                      <a:pt x="1264" y="639"/>
                    </a:lnTo>
                    <a:lnTo>
                      <a:pt x="1259" y="631"/>
                    </a:lnTo>
                    <a:lnTo>
                      <a:pt x="1257" y="622"/>
                    </a:lnTo>
                    <a:lnTo>
                      <a:pt x="1256" y="608"/>
                    </a:lnTo>
                    <a:lnTo>
                      <a:pt x="1226" y="602"/>
                    </a:lnTo>
                    <a:lnTo>
                      <a:pt x="1195" y="595"/>
                    </a:lnTo>
                    <a:lnTo>
                      <a:pt x="1165" y="588"/>
                    </a:lnTo>
                    <a:lnTo>
                      <a:pt x="1134" y="582"/>
                    </a:lnTo>
                    <a:lnTo>
                      <a:pt x="1104" y="576"/>
                    </a:lnTo>
                    <a:lnTo>
                      <a:pt x="1074" y="569"/>
                    </a:lnTo>
                    <a:lnTo>
                      <a:pt x="1045" y="561"/>
                    </a:lnTo>
                    <a:lnTo>
                      <a:pt x="1018" y="553"/>
                    </a:lnTo>
                    <a:lnTo>
                      <a:pt x="984" y="553"/>
                    </a:lnTo>
                    <a:lnTo>
                      <a:pt x="977" y="546"/>
                    </a:lnTo>
                    <a:lnTo>
                      <a:pt x="973" y="537"/>
                    </a:lnTo>
                    <a:lnTo>
                      <a:pt x="969" y="528"/>
                    </a:lnTo>
                    <a:lnTo>
                      <a:pt x="966" y="521"/>
                    </a:lnTo>
                    <a:lnTo>
                      <a:pt x="962" y="514"/>
                    </a:lnTo>
                    <a:lnTo>
                      <a:pt x="956" y="508"/>
                    </a:lnTo>
                    <a:lnTo>
                      <a:pt x="952" y="506"/>
                    </a:lnTo>
                    <a:lnTo>
                      <a:pt x="948" y="505"/>
                    </a:lnTo>
                    <a:lnTo>
                      <a:pt x="943" y="504"/>
                    </a:lnTo>
                    <a:lnTo>
                      <a:pt x="937" y="503"/>
                    </a:lnTo>
                    <a:lnTo>
                      <a:pt x="929" y="504"/>
                    </a:lnTo>
                    <a:lnTo>
                      <a:pt x="922" y="505"/>
                    </a:lnTo>
                    <a:lnTo>
                      <a:pt x="916" y="507"/>
                    </a:lnTo>
                    <a:lnTo>
                      <a:pt x="910" y="509"/>
                    </a:lnTo>
                    <a:lnTo>
                      <a:pt x="906" y="512"/>
                    </a:lnTo>
                    <a:lnTo>
                      <a:pt x="901" y="516"/>
                    </a:lnTo>
                    <a:lnTo>
                      <a:pt x="898" y="519"/>
                    </a:lnTo>
                    <a:lnTo>
                      <a:pt x="895" y="523"/>
                    </a:lnTo>
                    <a:lnTo>
                      <a:pt x="886" y="539"/>
                    </a:lnTo>
                    <a:lnTo>
                      <a:pt x="877" y="553"/>
                    </a:lnTo>
                    <a:lnTo>
                      <a:pt x="870" y="559"/>
                    </a:lnTo>
                    <a:lnTo>
                      <a:pt x="861" y="564"/>
                    </a:lnTo>
                    <a:lnTo>
                      <a:pt x="849" y="570"/>
                    </a:lnTo>
                    <a:lnTo>
                      <a:pt x="835" y="576"/>
                    </a:lnTo>
                    <a:lnTo>
                      <a:pt x="806" y="587"/>
                    </a:lnTo>
                    <a:lnTo>
                      <a:pt x="772" y="597"/>
                    </a:lnTo>
                    <a:lnTo>
                      <a:pt x="738" y="607"/>
                    </a:lnTo>
                    <a:lnTo>
                      <a:pt x="705" y="614"/>
                    </a:lnTo>
                    <a:lnTo>
                      <a:pt x="689" y="617"/>
                    </a:lnTo>
                    <a:lnTo>
                      <a:pt x="675" y="619"/>
                    </a:lnTo>
                    <a:lnTo>
                      <a:pt x="663" y="620"/>
                    </a:lnTo>
                    <a:lnTo>
                      <a:pt x="652" y="620"/>
                    </a:lnTo>
                    <a:lnTo>
                      <a:pt x="656" y="614"/>
                    </a:lnTo>
                    <a:lnTo>
                      <a:pt x="667" y="597"/>
                    </a:lnTo>
                    <a:lnTo>
                      <a:pt x="673" y="589"/>
                    </a:lnTo>
                    <a:lnTo>
                      <a:pt x="677" y="581"/>
                    </a:lnTo>
                    <a:lnTo>
                      <a:pt x="678" y="578"/>
                    </a:lnTo>
                    <a:lnTo>
                      <a:pt x="679" y="575"/>
                    </a:lnTo>
                    <a:lnTo>
                      <a:pt x="679" y="572"/>
                    </a:lnTo>
                    <a:lnTo>
                      <a:pt x="678" y="571"/>
                    </a:lnTo>
                    <a:lnTo>
                      <a:pt x="689" y="562"/>
                    </a:lnTo>
                    <a:lnTo>
                      <a:pt x="700" y="555"/>
                    </a:lnTo>
                    <a:lnTo>
                      <a:pt x="711" y="551"/>
                    </a:lnTo>
                    <a:lnTo>
                      <a:pt x="721" y="548"/>
                    </a:lnTo>
                    <a:lnTo>
                      <a:pt x="732" y="546"/>
                    </a:lnTo>
                    <a:lnTo>
                      <a:pt x="742" y="546"/>
                    </a:lnTo>
                    <a:lnTo>
                      <a:pt x="751" y="546"/>
                    </a:lnTo>
                    <a:lnTo>
                      <a:pt x="761" y="546"/>
                    </a:lnTo>
                    <a:lnTo>
                      <a:pt x="769" y="546"/>
                    </a:lnTo>
                    <a:lnTo>
                      <a:pt x="778" y="546"/>
                    </a:lnTo>
                    <a:lnTo>
                      <a:pt x="786" y="545"/>
                    </a:lnTo>
                    <a:lnTo>
                      <a:pt x="794" y="543"/>
                    </a:lnTo>
                    <a:lnTo>
                      <a:pt x="800" y="538"/>
                    </a:lnTo>
                    <a:lnTo>
                      <a:pt x="807" y="533"/>
                    </a:lnTo>
                    <a:lnTo>
                      <a:pt x="812" y="525"/>
                    </a:lnTo>
                    <a:lnTo>
                      <a:pt x="818" y="515"/>
                    </a:lnTo>
                    <a:lnTo>
                      <a:pt x="744" y="515"/>
                    </a:lnTo>
                    <a:lnTo>
                      <a:pt x="724" y="528"/>
                    </a:lnTo>
                    <a:lnTo>
                      <a:pt x="705" y="540"/>
                    </a:lnTo>
                    <a:lnTo>
                      <a:pt x="685" y="551"/>
                    </a:lnTo>
                    <a:lnTo>
                      <a:pt x="664" y="560"/>
                    </a:lnTo>
                    <a:lnTo>
                      <a:pt x="643" y="568"/>
                    </a:lnTo>
                    <a:lnTo>
                      <a:pt x="622" y="575"/>
                    </a:lnTo>
                    <a:lnTo>
                      <a:pt x="600" y="582"/>
                    </a:lnTo>
                    <a:lnTo>
                      <a:pt x="578" y="589"/>
                    </a:lnTo>
                    <a:lnTo>
                      <a:pt x="573" y="592"/>
                    </a:lnTo>
                    <a:lnTo>
                      <a:pt x="567" y="594"/>
                    </a:lnTo>
                    <a:lnTo>
                      <a:pt x="564" y="599"/>
                    </a:lnTo>
                    <a:lnTo>
                      <a:pt x="560" y="602"/>
                    </a:lnTo>
                    <a:lnTo>
                      <a:pt x="554" y="609"/>
                    </a:lnTo>
                    <a:lnTo>
                      <a:pt x="550" y="617"/>
                    </a:lnTo>
                    <a:lnTo>
                      <a:pt x="547" y="625"/>
                    </a:lnTo>
                    <a:lnTo>
                      <a:pt x="543" y="633"/>
                    </a:lnTo>
                    <a:lnTo>
                      <a:pt x="541" y="636"/>
                    </a:lnTo>
                    <a:lnTo>
                      <a:pt x="539" y="639"/>
                    </a:lnTo>
                    <a:lnTo>
                      <a:pt x="536" y="642"/>
                    </a:lnTo>
                    <a:lnTo>
                      <a:pt x="532" y="645"/>
                    </a:lnTo>
                    <a:lnTo>
                      <a:pt x="529" y="648"/>
                    </a:lnTo>
                    <a:lnTo>
                      <a:pt x="526" y="650"/>
                    </a:lnTo>
                    <a:lnTo>
                      <a:pt x="521" y="652"/>
                    </a:lnTo>
                    <a:lnTo>
                      <a:pt x="517" y="654"/>
                    </a:lnTo>
                    <a:lnTo>
                      <a:pt x="507" y="655"/>
                    </a:lnTo>
                    <a:lnTo>
                      <a:pt x="496" y="655"/>
                    </a:lnTo>
                    <a:lnTo>
                      <a:pt x="474" y="652"/>
                    </a:lnTo>
                    <a:lnTo>
                      <a:pt x="459" y="651"/>
                    </a:lnTo>
                    <a:lnTo>
                      <a:pt x="452" y="654"/>
                    </a:lnTo>
                    <a:lnTo>
                      <a:pt x="444" y="657"/>
                    </a:lnTo>
                    <a:lnTo>
                      <a:pt x="438" y="661"/>
                    </a:lnTo>
                    <a:lnTo>
                      <a:pt x="430" y="665"/>
                    </a:lnTo>
                    <a:lnTo>
                      <a:pt x="417" y="674"/>
                    </a:lnTo>
                    <a:lnTo>
                      <a:pt x="405" y="684"/>
                    </a:lnTo>
                    <a:lnTo>
                      <a:pt x="394" y="694"/>
                    </a:lnTo>
                    <a:lnTo>
                      <a:pt x="383" y="702"/>
                    </a:lnTo>
                    <a:lnTo>
                      <a:pt x="374" y="708"/>
                    </a:lnTo>
                    <a:lnTo>
                      <a:pt x="367" y="713"/>
                    </a:lnTo>
                    <a:lnTo>
                      <a:pt x="335" y="722"/>
                    </a:lnTo>
                    <a:lnTo>
                      <a:pt x="309" y="729"/>
                    </a:lnTo>
                    <a:lnTo>
                      <a:pt x="287" y="737"/>
                    </a:lnTo>
                    <a:lnTo>
                      <a:pt x="270" y="743"/>
                    </a:lnTo>
                    <a:lnTo>
                      <a:pt x="252" y="750"/>
                    </a:lnTo>
                    <a:lnTo>
                      <a:pt x="235" y="757"/>
                    </a:lnTo>
                    <a:lnTo>
                      <a:pt x="216" y="766"/>
                    </a:lnTo>
                    <a:lnTo>
                      <a:pt x="193" y="775"/>
                    </a:lnTo>
                    <a:lnTo>
                      <a:pt x="168" y="786"/>
                    </a:lnTo>
                    <a:lnTo>
                      <a:pt x="145" y="795"/>
                    </a:lnTo>
                    <a:lnTo>
                      <a:pt x="124" y="802"/>
                    </a:lnTo>
                    <a:lnTo>
                      <a:pt x="105" y="807"/>
                    </a:lnTo>
                    <a:lnTo>
                      <a:pt x="87" y="812"/>
                    </a:lnTo>
                    <a:lnTo>
                      <a:pt x="68" y="818"/>
                    </a:lnTo>
                    <a:lnTo>
                      <a:pt x="48" y="826"/>
                    </a:lnTo>
                    <a:lnTo>
                      <a:pt x="27" y="836"/>
                    </a:lnTo>
                    <a:lnTo>
                      <a:pt x="1" y="824"/>
                    </a:lnTo>
                    <a:lnTo>
                      <a:pt x="4" y="817"/>
                    </a:lnTo>
                    <a:lnTo>
                      <a:pt x="4" y="813"/>
                    </a:lnTo>
                    <a:lnTo>
                      <a:pt x="3" y="810"/>
                    </a:lnTo>
                    <a:lnTo>
                      <a:pt x="2" y="808"/>
                    </a:lnTo>
                    <a:lnTo>
                      <a:pt x="0" y="806"/>
                    </a:lnTo>
                    <a:lnTo>
                      <a:pt x="0" y="803"/>
                    </a:lnTo>
                    <a:lnTo>
                      <a:pt x="2" y="799"/>
                    </a:lnTo>
                    <a:lnTo>
                      <a:pt x="7" y="793"/>
                    </a:lnTo>
                    <a:lnTo>
                      <a:pt x="14" y="789"/>
                    </a:lnTo>
                    <a:lnTo>
                      <a:pt x="21" y="785"/>
                    </a:lnTo>
                    <a:lnTo>
                      <a:pt x="28" y="782"/>
                    </a:lnTo>
                    <a:lnTo>
                      <a:pt x="36" y="779"/>
                    </a:lnTo>
                    <a:lnTo>
                      <a:pt x="52" y="774"/>
                    </a:lnTo>
                    <a:lnTo>
                      <a:pt x="70" y="771"/>
                    </a:lnTo>
                    <a:lnTo>
                      <a:pt x="102" y="766"/>
                    </a:lnTo>
                    <a:lnTo>
                      <a:pt x="127" y="761"/>
                    </a:lnTo>
                    <a:lnTo>
                      <a:pt x="143" y="757"/>
                    </a:lnTo>
                    <a:lnTo>
                      <a:pt x="158" y="751"/>
                    </a:lnTo>
                    <a:lnTo>
                      <a:pt x="173" y="746"/>
                    </a:lnTo>
                    <a:lnTo>
                      <a:pt x="188" y="739"/>
                    </a:lnTo>
                    <a:lnTo>
                      <a:pt x="215" y="726"/>
                    </a:lnTo>
                    <a:lnTo>
                      <a:pt x="240" y="712"/>
                    </a:lnTo>
                    <a:lnTo>
                      <a:pt x="265" y="696"/>
                    </a:lnTo>
                    <a:lnTo>
                      <a:pt x="291" y="681"/>
                    </a:lnTo>
                    <a:lnTo>
                      <a:pt x="315" y="666"/>
                    </a:lnTo>
                    <a:lnTo>
                      <a:pt x="339" y="651"/>
                    </a:lnTo>
                    <a:lnTo>
                      <a:pt x="327" y="643"/>
                    </a:lnTo>
                    <a:lnTo>
                      <a:pt x="317" y="636"/>
                    </a:lnTo>
                    <a:lnTo>
                      <a:pt x="308" y="631"/>
                    </a:lnTo>
                    <a:lnTo>
                      <a:pt x="300" y="626"/>
                    </a:lnTo>
                    <a:lnTo>
                      <a:pt x="292" y="629"/>
                    </a:lnTo>
                    <a:lnTo>
                      <a:pt x="285" y="634"/>
                    </a:lnTo>
                    <a:lnTo>
                      <a:pt x="280" y="639"/>
                    </a:lnTo>
                    <a:lnTo>
                      <a:pt x="273" y="644"/>
                    </a:lnTo>
                    <a:lnTo>
                      <a:pt x="267" y="649"/>
                    </a:lnTo>
                    <a:lnTo>
                      <a:pt x="260" y="654"/>
                    </a:lnTo>
                    <a:lnTo>
                      <a:pt x="253" y="657"/>
                    </a:lnTo>
                    <a:lnTo>
                      <a:pt x="247" y="658"/>
                    </a:lnTo>
                    <a:lnTo>
                      <a:pt x="225" y="657"/>
                    </a:lnTo>
                    <a:lnTo>
                      <a:pt x="192" y="652"/>
                    </a:lnTo>
                    <a:lnTo>
                      <a:pt x="174" y="650"/>
                    </a:lnTo>
                    <a:lnTo>
                      <a:pt x="160" y="646"/>
                    </a:lnTo>
                    <a:lnTo>
                      <a:pt x="155" y="645"/>
                    </a:lnTo>
                    <a:lnTo>
                      <a:pt x="150" y="643"/>
                    </a:lnTo>
                    <a:lnTo>
                      <a:pt x="148" y="641"/>
                    </a:lnTo>
                    <a:lnTo>
                      <a:pt x="147" y="638"/>
                    </a:lnTo>
                    <a:lnTo>
                      <a:pt x="148" y="635"/>
                    </a:lnTo>
                    <a:lnTo>
                      <a:pt x="150" y="631"/>
                    </a:lnTo>
                    <a:lnTo>
                      <a:pt x="155" y="626"/>
                    </a:lnTo>
                    <a:lnTo>
                      <a:pt x="159" y="621"/>
                    </a:lnTo>
                    <a:lnTo>
                      <a:pt x="172" y="610"/>
                    </a:lnTo>
                    <a:lnTo>
                      <a:pt x="189" y="597"/>
                    </a:lnTo>
                    <a:lnTo>
                      <a:pt x="204" y="584"/>
                    </a:lnTo>
                    <a:lnTo>
                      <a:pt x="219" y="571"/>
                    </a:lnTo>
                    <a:lnTo>
                      <a:pt x="226" y="565"/>
                    </a:lnTo>
                    <a:lnTo>
                      <a:pt x="231" y="559"/>
                    </a:lnTo>
                    <a:lnTo>
                      <a:pt x="237" y="553"/>
                    </a:lnTo>
                    <a:lnTo>
                      <a:pt x="240" y="547"/>
                    </a:lnTo>
                    <a:lnTo>
                      <a:pt x="223" y="550"/>
                    </a:lnTo>
                    <a:lnTo>
                      <a:pt x="207" y="556"/>
                    </a:lnTo>
                    <a:lnTo>
                      <a:pt x="191" y="562"/>
                    </a:lnTo>
                    <a:lnTo>
                      <a:pt x="175" y="568"/>
                    </a:lnTo>
                    <a:lnTo>
                      <a:pt x="168" y="571"/>
                    </a:lnTo>
                    <a:lnTo>
                      <a:pt x="160" y="573"/>
                    </a:lnTo>
                    <a:lnTo>
                      <a:pt x="152" y="575"/>
                    </a:lnTo>
                    <a:lnTo>
                      <a:pt x="144" y="576"/>
                    </a:lnTo>
                    <a:lnTo>
                      <a:pt x="135" y="576"/>
                    </a:lnTo>
                    <a:lnTo>
                      <a:pt x="126" y="575"/>
                    </a:lnTo>
                    <a:lnTo>
                      <a:pt x="116" y="574"/>
                    </a:lnTo>
                    <a:lnTo>
                      <a:pt x="107" y="571"/>
                    </a:lnTo>
                    <a:lnTo>
                      <a:pt x="107" y="565"/>
                    </a:lnTo>
                    <a:lnTo>
                      <a:pt x="143" y="536"/>
                    </a:lnTo>
                    <a:lnTo>
                      <a:pt x="182" y="508"/>
                    </a:lnTo>
                    <a:lnTo>
                      <a:pt x="223" y="476"/>
                    </a:lnTo>
                    <a:lnTo>
                      <a:pt x="267" y="442"/>
                    </a:lnTo>
                    <a:lnTo>
                      <a:pt x="286" y="426"/>
                    </a:lnTo>
                    <a:lnTo>
                      <a:pt x="306" y="411"/>
                    </a:lnTo>
                    <a:lnTo>
                      <a:pt x="326" y="395"/>
                    </a:lnTo>
                    <a:lnTo>
                      <a:pt x="346" y="380"/>
                    </a:lnTo>
                    <a:lnTo>
                      <a:pt x="386" y="411"/>
                    </a:lnTo>
                    <a:lnTo>
                      <a:pt x="393" y="405"/>
                    </a:lnTo>
                    <a:lnTo>
                      <a:pt x="399" y="400"/>
                    </a:lnTo>
                    <a:lnTo>
                      <a:pt x="406" y="396"/>
                    </a:lnTo>
                    <a:lnTo>
                      <a:pt x="414" y="393"/>
                    </a:lnTo>
                    <a:lnTo>
                      <a:pt x="428" y="386"/>
                    </a:lnTo>
                    <a:lnTo>
                      <a:pt x="444" y="382"/>
                    </a:lnTo>
                    <a:lnTo>
                      <a:pt x="476" y="374"/>
                    </a:lnTo>
                    <a:lnTo>
                      <a:pt x="509" y="370"/>
                    </a:lnTo>
                    <a:lnTo>
                      <a:pt x="524" y="367"/>
                    </a:lnTo>
                    <a:lnTo>
                      <a:pt x="539" y="363"/>
                    </a:lnTo>
                    <a:lnTo>
                      <a:pt x="552" y="359"/>
                    </a:lnTo>
                    <a:lnTo>
                      <a:pt x="563" y="353"/>
                    </a:lnTo>
                    <a:lnTo>
                      <a:pt x="569" y="349"/>
                    </a:lnTo>
                    <a:lnTo>
                      <a:pt x="574" y="345"/>
                    </a:lnTo>
                    <a:lnTo>
                      <a:pt x="578" y="340"/>
                    </a:lnTo>
                    <a:lnTo>
                      <a:pt x="582" y="335"/>
                    </a:lnTo>
                    <a:lnTo>
                      <a:pt x="585" y="329"/>
                    </a:lnTo>
                    <a:lnTo>
                      <a:pt x="588" y="322"/>
                    </a:lnTo>
                    <a:lnTo>
                      <a:pt x="590" y="314"/>
                    </a:lnTo>
                    <a:lnTo>
                      <a:pt x="592" y="306"/>
                    </a:lnTo>
                    <a:lnTo>
                      <a:pt x="559" y="306"/>
                    </a:lnTo>
                    <a:lnTo>
                      <a:pt x="548" y="312"/>
                    </a:lnTo>
                    <a:lnTo>
                      <a:pt x="535" y="321"/>
                    </a:lnTo>
                    <a:lnTo>
                      <a:pt x="528" y="325"/>
                    </a:lnTo>
                    <a:lnTo>
                      <a:pt x="520" y="328"/>
                    </a:lnTo>
                    <a:lnTo>
                      <a:pt x="513" y="330"/>
                    </a:lnTo>
                    <a:lnTo>
                      <a:pt x="506" y="331"/>
                    </a:lnTo>
                    <a:lnTo>
                      <a:pt x="495" y="330"/>
                    </a:lnTo>
                    <a:lnTo>
                      <a:pt x="485" y="327"/>
                    </a:lnTo>
                    <a:lnTo>
                      <a:pt x="474" y="324"/>
                    </a:lnTo>
                    <a:lnTo>
                      <a:pt x="463" y="321"/>
                    </a:lnTo>
                    <a:lnTo>
                      <a:pt x="453" y="318"/>
                    </a:lnTo>
                    <a:lnTo>
                      <a:pt x="443" y="317"/>
                    </a:lnTo>
                    <a:lnTo>
                      <a:pt x="438" y="318"/>
                    </a:lnTo>
                    <a:lnTo>
                      <a:pt x="433" y="319"/>
                    </a:lnTo>
                    <a:lnTo>
                      <a:pt x="430" y="322"/>
                    </a:lnTo>
                    <a:lnTo>
                      <a:pt x="426" y="325"/>
                    </a:lnTo>
                    <a:lnTo>
                      <a:pt x="432" y="316"/>
                    </a:lnTo>
                    <a:lnTo>
                      <a:pt x="443" y="307"/>
                    </a:lnTo>
                    <a:lnTo>
                      <a:pt x="457" y="297"/>
                    </a:lnTo>
                    <a:lnTo>
                      <a:pt x="472" y="287"/>
                    </a:lnTo>
                    <a:lnTo>
                      <a:pt x="506" y="265"/>
                    </a:lnTo>
                    <a:lnTo>
                      <a:pt x="539" y="244"/>
                    </a:lnTo>
                    <a:lnTo>
                      <a:pt x="698" y="250"/>
                    </a:lnTo>
                    <a:lnTo>
                      <a:pt x="701" y="246"/>
                    </a:lnTo>
                    <a:lnTo>
                      <a:pt x="704" y="243"/>
                    </a:lnTo>
                    <a:lnTo>
                      <a:pt x="708" y="240"/>
                    </a:lnTo>
                    <a:lnTo>
                      <a:pt x="711" y="238"/>
                    </a:lnTo>
                    <a:lnTo>
                      <a:pt x="719" y="236"/>
                    </a:lnTo>
                    <a:lnTo>
                      <a:pt x="728" y="234"/>
                    </a:lnTo>
                    <a:lnTo>
                      <a:pt x="745" y="234"/>
                    </a:lnTo>
                    <a:lnTo>
                      <a:pt x="758" y="232"/>
                    </a:lnTo>
                    <a:lnTo>
                      <a:pt x="756" y="224"/>
                    </a:lnTo>
                    <a:lnTo>
                      <a:pt x="753" y="216"/>
                    </a:lnTo>
                    <a:lnTo>
                      <a:pt x="749" y="210"/>
                    </a:lnTo>
                    <a:lnTo>
                      <a:pt x="742" y="204"/>
                    </a:lnTo>
                    <a:lnTo>
                      <a:pt x="737" y="199"/>
                    </a:lnTo>
                    <a:lnTo>
                      <a:pt x="729" y="195"/>
                    </a:lnTo>
                    <a:lnTo>
                      <a:pt x="721" y="191"/>
                    </a:lnTo>
                    <a:lnTo>
                      <a:pt x="713" y="188"/>
                    </a:lnTo>
                    <a:lnTo>
                      <a:pt x="698" y="182"/>
                    </a:lnTo>
                    <a:lnTo>
                      <a:pt x="684" y="176"/>
                    </a:lnTo>
                    <a:lnTo>
                      <a:pt x="678" y="172"/>
                    </a:lnTo>
                    <a:lnTo>
                      <a:pt x="673" y="168"/>
                    </a:lnTo>
                    <a:lnTo>
                      <a:pt x="668" y="164"/>
                    </a:lnTo>
                    <a:lnTo>
                      <a:pt x="665" y="159"/>
                    </a:lnTo>
                    <a:lnTo>
                      <a:pt x="687" y="143"/>
                    </a:lnTo>
                    <a:lnTo>
                      <a:pt x="712" y="127"/>
                    </a:lnTo>
                    <a:lnTo>
                      <a:pt x="739" y="109"/>
                    </a:lnTo>
                    <a:lnTo>
                      <a:pt x="765" y="90"/>
                    </a:lnTo>
                    <a:lnTo>
                      <a:pt x="812" y="78"/>
                    </a:lnTo>
                    <a:lnTo>
                      <a:pt x="858" y="65"/>
                    </a:lnTo>
                    <a:lnTo>
                      <a:pt x="902" y="52"/>
                    </a:lnTo>
                    <a:lnTo>
                      <a:pt x="945" y="38"/>
                    </a:lnTo>
                    <a:lnTo>
                      <a:pt x="966" y="33"/>
                    </a:lnTo>
                    <a:lnTo>
                      <a:pt x="988" y="27"/>
                    </a:lnTo>
                    <a:lnTo>
                      <a:pt x="1010" y="22"/>
                    </a:lnTo>
                    <a:lnTo>
                      <a:pt x="1033" y="18"/>
                    </a:lnTo>
                    <a:lnTo>
                      <a:pt x="1056" y="15"/>
                    </a:lnTo>
                    <a:lnTo>
                      <a:pt x="1080" y="12"/>
                    </a:lnTo>
                    <a:lnTo>
                      <a:pt x="1104" y="11"/>
                    </a:lnTo>
                    <a:lnTo>
                      <a:pt x="1130" y="10"/>
                    </a:lnTo>
                    <a:lnTo>
                      <a:pt x="1157" y="9"/>
                    </a:lnTo>
                    <a:lnTo>
                      <a:pt x="1176" y="7"/>
                    </a:lnTo>
                    <a:lnTo>
                      <a:pt x="1192" y="5"/>
                    </a:lnTo>
                    <a:lnTo>
                      <a:pt x="1216" y="4"/>
                    </a:lnTo>
                    <a:lnTo>
                      <a:pt x="1241" y="3"/>
                    </a:lnTo>
                    <a:lnTo>
                      <a:pt x="1262" y="0"/>
                    </a:lnTo>
                    <a:lnTo>
                      <a:pt x="1270" y="0"/>
                    </a:lnTo>
                    <a:lnTo>
                      <a:pt x="1277" y="2"/>
                    </a:lnTo>
                    <a:lnTo>
                      <a:pt x="1280" y="3"/>
                    </a:lnTo>
                    <a:lnTo>
                      <a:pt x="1281" y="5"/>
                    </a:lnTo>
                    <a:lnTo>
                      <a:pt x="1282" y="7"/>
                    </a:lnTo>
                    <a:lnTo>
                      <a:pt x="1283" y="10"/>
                    </a:lnTo>
                    <a:lnTo>
                      <a:pt x="1306" y="10"/>
                    </a:lnTo>
                    <a:lnTo>
                      <a:pt x="1333" y="10"/>
                    </a:lnTo>
                    <a:lnTo>
                      <a:pt x="1354" y="10"/>
                    </a:lnTo>
                    <a:lnTo>
                      <a:pt x="1362" y="10"/>
                    </a:lnTo>
                    <a:lnTo>
                      <a:pt x="1380" y="11"/>
                    </a:lnTo>
                    <a:lnTo>
                      <a:pt x="1399" y="12"/>
                    </a:lnTo>
                    <a:lnTo>
                      <a:pt x="1417" y="15"/>
                    </a:lnTo>
                    <a:lnTo>
                      <a:pt x="1437" y="18"/>
                    </a:lnTo>
                    <a:lnTo>
                      <a:pt x="1475" y="26"/>
                    </a:lnTo>
                    <a:lnTo>
                      <a:pt x="1516" y="34"/>
                    </a:lnTo>
                    <a:lnTo>
                      <a:pt x="1557" y="44"/>
                    </a:lnTo>
                    <a:lnTo>
                      <a:pt x="1597" y="52"/>
                    </a:lnTo>
                    <a:lnTo>
                      <a:pt x="1617" y="55"/>
                    </a:lnTo>
                    <a:lnTo>
                      <a:pt x="1637" y="58"/>
                    </a:lnTo>
                    <a:lnTo>
                      <a:pt x="1656" y="59"/>
                    </a:lnTo>
                    <a:lnTo>
                      <a:pt x="1675" y="60"/>
                    </a:lnTo>
                    <a:lnTo>
                      <a:pt x="1761" y="41"/>
                    </a:lnTo>
                    <a:lnTo>
                      <a:pt x="1772" y="46"/>
                    </a:lnTo>
                    <a:lnTo>
                      <a:pt x="1784" y="51"/>
                    </a:lnTo>
                    <a:lnTo>
                      <a:pt x="1797" y="55"/>
                    </a:lnTo>
                    <a:lnTo>
                      <a:pt x="1808" y="60"/>
                    </a:lnTo>
                    <a:lnTo>
                      <a:pt x="1223" y="540"/>
                    </a:lnTo>
                    <a:lnTo>
                      <a:pt x="1258" y="540"/>
                    </a:lnTo>
                    <a:lnTo>
                      <a:pt x="1287" y="540"/>
                    </a:lnTo>
                    <a:lnTo>
                      <a:pt x="1309" y="540"/>
                    </a:lnTo>
                    <a:lnTo>
                      <a:pt x="1329" y="540"/>
                    </a:lnTo>
                    <a:lnTo>
                      <a:pt x="1328" y="547"/>
                    </a:lnTo>
                    <a:lnTo>
                      <a:pt x="1327" y="553"/>
                    </a:lnTo>
                    <a:lnTo>
                      <a:pt x="1325" y="559"/>
                    </a:lnTo>
                    <a:lnTo>
                      <a:pt x="1323" y="565"/>
                    </a:lnTo>
                    <a:lnTo>
                      <a:pt x="1321" y="571"/>
                    </a:lnTo>
                    <a:lnTo>
                      <a:pt x="1318" y="576"/>
                    </a:lnTo>
                    <a:lnTo>
                      <a:pt x="1316" y="583"/>
                    </a:lnTo>
                    <a:lnTo>
                      <a:pt x="1316" y="589"/>
                    </a:lnTo>
                    <a:lnTo>
                      <a:pt x="1317" y="592"/>
                    </a:lnTo>
                    <a:lnTo>
                      <a:pt x="1320" y="595"/>
                    </a:lnTo>
                    <a:lnTo>
                      <a:pt x="1323" y="599"/>
                    </a:lnTo>
                    <a:lnTo>
                      <a:pt x="1327" y="601"/>
                    </a:lnTo>
                    <a:lnTo>
                      <a:pt x="1336" y="606"/>
                    </a:lnTo>
                    <a:lnTo>
                      <a:pt x="1343" y="608"/>
                    </a:lnTo>
                    <a:lnTo>
                      <a:pt x="1351" y="608"/>
                    </a:lnTo>
                    <a:lnTo>
                      <a:pt x="1358" y="607"/>
                    </a:lnTo>
                    <a:lnTo>
                      <a:pt x="1365" y="605"/>
                    </a:lnTo>
                    <a:lnTo>
                      <a:pt x="1371" y="604"/>
                    </a:lnTo>
                    <a:lnTo>
                      <a:pt x="1382" y="599"/>
                    </a:lnTo>
                    <a:lnTo>
                      <a:pt x="1391" y="592"/>
                    </a:lnTo>
                    <a:lnTo>
                      <a:pt x="1400" y="587"/>
                    </a:lnTo>
                    <a:lnTo>
                      <a:pt x="1409" y="582"/>
                    </a:lnTo>
                    <a:lnTo>
                      <a:pt x="1413" y="580"/>
                    </a:lnTo>
                    <a:lnTo>
                      <a:pt x="1417" y="578"/>
                    </a:lnTo>
                    <a:lnTo>
                      <a:pt x="1423" y="577"/>
                    </a:lnTo>
                    <a:lnTo>
                      <a:pt x="1429" y="577"/>
                    </a:lnTo>
                    <a:lnTo>
                      <a:pt x="1441" y="596"/>
                    </a:lnTo>
                    <a:lnTo>
                      <a:pt x="1457" y="617"/>
                    </a:lnTo>
                    <a:lnTo>
                      <a:pt x="1465" y="629"/>
                    </a:lnTo>
                    <a:lnTo>
                      <a:pt x="1470" y="643"/>
                    </a:lnTo>
                    <a:lnTo>
                      <a:pt x="1472" y="650"/>
                    </a:lnTo>
                    <a:lnTo>
                      <a:pt x="1474" y="659"/>
                    </a:lnTo>
                    <a:lnTo>
                      <a:pt x="1475" y="667"/>
                    </a:lnTo>
                    <a:lnTo>
                      <a:pt x="1475" y="676"/>
                    </a:lnTo>
                    <a:lnTo>
                      <a:pt x="1475" y="681"/>
                    </a:lnTo>
                    <a:lnTo>
                      <a:pt x="1474" y="686"/>
                    </a:lnTo>
                    <a:lnTo>
                      <a:pt x="1473" y="690"/>
                    </a:lnTo>
                    <a:lnTo>
                      <a:pt x="1471" y="694"/>
                    </a:lnTo>
                    <a:lnTo>
                      <a:pt x="1467" y="700"/>
                    </a:lnTo>
                    <a:lnTo>
                      <a:pt x="1462" y="706"/>
                    </a:lnTo>
                    <a:lnTo>
                      <a:pt x="1457" y="713"/>
                    </a:lnTo>
                    <a:lnTo>
                      <a:pt x="1454" y="719"/>
                    </a:lnTo>
                    <a:lnTo>
                      <a:pt x="1451" y="723"/>
                    </a:lnTo>
                    <a:lnTo>
                      <a:pt x="1450" y="727"/>
                    </a:lnTo>
                    <a:lnTo>
                      <a:pt x="1449" y="732"/>
                    </a:lnTo>
                    <a:lnTo>
                      <a:pt x="1449" y="737"/>
                    </a:lnTo>
                    <a:lnTo>
                      <a:pt x="1449" y="742"/>
                    </a:lnTo>
                    <a:lnTo>
                      <a:pt x="1450" y="746"/>
                    </a:lnTo>
                    <a:lnTo>
                      <a:pt x="1452" y="750"/>
                    </a:lnTo>
                    <a:lnTo>
                      <a:pt x="1455" y="754"/>
                    </a:lnTo>
                    <a:lnTo>
                      <a:pt x="1459" y="761"/>
                    </a:lnTo>
                    <a:lnTo>
                      <a:pt x="1466" y="769"/>
                    </a:lnTo>
                    <a:lnTo>
                      <a:pt x="1471" y="775"/>
                    </a:lnTo>
                    <a:lnTo>
                      <a:pt x="1477" y="783"/>
                    </a:lnTo>
                    <a:lnTo>
                      <a:pt x="1479" y="786"/>
                    </a:lnTo>
                    <a:lnTo>
                      <a:pt x="1481" y="790"/>
                    </a:lnTo>
                    <a:lnTo>
                      <a:pt x="1482" y="794"/>
                    </a:lnTo>
                    <a:lnTo>
                      <a:pt x="1482" y="799"/>
                    </a:lnTo>
                    <a:lnTo>
                      <a:pt x="1482" y="802"/>
                    </a:lnTo>
                    <a:lnTo>
                      <a:pt x="1480" y="807"/>
                    </a:lnTo>
                    <a:lnTo>
                      <a:pt x="1477" y="811"/>
                    </a:lnTo>
                    <a:lnTo>
                      <a:pt x="1473" y="816"/>
                    </a:lnTo>
                    <a:lnTo>
                      <a:pt x="1463" y="826"/>
                    </a:lnTo>
                    <a:lnTo>
                      <a:pt x="1452" y="835"/>
                    </a:lnTo>
                    <a:lnTo>
                      <a:pt x="1446" y="839"/>
                    </a:lnTo>
                    <a:lnTo>
                      <a:pt x="1439" y="843"/>
                    </a:lnTo>
                    <a:lnTo>
                      <a:pt x="1433" y="846"/>
                    </a:lnTo>
                    <a:lnTo>
                      <a:pt x="1426" y="848"/>
                    </a:lnTo>
                    <a:lnTo>
                      <a:pt x="1419" y="850"/>
                    </a:lnTo>
                    <a:lnTo>
                      <a:pt x="1414" y="850"/>
                    </a:lnTo>
                    <a:lnTo>
                      <a:pt x="1407" y="850"/>
                    </a:lnTo>
                    <a:lnTo>
                      <a:pt x="1402" y="848"/>
                    </a:lnTo>
                    <a:lnTo>
                      <a:pt x="1410" y="842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84" name="Freeform 6">
                <a:extLst>
                  <a:ext uri="{FF2B5EF4-FFF2-40B4-BE49-F238E27FC236}">
                    <a16:creationId xmlns="" xmlns:a16="http://schemas.microsoft.com/office/drawing/2014/main" id="{6602C431-80E7-41E4-8E7F-CBA194AAEE9A}"/>
                  </a:ext>
                </a:extLst>
              </p:cNvPr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1138238" y="2111375"/>
                <a:ext cx="1381125" cy="769938"/>
              </a:xfrm>
              <a:custGeom>
                <a:avLst/>
                <a:gdLst>
                  <a:gd name="T0" fmla="*/ 2147483646 w 3175"/>
                  <a:gd name="T1" fmla="*/ 2147483646 h 1472"/>
                  <a:gd name="T2" fmla="*/ 2147483646 w 3175"/>
                  <a:gd name="T3" fmla="*/ 2147483646 h 1472"/>
                  <a:gd name="T4" fmla="*/ 2147483646 w 3175"/>
                  <a:gd name="T5" fmla="*/ 2147483646 h 1472"/>
                  <a:gd name="T6" fmla="*/ 2147483646 w 3175"/>
                  <a:gd name="T7" fmla="*/ 2147483646 h 1472"/>
                  <a:gd name="T8" fmla="*/ 2147483646 w 3175"/>
                  <a:gd name="T9" fmla="*/ 2147483646 h 1472"/>
                  <a:gd name="T10" fmla="*/ 2147483646 w 3175"/>
                  <a:gd name="T11" fmla="*/ 2147483646 h 1472"/>
                  <a:gd name="T12" fmla="*/ 2147483646 w 3175"/>
                  <a:gd name="T13" fmla="*/ 2147483646 h 1472"/>
                  <a:gd name="T14" fmla="*/ 2147483646 w 3175"/>
                  <a:gd name="T15" fmla="*/ 2147483646 h 1472"/>
                  <a:gd name="T16" fmla="*/ 2147483646 w 3175"/>
                  <a:gd name="T17" fmla="*/ 2147483646 h 1472"/>
                  <a:gd name="T18" fmla="*/ 2147483646 w 3175"/>
                  <a:gd name="T19" fmla="*/ 2147483646 h 1472"/>
                  <a:gd name="T20" fmla="*/ 2147483646 w 3175"/>
                  <a:gd name="T21" fmla="*/ 2147483646 h 1472"/>
                  <a:gd name="T22" fmla="*/ 2147483646 w 3175"/>
                  <a:gd name="T23" fmla="*/ 2147483646 h 1472"/>
                  <a:gd name="T24" fmla="*/ 2147483646 w 3175"/>
                  <a:gd name="T25" fmla="*/ 2147483646 h 1472"/>
                  <a:gd name="T26" fmla="*/ 2147483646 w 3175"/>
                  <a:gd name="T27" fmla="*/ 2147483646 h 1472"/>
                  <a:gd name="T28" fmla="*/ 2147483646 w 3175"/>
                  <a:gd name="T29" fmla="*/ 2147483646 h 1472"/>
                  <a:gd name="T30" fmla="*/ 2147483646 w 3175"/>
                  <a:gd name="T31" fmla="*/ 2147483646 h 1472"/>
                  <a:gd name="T32" fmla="*/ 2147483646 w 3175"/>
                  <a:gd name="T33" fmla="*/ 2147483646 h 1472"/>
                  <a:gd name="T34" fmla="*/ 2147483646 w 3175"/>
                  <a:gd name="T35" fmla="*/ 2147483646 h 1472"/>
                  <a:gd name="T36" fmla="*/ 2147483646 w 3175"/>
                  <a:gd name="T37" fmla="*/ 2147483646 h 1472"/>
                  <a:gd name="T38" fmla="*/ 2147483646 w 3175"/>
                  <a:gd name="T39" fmla="*/ 2147483646 h 1472"/>
                  <a:gd name="T40" fmla="*/ 2147483646 w 3175"/>
                  <a:gd name="T41" fmla="*/ 2147483646 h 1472"/>
                  <a:gd name="T42" fmla="*/ 2147483646 w 3175"/>
                  <a:gd name="T43" fmla="*/ 2147483646 h 1472"/>
                  <a:gd name="T44" fmla="*/ 2147483646 w 3175"/>
                  <a:gd name="T45" fmla="*/ 2147483646 h 1472"/>
                  <a:gd name="T46" fmla="*/ 2147483646 w 3175"/>
                  <a:gd name="T47" fmla="*/ 2147483646 h 1472"/>
                  <a:gd name="T48" fmla="*/ 2147483646 w 3175"/>
                  <a:gd name="T49" fmla="*/ 2147483646 h 1472"/>
                  <a:gd name="T50" fmla="*/ 2147483646 w 3175"/>
                  <a:gd name="T51" fmla="*/ 2147483646 h 1472"/>
                  <a:gd name="T52" fmla="*/ 2147483646 w 3175"/>
                  <a:gd name="T53" fmla="*/ 2147483646 h 1472"/>
                  <a:gd name="T54" fmla="*/ 2147483646 w 3175"/>
                  <a:gd name="T55" fmla="*/ 2147483646 h 1472"/>
                  <a:gd name="T56" fmla="*/ 2147483646 w 3175"/>
                  <a:gd name="T57" fmla="*/ 2147483646 h 1472"/>
                  <a:gd name="T58" fmla="*/ 2147483646 w 3175"/>
                  <a:gd name="T59" fmla="*/ 2147483646 h 1472"/>
                  <a:gd name="T60" fmla="*/ 2147483646 w 3175"/>
                  <a:gd name="T61" fmla="*/ 2147483646 h 1472"/>
                  <a:gd name="T62" fmla="*/ 2147483646 w 3175"/>
                  <a:gd name="T63" fmla="*/ 2147483646 h 1472"/>
                  <a:gd name="T64" fmla="*/ 2147483646 w 3175"/>
                  <a:gd name="T65" fmla="*/ 2147483646 h 1472"/>
                  <a:gd name="T66" fmla="*/ 2147483646 w 3175"/>
                  <a:gd name="T67" fmla="*/ 2147483646 h 1472"/>
                  <a:gd name="T68" fmla="*/ 2147483646 w 3175"/>
                  <a:gd name="T69" fmla="*/ 2147483646 h 1472"/>
                  <a:gd name="T70" fmla="*/ 0 w 3175"/>
                  <a:gd name="T71" fmla="*/ 2147483646 h 1472"/>
                  <a:gd name="T72" fmla="*/ 2147483646 w 3175"/>
                  <a:gd name="T73" fmla="*/ 2147483646 h 1472"/>
                  <a:gd name="T74" fmla="*/ 2147483646 w 3175"/>
                  <a:gd name="T75" fmla="*/ 2147483646 h 1472"/>
                  <a:gd name="T76" fmla="*/ 2147483646 w 3175"/>
                  <a:gd name="T77" fmla="*/ 2147483646 h 1472"/>
                  <a:gd name="T78" fmla="*/ 2147483646 w 3175"/>
                  <a:gd name="T79" fmla="*/ 2147483646 h 1472"/>
                  <a:gd name="T80" fmla="*/ 2147483646 w 3175"/>
                  <a:gd name="T81" fmla="*/ 0 h 1472"/>
                  <a:gd name="T82" fmla="*/ 2147483646 w 3175"/>
                  <a:gd name="T83" fmla="*/ 2147483646 h 1472"/>
                  <a:gd name="T84" fmla="*/ 2147483646 w 3175"/>
                  <a:gd name="T85" fmla="*/ 2147483646 h 1472"/>
                  <a:gd name="T86" fmla="*/ 2147483646 w 3175"/>
                  <a:gd name="T87" fmla="*/ 2147483646 h 1472"/>
                  <a:gd name="T88" fmla="*/ 2147483646 w 3175"/>
                  <a:gd name="T89" fmla="*/ 2147483646 h 1472"/>
                  <a:gd name="T90" fmla="*/ 2147483646 w 3175"/>
                  <a:gd name="T91" fmla="*/ 2147483646 h 1472"/>
                  <a:gd name="T92" fmla="*/ 2147483646 w 3175"/>
                  <a:gd name="T93" fmla="*/ 2147483646 h 1472"/>
                  <a:gd name="T94" fmla="*/ 2147483646 w 3175"/>
                  <a:gd name="T95" fmla="*/ 2147483646 h 1472"/>
                  <a:gd name="T96" fmla="*/ 2147483646 w 3175"/>
                  <a:gd name="T97" fmla="*/ 2147483646 h 1472"/>
                  <a:gd name="T98" fmla="*/ 2147483646 w 3175"/>
                  <a:gd name="T99" fmla="*/ 2147483646 h 1472"/>
                  <a:gd name="T100" fmla="*/ 2147483646 w 3175"/>
                  <a:gd name="T101" fmla="*/ 2147483646 h 1472"/>
                  <a:gd name="T102" fmla="*/ 2147483646 w 3175"/>
                  <a:gd name="T103" fmla="*/ 2147483646 h 1472"/>
                  <a:gd name="T104" fmla="*/ 2147483646 w 3175"/>
                  <a:gd name="T105" fmla="*/ 2147483646 h 1472"/>
                  <a:gd name="T106" fmla="*/ 2147483646 w 3175"/>
                  <a:gd name="T107" fmla="*/ 2147483646 h 1472"/>
                  <a:gd name="T108" fmla="*/ 2147483646 w 3175"/>
                  <a:gd name="T109" fmla="*/ 2147483646 h 1472"/>
                  <a:gd name="T110" fmla="*/ 2147483646 w 3175"/>
                  <a:gd name="T111" fmla="*/ 2147483646 h 1472"/>
                  <a:gd name="T112" fmla="*/ 2147483646 w 3175"/>
                  <a:gd name="T113" fmla="*/ 2147483646 h 1472"/>
                  <a:gd name="T114" fmla="*/ 2147483646 w 3175"/>
                  <a:gd name="T115" fmla="*/ 2147483646 h 1472"/>
                  <a:gd name="T116" fmla="*/ 2147483646 w 3175"/>
                  <a:gd name="T117" fmla="*/ 2147483646 h 1472"/>
                  <a:gd name="T118" fmla="*/ 2147483646 w 3175"/>
                  <a:gd name="T119" fmla="*/ 2147483646 h 1472"/>
                  <a:gd name="T120" fmla="*/ 2147483646 w 3175"/>
                  <a:gd name="T121" fmla="*/ 2147483646 h 1472"/>
                  <a:gd name="T122" fmla="*/ 2147483646 w 3175"/>
                  <a:gd name="T123" fmla="*/ 2147483646 h 147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175"/>
                  <a:gd name="T187" fmla="*/ 0 h 1472"/>
                  <a:gd name="T188" fmla="*/ 3175 w 3175"/>
                  <a:gd name="T189" fmla="*/ 1472 h 1472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175" h="1472">
                    <a:moveTo>
                      <a:pt x="3155" y="258"/>
                    </a:moveTo>
                    <a:lnTo>
                      <a:pt x="3129" y="270"/>
                    </a:lnTo>
                    <a:lnTo>
                      <a:pt x="3104" y="281"/>
                    </a:lnTo>
                    <a:lnTo>
                      <a:pt x="3079" y="291"/>
                    </a:lnTo>
                    <a:lnTo>
                      <a:pt x="3055" y="300"/>
                    </a:lnTo>
                    <a:lnTo>
                      <a:pt x="3032" y="309"/>
                    </a:lnTo>
                    <a:lnTo>
                      <a:pt x="3008" y="317"/>
                    </a:lnTo>
                    <a:lnTo>
                      <a:pt x="2983" y="326"/>
                    </a:lnTo>
                    <a:lnTo>
                      <a:pt x="2956" y="333"/>
                    </a:lnTo>
                    <a:lnTo>
                      <a:pt x="2948" y="337"/>
                    </a:lnTo>
                    <a:lnTo>
                      <a:pt x="2940" y="341"/>
                    </a:lnTo>
                    <a:lnTo>
                      <a:pt x="2933" y="347"/>
                    </a:lnTo>
                    <a:lnTo>
                      <a:pt x="2928" y="353"/>
                    </a:lnTo>
                    <a:lnTo>
                      <a:pt x="2917" y="366"/>
                    </a:lnTo>
                    <a:lnTo>
                      <a:pt x="2909" y="382"/>
                    </a:lnTo>
                    <a:lnTo>
                      <a:pt x="2900" y="397"/>
                    </a:lnTo>
                    <a:lnTo>
                      <a:pt x="2894" y="410"/>
                    </a:lnTo>
                    <a:lnTo>
                      <a:pt x="2889" y="416"/>
                    </a:lnTo>
                    <a:lnTo>
                      <a:pt x="2885" y="422"/>
                    </a:lnTo>
                    <a:lnTo>
                      <a:pt x="2881" y="427"/>
                    </a:lnTo>
                    <a:lnTo>
                      <a:pt x="2876" y="431"/>
                    </a:lnTo>
                    <a:lnTo>
                      <a:pt x="2876" y="436"/>
                    </a:lnTo>
                    <a:lnTo>
                      <a:pt x="2877" y="440"/>
                    </a:lnTo>
                    <a:lnTo>
                      <a:pt x="2880" y="445"/>
                    </a:lnTo>
                    <a:lnTo>
                      <a:pt x="2883" y="450"/>
                    </a:lnTo>
                    <a:lnTo>
                      <a:pt x="2896" y="440"/>
                    </a:lnTo>
                    <a:lnTo>
                      <a:pt x="2909" y="431"/>
                    </a:lnTo>
                    <a:lnTo>
                      <a:pt x="2910" y="438"/>
                    </a:lnTo>
                    <a:lnTo>
                      <a:pt x="2910" y="443"/>
                    </a:lnTo>
                    <a:lnTo>
                      <a:pt x="2909" y="448"/>
                    </a:lnTo>
                    <a:lnTo>
                      <a:pt x="2907" y="451"/>
                    </a:lnTo>
                    <a:lnTo>
                      <a:pt x="2905" y="455"/>
                    </a:lnTo>
                    <a:lnTo>
                      <a:pt x="2902" y="457"/>
                    </a:lnTo>
                    <a:lnTo>
                      <a:pt x="2898" y="459"/>
                    </a:lnTo>
                    <a:lnTo>
                      <a:pt x="2894" y="460"/>
                    </a:lnTo>
                    <a:lnTo>
                      <a:pt x="2883" y="462"/>
                    </a:lnTo>
                    <a:lnTo>
                      <a:pt x="2871" y="462"/>
                    </a:lnTo>
                    <a:lnTo>
                      <a:pt x="2858" y="462"/>
                    </a:lnTo>
                    <a:lnTo>
                      <a:pt x="2843" y="462"/>
                    </a:lnTo>
                    <a:lnTo>
                      <a:pt x="2820" y="463"/>
                    </a:lnTo>
                    <a:lnTo>
                      <a:pt x="2796" y="466"/>
                    </a:lnTo>
                    <a:lnTo>
                      <a:pt x="2773" y="470"/>
                    </a:lnTo>
                    <a:lnTo>
                      <a:pt x="2750" y="476"/>
                    </a:lnTo>
                    <a:lnTo>
                      <a:pt x="2728" y="483"/>
                    </a:lnTo>
                    <a:lnTo>
                      <a:pt x="2708" y="491"/>
                    </a:lnTo>
                    <a:lnTo>
                      <a:pt x="2691" y="498"/>
                    </a:lnTo>
                    <a:lnTo>
                      <a:pt x="2678" y="505"/>
                    </a:lnTo>
                    <a:lnTo>
                      <a:pt x="2678" y="542"/>
                    </a:lnTo>
                    <a:lnTo>
                      <a:pt x="2675" y="549"/>
                    </a:lnTo>
                    <a:lnTo>
                      <a:pt x="2673" y="555"/>
                    </a:lnTo>
                    <a:lnTo>
                      <a:pt x="2670" y="561"/>
                    </a:lnTo>
                    <a:lnTo>
                      <a:pt x="2667" y="566"/>
                    </a:lnTo>
                    <a:lnTo>
                      <a:pt x="2658" y="575"/>
                    </a:lnTo>
                    <a:lnTo>
                      <a:pt x="2649" y="584"/>
                    </a:lnTo>
                    <a:lnTo>
                      <a:pt x="2639" y="592"/>
                    </a:lnTo>
                    <a:lnTo>
                      <a:pt x="2628" y="602"/>
                    </a:lnTo>
                    <a:lnTo>
                      <a:pt x="2619" y="611"/>
                    </a:lnTo>
                    <a:lnTo>
                      <a:pt x="2611" y="622"/>
                    </a:lnTo>
                    <a:lnTo>
                      <a:pt x="2611" y="613"/>
                    </a:lnTo>
                    <a:lnTo>
                      <a:pt x="2611" y="604"/>
                    </a:lnTo>
                    <a:lnTo>
                      <a:pt x="2606" y="603"/>
                    </a:lnTo>
                    <a:lnTo>
                      <a:pt x="2602" y="600"/>
                    </a:lnTo>
                    <a:lnTo>
                      <a:pt x="2598" y="595"/>
                    </a:lnTo>
                    <a:lnTo>
                      <a:pt x="2596" y="590"/>
                    </a:lnTo>
                    <a:lnTo>
                      <a:pt x="2595" y="585"/>
                    </a:lnTo>
                    <a:lnTo>
                      <a:pt x="2595" y="580"/>
                    </a:lnTo>
                    <a:lnTo>
                      <a:pt x="2595" y="576"/>
                    </a:lnTo>
                    <a:lnTo>
                      <a:pt x="2597" y="573"/>
                    </a:lnTo>
                    <a:lnTo>
                      <a:pt x="2578" y="573"/>
                    </a:lnTo>
                    <a:lnTo>
                      <a:pt x="2575" y="587"/>
                    </a:lnTo>
                    <a:lnTo>
                      <a:pt x="2574" y="600"/>
                    </a:lnTo>
                    <a:lnTo>
                      <a:pt x="2574" y="610"/>
                    </a:lnTo>
                    <a:lnTo>
                      <a:pt x="2574" y="619"/>
                    </a:lnTo>
                    <a:lnTo>
                      <a:pt x="2577" y="633"/>
                    </a:lnTo>
                    <a:lnTo>
                      <a:pt x="2578" y="646"/>
                    </a:lnTo>
                    <a:lnTo>
                      <a:pt x="2577" y="658"/>
                    </a:lnTo>
                    <a:lnTo>
                      <a:pt x="2574" y="668"/>
                    </a:lnTo>
                    <a:lnTo>
                      <a:pt x="2570" y="677"/>
                    </a:lnTo>
                    <a:lnTo>
                      <a:pt x="2564" y="685"/>
                    </a:lnTo>
                    <a:lnTo>
                      <a:pt x="2559" y="693"/>
                    </a:lnTo>
                    <a:lnTo>
                      <a:pt x="2552" y="700"/>
                    </a:lnTo>
                    <a:lnTo>
                      <a:pt x="2545" y="707"/>
                    </a:lnTo>
                    <a:lnTo>
                      <a:pt x="2537" y="715"/>
                    </a:lnTo>
                    <a:lnTo>
                      <a:pt x="2538" y="684"/>
                    </a:lnTo>
                    <a:lnTo>
                      <a:pt x="2538" y="657"/>
                    </a:lnTo>
                    <a:lnTo>
                      <a:pt x="2540" y="630"/>
                    </a:lnTo>
                    <a:lnTo>
                      <a:pt x="2544" y="604"/>
                    </a:lnTo>
                    <a:lnTo>
                      <a:pt x="2535" y="607"/>
                    </a:lnTo>
                    <a:lnTo>
                      <a:pt x="2527" y="611"/>
                    </a:lnTo>
                    <a:lnTo>
                      <a:pt x="2519" y="615"/>
                    </a:lnTo>
                    <a:lnTo>
                      <a:pt x="2514" y="621"/>
                    </a:lnTo>
                    <a:lnTo>
                      <a:pt x="2510" y="628"/>
                    </a:lnTo>
                    <a:lnTo>
                      <a:pt x="2506" y="635"/>
                    </a:lnTo>
                    <a:lnTo>
                      <a:pt x="2505" y="643"/>
                    </a:lnTo>
                    <a:lnTo>
                      <a:pt x="2504" y="653"/>
                    </a:lnTo>
                    <a:lnTo>
                      <a:pt x="2491" y="653"/>
                    </a:lnTo>
                    <a:lnTo>
                      <a:pt x="2478" y="653"/>
                    </a:lnTo>
                    <a:lnTo>
                      <a:pt x="2478" y="658"/>
                    </a:lnTo>
                    <a:lnTo>
                      <a:pt x="2479" y="662"/>
                    </a:lnTo>
                    <a:lnTo>
                      <a:pt x="2480" y="666"/>
                    </a:lnTo>
                    <a:lnTo>
                      <a:pt x="2482" y="670"/>
                    </a:lnTo>
                    <a:lnTo>
                      <a:pt x="2486" y="678"/>
                    </a:lnTo>
                    <a:lnTo>
                      <a:pt x="2493" y="684"/>
                    </a:lnTo>
                    <a:lnTo>
                      <a:pt x="2499" y="690"/>
                    </a:lnTo>
                    <a:lnTo>
                      <a:pt x="2505" y="695"/>
                    </a:lnTo>
                    <a:lnTo>
                      <a:pt x="2512" y="699"/>
                    </a:lnTo>
                    <a:lnTo>
                      <a:pt x="2517" y="702"/>
                    </a:lnTo>
                    <a:lnTo>
                      <a:pt x="2517" y="727"/>
                    </a:lnTo>
                    <a:lnTo>
                      <a:pt x="2496" y="730"/>
                    </a:lnTo>
                    <a:lnTo>
                      <a:pt x="2479" y="730"/>
                    </a:lnTo>
                    <a:lnTo>
                      <a:pt x="2472" y="730"/>
                    </a:lnTo>
                    <a:lnTo>
                      <a:pt x="2466" y="730"/>
                    </a:lnTo>
                    <a:lnTo>
                      <a:pt x="2458" y="731"/>
                    </a:lnTo>
                    <a:lnTo>
                      <a:pt x="2451" y="733"/>
                    </a:lnTo>
                    <a:lnTo>
                      <a:pt x="2455" y="737"/>
                    </a:lnTo>
                    <a:lnTo>
                      <a:pt x="2459" y="741"/>
                    </a:lnTo>
                    <a:lnTo>
                      <a:pt x="2465" y="744"/>
                    </a:lnTo>
                    <a:lnTo>
                      <a:pt x="2471" y="747"/>
                    </a:lnTo>
                    <a:lnTo>
                      <a:pt x="2483" y="750"/>
                    </a:lnTo>
                    <a:lnTo>
                      <a:pt x="2491" y="751"/>
                    </a:lnTo>
                    <a:lnTo>
                      <a:pt x="2492" y="756"/>
                    </a:lnTo>
                    <a:lnTo>
                      <a:pt x="2493" y="760"/>
                    </a:lnTo>
                    <a:lnTo>
                      <a:pt x="2495" y="765"/>
                    </a:lnTo>
                    <a:lnTo>
                      <a:pt x="2499" y="769"/>
                    </a:lnTo>
                    <a:lnTo>
                      <a:pt x="2505" y="777"/>
                    </a:lnTo>
                    <a:lnTo>
                      <a:pt x="2511" y="782"/>
                    </a:lnTo>
                    <a:lnTo>
                      <a:pt x="2500" y="792"/>
                    </a:lnTo>
                    <a:lnTo>
                      <a:pt x="2489" y="802"/>
                    </a:lnTo>
                    <a:lnTo>
                      <a:pt x="2480" y="812"/>
                    </a:lnTo>
                    <a:lnTo>
                      <a:pt x="2471" y="823"/>
                    </a:lnTo>
                    <a:lnTo>
                      <a:pt x="2456" y="841"/>
                    </a:lnTo>
                    <a:lnTo>
                      <a:pt x="2441" y="859"/>
                    </a:lnTo>
                    <a:lnTo>
                      <a:pt x="2434" y="867"/>
                    </a:lnTo>
                    <a:lnTo>
                      <a:pt x="2425" y="876"/>
                    </a:lnTo>
                    <a:lnTo>
                      <a:pt x="2416" y="884"/>
                    </a:lnTo>
                    <a:lnTo>
                      <a:pt x="2406" y="892"/>
                    </a:lnTo>
                    <a:lnTo>
                      <a:pt x="2395" y="899"/>
                    </a:lnTo>
                    <a:lnTo>
                      <a:pt x="2382" y="905"/>
                    </a:lnTo>
                    <a:lnTo>
                      <a:pt x="2368" y="912"/>
                    </a:lnTo>
                    <a:lnTo>
                      <a:pt x="2351" y="917"/>
                    </a:lnTo>
                    <a:lnTo>
                      <a:pt x="2346" y="919"/>
                    </a:lnTo>
                    <a:lnTo>
                      <a:pt x="2339" y="923"/>
                    </a:lnTo>
                    <a:lnTo>
                      <a:pt x="2332" y="928"/>
                    </a:lnTo>
                    <a:lnTo>
                      <a:pt x="2324" y="935"/>
                    </a:lnTo>
                    <a:lnTo>
                      <a:pt x="2307" y="950"/>
                    </a:lnTo>
                    <a:lnTo>
                      <a:pt x="2289" y="967"/>
                    </a:lnTo>
                    <a:lnTo>
                      <a:pt x="2271" y="984"/>
                    </a:lnTo>
                    <a:lnTo>
                      <a:pt x="2255" y="999"/>
                    </a:lnTo>
                    <a:lnTo>
                      <a:pt x="2248" y="1006"/>
                    </a:lnTo>
                    <a:lnTo>
                      <a:pt x="2242" y="1011"/>
                    </a:lnTo>
                    <a:lnTo>
                      <a:pt x="2236" y="1014"/>
                    </a:lnTo>
                    <a:lnTo>
                      <a:pt x="2232" y="1016"/>
                    </a:lnTo>
                    <a:lnTo>
                      <a:pt x="2208" y="1025"/>
                    </a:lnTo>
                    <a:lnTo>
                      <a:pt x="2186" y="1034"/>
                    </a:lnTo>
                    <a:lnTo>
                      <a:pt x="2175" y="1039"/>
                    </a:lnTo>
                    <a:lnTo>
                      <a:pt x="2165" y="1045"/>
                    </a:lnTo>
                    <a:lnTo>
                      <a:pt x="2156" y="1051"/>
                    </a:lnTo>
                    <a:lnTo>
                      <a:pt x="2147" y="1057"/>
                    </a:lnTo>
                    <a:lnTo>
                      <a:pt x="2140" y="1064"/>
                    </a:lnTo>
                    <a:lnTo>
                      <a:pt x="2133" y="1072"/>
                    </a:lnTo>
                    <a:lnTo>
                      <a:pt x="2126" y="1080"/>
                    </a:lnTo>
                    <a:lnTo>
                      <a:pt x="2122" y="1090"/>
                    </a:lnTo>
                    <a:lnTo>
                      <a:pt x="2118" y="1101"/>
                    </a:lnTo>
                    <a:lnTo>
                      <a:pt x="2114" y="1113"/>
                    </a:lnTo>
                    <a:lnTo>
                      <a:pt x="2113" y="1125"/>
                    </a:lnTo>
                    <a:lnTo>
                      <a:pt x="2112" y="1139"/>
                    </a:lnTo>
                    <a:lnTo>
                      <a:pt x="2112" y="1151"/>
                    </a:lnTo>
                    <a:lnTo>
                      <a:pt x="2112" y="1174"/>
                    </a:lnTo>
                    <a:lnTo>
                      <a:pt x="2112" y="1195"/>
                    </a:lnTo>
                    <a:lnTo>
                      <a:pt x="2112" y="1207"/>
                    </a:lnTo>
                    <a:lnTo>
                      <a:pt x="2114" y="1223"/>
                    </a:lnTo>
                    <a:lnTo>
                      <a:pt x="2118" y="1240"/>
                    </a:lnTo>
                    <a:lnTo>
                      <a:pt x="2120" y="1249"/>
                    </a:lnTo>
                    <a:lnTo>
                      <a:pt x="2121" y="1259"/>
                    </a:lnTo>
                    <a:lnTo>
                      <a:pt x="2121" y="1270"/>
                    </a:lnTo>
                    <a:lnTo>
                      <a:pt x="2119" y="1281"/>
                    </a:lnTo>
                    <a:lnTo>
                      <a:pt x="2132" y="1343"/>
                    </a:lnTo>
                    <a:lnTo>
                      <a:pt x="2126" y="1379"/>
                    </a:lnTo>
                    <a:lnTo>
                      <a:pt x="2118" y="1417"/>
                    </a:lnTo>
                    <a:lnTo>
                      <a:pt x="2112" y="1435"/>
                    </a:lnTo>
                    <a:lnTo>
                      <a:pt x="2105" y="1450"/>
                    </a:lnTo>
                    <a:lnTo>
                      <a:pt x="2103" y="1457"/>
                    </a:lnTo>
                    <a:lnTo>
                      <a:pt x="2100" y="1463"/>
                    </a:lnTo>
                    <a:lnTo>
                      <a:pt x="2096" y="1468"/>
                    </a:lnTo>
                    <a:lnTo>
                      <a:pt x="2092" y="1472"/>
                    </a:lnTo>
                    <a:lnTo>
                      <a:pt x="2059" y="1472"/>
                    </a:lnTo>
                    <a:lnTo>
                      <a:pt x="2058" y="1464"/>
                    </a:lnTo>
                    <a:lnTo>
                      <a:pt x="2057" y="1456"/>
                    </a:lnTo>
                    <a:lnTo>
                      <a:pt x="2055" y="1450"/>
                    </a:lnTo>
                    <a:lnTo>
                      <a:pt x="2053" y="1445"/>
                    </a:lnTo>
                    <a:lnTo>
                      <a:pt x="2047" y="1437"/>
                    </a:lnTo>
                    <a:lnTo>
                      <a:pt x="2040" y="1430"/>
                    </a:lnTo>
                    <a:lnTo>
                      <a:pt x="2033" y="1425"/>
                    </a:lnTo>
                    <a:lnTo>
                      <a:pt x="2029" y="1418"/>
                    </a:lnTo>
                    <a:lnTo>
                      <a:pt x="2026" y="1414"/>
                    </a:lnTo>
                    <a:lnTo>
                      <a:pt x="2025" y="1410"/>
                    </a:lnTo>
                    <a:lnTo>
                      <a:pt x="2025" y="1405"/>
                    </a:lnTo>
                    <a:lnTo>
                      <a:pt x="2026" y="1398"/>
                    </a:lnTo>
                    <a:lnTo>
                      <a:pt x="2026" y="1373"/>
                    </a:lnTo>
                    <a:lnTo>
                      <a:pt x="2022" y="1373"/>
                    </a:lnTo>
                    <a:lnTo>
                      <a:pt x="2019" y="1372"/>
                    </a:lnTo>
                    <a:lnTo>
                      <a:pt x="2015" y="1370"/>
                    </a:lnTo>
                    <a:lnTo>
                      <a:pt x="2012" y="1367"/>
                    </a:lnTo>
                    <a:lnTo>
                      <a:pt x="2007" y="1361"/>
                    </a:lnTo>
                    <a:lnTo>
                      <a:pt x="2002" y="1353"/>
                    </a:lnTo>
                    <a:lnTo>
                      <a:pt x="1998" y="1344"/>
                    </a:lnTo>
                    <a:lnTo>
                      <a:pt x="1995" y="1335"/>
                    </a:lnTo>
                    <a:lnTo>
                      <a:pt x="1993" y="1326"/>
                    </a:lnTo>
                    <a:lnTo>
                      <a:pt x="1992" y="1318"/>
                    </a:lnTo>
                    <a:lnTo>
                      <a:pt x="1992" y="1298"/>
                    </a:lnTo>
                    <a:lnTo>
                      <a:pt x="1992" y="1281"/>
                    </a:lnTo>
                    <a:lnTo>
                      <a:pt x="1992" y="1265"/>
                    </a:lnTo>
                    <a:lnTo>
                      <a:pt x="1992" y="1244"/>
                    </a:lnTo>
                    <a:lnTo>
                      <a:pt x="1991" y="1234"/>
                    </a:lnTo>
                    <a:lnTo>
                      <a:pt x="1989" y="1224"/>
                    </a:lnTo>
                    <a:lnTo>
                      <a:pt x="1985" y="1212"/>
                    </a:lnTo>
                    <a:lnTo>
                      <a:pt x="1978" y="1201"/>
                    </a:lnTo>
                    <a:lnTo>
                      <a:pt x="1974" y="1196"/>
                    </a:lnTo>
                    <a:lnTo>
                      <a:pt x="1969" y="1191"/>
                    </a:lnTo>
                    <a:lnTo>
                      <a:pt x="1964" y="1187"/>
                    </a:lnTo>
                    <a:lnTo>
                      <a:pt x="1959" y="1184"/>
                    </a:lnTo>
                    <a:lnTo>
                      <a:pt x="1953" y="1181"/>
                    </a:lnTo>
                    <a:lnTo>
                      <a:pt x="1947" y="1178"/>
                    </a:lnTo>
                    <a:lnTo>
                      <a:pt x="1940" y="1177"/>
                    </a:lnTo>
                    <a:lnTo>
                      <a:pt x="1933" y="1177"/>
                    </a:lnTo>
                    <a:lnTo>
                      <a:pt x="1918" y="1177"/>
                    </a:lnTo>
                    <a:lnTo>
                      <a:pt x="1906" y="1177"/>
                    </a:lnTo>
                    <a:lnTo>
                      <a:pt x="1897" y="1177"/>
                    </a:lnTo>
                    <a:lnTo>
                      <a:pt x="1894" y="1177"/>
                    </a:lnTo>
                    <a:lnTo>
                      <a:pt x="1880" y="1176"/>
                    </a:lnTo>
                    <a:lnTo>
                      <a:pt x="1869" y="1175"/>
                    </a:lnTo>
                    <a:lnTo>
                      <a:pt x="1857" y="1173"/>
                    </a:lnTo>
                    <a:lnTo>
                      <a:pt x="1845" y="1171"/>
                    </a:lnTo>
                    <a:lnTo>
                      <a:pt x="1832" y="1168"/>
                    </a:lnTo>
                    <a:lnTo>
                      <a:pt x="1818" y="1166"/>
                    </a:lnTo>
                    <a:lnTo>
                      <a:pt x="1804" y="1165"/>
                    </a:lnTo>
                    <a:lnTo>
                      <a:pt x="1787" y="1164"/>
                    </a:lnTo>
                    <a:lnTo>
                      <a:pt x="1773" y="1164"/>
                    </a:lnTo>
                    <a:lnTo>
                      <a:pt x="1762" y="1162"/>
                    </a:lnTo>
                    <a:lnTo>
                      <a:pt x="1753" y="1159"/>
                    </a:lnTo>
                    <a:lnTo>
                      <a:pt x="1745" y="1155"/>
                    </a:lnTo>
                    <a:lnTo>
                      <a:pt x="1738" y="1151"/>
                    </a:lnTo>
                    <a:lnTo>
                      <a:pt x="1731" y="1148"/>
                    </a:lnTo>
                    <a:lnTo>
                      <a:pt x="1722" y="1146"/>
                    </a:lnTo>
                    <a:lnTo>
                      <a:pt x="1713" y="1145"/>
                    </a:lnTo>
                    <a:lnTo>
                      <a:pt x="1688" y="1144"/>
                    </a:lnTo>
                    <a:lnTo>
                      <a:pt x="1653" y="1143"/>
                    </a:lnTo>
                    <a:lnTo>
                      <a:pt x="1644" y="1144"/>
                    </a:lnTo>
                    <a:lnTo>
                      <a:pt x="1636" y="1144"/>
                    </a:lnTo>
                    <a:lnTo>
                      <a:pt x="1628" y="1146"/>
                    </a:lnTo>
                    <a:lnTo>
                      <a:pt x="1621" y="1148"/>
                    </a:lnTo>
                    <a:lnTo>
                      <a:pt x="1616" y="1151"/>
                    </a:lnTo>
                    <a:lnTo>
                      <a:pt x="1611" y="1155"/>
                    </a:lnTo>
                    <a:lnTo>
                      <a:pt x="1608" y="1159"/>
                    </a:lnTo>
                    <a:lnTo>
                      <a:pt x="1607" y="1164"/>
                    </a:lnTo>
                    <a:lnTo>
                      <a:pt x="1608" y="1169"/>
                    </a:lnTo>
                    <a:lnTo>
                      <a:pt x="1608" y="1173"/>
                    </a:lnTo>
                    <a:lnTo>
                      <a:pt x="1610" y="1176"/>
                    </a:lnTo>
                    <a:lnTo>
                      <a:pt x="1611" y="1180"/>
                    </a:lnTo>
                    <a:lnTo>
                      <a:pt x="1616" y="1186"/>
                    </a:lnTo>
                    <a:lnTo>
                      <a:pt x="1621" y="1192"/>
                    </a:lnTo>
                    <a:lnTo>
                      <a:pt x="1627" y="1197"/>
                    </a:lnTo>
                    <a:lnTo>
                      <a:pt x="1632" y="1204"/>
                    </a:lnTo>
                    <a:lnTo>
                      <a:pt x="1638" y="1212"/>
                    </a:lnTo>
                    <a:lnTo>
                      <a:pt x="1641" y="1220"/>
                    </a:lnTo>
                    <a:lnTo>
                      <a:pt x="1628" y="1221"/>
                    </a:lnTo>
                    <a:lnTo>
                      <a:pt x="1615" y="1223"/>
                    </a:lnTo>
                    <a:lnTo>
                      <a:pt x="1601" y="1226"/>
                    </a:lnTo>
                    <a:lnTo>
                      <a:pt x="1589" y="1229"/>
                    </a:lnTo>
                    <a:lnTo>
                      <a:pt x="1577" y="1232"/>
                    </a:lnTo>
                    <a:lnTo>
                      <a:pt x="1565" y="1235"/>
                    </a:lnTo>
                    <a:lnTo>
                      <a:pt x="1555" y="1237"/>
                    </a:lnTo>
                    <a:lnTo>
                      <a:pt x="1548" y="1238"/>
                    </a:lnTo>
                    <a:lnTo>
                      <a:pt x="1544" y="1237"/>
                    </a:lnTo>
                    <a:lnTo>
                      <a:pt x="1539" y="1233"/>
                    </a:lnTo>
                    <a:lnTo>
                      <a:pt x="1533" y="1228"/>
                    </a:lnTo>
                    <a:lnTo>
                      <a:pt x="1528" y="1222"/>
                    </a:lnTo>
                    <a:lnTo>
                      <a:pt x="1516" y="1210"/>
                    </a:lnTo>
                    <a:lnTo>
                      <a:pt x="1508" y="1201"/>
                    </a:lnTo>
                    <a:lnTo>
                      <a:pt x="1474" y="1214"/>
                    </a:lnTo>
                    <a:lnTo>
                      <a:pt x="1468" y="1213"/>
                    </a:lnTo>
                    <a:lnTo>
                      <a:pt x="1461" y="1210"/>
                    </a:lnTo>
                    <a:lnTo>
                      <a:pt x="1454" y="1205"/>
                    </a:lnTo>
                    <a:lnTo>
                      <a:pt x="1448" y="1201"/>
                    </a:lnTo>
                    <a:lnTo>
                      <a:pt x="1441" y="1196"/>
                    </a:lnTo>
                    <a:lnTo>
                      <a:pt x="1436" y="1192"/>
                    </a:lnTo>
                    <a:lnTo>
                      <a:pt x="1428" y="1190"/>
                    </a:lnTo>
                    <a:lnTo>
                      <a:pt x="1421" y="1189"/>
                    </a:lnTo>
                    <a:lnTo>
                      <a:pt x="1406" y="1190"/>
                    </a:lnTo>
                    <a:lnTo>
                      <a:pt x="1390" y="1192"/>
                    </a:lnTo>
                    <a:lnTo>
                      <a:pt x="1372" y="1197"/>
                    </a:lnTo>
                    <a:lnTo>
                      <a:pt x="1354" y="1203"/>
                    </a:lnTo>
                    <a:lnTo>
                      <a:pt x="1337" y="1211"/>
                    </a:lnTo>
                    <a:lnTo>
                      <a:pt x="1318" y="1219"/>
                    </a:lnTo>
                    <a:lnTo>
                      <a:pt x="1301" y="1228"/>
                    </a:lnTo>
                    <a:lnTo>
                      <a:pt x="1283" y="1238"/>
                    </a:lnTo>
                    <a:lnTo>
                      <a:pt x="1265" y="1249"/>
                    </a:lnTo>
                    <a:lnTo>
                      <a:pt x="1248" y="1259"/>
                    </a:lnTo>
                    <a:lnTo>
                      <a:pt x="1231" y="1272"/>
                    </a:lnTo>
                    <a:lnTo>
                      <a:pt x="1217" y="1283"/>
                    </a:lnTo>
                    <a:lnTo>
                      <a:pt x="1203" y="1294"/>
                    </a:lnTo>
                    <a:lnTo>
                      <a:pt x="1190" y="1304"/>
                    </a:lnTo>
                    <a:lnTo>
                      <a:pt x="1179" y="1314"/>
                    </a:lnTo>
                    <a:lnTo>
                      <a:pt x="1169" y="1325"/>
                    </a:lnTo>
                    <a:lnTo>
                      <a:pt x="1166" y="1328"/>
                    </a:lnTo>
                    <a:lnTo>
                      <a:pt x="1163" y="1333"/>
                    </a:lnTo>
                    <a:lnTo>
                      <a:pt x="1162" y="1337"/>
                    </a:lnTo>
                    <a:lnTo>
                      <a:pt x="1161" y="1342"/>
                    </a:lnTo>
                    <a:lnTo>
                      <a:pt x="1161" y="1354"/>
                    </a:lnTo>
                    <a:lnTo>
                      <a:pt x="1161" y="1366"/>
                    </a:lnTo>
                    <a:lnTo>
                      <a:pt x="1161" y="1379"/>
                    </a:lnTo>
                    <a:lnTo>
                      <a:pt x="1160" y="1392"/>
                    </a:lnTo>
                    <a:lnTo>
                      <a:pt x="1159" y="1399"/>
                    </a:lnTo>
                    <a:lnTo>
                      <a:pt x="1157" y="1405"/>
                    </a:lnTo>
                    <a:lnTo>
                      <a:pt x="1153" y="1411"/>
                    </a:lnTo>
                    <a:lnTo>
                      <a:pt x="1149" y="1417"/>
                    </a:lnTo>
                    <a:lnTo>
                      <a:pt x="1143" y="1416"/>
                    </a:lnTo>
                    <a:lnTo>
                      <a:pt x="1136" y="1415"/>
                    </a:lnTo>
                    <a:lnTo>
                      <a:pt x="1129" y="1414"/>
                    </a:lnTo>
                    <a:lnTo>
                      <a:pt x="1124" y="1412"/>
                    </a:lnTo>
                    <a:lnTo>
                      <a:pt x="1111" y="1408"/>
                    </a:lnTo>
                    <a:lnTo>
                      <a:pt x="1100" y="1401"/>
                    </a:lnTo>
                    <a:lnTo>
                      <a:pt x="1090" y="1394"/>
                    </a:lnTo>
                    <a:lnTo>
                      <a:pt x="1082" y="1386"/>
                    </a:lnTo>
                    <a:lnTo>
                      <a:pt x="1080" y="1382"/>
                    </a:lnTo>
                    <a:lnTo>
                      <a:pt x="1078" y="1377"/>
                    </a:lnTo>
                    <a:lnTo>
                      <a:pt x="1077" y="1372"/>
                    </a:lnTo>
                    <a:lnTo>
                      <a:pt x="1076" y="1367"/>
                    </a:lnTo>
                    <a:lnTo>
                      <a:pt x="1076" y="1356"/>
                    </a:lnTo>
                    <a:lnTo>
                      <a:pt x="1074" y="1344"/>
                    </a:lnTo>
                    <a:lnTo>
                      <a:pt x="1072" y="1330"/>
                    </a:lnTo>
                    <a:lnTo>
                      <a:pt x="1070" y="1315"/>
                    </a:lnTo>
                    <a:lnTo>
                      <a:pt x="1066" y="1300"/>
                    </a:lnTo>
                    <a:lnTo>
                      <a:pt x="1061" y="1285"/>
                    </a:lnTo>
                    <a:lnTo>
                      <a:pt x="1057" y="1270"/>
                    </a:lnTo>
                    <a:lnTo>
                      <a:pt x="1051" y="1254"/>
                    </a:lnTo>
                    <a:lnTo>
                      <a:pt x="1044" y="1240"/>
                    </a:lnTo>
                    <a:lnTo>
                      <a:pt x="1037" y="1227"/>
                    </a:lnTo>
                    <a:lnTo>
                      <a:pt x="1028" y="1215"/>
                    </a:lnTo>
                    <a:lnTo>
                      <a:pt x="1020" y="1203"/>
                    </a:lnTo>
                    <a:lnTo>
                      <a:pt x="1015" y="1199"/>
                    </a:lnTo>
                    <a:lnTo>
                      <a:pt x="1010" y="1195"/>
                    </a:lnTo>
                    <a:lnTo>
                      <a:pt x="1005" y="1191"/>
                    </a:lnTo>
                    <a:lnTo>
                      <a:pt x="1000" y="1188"/>
                    </a:lnTo>
                    <a:lnTo>
                      <a:pt x="994" y="1186"/>
                    </a:lnTo>
                    <a:lnTo>
                      <a:pt x="988" y="1184"/>
                    </a:lnTo>
                    <a:lnTo>
                      <a:pt x="982" y="1183"/>
                    </a:lnTo>
                    <a:lnTo>
                      <a:pt x="977" y="1183"/>
                    </a:lnTo>
                    <a:lnTo>
                      <a:pt x="964" y="1183"/>
                    </a:lnTo>
                    <a:lnTo>
                      <a:pt x="951" y="1186"/>
                    </a:lnTo>
                    <a:lnTo>
                      <a:pt x="940" y="1190"/>
                    </a:lnTo>
                    <a:lnTo>
                      <a:pt x="931" y="1195"/>
                    </a:lnTo>
                    <a:lnTo>
                      <a:pt x="926" y="1199"/>
                    </a:lnTo>
                    <a:lnTo>
                      <a:pt x="922" y="1202"/>
                    </a:lnTo>
                    <a:lnTo>
                      <a:pt x="919" y="1206"/>
                    </a:lnTo>
                    <a:lnTo>
                      <a:pt x="915" y="1212"/>
                    </a:lnTo>
                    <a:lnTo>
                      <a:pt x="913" y="1216"/>
                    </a:lnTo>
                    <a:lnTo>
                      <a:pt x="911" y="1221"/>
                    </a:lnTo>
                    <a:lnTo>
                      <a:pt x="910" y="1227"/>
                    </a:lnTo>
                    <a:lnTo>
                      <a:pt x="910" y="1232"/>
                    </a:lnTo>
                    <a:lnTo>
                      <a:pt x="883" y="1232"/>
                    </a:lnTo>
                    <a:lnTo>
                      <a:pt x="878" y="1229"/>
                    </a:lnTo>
                    <a:lnTo>
                      <a:pt x="872" y="1225"/>
                    </a:lnTo>
                    <a:lnTo>
                      <a:pt x="867" y="1219"/>
                    </a:lnTo>
                    <a:lnTo>
                      <a:pt x="861" y="1212"/>
                    </a:lnTo>
                    <a:lnTo>
                      <a:pt x="850" y="1196"/>
                    </a:lnTo>
                    <a:lnTo>
                      <a:pt x="839" y="1179"/>
                    </a:lnTo>
                    <a:lnTo>
                      <a:pt x="830" y="1161"/>
                    </a:lnTo>
                    <a:lnTo>
                      <a:pt x="821" y="1144"/>
                    </a:lnTo>
                    <a:lnTo>
                      <a:pt x="814" y="1131"/>
                    </a:lnTo>
                    <a:lnTo>
                      <a:pt x="810" y="1121"/>
                    </a:lnTo>
                    <a:lnTo>
                      <a:pt x="805" y="1120"/>
                    </a:lnTo>
                    <a:lnTo>
                      <a:pt x="801" y="1118"/>
                    </a:lnTo>
                    <a:lnTo>
                      <a:pt x="798" y="1115"/>
                    </a:lnTo>
                    <a:lnTo>
                      <a:pt x="794" y="1111"/>
                    </a:lnTo>
                    <a:lnTo>
                      <a:pt x="789" y="1100"/>
                    </a:lnTo>
                    <a:lnTo>
                      <a:pt x="782" y="1087"/>
                    </a:lnTo>
                    <a:lnTo>
                      <a:pt x="779" y="1081"/>
                    </a:lnTo>
                    <a:lnTo>
                      <a:pt x="775" y="1075"/>
                    </a:lnTo>
                    <a:lnTo>
                      <a:pt x="770" y="1069"/>
                    </a:lnTo>
                    <a:lnTo>
                      <a:pt x="765" y="1064"/>
                    </a:lnTo>
                    <a:lnTo>
                      <a:pt x="757" y="1060"/>
                    </a:lnTo>
                    <a:lnTo>
                      <a:pt x="749" y="1056"/>
                    </a:lnTo>
                    <a:lnTo>
                      <a:pt x="741" y="1054"/>
                    </a:lnTo>
                    <a:lnTo>
                      <a:pt x="731" y="1054"/>
                    </a:lnTo>
                    <a:lnTo>
                      <a:pt x="718" y="1054"/>
                    </a:lnTo>
                    <a:lnTo>
                      <a:pt x="706" y="1055"/>
                    </a:lnTo>
                    <a:lnTo>
                      <a:pt x="696" y="1057"/>
                    </a:lnTo>
                    <a:lnTo>
                      <a:pt x="687" y="1059"/>
                    </a:lnTo>
                    <a:lnTo>
                      <a:pt x="670" y="1065"/>
                    </a:lnTo>
                    <a:lnTo>
                      <a:pt x="656" y="1072"/>
                    </a:lnTo>
                    <a:lnTo>
                      <a:pt x="642" y="1078"/>
                    </a:lnTo>
                    <a:lnTo>
                      <a:pt x="624" y="1084"/>
                    </a:lnTo>
                    <a:lnTo>
                      <a:pt x="615" y="1087"/>
                    </a:lnTo>
                    <a:lnTo>
                      <a:pt x="604" y="1088"/>
                    </a:lnTo>
                    <a:lnTo>
                      <a:pt x="591" y="1089"/>
                    </a:lnTo>
                    <a:lnTo>
                      <a:pt x="577" y="1090"/>
                    </a:lnTo>
                    <a:lnTo>
                      <a:pt x="555" y="1089"/>
                    </a:lnTo>
                    <a:lnTo>
                      <a:pt x="533" y="1086"/>
                    </a:lnTo>
                    <a:lnTo>
                      <a:pt x="514" y="1083"/>
                    </a:lnTo>
                    <a:lnTo>
                      <a:pt x="496" y="1078"/>
                    </a:lnTo>
                    <a:lnTo>
                      <a:pt x="478" y="1072"/>
                    </a:lnTo>
                    <a:lnTo>
                      <a:pt x="462" y="1065"/>
                    </a:lnTo>
                    <a:lnTo>
                      <a:pt x="445" y="1058"/>
                    </a:lnTo>
                    <a:lnTo>
                      <a:pt x="430" y="1051"/>
                    </a:lnTo>
                    <a:lnTo>
                      <a:pt x="415" y="1043"/>
                    </a:lnTo>
                    <a:lnTo>
                      <a:pt x="398" y="1035"/>
                    </a:lnTo>
                    <a:lnTo>
                      <a:pt x="383" y="1028"/>
                    </a:lnTo>
                    <a:lnTo>
                      <a:pt x="366" y="1023"/>
                    </a:lnTo>
                    <a:lnTo>
                      <a:pt x="350" y="1017"/>
                    </a:lnTo>
                    <a:lnTo>
                      <a:pt x="331" y="1014"/>
                    </a:lnTo>
                    <a:lnTo>
                      <a:pt x="312" y="1011"/>
                    </a:lnTo>
                    <a:lnTo>
                      <a:pt x="292" y="1010"/>
                    </a:lnTo>
                    <a:lnTo>
                      <a:pt x="263" y="1012"/>
                    </a:lnTo>
                    <a:lnTo>
                      <a:pt x="234" y="1015"/>
                    </a:lnTo>
                    <a:lnTo>
                      <a:pt x="220" y="1016"/>
                    </a:lnTo>
                    <a:lnTo>
                      <a:pt x="205" y="1015"/>
                    </a:lnTo>
                    <a:lnTo>
                      <a:pt x="189" y="1014"/>
                    </a:lnTo>
                    <a:lnTo>
                      <a:pt x="172" y="1010"/>
                    </a:lnTo>
                    <a:lnTo>
                      <a:pt x="173" y="998"/>
                    </a:lnTo>
                    <a:lnTo>
                      <a:pt x="175" y="988"/>
                    </a:lnTo>
                    <a:lnTo>
                      <a:pt x="175" y="982"/>
                    </a:lnTo>
                    <a:lnTo>
                      <a:pt x="175" y="979"/>
                    </a:lnTo>
                    <a:lnTo>
                      <a:pt x="174" y="975"/>
                    </a:lnTo>
                    <a:lnTo>
                      <a:pt x="172" y="973"/>
                    </a:lnTo>
                    <a:lnTo>
                      <a:pt x="141" y="952"/>
                    </a:lnTo>
                    <a:lnTo>
                      <a:pt x="107" y="931"/>
                    </a:lnTo>
                    <a:lnTo>
                      <a:pt x="97" y="925"/>
                    </a:lnTo>
                    <a:lnTo>
                      <a:pt x="88" y="920"/>
                    </a:lnTo>
                    <a:lnTo>
                      <a:pt x="79" y="916"/>
                    </a:lnTo>
                    <a:lnTo>
                      <a:pt x="69" y="912"/>
                    </a:lnTo>
                    <a:lnTo>
                      <a:pt x="59" y="909"/>
                    </a:lnTo>
                    <a:lnTo>
                      <a:pt x="48" y="907"/>
                    </a:lnTo>
                    <a:lnTo>
                      <a:pt x="37" y="906"/>
                    </a:lnTo>
                    <a:lnTo>
                      <a:pt x="26" y="905"/>
                    </a:lnTo>
                    <a:lnTo>
                      <a:pt x="27" y="899"/>
                    </a:lnTo>
                    <a:lnTo>
                      <a:pt x="28" y="893"/>
                    </a:lnTo>
                    <a:lnTo>
                      <a:pt x="30" y="888"/>
                    </a:lnTo>
                    <a:lnTo>
                      <a:pt x="32" y="883"/>
                    </a:lnTo>
                    <a:lnTo>
                      <a:pt x="37" y="874"/>
                    </a:lnTo>
                    <a:lnTo>
                      <a:pt x="39" y="868"/>
                    </a:lnTo>
                    <a:lnTo>
                      <a:pt x="39" y="848"/>
                    </a:lnTo>
                    <a:lnTo>
                      <a:pt x="36" y="826"/>
                    </a:lnTo>
                    <a:lnTo>
                      <a:pt x="32" y="801"/>
                    </a:lnTo>
                    <a:lnTo>
                      <a:pt x="29" y="777"/>
                    </a:lnTo>
                    <a:lnTo>
                      <a:pt x="24" y="752"/>
                    </a:lnTo>
                    <a:lnTo>
                      <a:pt x="19" y="729"/>
                    </a:lnTo>
                    <a:lnTo>
                      <a:pt x="16" y="707"/>
                    </a:lnTo>
                    <a:lnTo>
                      <a:pt x="13" y="690"/>
                    </a:lnTo>
                    <a:lnTo>
                      <a:pt x="17" y="687"/>
                    </a:lnTo>
                    <a:lnTo>
                      <a:pt x="25" y="680"/>
                    </a:lnTo>
                    <a:lnTo>
                      <a:pt x="28" y="675"/>
                    </a:lnTo>
                    <a:lnTo>
                      <a:pt x="29" y="669"/>
                    </a:lnTo>
                    <a:lnTo>
                      <a:pt x="30" y="666"/>
                    </a:lnTo>
                    <a:lnTo>
                      <a:pt x="29" y="662"/>
                    </a:lnTo>
                    <a:lnTo>
                      <a:pt x="28" y="658"/>
                    </a:lnTo>
                    <a:lnTo>
                      <a:pt x="26" y="653"/>
                    </a:lnTo>
                    <a:lnTo>
                      <a:pt x="21" y="658"/>
                    </a:lnTo>
                    <a:lnTo>
                      <a:pt x="16" y="663"/>
                    </a:lnTo>
                    <a:lnTo>
                      <a:pt x="12" y="669"/>
                    </a:lnTo>
                    <a:lnTo>
                      <a:pt x="6" y="677"/>
                    </a:lnTo>
                    <a:lnTo>
                      <a:pt x="4" y="672"/>
                    </a:lnTo>
                    <a:lnTo>
                      <a:pt x="3" y="667"/>
                    </a:lnTo>
                    <a:lnTo>
                      <a:pt x="2" y="660"/>
                    </a:lnTo>
                    <a:lnTo>
                      <a:pt x="1" y="653"/>
                    </a:lnTo>
                    <a:lnTo>
                      <a:pt x="0" y="639"/>
                    </a:lnTo>
                    <a:lnTo>
                      <a:pt x="0" y="628"/>
                    </a:lnTo>
                    <a:lnTo>
                      <a:pt x="0" y="604"/>
                    </a:lnTo>
                    <a:lnTo>
                      <a:pt x="2" y="581"/>
                    </a:lnTo>
                    <a:lnTo>
                      <a:pt x="3" y="570"/>
                    </a:lnTo>
                    <a:lnTo>
                      <a:pt x="5" y="558"/>
                    </a:lnTo>
                    <a:lnTo>
                      <a:pt x="8" y="545"/>
                    </a:lnTo>
                    <a:lnTo>
                      <a:pt x="13" y="529"/>
                    </a:lnTo>
                    <a:lnTo>
                      <a:pt x="26" y="514"/>
                    </a:lnTo>
                    <a:lnTo>
                      <a:pt x="38" y="499"/>
                    </a:lnTo>
                    <a:lnTo>
                      <a:pt x="50" y="482"/>
                    </a:lnTo>
                    <a:lnTo>
                      <a:pt x="61" y="467"/>
                    </a:lnTo>
                    <a:lnTo>
                      <a:pt x="81" y="434"/>
                    </a:lnTo>
                    <a:lnTo>
                      <a:pt x="101" y="401"/>
                    </a:lnTo>
                    <a:lnTo>
                      <a:pt x="119" y="368"/>
                    </a:lnTo>
                    <a:lnTo>
                      <a:pt x="141" y="336"/>
                    </a:lnTo>
                    <a:lnTo>
                      <a:pt x="152" y="321"/>
                    </a:lnTo>
                    <a:lnTo>
                      <a:pt x="164" y="305"/>
                    </a:lnTo>
                    <a:lnTo>
                      <a:pt x="177" y="291"/>
                    </a:lnTo>
                    <a:lnTo>
                      <a:pt x="193" y="277"/>
                    </a:lnTo>
                    <a:lnTo>
                      <a:pt x="198" y="271"/>
                    </a:lnTo>
                    <a:lnTo>
                      <a:pt x="204" y="265"/>
                    </a:lnTo>
                    <a:lnTo>
                      <a:pt x="208" y="257"/>
                    </a:lnTo>
                    <a:lnTo>
                      <a:pt x="213" y="250"/>
                    </a:lnTo>
                    <a:lnTo>
                      <a:pt x="219" y="234"/>
                    </a:lnTo>
                    <a:lnTo>
                      <a:pt x="227" y="218"/>
                    </a:lnTo>
                    <a:lnTo>
                      <a:pt x="233" y="200"/>
                    </a:lnTo>
                    <a:lnTo>
                      <a:pt x="242" y="184"/>
                    </a:lnTo>
                    <a:lnTo>
                      <a:pt x="247" y="176"/>
                    </a:lnTo>
                    <a:lnTo>
                      <a:pt x="252" y="169"/>
                    </a:lnTo>
                    <a:lnTo>
                      <a:pt x="259" y="161"/>
                    </a:lnTo>
                    <a:lnTo>
                      <a:pt x="265" y="154"/>
                    </a:lnTo>
                    <a:lnTo>
                      <a:pt x="266" y="131"/>
                    </a:lnTo>
                    <a:lnTo>
                      <a:pt x="270" y="109"/>
                    </a:lnTo>
                    <a:lnTo>
                      <a:pt x="274" y="89"/>
                    </a:lnTo>
                    <a:lnTo>
                      <a:pt x="278" y="73"/>
                    </a:lnTo>
                    <a:lnTo>
                      <a:pt x="299" y="74"/>
                    </a:lnTo>
                    <a:lnTo>
                      <a:pt x="326" y="77"/>
                    </a:lnTo>
                    <a:lnTo>
                      <a:pt x="349" y="79"/>
                    </a:lnTo>
                    <a:lnTo>
                      <a:pt x="359" y="80"/>
                    </a:lnTo>
                    <a:lnTo>
                      <a:pt x="357" y="91"/>
                    </a:lnTo>
                    <a:lnTo>
                      <a:pt x="355" y="102"/>
                    </a:lnTo>
                    <a:lnTo>
                      <a:pt x="352" y="112"/>
                    </a:lnTo>
                    <a:lnTo>
                      <a:pt x="349" y="121"/>
                    </a:lnTo>
                    <a:lnTo>
                      <a:pt x="344" y="130"/>
                    </a:lnTo>
                    <a:lnTo>
                      <a:pt x="341" y="138"/>
                    </a:lnTo>
                    <a:lnTo>
                      <a:pt x="339" y="146"/>
                    </a:lnTo>
                    <a:lnTo>
                      <a:pt x="339" y="154"/>
                    </a:lnTo>
                    <a:lnTo>
                      <a:pt x="343" y="153"/>
                    </a:lnTo>
                    <a:lnTo>
                      <a:pt x="348" y="150"/>
                    </a:lnTo>
                    <a:lnTo>
                      <a:pt x="352" y="147"/>
                    </a:lnTo>
                    <a:lnTo>
                      <a:pt x="356" y="144"/>
                    </a:lnTo>
                    <a:lnTo>
                      <a:pt x="364" y="137"/>
                    </a:lnTo>
                    <a:lnTo>
                      <a:pt x="371" y="129"/>
                    </a:lnTo>
                    <a:lnTo>
                      <a:pt x="376" y="120"/>
                    </a:lnTo>
                    <a:lnTo>
                      <a:pt x="381" y="110"/>
                    </a:lnTo>
                    <a:lnTo>
                      <a:pt x="385" y="99"/>
                    </a:lnTo>
                    <a:lnTo>
                      <a:pt x="388" y="87"/>
                    </a:lnTo>
                    <a:lnTo>
                      <a:pt x="394" y="66"/>
                    </a:lnTo>
                    <a:lnTo>
                      <a:pt x="396" y="48"/>
                    </a:lnTo>
                    <a:lnTo>
                      <a:pt x="398" y="35"/>
                    </a:lnTo>
                    <a:lnTo>
                      <a:pt x="398" y="30"/>
                    </a:lnTo>
                    <a:lnTo>
                      <a:pt x="1827" y="30"/>
                    </a:lnTo>
                    <a:lnTo>
                      <a:pt x="1825" y="21"/>
                    </a:lnTo>
                    <a:lnTo>
                      <a:pt x="1823" y="13"/>
                    </a:lnTo>
                    <a:lnTo>
                      <a:pt x="1821" y="5"/>
                    </a:lnTo>
                    <a:lnTo>
                      <a:pt x="1820" y="0"/>
                    </a:lnTo>
                    <a:lnTo>
                      <a:pt x="1827" y="0"/>
                    </a:lnTo>
                    <a:lnTo>
                      <a:pt x="1853" y="0"/>
                    </a:lnTo>
                    <a:lnTo>
                      <a:pt x="1854" y="11"/>
                    </a:lnTo>
                    <a:lnTo>
                      <a:pt x="1856" y="21"/>
                    </a:lnTo>
                    <a:lnTo>
                      <a:pt x="1861" y="30"/>
                    </a:lnTo>
                    <a:lnTo>
                      <a:pt x="1866" y="38"/>
                    </a:lnTo>
                    <a:lnTo>
                      <a:pt x="1873" y="46"/>
                    </a:lnTo>
                    <a:lnTo>
                      <a:pt x="1881" y="51"/>
                    </a:lnTo>
                    <a:lnTo>
                      <a:pt x="1886" y="53"/>
                    </a:lnTo>
                    <a:lnTo>
                      <a:pt x="1890" y="54"/>
                    </a:lnTo>
                    <a:lnTo>
                      <a:pt x="1895" y="55"/>
                    </a:lnTo>
                    <a:lnTo>
                      <a:pt x="1900" y="55"/>
                    </a:lnTo>
                    <a:lnTo>
                      <a:pt x="1910" y="55"/>
                    </a:lnTo>
                    <a:lnTo>
                      <a:pt x="1926" y="55"/>
                    </a:lnTo>
                    <a:lnTo>
                      <a:pt x="1935" y="56"/>
                    </a:lnTo>
                    <a:lnTo>
                      <a:pt x="1944" y="58"/>
                    </a:lnTo>
                    <a:lnTo>
                      <a:pt x="1952" y="61"/>
                    </a:lnTo>
                    <a:lnTo>
                      <a:pt x="1958" y="64"/>
                    </a:lnTo>
                    <a:lnTo>
                      <a:pt x="1965" y="68"/>
                    </a:lnTo>
                    <a:lnTo>
                      <a:pt x="1972" y="71"/>
                    </a:lnTo>
                    <a:lnTo>
                      <a:pt x="1979" y="73"/>
                    </a:lnTo>
                    <a:lnTo>
                      <a:pt x="1986" y="73"/>
                    </a:lnTo>
                    <a:lnTo>
                      <a:pt x="1992" y="72"/>
                    </a:lnTo>
                    <a:lnTo>
                      <a:pt x="1999" y="67"/>
                    </a:lnTo>
                    <a:lnTo>
                      <a:pt x="2003" y="63"/>
                    </a:lnTo>
                    <a:lnTo>
                      <a:pt x="2006" y="61"/>
                    </a:lnTo>
                    <a:lnTo>
                      <a:pt x="2015" y="69"/>
                    </a:lnTo>
                    <a:lnTo>
                      <a:pt x="2024" y="75"/>
                    </a:lnTo>
                    <a:lnTo>
                      <a:pt x="2035" y="81"/>
                    </a:lnTo>
                    <a:lnTo>
                      <a:pt x="2046" y="86"/>
                    </a:lnTo>
                    <a:lnTo>
                      <a:pt x="2038" y="93"/>
                    </a:lnTo>
                    <a:lnTo>
                      <a:pt x="2031" y="100"/>
                    </a:lnTo>
                    <a:lnTo>
                      <a:pt x="2021" y="104"/>
                    </a:lnTo>
                    <a:lnTo>
                      <a:pt x="2011" y="108"/>
                    </a:lnTo>
                    <a:lnTo>
                      <a:pt x="1989" y="114"/>
                    </a:lnTo>
                    <a:lnTo>
                      <a:pt x="1967" y="118"/>
                    </a:lnTo>
                    <a:lnTo>
                      <a:pt x="1956" y="120"/>
                    </a:lnTo>
                    <a:lnTo>
                      <a:pt x="1946" y="122"/>
                    </a:lnTo>
                    <a:lnTo>
                      <a:pt x="1937" y="125"/>
                    </a:lnTo>
                    <a:lnTo>
                      <a:pt x="1929" y="128"/>
                    </a:lnTo>
                    <a:lnTo>
                      <a:pt x="1922" y="133"/>
                    </a:lnTo>
                    <a:lnTo>
                      <a:pt x="1918" y="138"/>
                    </a:lnTo>
                    <a:lnTo>
                      <a:pt x="1916" y="141"/>
                    </a:lnTo>
                    <a:lnTo>
                      <a:pt x="1914" y="145"/>
                    </a:lnTo>
                    <a:lnTo>
                      <a:pt x="1913" y="149"/>
                    </a:lnTo>
                    <a:lnTo>
                      <a:pt x="1913" y="154"/>
                    </a:lnTo>
                    <a:lnTo>
                      <a:pt x="1926" y="155"/>
                    </a:lnTo>
                    <a:lnTo>
                      <a:pt x="1937" y="156"/>
                    </a:lnTo>
                    <a:lnTo>
                      <a:pt x="1946" y="158"/>
                    </a:lnTo>
                    <a:lnTo>
                      <a:pt x="1954" y="160"/>
                    </a:lnTo>
                    <a:lnTo>
                      <a:pt x="1962" y="162"/>
                    </a:lnTo>
                    <a:lnTo>
                      <a:pt x="1969" y="164"/>
                    </a:lnTo>
                    <a:lnTo>
                      <a:pt x="1977" y="166"/>
                    </a:lnTo>
                    <a:lnTo>
                      <a:pt x="1986" y="166"/>
                    </a:lnTo>
                    <a:lnTo>
                      <a:pt x="1996" y="165"/>
                    </a:lnTo>
                    <a:lnTo>
                      <a:pt x="2011" y="161"/>
                    </a:lnTo>
                    <a:lnTo>
                      <a:pt x="2028" y="155"/>
                    </a:lnTo>
                    <a:lnTo>
                      <a:pt x="2047" y="147"/>
                    </a:lnTo>
                    <a:lnTo>
                      <a:pt x="2067" y="140"/>
                    </a:lnTo>
                    <a:lnTo>
                      <a:pt x="2087" y="135"/>
                    </a:lnTo>
                    <a:lnTo>
                      <a:pt x="2104" y="130"/>
                    </a:lnTo>
                    <a:lnTo>
                      <a:pt x="2119" y="129"/>
                    </a:lnTo>
                    <a:lnTo>
                      <a:pt x="2109" y="140"/>
                    </a:lnTo>
                    <a:lnTo>
                      <a:pt x="2101" y="147"/>
                    </a:lnTo>
                    <a:lnTo>
                      <a:pt x="2097" y="151"/>
                    </a:lnTo>
                    <a:lnTo>
                      <a:pt x="2094" y="155"/>
                    </a:lnTo>
                    <a:lnTo>
                      <a:pt x="2093" y="160"/>
                    </a:lnTo>
                    <a:lnTo>
                      <a:pt x="2092" y="166"/>
                    </a:lnTo>
                    <a:lnTo>
                      <a:pt x="2102" y="166"/>
                    </a:lnTo>
                    <a:lnTo>
                      <a:pt x="2112" y="166"/>
                    </a:lnTo>
                    <a:lnTo>
                      <a:pt x="2121" y="167"/>
                    </a:lnTo>
                    <a:lnTo>
                      <a:pt x="2138" y="169"/>
                    </a:lnTo>
                    <a:lnTo>
                      <a:pt x="2163" y="172"/>
                    </a:lnTo>
                    <a:lnTo>
                      <a:pt x="2191" y="175"/>
                    </a:lnTo>
                    <a:lnTo>
                      <a:pt x="2221" y="179"/>
                    </a:lnTo>
                    <a:lnTo>
                      <a:pt x="2248" y="182"/>
                    </a:lnTo>
                    <a:lnTo>
                      <a:pt x="2270" y="184"/>
                    </a:lnTo>
                    <a:lnTo>
                      <a:pt x="2286" y="184"/>
                    </a:lnTo>
                    <a:lnTo>
                      <a:pt x="2284" y="193"/>
                    </a:lnTo>
                    <a:lnTo>
                      <a:pt x="2282" y="199"/>
                    </a:lnTo>
                    <a:lnTo>
                      <a:pt x="2279" y="205"/>
                    </a:lnTo>
                    <a:lnTo>
                      <a:pt x="2275" y="210"/>
                    </a:lnTo>
                    <a:lnTo>
                      <a:pt x="2269" y="212"/>
                    </a:lnTo>
                    <a:lnTo>
                      <a:pt x="2262" y="214"/>
                    </a:lnTo>
                    <a:lnTo>
                      <a:pt x="2255" y="215"/>
                    </a:lnTo>
                    <a:lnTo>
                      <a:pt x="2245" y="216"/>
                    </a:lnTo>
                    <a:lnTo>
                      <a:pt x="2238" y="215"/>
                    </a:lnTo>
                    <a:lnTo>
                      <a:pt x="2233" y="214"/>
                    </a:lnTo>
                    <a:lnTo>
                      <a:pt x="2228" y="212"/>
                    </a:lnTo>
                    <a:lnTo>
                      <a:pt x="2225" y="210"/>
                    </a:lnTo>
                    <a:lnTo>
                      <a:pt x="2222" y="206"/>
                    </a:lnTo>
                    <a:lnTo>
                      <a:pt x="2217" y="204"/>
                    </a:lnTo>
                    <a:lnTo>
                      <a:pt x="2212" y="203"/>
                    </a:lnTo>
                    <a:lnTo>
                      <a:pt x="2205" y="203"/>
                    </a:lnTo>
                    <a:lnTo>
                      <a:pt x="2194" y="203"/>
                    </a:lnTo>
                    <a:lnTo>
                      <a:pt x="2185" y="205"/>
                    </a:lnTo>
                    <a:lnTo>
                      <a:pt x="2175" y="209"/>
                    </a:lnTo>
                    <a:lnTo>
                      <a:pt x="2166" y="213"/>
                    </a:lnTo>
                    <a:lnTo>
                      <a:pt x="2149" y="223"/>
                    </a:lnTo>
                    <a:lnTo>
                      <a:pt x="2135" y="234"/>
                    </a:lnTo>
                    <a:lnTo>
                      <a:pt x="2121" y="245"/>
                    </a:lnTo>
                    <a:lnTo>
                      <a:pt x="2108" y="255"/>
                    </a:lnTo>
                    <a:lnTo>
                      <a:pt x="2100" y="258"/>
                    </a:lnTo>
                    <a:lnTo>
                      <a:pt x="2093" y="261"/>
                    </a:lnTo>
                    <a:lnTo>
                      <a:pt x="2087" y="264"/>
                    </a:lnTo>
                    <a:lnTo>
                      <a:pt x="2079" y="265"/>
                    </a:lnTo>
                    <a:lnTo>
                      <a:pt x="2073" y="266"/>
                    </a:lnTo>
                    <a:lnTo>
                      <a:pt x="2068" y="268"/>
                    </a:lnTo>
                    <a:lnTo>
                      <a:pt x="2066" y="271"/>
                    </a:lnTo>
                    <a:lnTo>
                      <a:pt x="2064" y="276"/>
                    </a:lnTo>
                    <a:lnTo>
                      <a:pt x="2063" y="285"/>
                    </a:lnTo>
                    <a:lnTo>
                      <a:pt x="2059" y="295"/>
                    </a:lnTo>
                    <a:lnTo>
                      <a:pt x="2056" y="304"/>
                    </a:lnTo>
                    <a:lnTo>
                      <a:pt x="2053" y="312"/>
                    </a:lnTo>
                    <a:lnTo>
                      <a:pt x="2048" y="321"/>
                    </a:lnTo>
                    <a:lnTo>
                      <a:pt x="2043" y="328"/>
                    </a:lnTo>
                    <a:lnTo>
                      <a:pt x="2032" y="342"/>
                    </a:lnTo>
                    <a:lnTo>
                      <a:pt x="2021" y="355"/>
                    </a:lnTo>
                    <a:lnTo>
                      <a:pt x="2015" y="362"/>
                    </a:lnTo>
                    <a:lnTo>
                      <a:pt x="2010" y="369"/>
                    </a:lnTo>
                    <a:lnTo>
                      <a:pt x="2006" y="378"/>
                    </a:lnTo>
                    <a:lnTo>
                      <a:pt x="2001" y="386"/>
                    </a:lnTo>
                    <a:lnTo>
                      <a:pt x="1998" y="394"/>
                    </a:lnTo>
                    <a:lnTo>
                      <a:pt x="1995" y="404"/>
                    </a:lnTo>
                    <a:lnTo>
                      <a:pt x="1993" y="414"/>
                    </a:lnTo>
                    <a:lnTo>
                      <a:pt x="1992" y="424"/>
                    </a:lnTo>
                    <a:lnTo>
                      <a:pt x="1993" y="432"/>
                    </a:lnTo>
                    <a:lnTo>
                      <a:pt x="1997" y="438"/>
                    </a:lnTo>
                    <a:lnTo>
                      <a:pt x="2001" y="443"/>
                    </a:lnTo>
                    <a:lnTo>
                      <a:pt x="2007" y="447"/>
                    </a:lnTo>
                    <a:lnTo>
                      <a:pt x="2012" y="451"/>
                    </a:lnTo>
                    <a:lnTo>
                      <a:pt x="2018" y="453"/>
                    </a:lnTo>
                    <a:lnTo>
                      <a:pt x="2022" y="455"/>
                    </a:lnTo>
                    <a:lnTo>
                      <a:pt x="2026" y="456"/>
                    </a:lnTo>
                    <a:lnTo>
                      <a:pt x="2032" y="455"/>
                    </a:lnTo>
                    <a:lnTo>
                      <a:pt x="2037" y="454"/>
                    </a:lnTo>
                    <a:lnTo>
                      <a:pt x="2043" y="453"/>
                    </a:lnTo>
                    <a:lnTo>
                      <a:pt x="2047" y="451"/>
                    </a:lnTo>
                    <a:lnTo>
                      <a:pt x="2052" y="448"/>
                    </a:lnTo>
                    <a:lnTo>
                      <a:pt x="2056" y="445"/>
                    </a:lnTo>
                    <a:lnTo>
                      <a:pt x="2060" y="441"/>
                    </a:lnTo>
                    <a:lnTo>
                      <a:pt x="2064" y="437"/>
                    </a:lnTo>
                    <a:lnTo>
                      <a:pt x="2070" y="427"/>
                    </a:lnTo>
                    <a:lnTo>
                      <a:pt x="2076" y="417"/>
                    </a:lnTo>
                    <a:lnTo>
                      <a:pt x="2080" y="405"/>
                    </a:lnTo>
                    <a:lnTo>
                      <a:pt x="2085" y="393"/>
                    </a:lnTo>
                    <a:lnTo>
                      <a:pt x="2092" y="368"/>
                    </a:lnTo>
                    <a:lnTo>
                      <a:pt x="2100" y="344"/>
                    </a:lnTo>
                    <a:lnTo>
                      <a:pt x="2103" y="333"/>
                    </a:lnTo>
                    <a:lnTo>
                      <a:pt x="2108" y="323"/>
                    </a:lnTo>
                    <a:lnTo>
                      <a:pt x="2113" y="314"/>
                    </a:lnTo>
                    <a:lnTo>
                      <a:pt x="2119" y="307"/>
                    </a:lnTo>
                    <a:lnTo>
                      <a:pt x="2135" y="295"/>
                    </a:lnTo>
                    <a:lnTo>
                      <a:pt x="2152" y="283"/>
                    </a:lnTo>
                    <a:lnTo>
                      <a:pt x="2169" y="273"/>
                    </a:lnTo>
                    <a:lnTo>
                      <a:pt x="2188" y="262"/>
                    </a:lnTo>
                    <a:lnTo>
                      <a:pt x="2205" y="252"/>
                    </a:lnTo>
                    <a:lnTo>
                      <a:pt x="2223" y="243"/>
                    </a:lnTo>
                    <a:lnTo>
                      <a:pt x="2238" y="233"/>
                    </a:lnTo>
                    <a:lnTo>
                      <a:pt x="2251" y="222"/>
                    </a:lnTo>
                    <a:lnTo>
                      <a:pt x="2266" y="237"/>
                    </a:lnTo>
                    <a:lnTo>
                      <a:pt x="2278" y="249"/>
                    </a:lnTo>
                    <a:lnTo>
                      <a:pt x="2283" y="255"/>
                    </a:lnTo>
                    <a:lnTo>
                      <a:pt x="2288" y="261"/>
                    </a:lnTo>
                    <a:lnTo>
                      <a:pt x="2293" y="269"/>
                    </a:lnTo>
                    <a:lnTo>
                      <a:pt x="2299" y="277"/>
                    </a:lnTo>
                    <a:lnTo>
                      <a:pt x="2289" y="284"/>
                    </a:lnTo>
                    <a:lnTo>
                      <a:pt x="2281" y="290"/>
                    </a:lnTo>
                    <a:lnTo>
                      <a:pt x="2273" y="296"/>
                    </a:lnTo>
                    <a:lnTo>
                      <a:pt x="2267" y="303"/>
                    </a:lnTo>
                    <a:lnTo>
                      <a:pt x="2260" y="310"/>
                    </a:lnTo>
                    <a:lnTo>
                      <a:pt x="2255" y="318"/>
                    </a:lnTo>
                    <a:lnTo>
                      <a:pt x="2250" y="328"/>
                    </a:lnTo>
                    <a:lnTo>
                      <a:pt x="2245" y="339"/>
                    </a:lnTo>
                    <a:lnTo>
                      <a:pt x="2259" y="338"/>
                    </a:lnTo>
                    <a:lnTo>
                      <a:pt x="2271" y="336"/>
                    </a:lnTo>
                    <a:lnTo>
                      <a:pt x="2284" y="334"/>
                    </a:lnTo>
                    <a:lnTo>
                      <a:pt x="2299" y="333"/>
                    </a:lnTo>
                    <a:lnTo>
                      <a:pt x="2299" y="347"/>
                    </a:lnTo>
                    <a:lnTo>
                      <a:pt x="2299" y="363"/>
                    </a:lnTo>
                    <a:lnTo>
                      <a:pt x="2299" y="380"/>
                    </a:lnTo>
                    <a:lnTo>
                      <a:pt x="2299" y="394"/>
                    </a:lnTo>
                    <a:lnTo>
                      <a:pt x="2293" y="399"/>
                    </a:lnTo>
                    <a:lnTo>
                      <a:pt x="2288" y="404"/>
                    </a:lnTo>
                    <a:lnTo>
                      <a:pt x="2281" y="411"/>
                    </a:lnTo>
                    <a:lnTo>
                      <a:pt x="2276" y="418"/>
                    </a:lnTo>
                    <a:lnTo>
                      <a:pt x="2250" y="426"/>
                    </a:lnTo>
                    <a:lnTo>
                      <a:pt x="2228" y="435"/>
                    </a:lnTo>
                    <a:lnTo>
                      <a:pt x="2219" y="439"/>
                    </a:lnTo>
                    <a:lnTo>
                      <a:pt x="2212" y="443"/>
                    </a:lnTo>
                    <a:lnTo>
                      <a:pt x="2206" y="446"/>
                    </a:lnTo>
                    <a:lnTo>
                      <a:pt x="2205" y="450"/>
                    </a:lnTo>
                    <a:lnTo>
                      <a:pt x="2205" y="452"/>
                    </a:lnTo>
                    <a:lnTo>
                      <a:pt x="2206" y="454"/>
                    </a:lnTo>
                    <a:lnTo>
                      <a:pt x="2209" y="456"/>
                    </a:lnTo>
                    <a:lnTo>
                      <a:pt x="2212" y="458"/>
                    </a:lnTo>
                    <a:lnTo>
                      <a:pt x="2219" y="463"/>
                    </a:lnTo>
                    <a:lnTo>
                      <a:pt x="2227" y="466"/>
                    </a:lnTo>
                    <a:lnTo>
                      <a:pt x="2236" y="469"/>
                    </a:lnTo>
                    <a:lnTo>
                      <a:pt x="2245" y="472"/>
                    </a:lnTo>
                    <a:lnTo>
                      <a:pt x="2253" y="473"/>
                    </a:lnTo>
                    <a:lnTo>
                      <a:pt x="2258" y="474"/>
                    </a:lnTo>
                    <a:lnTo>
                      <a:pt x="2265" y="473"/>
                    </a:lnTo>
                    <a:lnTo>
                      <a:pt x="2273" y="472"/>
                    </a:lnTo>
                    <a:lnTo>
                      <a:pt x="2283" y="469"/>
                    </a:lnTo>
                    <a:lnTo>
                      <a:pt x="2293" y="466"/>
                    </a:lnTo>
                    <a:lnTo>
                      <a:pt x="2317" y="457"/>
                    </a:lnTo>
                    <a:lnTo>
                      <a:pt x="2343" y="447"/>
                    </a:lnTo>
                    <a:lnTo>
                      <a:pt x="2369" y="436"/>
                    </a:lnTo>
                    <a:lnTo>
                      <a:pt x="2393" y="425"/>
                    </a:lnTo>
                    <a:lnTo>
                      <a:pt x="2415" y="415"/>
                    </a:lnTo>
                    <a:lnTo>
                      <a:pt x="2433" y="408"/>
                    </a:lnTo>
                    <a:lnTo>
                      <a:pt x="2439" y="407"/>
                    </a:lnTo>
                    <a:lnTo>
                      <a:pt x="2446" y="405"/>
                    </a:lnTo>
                    <a:lnTo>
                      <a:pt x="2452" y="403"/>
                    </a:lnTo>
                    <a:lnTo>
                      <a:pt x="2458" y="400"/>
                    </a:lnTo>
                    <a:lnTo>
                      <a:pt x="2530" y="382"/>
                    </a:lnTo>
                    <a:lnTo>
                      <a:pt x="2544" y="380"/>
                    </a:lnTo>
                    <a:lnTo>
                      <a:pt x="2557" y="378"/>
                    </a:lnTo>
                    <a:lnTo>
                      <a:pt x="2570" y="373"/>
                    </a:lnTo>
                    <a:lnTo>
                      <a:pt x="2583" y="369"/>
                    </a:lnTo>
                    <a:lnTo>
                      <a:pt x="2597" y="364"/>
                    </a:lnTo>
                    <a:lnTo>
                      <a:pt x="2611" y="357"/>
                    </a:lnTo>
                    <a:lnTo>
                      <a:pt x="2625" y="350"/>
                    </a:lnTo>
                    <a:lnTo>
                      <a:pt x="2638" y="342"/>
                    </a:lnTo>
                    <a:lnTo>
                      <a:pt x="2651" y="334"/>
                    </a:lnTo>
                    <a:lnTo>
                      <a:pt x="2664" y="324"/>
                    </a:lnTo>
                    <a:lnTo>
                      <a:pt x="2676" y="313"/>
                    </a:lnTo>
                    <a:lnTo>
                      <a:pt x="2689" y="303"/>
                    </a:lnTo>
                    <a:lnTo>
                      <a:pt x="2701" y="291"/>
                    </a:lnTo>
                    <a:lnTo>
                      <a:pt x="2710" y="279"/>
                    </a:lnTo>
                    <a:lnTo>
                      <a:pt x="2721" y="266"/>
                    </a:lnTo>
                    <a:lnTo>
                      <a:pt x="2730" y="252"/>
                    </a:lnTo>
                    <a:lnTo>
                      <a:pt x="2817" y="252"/>
                    </a:lnTo>
                    <a:lnTo>
                      <a:pt x="2850" y="248"/>
                    </a:lnTo>
                    <a:lnTo>
                      <a:pt x="2880" y="246"/>
                    </a:lnTo>
                    <a:lnTo>
                      <a:pt x="2906" y="244"/>
                    </a:lnTo>
                    <a:lnTo>
                      <a:pt x="2931" y="241"/>
                    </a:lnTo>
                    <a:lnTo>
                      <a:pt x="2942" y="239"/>
                    </a:lnTo>
                    <a:lnTo>
                      <a:pt x="2954" y="237"/>
                    </a:lnTo>
                    <a:lnTo>
                      <a:pt x="2965" y="234"/>
                    </a:lnTo>
                    <a:lnTo>
                      <a:pt x="2975" y="230"/>
                    </a:lnTo>
                    <a:lnTo>
                      <a:pt x="2986" y="225"/>
                    </a:lnTo>
                    <a:lnTo>
                      <a:pt x="2996" y="219"/>
                    </a:lnTo>
                    <a:lnTo>
                      <a:pt x="3006" y="212"/>
                    </a:lnTo>
                    <a:lnTo>
                      <a:pt x="3016" y="203"/>
                    </a:lnTo>
                    <a:lnTo>
                      <a:pt x="3028" y="190"/>
                    </a:lnTo>
                    <a:lnTo>
                      <a:pt x="3038" y="177"/>
                    </a:lnTo>
                    <a:lnTo>
                      <a:pt x="3048" y="162"/>
                    </a:lnTo>
                    <a:lnTo>
                      <a:pt x="3059" y="148"/>
                    </a:lnTo>
                    <a:lnTo>
                      <a:pt x="3064" y="142"/>
                    </a:lnTo>
                    <a:lnTo>
                      <a:pt x="3070" y="136"/>
                    </a:lnTo>
                    <a:lnTo>
                      <a:pt x="3075" y="130"/>
                    </a:lnTo>
                    <a:lnTo>
                      <a:pt x="3082" y="126"/>
                    </a:lnTo>
                    <a:lnTo>
                      <a:pt x="3089" y="122"/>
                    </a:lnTo>
                    <a:lnTo>
                      <a:pt x="3097" y="119"/>
                    </a:lnTo>
                    <a:lnTo>
                      <a:pt x="3106" y="117"/>
                    </a:lnTo>
                    <a:lnTo>
                      <a:pt x="3116" y="117"/>
                    </a:lnTo>
                    <a:lnTo>
                      <a:pt x="3136" y="118"/>
                    </a:lnTo>
                    <a:lnTo>
                      <a:pt x="3153" y="119"/>
                    </a:lnTo>
                    <a:lnTo>
                      <a:pt x="3160" y="120"/>
                    </a:lnTo>
                    <a:lnTo>
                      <a:pt x="3165" y="119"/>
                    </a:lnTo>
                    <a:lnTo>
                      <a:pt x="3171" y="119"/>
                    </a:lnTo>
                    <a:lnTo>
                      <a:pt x="3175" y="117"/>
                    </a:lnTo>
                    <a:lnTo>
                      <a:pt x="3175" y="125"/>
                    </a:lnTo>
                    <a:lnTo>
                      <a:pt x="3172" y="134"/>
                    </a:lnTo>
                    <a:lnTo>
                      <a:pt x="3168" y="144"/>
                    </a:lnTo>
                    <a:lnTo>
                      <a:pt x="3164" y="156"/>
                    </a:lnTo>
                    <a:lnTo>
                      <a:pt x="3160" y="165"/>
                    </a:lnTo>
                    <a:lnTo>
                      <a:pt x="3155" y="174"/>
                    </a:lnTo>
                    <a:lnTo>
                      <a:pt x="3152" y="181"/>
                    </a:lnTo>
                    <a:lnTo>
                      <a:pt x="3149" y="184"/>
                    </a:lnTo>
                    <a:lnTo>
                      <a:pt x="3149" y="252"/>
                    </a:lnTo>
                    <a:lnTo>
                      <a:pt x="3155" y="258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85" name="Freeform 7">
                <a:extLst>
                  <a:ext uri="{FF2B5EF4-FFF2-40B4-BE49-F238E27FC236}">
                    <a16:creationId xmlns="" xmlns:a16="http://schemas.microsoft.com/office/drawing/2014/main" id="{3E8E5780-0183-4D25-B238-3E668BC45F78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971675" y="3662363"/>
                <a:ext cx="339725" cy="590550"/>
              </a:xfrm>
              <a:custGeom>
                <a:avLst/>
                <a:gdLst>
                  <a:gd name="T0" fmla="*/ 2147483646 w 784"/>
                  <a:gd name="T1" fmla="*/ 2147483646 h 1128"/>
                  <a:gd name="T2" fmla="*/ 2147483646 w 784"/>
                  <a:gd name="T3" fmla="*/ 2147483646 h 1128"/>
                  <a:gd name="T4" fmla="*/ 2147483646 w 784"/>
                  <a:gd name="T5" fmla="*/ 2147483646 h 1128"/>
                  <a:gd name="T6" fmla="*/ 2147483646 w 784"/>
                  <a:gd name="T7" fmla="*/ 2147483646 h 1128"/>
                  <a:gd name="T8" fmla="*/ 2147483646 w 784"/>
                  <a:gd name="T9" fmla="*/ 2147483646 h 1128"/>
                  <a:gd name="T10" fmla="*/ 2147483646 w 784"/>
                  <a:gd name="T11" fmla="*/ 2147483646 h 1128"/>
                  <a:gd name="T12" fmla="*/ 2147483646 w 784"/>
                  <a:gd name="T13" fmla="*/ 2147483646 h 1128"/>
                  <a:gd name="T14" fmla="*/ 2147483646 w 784"/>
                  <a:gd name="T15" fmla="*/ 2147483646 h 1128"/>
                  <a:gd name="T16" fmla="*/ 2147483646 w 784"/>
                  <a:gd name="T17" fmla="*/ 2147483646 h 1128"/>
                  <a:gd name="T18" fmla="*/ 2147483646 w 784"/>
                  <a:gd name="T19" fmla="*/ 2147483646 h 1128"/>
                  <a:gd name="T20" fmla="*/ 2147483646 w 784"/>
                  <a:gd name="T21" fmla="*/ 2147483646 h 1128"/>
                  <a:gd name="T22" fmla="*/ 2147483646 w 784"/>
                  <a:gd name="T23" fmla="*/ 2147483646 h 1128"/>
                  <a:gd name="T24" fmla="*/ 2147483646 w 784"/>
                  <a:gd name="T25" fmla="*/ 2147483646 h 1128"/>
                  <a:gd name="T26" fmla="*/ 2147483646 w 784"/>
                  <a:gd name="T27" fmla="*/ 2147483646 h 1128"/>
                  <a:gd name="T28" fmla="*/ 2147483646 w 784"/>
                  <a:gd name="T29" fmla="*/ 2147483646 h 1128"/>
                  <a:gd name="T30" fmla="*/ 2147483646 w 784"/>
                  <a:gd name="T31" fmla="*/ 2147483646 h 1128"/>
                  <a:gd name="T32" fmla="*/ 2147483646 w 784"/>
                  <a:gd name="T33" fmla="*/ 2147483646 h 1128"/>
                  <a:gd name="T34" fmla="*/ 2147483646 w 784"/>
                  <a:gd name="T35" fmla="*/ 2147483646 h 1128"/>
                  <a:gd name="T36" fmla="*/ 2147483646 w 784"/>
                  <a:gd name="T37" fmla="*/ 2147483646 h 1128"/>
                  <a:gd name="T38" fmla="*/ 2147483646 w 784"/>
                  <a:gd name="T39" fmla="*/ 2147483646 h 1128"/>
                  <a:gd name="T40" fmla="*/ 2147483646 w 784"/>
                  <a:gd name="T41" fmla="*/ 2147483646 h 1128"/>
                  <a:gd name="T42" fmla="*/ 2147483646 w 784"/>
                  <a:gd name="T43" fmla="*/ 2147483646 h 1128"/>
                  <a:gd name="T44" fmla="*/ 2147483646 w 784"/>
                  <a:gd name="T45" fmla="*/ 2147483646 h 1128"/>
                  <a:gd name="T46" fmla="*/ 2147483646 w 784"/>
                  <a:gd name="T47" fmla="*/ 2147483646 h 1128"/>
                  <a:gd name="T48" fmla="*/ 2147483646 w 784"/>
                  <a:gd name="T49" fmla="*/ 2147483646 h 1128"/>
                  <a:gd name="T50" fmla="*/ 2147483646 w 784"/>
                  <a:gd name="T51" fmla="*/ 2147483646 h 1128"/>
                  <a:gd name="T52" fmla="*/ 2147483646 w 784"/>
                  <a:gd name="T53" fmla="*/ 2147483646 h 1128"/>
                  <a:gd name="T54" fmla="*/ 2147483646 w 784"/>
                  <a:gd name="T55" fmla="*/ 2147483646 h 1128"/>
                  <a:gd name="T56" fmla="*/ 2147483646 w 784"/>
                  <a:gd name="T57" fmla="*/ 2147483646 h 1128"/>
                  <a:gd name="T58" fmla="*/ 2147483646 w 784"/>
                  <a:gd name="T59" fmla="*/ 2147483646 h 1128"/>
                  <a:gd name="T60" fmla="*/ 2147483646 w 784"/>
                  <a:gd name="T61" fmla="*/ 2147483646 h 1128"/>
                  <a:gd name="T62" fmla="*/ 2147483646 w 784"/>
                  <a:gd name="T63" fmla="*/ 2147483646 h 1128"/>
                  <a:gd name="T64" fmla="*/ 2147483646 w 784"/>
                  <a:gd name="T65" fmla="*/ 2147483646 h 1128"/>
                  <a:gd name="T66" fmla="*/ 2147483646 w 784"/>
                  <a:gd name="T67" fmla="*/ 2147483646 h 1128"/>
                  <a:gd name="T68" fmla="*/ 0 w 784"/>
                  <a:gd name="T69" fmla="*/ 2147483646 h 1128"/>
                  <a:gd name="T70" fmla="*/ 2147483646 w 784"/>
                  <a:gd name="T71" fmla="*/ 2147483646 h 1128"/>
                  <a:gd name="T72" fmla="*/ 2147483646 w 784"/>
                  <a:gd name="T73" fmla="*/ 2147483646 h 1128"/>
                  <a:gd name="T74" fmla="*/ 2147483646 w 784"/>
                  <a:gd name="T75" fmla="*/ 2147483646 h 1128"/>
                  <a:gd name="T76" fmla="*/ 2147483646 w 784"/>
                  <a:gd name="T77" fmla="*/ 2147483646 h 1128"/>
                  <a:gd name="T78" fmla="*/ 2147483646 w 784"/>
                  <a:gd name="T79" fmla="*/ 2147483646 h 1128"/>
                  <a:gd name="T80" fmla="*/ 2147483646 w 784"/>
                  <a:gd name="T81" fmla="*/ 2147483646 h 1128"/>
                  <a:gd name="T82" fmla="*/ 2147483646 w 784"/>
                  <a:gd name="T83" fmla="*/ 2147483646 h 1128"/>
                  <a:gd name="T84" fmla="*/ 2147483646 w 784"/>
                  <a:gd name="T85" fmla="*/ 2147483646 h 1128"/>
                  <a:gd name="T86" fmla="*/ 2147483646 w 784"/>
                  <a:gd name="T87" fmla="*/ 2147483646 h 1128"/>
                  <a:gd name="T88" fmla="*/ 2147483646 w 784"/>
                  <a:gd name="T89" fmla="*/ 2147483646 h 1128"/>
                  <a:gd name="T90" fmla="*/ 2147483646 w 784"/>
                  <a:gd name="T91" fmla="*/ 2147483646 h 1128"/>
                  <a:gd name="T92" fmla="*/ 2147483646 w 784"/>
                  <a:gd name="T93" fmla="*/ 2147483646 h 1128"/>
                  <a:gd name="T94" fmla="*/ 2147483646 w 784"/>
                  <a:gd name="T95" fmla="*/ 2147483646 h 1128"/>
                  <a:gd name="T96" fmla="*/ 2147483646 w 784"/>
                  <a:gd name="T97" fmla="*/ 2147483646 h 1128"/>
                  <a:gd name="T98" fmla="*/ 2147483646 w 784"/>
                  <a:gd name="T99" fmla="*/ 2147483646 h 1128"/>
                  <a:gd name="T100" fmla="*/ 2147483646 w 784"/>
                  <a:gd name="T101" fmla="*/ 2147483646 h 1128"/>
                  <a:gd name="T102" fmla="*/ 2147483646 w 784"/>
                  <a:gd name="T103" fmla="*/ 2147483646 h 1128"/>
                  <a:gd name="T104" fmla="*/ 2147483646 w 784"/>
                  <a:gd name="T105" fmla="*/ 2147483646 h 1128"/>
                  <a:gd name="T106" fmla="*/ 2147483646 w 784"/>
                  <a:gd name="T107" fmla="*/ 2147483646 h 1128"/>
                  <a:gd name="T108" fmla="*/ 2147483646 w 784"/>
                  <a:gd name="T109" fmla="*/ 2147483646 h 112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784"/>
                  <a:gd name="T166" fmla="*/ 0 h 1128"/>
                  <a:gd name="T167" fmla="*/ 784 w 784"/>
                  <a:gd name="T168" fmla="*/ 1128 h 1128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784" h="1128">
                    <a:moveTo>
                      <a:pt x="644" y="259"/>
                    </a:moveTo>
                    <a:lnTo>
                      <a:pt x="632" y="265"/>
                    </a:lnTo>
                    <a:lnTo>
                      <a:pt x="621" y="270"/>
                    </a:lnTo>
                    <a:lnTo>
                      <a:pt x="611" y="273"/>
                    </a:lnTo>
                    <a:lnTo>
                      <a:pt x="602" y="275"/>
                    </a:lnTo>
                    <a:lnTo>
                      <a:pt x="583" y="277"/>
                    </a:lnTo>
                    <a:lnTo>
                      <a:pt x="564" y="278"/>
                    </a:lnTo>
                    <a:lnTo>
                      <a:pt x="560" y="278"/>
                    </a:lnTo>
                    <a:lnTo>
                      <a:pt x="557" y="280"/>
                    </a:lnTo>
                    <a:lnTo>
                      <a:pt x="554" y="284"/>
                    </a:lnTo>
                    <a:lnTo>
                      <a:pt x="552" y="287"/>
                    </a:lnTo>
                    <a:lnTo>
                      <a:pt x="549" y="295"/>
                    </a:lnTo>
                    <a:lnTo>
                      <a:pt x="545" y="302"/>
                    </a:lnTo>
                    <a:lnTo>
                      <a:pt x="529" y="318"/>
                    </a:lnTo>
                    <a:lnTo>
                      <a:pt x="515" y="335"/>
                    </a:lnTo>
                    <a:lnTo>
                      <a:pt x="502" y="354"/>
                    </a:lnTo>
                    <a:lnTo>
                      <a:pt x="490" y="376"/>
                    </a:lnTo>
                    <a:lnTo>
                      <a:pt x="484" y="387"/>
                    </a:lnTo>
                    <a:lnTo>
                      <a:pt x="480" y="398"/>
                    </a:lnTo>
                    <a:lnTo>
                      <a:pt x="475" y="410"/>
                    </a:lnTo>
                    <a:lnTo>
                      <a:pt x="471" y="422"/>
                    </a:lnTo>
                    <a:lnTo>
                      <a:pt x="469" y="434"/>
                    </a:lnTo>
                    <a:lnTo>
                      <a:pt x="467" y="445"/>
                    </a:lnTo>
                    <a:lnTo>
                      <a:pt x="465" y="457"/>
                    </a:lnTo>
                    <a:lnTo>
                      <a:pt x="464" y="468"/>
                    </a:lnTo>
                    <a:lnTo>
                      <a:pt x="465" y="478"/>
                    </a:lnTo>
                    <a:lnTo>
                      <a:pt x="468" y="488"/>
                    </a:lnTo>
                    <a:lnTo>
                      <a:pt x="471" y="498"/>
                    </a:lnTo>
                    <a:lnTo>
                      <a:pt x="475" y="510"/>
                    </a:lnTo>
                    <a:lnTo>
                      <a:pt x="481" y="522"/>
                    </a:lnTo>
                    <a:lnTo>
                      <a:pt x="486" y="535"/>
                    </a:lnTo>
                    <a:lnTo>
                      <a:pt x="494" y="547"/>
                    </a:lnTo>
                    <a:lnTo>
                      <a:pt x="502" y="559"/>
                    </a:lnTo>
                    <a:lnTo>
                      <a:pt x="510" y="570"/>
                    </a:lnTo>
                    <a:lnTo>
                      <a:pt x="520" y="581"/>
                    </a:lnTo>
                    <a:lnTo>
                      <a:pt x="530" y="591"/>
                    </a:lnTo>
                    <a:lnTo>
                      <a:pt x="540" y="600"/>
                    </a:lnTo>
                    <a:lnTo>
                      <a:pt x="551" y="607"/>
                    </a:lnTo>
                    <a:lnTo>
                      <a:pt x="562" y="612"/>
                    </a:lnTo>
                    <a:lnTo>
                      <a:pt x="568" y="614"/>
                    </a:lnTo>
                    <a:lnTo>
                      <a:pt x="573" y="615"/>
                    </a:lnTo>
                    <a:lnTo>
                      <a:pt x="579" y="616"/>
                    </a:lnTo>
                    <a:lnTo>
                      <a:pt x="584" y="616"/>
                    </a:lnTo>
                    <a:lnTo>
                      <a:pt x="594" y="615"/>
                    </a:lnTo>
                    <a:lnTo>
                      <a:pt x="602" y="613"/>
                    </a:lnTo>
                    <a:lnTo>
                      <a:pt x="610" y="609"/>
                    </a:lnTo>
                    <a:lnTo>
                      <a:pt x="617" y="604"/>
                    </a:lnTo>
                    <a:lnTo>
                      <a:pt x="625" y="600"/>
                    </a:lnTo>
                    <a:lnTo>
                      <a:pt x="632" y="596"/>
                    </a:lnTo>
                    <a:lnTo>
                      <a:pt x="641" y="593"/>
                    </a:lnTo>
                    <a:lnTo>
                      <a:pt x="651" y="592"/>
                    </a:lnTo>
                    <a:lnTo>
                      <a:pt x="653" y="614"/>
                    </a:lnTo>
                    <a:lnTo>
                      <a:pt x="654" y="645"/>
                    </a:lnTo>
                    <a:lnTo>
                      <a:pt x="654" y="653"/>
                    </a:lnTo>
                    <a:lnTo>
                      <a:pt x="655" y="660"/>
                    </a:lnTo>
                    <a:lnTo>
                      <a:pt x="658" y="667"/>
                    </a:lnTo>
                    <a:lnTo>
                      <a:pt x="660" y="672"/>
                    </a:lnTo>
                    <a:lnTo>
                      <a:pt x="663" y="677"/>
                    </a:lnTo>
                    <a:lnTo>
                      <a:pt x="666" y="681"/>
                    </a:lnTo>
                    <a:lnTo>
                      <a:pt x="672" y="683"/>
                    </a:lnTo>
                    <a:lnTo>
                      <a:pt x="677" y="684"/>
                    </a:lnTo>
                    <a:lnTo>
                      <a:pt x="687" y="684"/>
                    </a:lnTo>
                    <a:lnTo>
                      <a:pt x="697" y="684"/>
                    </a:lnTo>
                    <a:lnTo>
                      <a:pt x="703" y="684"/>
                    </a:lnTo>
                    <a:lnTo>
                      <a:pt x="708" y="685"/>
                    </a:lnTo>
                    <a:lnTo>
                      <a:pt x="714" y="687"/>
                    </a:lnTo>
                    <a:lnTo>
                      <a:pt x="720" y="689"/>
                    </a:lnTo>
                    <a:lnTo>
                      <a:pt x="726" y="692"/>
                    </a:lnTo>
                    <a:lnTo>
                      <a:pt x="732" y="696"/>
                    </a:lnTo>
                    <a:lnTo>
                      <a:pt x="738" y="701"/>
                    </a:lnTo>
                    <a:lnTo>
                      <a:pt x="743" y="706"/>
                    </a:lnTo>
                    <a:lnTo>
                      <a:pt x="749" y="712"/>
                    </a:lnTo>
                    <a:lnTo>
                      <a:pt x="754" y="717"/>
                    </a:lnTo>
                    <a:lnTo>
                      <a:pt x="759" y="724"/>
                    </a:lnTo>
                    <a:lnTo>
                      <a:pt x="763" y="731"/>
                    </a:lnTo>
                    <a:lnTo>
                      <a:pt x="765" y="738"/>
                    </a:lnTo>
                    <a:lnTo>
                      <a:pt x="769" y="746"/>
                    </a:lnTo>
                    <a:lnTo>
                      <a:pt x="770" y="756"/>
                    </a:lnTo>
                    <a:lnTo>
                      <a:pt x="771" y="765"/>
                    </a:lnTo>
                    <a:lnTo>
                      <a:pt x="770" y="773"/>
                    </a:lnTo>
                    <a:lnTo>
                      <a:pt x="769" y="779"/>
                    </a:lnTo>
                    <a:lnTo>
                      <a:pt x="766" y="784"/>
                    </a:lnTo>
                    <a:lnTo>
                      <a:pt x="764" y="787"/>
                    </a:lnTo>
                    <a:lnTo>
                      <a:pt x="761" y="790"/>
                    </a:lnTo>
                    <a:lnTo>
                      <a:pt x="759" y="794"/>
                    </a:lnTo>
                    <a:lnTo>
                      <a:pt x="758" y="797"/>
                    </a:lnTo>
                    <a:lnTo>
                      <a:pt x="758" y="801"/>
                    </a:lnTo>
                    <a:lnTo>
                      <a:pt x="758" y="809"/>
                    </a:lnTo>
                    <a:lnTo>
                      <a:pt x="759" y="818"/>
                    </a:lnTo>
                    <a:lnTo>
                      <a:pt x="760" y="825"/>
                    </a:lnTo>
                    <a:lnTo>
                      <a:pt x="761" y="831"/>
                    </a:lnTo>
                    <a:lnTo>
                      <a:pt x="765" y="844"/>
                    </a:lnTo>
                    <a:lnTo>
                      <a:pt x="771" y="856"/>
                    </a:lnTo>
                    <a:lnTo>
                      <a:pt x="774" y="866"/>
                    </a:lnTo>
                    <a:lnTo>
                      <a:pt x="777" y="875"/>
                    </a:lnTo>
                    <a:lnTo>
                      <a:pt x="772" y="882"/>
                    </a:lnTo>
                    <a:lnTo>
                      <a:pt x="769" y="889"/>
                    </a:lnTo>
                    <a:lnTo>
                      <a:pt x="765" y="897"/>
                    </a:lnTo>
                    <a:lnTo>
                      <a:pt x="762" y="904"/>
                    </a:lnTo>
                    <a:lnTo>
                      <a:pt x="760" y="912"/>
                    </a:lnTo>
                    <a:lnTo>
                      <a:pt x="759" y="922"/>
                    </a:lnTo>
                    <a:lnTo>
                      <a:pt x="758" y="932"/>
                    </a:lnTo>
                    <a:lnTo>
                      <a:pt x="758" y="943"/>
                    </a:lnTo>
                    <a:lnTo>
                      <a:pt x="758" y="956"/>
                    </a:lnTo>
                    <a:lnTo>
                      <a:pt x="760" y="967"/>
                    </a:lnTo>
                    <a:lnTo>
                      <a:pt x="762" y="978"/>
                    </a:lnTo>
                    <a:lnTo>
                      <a:pt x="765" y="986"/>
                    </a:lnTo>
                    <a:lnTo>
                      <a:pt x="770" y="994"/>
                    </a:lnTo>
                    <a:lnTo>
                      <a:pt x="774" y="1000"/>
                    </a:lnTo>
                    <a:lnTo>
                      <a:pt x="778" y="1006"/>
                    </a:lnTo>
                    <a:lnTo>
                      <a:pt x="784" y="1011"/>
                    </a:lnTo>
                    <a:lnTo>
                      <a:pt x="775" y="1026"/>
                    </a:lnTo>
                    <a:lnTo>
                      <a:pt x="769" y="1041"/>
                    </a:lnTo>
                    <a:lnTo>
                      <a:pt x="763" y="1054"/>
                    </a:lnTo>
                    <a:lnTo>
                      <a:pt x="759" y="1067"/>
                    </a:lnTo>
                    <a:lnTo>
                      <a:pt x="753" y="1080"/>
                    </a:lnTo>
                    <a:lnTo>
                      <a:pt x="747" y="1095"/>
                    </a:lnTo>
                    <a:lnTo>
                      <a:pt x="737" y="1110"/>
                    </a:lnTo>
                    <a:lnTo>
                      <a:pt x="723" y="1128"/>
                    </a:lnTo>
                    <a:lnTo>
                      <a:pt x="691" y="1122"/>
                    </a:lnTo>
                    <a:lnTo>
                      <a:pt x="681" y="1121"/>
                    </a:lnTo>
                    <a:lnTo>
                      <a:pt x="673" y="1119"/>
                    </a:lnTo>
                    <a:lnTo>
                      <a:pt x="665" y="1116"/>
                    </a:lnTo>
                    <a:lnTo>
                      <a:pt x="659" y="1113"/>
                    </a:lnTo>
                    <a:lnTo>
                      <a:pt x="653" y="1108"/>
                    </a:lnTo>
                    <a:lnTo>
                      <a:pt x="648" y="1103"/>
                    </a:lnTo>
                    <a:lnTo>
                      <a:pt x="642" y="1098"/>
                    </a:lnTo>
                    <a:lnTo>
                      <a:pt x="638" y="1092"/>
                    </a:lnTo>
                    <a:lnTo>
                      <a:pt x="627" y="1079"/>
                    </a:lnTo>
                    <a:lnTo>
                      <a:pt x="616" y="1067"/>
                    </a:lnTo>
                    <a:lnTo>
                      <a:pt x="609" y="1061"/>
                    </a:lnTo>
                    <a:lnTo>
                      <a:pt x="602" y="1056"/>
                    </a:lnTo>
                    <a:lnTo>
                      <a:pt x="594" y="1052"/>
                    </a:lnTo>
                    <a:lnTo>
                      <a:pt x="584" y="1048"/>
                    </a:lnTo>
                    <a:lnTo>
                      <a:pt x="554" y="1038"/>
                    </a:lnTo>
                    <a:lnTo>
                      <a:pt x="507" y="1018"/>
                    </a:lnTo>
                    <a:lnTo>
                      <a:pt x="483" y="1008"/>
                    </a:lnTo>
                    <a:lnTo>
                      <a:pt x="463" y="998"/>
                    </a:lnTo>
                    <a:lnTo>
                      <a:pt x="456" y="993"/>
                    </a:lnTo>
                    <a:lnTo>
                      <a:pt x="450" y="988"/>
                    </a:lnTo>
                    <a:lnTo>
                      <a:pt x="446" y="984"/>
                    </a:lnTo>
                    <a:lnTo>
                      <a:pt x="445" y="980"/>
                    </a:lnTo>
                    <a:lnTo>
                      <a:pt x="436" y="975"/>
                    </a:lnTo>
                    <a:lnTo>
                      <a:pt x="425" y="967"/>
                    </a:lnTo>
                    <a:lnTo>
                      <a:pt x="413" y="956"/>
                    </a:lnTo>
                    <a:lnTo>
                      <a:pt x="398" y="944"/>
                    </a:lnTo>
                    <a:lnTo>
                      <a:pt x="383" y="931"/>
                    </a:lnTo>
                    <a:lnTo>
                      <a:pt x="367" y="916"/>
                    </a:lnTo>
                    <a:lnTo>
                      <a:pt x="349" y="904"/>
                    </a:lnTo>
                    <a:lnTo>
                      <a:pt x="331" y="894"/>
                    </a:lnTo>
                    <a:lnTo>
                      <a:pt x="326" y="890"/>
                    </a:lnTo>
                    <a:lnTo>
                      <a:pt x="323" y="886"/>
                    </a:lnTo>
                    <a:lnTo>
                      <a:pt x="319" y="882"/>
                    </a:lnTo>
                    <a:lnTo>
                      <a:pt x="318" y="877"/>
                    </a:lnTo>
                    <a:lnTo>
                      <a:pt x="318" y="872"/>
                    </a:lnTo>
                    <a:lnTo>
                      <a:pt x="318" y="867"/>
                    </a:lnTo>
                    <a:lnTo>
                      <a:pt x="319" y="860"/>
                    </a:lnTo>
                    <a:lnTo>
                      <a:pt x="321" y="854"/>
                    </a:lnTo>
                    <a:lnTo>
                      <a:pt x="324" y="842"/>
                    </a:lnTo>
                    <a:lnTo>
                      <a:pt x="327" y="829"/>
                    </a:lnTo>
                    <a:lnTo>
                      <a:pt x="328" y="822"/>
                    </a:lnTo>
                    <a:lnTo>
                      <a:pt x="328" y="815"/>
                    </a:lnTo>
                    <a:lnTo>
                      <a:pt x="327" y="808"/>
                    </a:lnTo>
                    <a:lnTo>
                      <a:pt x="325" y="801"/>
                    </a:lnTo>
                    <a:lnTo>
                      <a:pt x="318" y="795"/>
                    </a:lnTo>
                    <a:lnTo>
                      <a:pt x="310" y="789"/>
                    </a:lnTo>
                    <a:lnTo>
                      <a:pt x="300" y="784"/>
                    </a:lnTo>
                    <a:lnTo>
                      <a:pt x="290" y="778"/>
                    </a:lnTo>
                    <a:lnTo>
                      <a:pt x="279" y="772"/>
                    </a:lnTo>
                    <a:lnTo>
                      <a:pt x="270" y="765"/>
                    </a:lnTo>
                    <a:lnTo>
                      <a:pt x="266" y="761"/>
                    </a:lnTo>
                    <a:lnTo>
                      <a:pt x="263" y="757"/>
                    </a:lnTo>
                    <a:lnTo>
                      <a:pt x="260" y="751"/>
                    </a:lnTo>
                    <a:lnTo>
                      <a:pt x="259" y="745"/>
                    </a:lnTo>
                    <a:lnTo>
                      <a:pt x="255" y="735"/>
                    </a:lnTo>
                    <a:lnTo>
                      <a:pt x="251" y="725"/>
                    </a:lnTo>
                    <a:lnTo>
                      <a:pt x="249" y="716"/>
                    </a:lnTo>
                    <a:lnTo>
                      <a:pt x="248" y="707"/>
                    </a:lnTo>
                    <a:lnTo>
                      <a:pt x="246" y="697"/>
                    </a:lnTo>
                    <a:lnTo>
                      <a:pt x="243" y="689"/>
                    </a:lnTo>
                    <a:lnTo>
                      <a:pt x="238" y="681"/>
                    </a:lnTo>
                    <a:lnTo>
                      <a:pt x="232" y="672"/>
                    </a:lnTo>
                    <a:lnTo>
                      <a:pt x="211" y="635"/>
                    </a:lnTo>
                    <a:lnTo>
                      <a:pt x="192" y="603"/>
                    </a:lnTo>
                    <a:lnTo>
                      <a:pt x="174" y="570"/>
                    </a:lnTo>
                    <a:lnTo>
                      <a:pt x="153" y="530"/>
                    </a:lnTo>
                    <a:lnTo>
                      <a:pt x="146" y="521"/>
                    </a:lnTo>
                    <a:lnTo>
                      <a:pt x="138" y="513"/>
                    </a:lnTo>
                    <a:lnTo>
                      <a:pt x="134" y="508"/>
                    </a:lnTo>
                    <a:lnTo>
                      <a:pt x="129" y="502"/>
                    </a:lnTo>
                    <a:lnTo>
                      <a:pt x="124" y="496"/>
                    </a:lnTo>
                    <a:lnTo>
                      <a:pt x="120" y="487"/>
                    </a:lnTo>
                    <a:lnTo>
                      <a:pt x="116" y="478"/>
                    </a:lnTo>
                    <a:lnTo>
                      <a:pt x="113" y="467"/>
                    </a:lnTo>
                    <a:lnTo>
                      <a:pt x="109" y="458"/>
                    </a:lnTo>
                    <a:lnTo>
                      <a:pt x="103" y="448"/>
                    </a:lnTo>
                    <a:lnTo>
                      <a:pt x="98" y="440"/>
                    </a:lnTo>
                    <a:lnTo>
                      <a:pt x="90" y="432"/>
                    </a:lnTo>
                    <a:lnTo>
                      <a:pt x="82" y="425"/>
                    </a:lnTo>
                    <a:lnTo>
                      <a:pt x="72" y="419"/>
                    </a:lnTo>
                    <a:lnTo>
                      <a:pt x="52" y="411"/>
                    </a:lnTo>
                    <a:lnTo>
                      <a:pt x="31" y="403"/>
                    </a:lnTo>
                    <a:lnTo>
                      <a:pt x="26" y="400"/>
                    </a:lnTo>
                    <a:lnTo>
                      <a:pt x="22" y="397"/>
                    </a:lnTo>
                    <a:lnTo>
                      <a:pt x="17" y="393"/>
                    </a:lnTo>
                    <a:lnTo>
                      <a:pt x="13" y="389"/>
                    </a:lnTo>
                    <a:lnTo>
                      <a:pt x="9" y="384"/>
                    </a:lnTo>
                    <a:lnTo>
                      <a:pt x="5" y="378"/>
                    </a:lnTo>
                    <a:lnTo>
                      <a:pt x="2" y="372"/>
                    </a:lnTo>
                    <a:lnTo>
                      <a:pt x="0" y="363"/>
                    </a:lnTo>
                    <a:lnTo>
                      <a:pt x="20" y="345"/>
                    </a:lnTo>
                    <a:lnTo>
                      <a:pt x="15" y="331"/>
                    </a:lnTo>
                    <a:lnTo>
                      <a:pt x="14" y="317"/>
                    </a:lnTo>
                    <a:lnTo>
                      <a:pt x="13" y="301"/>
                    </a:lnTo>
                    <a:lnTo>
                      <a:pt x="13" y="284"/>
                    </a:lnTo>
                    <a:lnTo>
                      <a:pt x="13" y="276"/>
                    </a:lnTo>
                    <a:lnTo>
                      <a:pt x="14" y="270"/>
                    </a:lnTo>
                    <a:lnTo>
                      <a:pt x="16" y="264"/>
                    </a:lnTo>
                    <a:lnTo>
                      <a:pt x="19" y="259"/>
                    </a:lnTo>
                    <a:lnTo>
                      <a:pt x="21" y="254"/>
                    </a:lnTo>
                    <a:lnTo>
                      <a:pt x="24" y="249"/>
                    </a:lnTo>
                    <a:lnTo>
                      <a:pt x="28" y="246"/>
                    </a:lnTo>
                    <a:lnTo>
                      <a:pt x="32" y="243"/>
                    </a:lnTo>
                    <a:lnTo>
                      <a:pt x="41" y="237"/>
                    </a:lnTo>
                    <a:lnTo>
                      <a:pt x="49" y="231"/>
                    </a:lnTo>
                    <a:lnTo>
                      <a:pt x="58" y="224"/>
                    </a:lnTo>
                    <a:lnTo>
                      <a:pt x="66" y="216"/>
                    </a:lnTo>
                    <a:lnTo>
                      <a:pt x="72" y="222"/>
                    </a:lnTo>
                    <a:lnTo>
                      <a:pt x="79" y="228"/>
                    </a:lnTo>
                    <a:lnTo>
                      <a:pt x="83" y="235"/>
                    </a:lnTo>
                    <a:lnTo>
                      <a:pt x="86" y="240"/>
                    </a:lnTo>
                    <a:lnTo>
                      <a:pt x="86" y="252"/>
                    </a:lnTo>
                    <a:lnTo>
                      <a:pt x="86" y="265"/>
                    </a:lnTo>
                    <a:lnTo>
                      <a:pt x="95" y="272"/>
                    </a:lnTo>
                    <a:lnTo>
                      <a:pt x="116" y="287"/>
                    </a:lnTo>
                    <a:lnTo>
                      <a:pt x="128" y="294"/>
                    </a:lnTo>
                    <a:lnTo>
                      <a:pt x="139" y="301"/>
                    </a:lnTo>
                    <a:lnTo>
                      <a:pt x="148" y="306"/>
                    </a:lnTo>
                    <a:lnTo>
                      <a:pt x="153" y="308"/>
                    </a:lnTo>
                    <a:lnTo>
                      <a:pt x="158" y="307"/>
                    </a:lnTo>
                    <a:lnTo>
                      <a:pt x="164" y="303"/>
                    </a:lnTo>
                    <a:lnTo>
                      <a:pt x="169" y="298"/>
                    </a:lnTo>
                    <a:lnTo>
                      <a:pt x="174" y="291"/>
                    </a:lnTo>
                    <a:lnTo>
                      <a:pt x="179" y="284"/>
                    </a:lnTo>
                    <a:lnTo>
                      <a:pt x="182" y="277"/>
                    </a:lnTo>
                    <a:lnTo>
                      <a:pt x="184" y="271"/>
                    </a:lnTo>
                    <a:lnTo>
                      <a:pt x="185" y="265"/>
                    </a:lnTo>
                    <a:lnTo>
                      <a:pt x="187" y="259"/>
                    </a:lnTo>
                    <a:lnTo>
                      <a:pt x="188" y="251"/>
                    </a:lnTo>
                    <a:lnTo>
                      <a:pt x="190" y="244"/>
                    </a:lnTo>
                    <a:lnTo>
                      <a:pt x="193" y="238"/>
                    </a:lnTo>
                    <a:lnTo>
                      <a:pt x="201" y="225"/>
                    </a:lnTo>
                    <a:lnTo>
                      <a:pt x="212" y="213"/>
                    </a:lnTo>
                    <a:lnTo>
                      <a:pt x="222" y="202"/>
                    </a:lnTo>
                    <a:lnTo>
                      <a:pt x="234" y="192"/>
                    </a:lnTo>
                    <a:lnTo>
                      <a:pt x="244" y="184"/>
                    </a:lnTo>
                    <a:lnTo>
                      <a:pt x="252" y="179"/>
                    </a:lnTo>
                    <a:lnTo>
                      <a:pt x="270" y="170"/>
                    </a:lnTo>
                    <a:lnTo>
                      <a:pt x="289" y="160"/>
                    </a:lnTo>
                    <a:lnTo>
                      <a:pt x="306" y="150"/>
                    </a:lnTo>
                    <a:lnTo>
                      <a:pt x="323" y="138"/>
                    </a:lnTo>
                    <a:lnTo>
                      <a:pt x="330" y="133"/>
                    </a:lnTo>
                    <a:lnTo>
                      <a:pt x="337" y="126"/>
                    </a:lnTo>
                    <a:lnTo>
                      <a:pt x="344" y="120"/>
                    </a:lnTo>
                    <a:lnTo>
                      <a:pt x="348" y="113"/>
                    </a:lnTo>
                    <a:lnTo>
                      <a:pt x="352" y="106"/>
                    </a:lnTo>
                    <a:lnTo>
                      <a:pt x="356" y="98"/>
                    </a:lnTo>
                    <a:lnTo>
                      <a:pt x="358" y="90"/>
                    </a:lnTo>
                    <a:lnTo>
                      <a:pt x="358" y="80"/>
                    </a:lnTo>
                    <a:lnTo>
                      <a:pt x="357" y="70"/>
                    </a:lnTo>
                    <a:lnTo>
                      <a:pt x="355" y="58"/>
                    </a:lnTo>
                    <a:lnTo>
                      <a:pt x="350" y="46"/>
                    </a:lnTo>
                    <a:lnTo>
                      <a:pt x="345" y="34"/>
                    </a:lnTo>
                    <a:lnTo>
                      <a:pt x="336" y="12"/>
                    </a:lnTo>
                    <a:lnTo>
                      <a:pt x="331" y="0"/>
                    </a:lnTo>
                    <a:lnTo>
                      <a:pt x="347" y="5"/>
                    </a:lnTo>
                    <a:lnTo>
                      <a:pt x="360" y="11"/>
                    </a:lnTo>
                    <a:lnTo>
                      <a:pt x="374" y="18"/>
                    </a:lnTo>
                    <a:lnTo>
                      <a:pt x="386" y="26"/>
                    </a:lnTo>
                    <a:lnTo>
                      <a:pt x="398" y="35"/>
                    </a:lnTo>
                    <a:lnTo>
                      <a:pt x="411" y="44"/>
                    </a:lnTo>
                    <a:lnTo>
                      <a:pt x="422" y="53"/>
                    </a:lnTo>
                    <a:lnTo>
                      <a:pt x="431" y="62"/>
                    </a:lnTo>
                    <a:lnTo>
                      <a:pt x="438" y="68"/>
                    </a:lnTo>
                    <a:lnTo>
                      <a:pt x="445" y="75"/>
                    </a:lnTo>
                    <a:lnTo>
                      <a:pt x="451" y="82"/>
                    </a:lnTo>
                    <a:lnTo>
                      <a:pt x="457" y="91"/>
                    </a:lnTo>
                    <a:lnTo>
                      <a:pt x="467" y="107"/>
                    </a:lnTo>
                    <a:lnTo>
                      <a:pt x="476" y="123"/>
                    </a:lnTo>
                    <a:lnTo>
                      <a:pt x="481" y="130"/>
                    </a:lnTo>
                    <a:lnTo>
                      <a:pt x="486" y="137"/>
                    </a:lnTo>
                    <a:lnTo>
                      <a:pt x="493" y="144"/>
                    </a:lnTo>
                    <a:lnTo>
                      <a:pt x="498" y="150"/>
                    </a:lnTo>
                    <a:lnTo>
                      <a:pt x="506" y="154"/>
                    </a:lnTo>
                    <a:lnTo>
                      <a:pt x="513" y="158"/>
                    </a:lnTo>
                    <a:lnTo>
                      <a:pt x="521" y="160"/>
                    </a:lnTo>
                    <a:lnTo>
                      <a:pt x="531" y="161"/>
                    </a:lnTo>
                    <a:lnTo>
                      <a:pt x="541" y="160"/>
                    </a:lnTo>
                    <a:lnTo>
                      <a:pt x="551" y="159"/>
                    </a:lnTo>
                    <a:lnTo>
                      <a:pt x="561" y="157"/>
                    </a:lnTo>
                    <a:lnTo>
                      <a:pt x="571" y="155"/>
                    </a:lnTo>
                    <a:lnTo>
                      <a:pt x="581" y="152"/>
                    </a:lnTo>
                    <a:lnTo>
                      <a:pt x="591" y="150"/>
                    </a:lnTo>
                    <a:lnTo>
                      <a:pt x="601" y="149"/>
                    </a:lnTo>
                    <a:lnTo>
                      <a:pt x="610" y="148"/>
                    </a:lnTo>
                    <a:lnTo>
                      <a:pt x="617" y="149"/>
                    </a:lnTo>
                    <a:lnTo>
                      <a:pt x="624" y="151"/>
                    </a:lnTo>
                    <a:lnTo>
                      <a:pt x="628" y="151"/>
                    </a:lnTo>
                    <a:lnTo>
                      <a:pt x="631" y="151"/>
                    </a:lnTo>
                    <a:lnTo>
                      <a:pt x="635" y="150"/>
                    </a:lnTo>
                    <a:lnTo>
                      <a:pt x="638" y="148"/>
                    </a:lnTo>
                    <a:lnTo>
                      <a:pt x="640" y="156"/>
                    </a:lnTo>
                    <a:lnTo>
                      <a:pt x="648" y="167"/>
                    </a:lnTo>
                    <a:lnTo>
                      <a:pt x="654" y="177"/>
                    </a:lnTo>
                    <a:lnTo>
                      <a:pt x="658" y="185"/>
                    </a:lnTo>
                    <a:lnTo>
                      <a:pt x="657" y="188"/>
                    </a:lnTo>
                    <a:lnTo>
                      <a:pt x="655" y="191"/>
                    </a:lnTo>
                    <a:lnTo>
                      <a:pt x="654" y="193"/>
                    </a:lnTo>
                    <a:lnTo>
                      <a:pt x="652" y="195"/>
                    </a:lnTo>
                    <a:lnTo>
                      <a:pt x="647" y="200"/>
                    </a:lnTo>
                    <a:lnTo>
                      <a:pt x="641" y="203"/>
                    </a:lnTo>
                    <a:lnTo>
                      <a:pt x="635" y="206"/>
                    </a:lnTo>
                    <a:lnTo>
                      <a:pt x="629" y="209"/>
                    </a:lnTo>
                    <a:lnTo>
                      <a:pt x="627" y="210"/>
                    </a:lnTo>
                    <a:lnTo>
                      <a:pt x="626" y="212"/>
                    </a:lnTo>
                    <a:lnTo>
                      <a:pt x="625" y="214"/>
                    </a:lnTo>
                    <a:lnTo>
                      <a:pt x="624" y="216"/>
                    </a:lnTo>
                    <a:lnTo>
                      <a:pt x="625" y="226"/>
                    </a:lnTo>
                    <a:lnTo>
                      <a:pt x="626" y="234"/>
                    </a:lnTo>
                    <a:lnTo>
                      <a:pt x="627" y="240"/>
                    </a:lnTo>
                    <a:lnTo>
                      <a:pt x="629" y="244"/>
                    </a:lnTo>
                    <a:lnTo>
                      <a:pt x="636" y="251"/>
                    </a:lnTo>
                    <a:lnTo>
                      <a:pt x="644" y="259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86" name="Freeform 8">
                <a:extLst>
                  <a:ext uri="{FF2B5EF4-FFF2-40B4-BE49-F238E27FC236}">
                    <a16:creationId xmlns="" xmlns:a16="http://schemas.microsoft.com/office/drawing/2014/main" id="{0D015258-8566-445D-9CBE-D20CE2091674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2271713" y="4225925"/>
                <a:ext cx="261937" cy="1130300"/>
              </a:xfrm>
              <a:custGeom>
                <a:avLst/>
                <a:gdLst>
                  <a:gd name="T0" fmla="*/ 2147483646 w 598"/>
                  <a:gd name="T1" fmla="*/ 2147483646 h 2158"/>
                  <a:gd name="T2" fmla="*/ 2147483646 w 598"/>
                  <a:gd name="T3" fmla="*/ 2147483646 h 2158"/>
                  <a:gd name="T4" fmla="*/ 2147483646 w 598"/>
                  <a:gd name="T5" fmla="*/ 2147483646 h 2158"/>
                  <a:gd name="T6" fmla="*/ 2147483646 w 598"/>
                  <a:gd name="T7" fmla="*/ 2147483646 h 2158"/>
                  <a:gd name="T8" fmla="*/ 2147483646 w 598"/>
                  <a:gd name="T9" fmla="*/ 2147483646 h 2158"/>
                  <a:gd name="T10" fmla="*/ 2147483646 w 598"/>
                  <a:gd name="T11" fmla="*/ 2147483646 h 2158"/>
                  <a:gd name="T12" fmla="*/ 2147483646 w 598"/>
                  <a:gd name="T13" fmla="*/ 2147483646 h 2158"/>
                  <a:gd name="T14" fmla="*/ 2147483646 w 598"/>
                  <a:gd name="T15" fmla="*/ 2147483646 h 2158"/>
                  <a:gd name="T16" fmla="*/ 2147483646 w 598"/>
                  <a:gd name="T17" fmla="*/ 2147483646 h 2158"/>
                  <a:gd name="T18" fmla="*/ 2147483646 w 598"/>
                  <a:gd name="T19" fmla="*/ 2147483646 h 2158"/>
                  <a:gd name="T20" fmla="*/ 2147483646 w 598"/>
                  <a:gd name="T21" fmla="*/ 2147483646 h 2158"/>
                  <a:gd name="T22" fmla="*/ 2147483646 w 598"/>
                  <a:gd name="T23" fmla="*/ 2147483646 h 2158"/>
                  <a:gd name="T24" fmla="*/ 2147483646 w 598"/>
                  <a:gd name="T25" fmla="*/ 2147483646 h 2158"/>
                  <a:gd name="T26" fmla="*/ 2147483646 w 598"/>
                  <a:gd name="T27" fmla="*/ 2147483646 h 2158"/>
                  <a:gd name="T28" fmla="*/ 2147483646 w 598"/>
                  <a:gd name="T29" fmla="*/ 2147483646 h 2158"/>
                  <a:gd name="T30" fmla="*/ 2147483646 w 598"/>
                  <a:gd name="T31" fmla="*/ 2147483646 h 2158"/>
                  <a:gd name="T32" fmla="*/ 2147483646 w 598"/>
                  <a:gd name="T33" fmla="*/ 2147483646 h 2158"/>
                  <a:gd name="T34" fmla="*/ 2147483646 w 598"/>
                  <a:gd name="T35" fmla="*/ 2147483646 h 2158"/>
                  <a:gd name="T36" fmla="*/ 2147483646 w 598"/>
                  <a:gd name="T37" fmla="*/ 2147483646 h 2158"/>
                  <a:gd name="T38" fmla="*/ 2147483646 w 598"/>
                  <a:gd name="T39" fmla="*/ 2147483646 h 2158"/>
                  <a:gd name="T40" fmla="*/ 2147483646 w 598"/>
                  <a:gd name="T41" fmla="*/ 2147483646 h 2158"/>
                  <a:gd name="T42" fmla="*/ 2147483646 w 598"/>
                  <a:gd name="T43" fmla="*/ 2147483646 h 2158"/>
                  <a:gd name="T44" fmla="*/ 2147483646 w 598"/>
                  <a:gd name="T45" fmla="*/ 2147483646 h 2158"/>
                  <a:gd name="T46" fmla="*/ 2147483646 w 598"/>
                  <a:gd name="T47" fmla="*/ 2147483646 h 2158"/>
                  <a:gd name="T48" fmla="*/ 2147483646 w 598"/>
                  <a:gd name="T49" fmla="*/ 2147483646 h 2158"/>
                  <a:gd name="T50" fmla="*/ 2147483646 w 598"/>
                  <a:gd name="T51" fmla="*/ 2147483646 h 2158"/>
                  <a:gd name="T52" fmla="*/ 2147483646 w 598"/>
                  <a:gd name="T53" fmla="*/ 2147483646 h 2158"/>
                  <a:gd name="T54" fmla="*/ 2147483646 w 598"/>
                  <a:gd name="T55" fmla="*/ 2147483646 h 2158"/>
                  <a:gd name="T56" fmla="*/ 2147483646 w 598"/>
                  <a:gd name="T57" fmla="*/ 2147483646 h 2158"/>
                  <a:gd name="T58" fmla="*/ 0 w 598"/>
                  <a:gd name="T59" fmla="*/ 2147483646 h 2158"/>
                  <a:gd name="T60" fmla="*/ 2147483646 w 598"/>
                  <a:gd name="T61" fmla="*/ 2147483646 h 2158"/>
                  <a:gd name="T62" fmla="*/ 2147483646 w 598"/>
                  <a:gd name="T63" fmla="*/ 2147483646 h 2158"/>
                  <a:gd name="T64" fmla="*/ 2147483646 w 598"/>
                  <a:gd name="T65" fmla="*/ 2147483646 h 2158"/>
                  <a:gd name="T66" fmla="*/ 2147483646 w 598"/>
                  <a:gd name="T67" fmla="*/ 2147483646 h 2158"/>
                  <a:gd name="T68" fmla="*/ 2147483646 w 598"/>
                  <a:gd name="T69" fmla="*/ 2147483646 h 2158"/>
                  <a:gd name="T70" fmla="*/ 2147483646 w 598"/>
                  <a:gd name="T71" fmla="*/ 2147483646 h 2158"/>
                  <a:gd name="T72" fmla="*/ 2147483646 w 598"/>
                  <a:gd name="T73" fmla="*/ 2147483646 h 2158"/>
                  <a:gd name="T74" fmla="*/ 2147483646 w 598"/>
                  <a:gd name="T75" fmla="*/ 2147483646 h 2158"/>
                  <a:gd name="T76" fmla="*/ 2147483646 w 598"/>
                  <a:gd name="T77" fmla="*/ 2147483646 h 2158"/>
                  <a:gd name="T78" fmla="*/ 2147483646 w 598"/>
                  <a:gd name="T79" fmla="*/ 2147483646 h 2158"/>
                  <a:gd name="T80" fmla="*/ 2147483646 w 598"/>
                  <a:gd name="T81" fmla="*/ 2147483646 h 2158"/>
                  <a:gd name="T82" fmla="*/ 2147483646 w 598"/>
                  <a:gd name="T83" fmla="*/ 2147483646 h 2158"/>
                  <a:gd name="T84" fmla="*/ 2147483646 w 598"/>
                  <a:gd name="T85" fmla="*/ 2147483646 h 2158"/>
                  <a:gd name="T86" fmla="*/ 2147483646 w 598"/>
                  <a:gd name="T87" fmla="*/ 2147483646 h 2158"/>
                  <a:gd name="T88" fmla="*/ 2147483646 w 598"/>
                  <a:gd name="T89" fmla="*/ 2147483646 h 2158"/>
                  <a:gd name="T90" fmla="*/ 2147483646 w 598"/>
                  <a:gd name="T91" fmla="*/ 2147483646 h 2158"/>
                  <a:gd name="T92" fmla="*/ 2147483646 w 598"/>
                  <a:gd name="T93" fmla="*/ 2147483646 h 2158"/>
                  <a:gd name="T94" fmla="*/ 2147483646 w 598"/>
                  <a:gd name="T95" fmla="*/ 2147483646 h 2158"/>
                  <a:gd name="T96" fmla="*/ 2147483646 w 598"/>
                  <a:gd name="T97" fmla="*/ 2147483646 h 2158"/>
                  <a:gd name="T98" fmla="*/ 2147483646 w 598"/>
                  <a:gd name="T99" fmla="*/ 2147483646 h 2158"/>
                  <a:gd name="T100" fmla="*/ 2147483646 w 598"/>
                  <a:gd name="T101" fmla="*/ 2147483646 h 2158"/>
                  <a:gd name="T102" fmla="*/ 2147483646 w 598"/>
                  <a:gd name="T103" fmla="*/ 2147483646 h 2158"/>
                  <a:gd name="T104" fmla="*/ 2147483646 w 598"/>
                  <a:gd name="T105" fmla="*/ 2147483646 h 2158"/>
                  <a:gd name="T106" fmla="*/ 2147483646 w 598"/>
                  <a:gd name="T107" fmla="*/ 2147483646 h 2158"/>
                  <a:gd name="T108" fmla="*/ 2147483646 w 598"/>
                  <a:gd name="T109" fmla="*/ 2147483646 h 2158"/>
                  <a:gd name="T110" fmla="*/ 2147483646 w 598"/>
                  <a:gd name="T111" fmla="*/ 2147483646 h 2158"/>
                  <a:gd name="T112" fmla="*/ 2147483646 w 598"/>
                  <a:gd name="T113" fmla="*/ 2147483646 h 2158"/>
                  <a:gd name="T114" fmla="*/ 2147483646 w 598"/>
                  <a:gd name="T115" fmla="*/ 2147483646 h 2158"/>
                  <a:gd name="T116" fmla="*/ 2147483646 w 598"/>
                  <a:gd name="T117" fmla="*/ 2147483646 h 2158"/>
                  <a:gd name="T118" fmla="*/ 2147483646 w 598"/>
                  <a:gd name="T119" fmla="*/ 2147483646 h 2158"/>
                  <a:gd name="T120" fmla="*/ 2147483646 w 598"/>
                  <a:gd name="T121" fmla="*/ 2147483646 h 2158"/>
                  <a:gd name="T122" fmla="*/ 2147483646 w 598"/>
                  <a:gd name="T123" fmla="*/ 2147483646 h 215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98"/>
                  <a:gd name="T187" fmla="*/ 0 h 2158"/>
                  <a:gd name="T188" fmla="*/ 598 w 598"/>
                  <a:gd name="T189" fmla="*/ 2158 h 215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98" h="2158">
                    <a:moveTo>
                      <a:pt x="491" y="2046"/>
                    </a:moveTo>
                    <a:lnTo>
                      <a:pt x="480" y="2045"/>
                    </a:lnTo>
                    <a:lnTo>
                      <a:pt x="469" y="2043"/>
                    </a:lnTo>
                    <a:lnTo>
                      <a:pt x="456" y="2039"/>
                    </a:lnTo>
                    <a:lnTo>
                      <a:pt x="444" y="2034"/>
                    </a:lnTo>
                    <a:lnTo>
                      <a:pt x="431" y="2028"/>
                    </a:lnTo>
                    <a:lnTo>
                      <a:pt x="418" y="2021"/>
                    </a:lnTo>
                    <a:lnTo>
                      <a:pt x="405" y="2013"/>
                    </a:lnTo>
                    <a:lnTo>
                      <a:pt x="392" y="2003"/>
                    </a:lnTo>
                    <a:lnTo>
                      <a:pt x="379" y="1994"/>
                    </a:lnTo>
                    <a:lnTo>
                      <a:pt x="368" y="1985"/>
                    </a:lnTo>
                    <a:lnTo>
                      <a:pt x="357" y="1976"/>
                    </a:lnTo>
                    <a:lnTo>
                      <a:pt x="349" y="1966"/>
                    </a:lnTo>
                    <a:lnTo>
                      <a:pt x="342" y="1955"/>
                    </a:lnTo>
                    <a:lnTo>
                      <a:pt x="337" y="1946"/>
                    </a:lnTo>
                    <a:lnTo>
                      <a:pt x="333" y="1937"/>
                    </a:lnTo>
                    <a:lnTo>
                      <a:pt x="332" y="1929"/>
                    </a:lnTo>
                    <a:lnTo>
                      <a:pt x="332" y="1919"/>
                    </a:lnTo>
                    <a:lnTo>
                      <a:pt x="333" y="1909"/>
                    </a:lnTo>
                    <a:lnTo>
                      <a:pt x="336" y="1900"/>
                    </a:lnTo>
                    <a:lnTo>
                      <a:pt x="339" y="1893"/>
                    </a:lnTo>
                    <a:lnTo>
                      <a:pt x="341" y="1887"/>
                    </a:lnTo>
                    <a:lnTo>
                      <a:pt x="343" y="1880"/>
                    </a:lnTo>
                    <a:lnTo>
                      <a:pt x="344" y="1874"/>
                    </a:lnTo>
                    <a:lnTo>
                      <a:pt x="345" y="1868"/>
                    </a:lnTo>
                    <a:lnTo>
                      <a:pt x="345" y="1863"/>
                    </a:lnTo>
                    <a:lnTo>
                      <a:pt x="345" y="1855"/>
                    </a:lnTo>
                    <a:lnTo>
                      <a:pt x="345" y="1843"/>
                    </a:lnTo>
                    <a:lnTo>
                      <a:pt x="345" y="1824"/>
                    </a:lnTo>
                    <a:lnTo>
                      <a:pt x="345" y="1818"/>
                    </a:lnTo>
                    <a:lnTo>
                      <a:pt x="348" y="1812"/>
                    </a:lnTo>
                    <a:lnTo>
                      <a:pt x="351" y="1807"/>
                    </a:lnTo>
                    <a:lnTo>
                      <a:pt x="355" y="1802"/>
                    </a:lnTo>
                    <a:lnTo>
                      <a:pt x="359" y="1797"/>
                    </a:lnTo>
                    <a:lnTo>
                      <a:pt x="362" y="1791"/>
                    </a:lnTo>
                    <a:lnTo>
                      <a:pt x="364" y="1783"/>
                    </a:lnTo>
                    <a:lnTo>
                      <a:pt x="365" y="1775"/>
                    </a:lnTo>
                    <a:lnTo>
                      <a:pt x="364" y="1768"/>
                    </a:lnTo>
                    <a:lnTo>
                      <a:pt x="363" y="1762"/>
                    </a:lnTo>
                    <a:lnTo>
                      <a:pt x="362" y="1756"/>
                    </a:lnTo>
                    <a:lnTo>
                      <a:pt x="360" y="1750"/>
                    </a:lnTo>
                    <a:lnTo>
                      <a:pt x="354" y="1740"/>
                    </a:lnTo>
                    <a:lnTo>
                      <a:pt x="349" y="1728"/>
                    </a:lnTo>
                    <a:lnTo>
                      <a:pt x="342" y="1718"/>
                    </a:lnTo>
                    <a:lnTo>
                      <a:pt x="337" y="1707"/>
                    </a:lnTo>
                    <a:lnTo>
                      <a:pt x="334" y="1702"/>
                    </a:lnTo>
                    <a:lnTo>
                      <a:pt x="333" y="1696"/>
                    </a:lnTo>
                    <a:lnTo>
                      <a:pt x="332" y="1690"/>
                    </a:lnTo>
                    <a:lnTo>
                      <a:pt x="332" y="1683"/>
                    </a:lnTo>
                    <a:lnTo>
                      <a:pt x="331" y="1670"/>
                    </a:lnTo>
                    <a:lnTo>
                      <a:pt x="330" y="1659"/>
                    </a:lnTo>
                    <a:lnTo>
                      <a:pt x="329" y="1648"/>
                    </a:lnTo>
                    <a:lnTo>
                      <a:pt x="327" y="1638"/>
                    </a:lnTo>
                    <a:lnTo>
                      <a:pt x="320" y="1617"/>
                    </a:lnTo>
                    <a:lnTo>
                      <a:pt x="312" y="1599"/>
                    </a:lnTo>
                    <a:lnTo>
                      <a:pt x="303" y="1581"/>
                    </a:lnTo>
                    <a:lnTo>
                      <a:pt x="292" y="1563"/>
                    </a:lnTo>
                    <a:lnTo>
                      <a:pt x="281" y="1547"/>
                    </a:lnTo>
                    <a:lnTo>
                      <a:pt x="269" y="1530"/>
                    </a:lnTo>
                    <a:lnTo>
                      <a:pt x="256" y="1514"/>
                    </a:lnTo>
                    <a:lnTo>
                      <a:pt x="245" y="1496"/>
                    </a:lnTo>
                    <a:lnTo>
                      <a:pt x="235" y="1478"/>
                    </a:lnTo>
                    <a:lnTo>
                      <a:pt x="226" y="1460"/>
                    </a:lnTo>
                    <a:lnTo>
                      <a:pt x="221" y="1449"/>
                    </a:lnTo>
                    <a:lnTo>
                      <a:pt x="217" y="1439"/>
                    </a:lnTo>
                    <a:lnTo>
                      <a:pt x="214" y="1428"/>
                    </a:lnTo>
                    <a:lnTo>
                      <a:pt x="210" y="1417"/>
                    </a:lnTo>
                    <a:lnTo>
                      <a:pt x="208" y="1406"/>
                    </a:lnTo>
                    <a:lnTo>
                      <a:pt x="207" y="1393"/>
                    </a:lnTo>
                    <a:lnTo>
                      <a:pt x="206" y="1381"/>
                    </a:lnTo>
                    <a:lnTo>
                      <a:pt x="206" y="1368"/>
                    </a:lnTo>
                    <a:lnTo>
                      <a:pt x="206" y="1355"/>
                    </a:lnTo>
                    <a:lnTo>
                      <a:pt x="207" y="1342"/>
                    </a:lnTo>
                    <a:lnTo>
                      <a:pt x="209" y="1331"/>
                    </a:lnTo>
                    <a:lnTo>
                      <a:pt x="213" y="1320"/>
                    </a:lnTo>
                    <a:lnTo>
                      <a:pt x="215" y="1309"/>
                    </a:lnTo>
                    <a:lnTo>
                      <a:pt x="217" y="1299"/>
                    </a:lnTo>
                    <a:lnTo>
                      <a:pt x="218" y="1287"/>
                    </a:lnTo>
                    <a:lnTo>
                      <a:pt x="219" y="1276"/>
                    </a:lnTo>
                    <a:lnTo>
                      <a:pt x="218" y="1268"/>
                    </a:lnTo>
                    <a:lnTo>
                      <a:pt x="217" y="1261"/>
                    </a:lnTo>
                    <a:lnTo>
                      <a:pt x="216" y="1254"/>
                    </a:lnTo>
                    <a:lnTo>
                      <a:pt x="214" y="1248"/>
                    </a:lnTo>
                    <a:lnTo>
                      <a:pt x="208" y="1235"/>
                    </a:lnTo>
                    <a:lnTo>
                      <a:pt x="203" y="1223"/>
                    </a:lnTo>
                    <a:lnTo>
                      <a:pt x="196" y="1210"/>
                    </a:lnTo>
                    <a:lnTo>
                      <a:pt x="191" y="1197"/>
                    </a:lnTo>
                    <a:lnTo>
                      <a:pt x="188" y="1190"/>
                    </a:lnTo>
                    <a:lnTo>
                      <a:pt x="187" y="1183"/>
                    </a:lnTo>
                    <a:lnTo>
                      <a:pt x="186" y="1174"/>
                    </a:lnTo>
                    <a:lnTo>
                      <a:pt x="185" y="1165"/>
                    </a:lnTo>
                    <a:lnTo>
                      <a:pt x="186" y="1158"/>
                    </a:lnTo>
                    <a:lnTo>
                      <a:pt x="189" y="1152"/>
                    </a:lnTo>
                    <a:lnTo>
                      <a:pt x="194" y="1146"/>
                    </a:lnTo>
                    <a:lnTo>
                      <a:pt x="199" y="1141"/>
                    </a:lnTo>
                    <a:lnTo>
                      <a:pt x="204" y="1135"/>
                    </a:lnTo>
                    <a:lnTo>
                      <a:pt x="208" y="1129"/>
                    </a:lnTo>
                    <a:lnTo>
                      <a:pt x="211" y="1123"/>
                    </a:lnTo>
                    <a:lnTo>
                      <a:pt x="213" y="1115"/>
                    </a:lnTo>
                    <a:lnTo>
                      <a:pt x="211" y="1109"/>
                    </a:lnTo>
                    <a:lnTo>
                      <a:pt x="209" y="1103"/>
                    </a:lnTo>
                    <a:lnTo>
                      <a:pt x="206" y="1097"/>
                    </a:lnTo>
                    <a:lnTo>
                      <a:pt x="203" y="1092"/>
                    </a:lnTo>
                    <a:lnTo>
                      <a:pt x="198" y="1087"/>
                    </a:lnTo>
                    <a:lnTo>
                      <a:pt x="195" y="1082"/>
                    </a:lnTo>
                    <a:lnTo>
                      <a:pt x="193" y="1078"/>
                    </a:lnTo>
                    <a:lnTo>
                      <a:pt x="192" y="1073"/>
                    </a:lnTo>
                    <a:lnTo>
                      <a:pt x="195" y="1064"/>
                    </a:lnTo>
                    <a:lnTo>
                      <a:pt x="203" y="1049"/>
                    </a:lnTo>
                    <a:lnTo>
                      <a:pt x="206" y="1041"/>
                    </a:lnTo>
                    <a:lnTo>
                      <a:pt x="209" y="1033"/>
                    </a:lnTo>
                    <a:lnTo>
                      <a:pt x="211" y="1025"/>
                    </a:lnTo>
                    <a:lnTo>
                      <a:pt x="213" y="1018"/>
                    </a:lnTo>
                    <a:lnTo>
                      <a:pt x="203" y="1018"/>
                    </a:lnTo>
                    <a:lnTo>
                      <a:pt x="192" y="1018"/>
                    </a:lnTo>
                    <a:lnTo>
                      <a:pt x="198" y="1012"/>
                    </a:lnTo>
                    <a:lnTo>
                      <a:pt x="205" y="1003"/>
                    </a:lnTo>
                    <a:lnTo>
                      <a:pt x="207" y="998"/>
                    </a:lnTo>
                    <a:lnTo>
                      <a:pt x="210" y="993"/>
                    </a:lnTo>
                    <a:lnTo>
                      <a:pt x="211" y="987"/>
                    </a:lnTo>
                    <a:lnTo>
                      <a:pt x="213" y="980"/>
                    </a:lnTo>
                    <a:lnTo>
                      <a:pt x="211" y="970"/>
                    </a:lnTo>
                    <a:lnTo>
                      <a:pt x="208" y="961"/>
                    </a:lnTo>
                    <a:lnTo>
                      <a:pt x="205" y="951"/>
                    </a:lnTo>
                    <a:lnTo>
                      <a:pt x="199" y="943"/>
                    </a:lnTo>
                    <a:lnTo>
                      <a:pt x="187" y="927"/>
                    </a:lnTo>
                    <a:lnTo>
                      <a:pt x="172" y="910"/>
                    </a:lnTo>
                    <a:lnTo>
                      <a:pt x="165" y="902"/>
                    </a:lnTo>
                    <a:lnTo>
                      <a:pt x="158" y="892"/>
                    </a:lnTo>
                    <a:lnTo>
                      <a:pt x="151" y="883"/>
                    </a:lnTo>
                    <a:lnTo>
                      <a:pt x="144" y="874"/>
                    </a:lnTo>
                    <a:lnTo>
                      <a:pt x="140" y="863"/>
                    </a:lnTo>
                    <a:lnTo>
                      <a:pt x="136" y="852"/>
                    </a:lnTo>
                    <a:lnTo>
                      <a:pt x="134" y="839"/>
                    </a:lnTo>
                    <a:lnTo>
                      <a:pt x="132" y="826"/>
                    </a:lnTo>
                    <a:lnTo>
                      <a:pt x="132" y="794"/>
                    </a:lnTo>
                    <a:lnTo>
                      <a:pt x="132" y="766"/>
                    </a:lnTo>
                    <a:lnTo>
                      <a:pt x="132" y="736"/>
                    </a:lnTo>
                    <a:lnTo>
                      <a:pt x="132" y="697"/>
                    </a:lnTo>
                    <a:lnTo>
                      <a:pt x="134" y="686"/>
                    </a:lnTo>
                    <a:lnTo>
                      <a:pt x="135" y="675"/>
                    </a:lnTo>
                    <a:lnTo>
                      <a:pt x="138" y="665"/>
                    </a:lnTo>
                    <a:lnTo>
                      <a:pt x="141" y="655"/>
                    </a:lnTo>
                    <a:lnTo>
                      <a:pt x="151" y="637"/>
                    </a:lnTo>
                    <a:lnTo>
                      <a:pt x="162" y="619"/>
                    </a:lnTo>
                    <a:lnTo>
                      <a:pt x="173" y="602"/>
                    </a:lnTo>
                    <a:lnTo>
                      <a:pt x="183" y="584"/>
                    </a:lnTo>
                    <a:lnTo>
                      <a:pt x="186" y="575"/>
                    </a:lnTo>
                    <a:lnTo>
                      <a:pt x="189" y="564"/>
                    </a:lnTo>
                    <a:lnTo>
                      <a:pt x="192" y="554"/>
                    </a:lnTo>
                    <a:lnTo>
                      <a:pt x="192" y="543"/>
                    </a:lnTo>
                    <a:lnTo>
                      <a:pt x="192" y="535"/>
                    </a:lnTo>
                    <a:lnTo>
                      <a:pt x="191" y="528"/>
                    </a:lnTo>
                    <a:lnTo>
                      <a:pt x="189" y="522"/>
                    </a:lnTo>
                    <a:lnTo>
                      <a:pt x="187" y="516"/>
                    </a:lnTo>
                    <a:lnTo>
                      <a:pt x="182" y="504"/>
                    </a:lnTo>
                    <a:lnTo>
                      <a:pt x="175" y="493"/>
                    </a:lnTo>
                    <a:lnTo>
                      <a:pt x="170" y="483"/>
                    </a:lnTo>
                    <a:lnTo>
                      <a:pt x="164" y="472"/>
                    </a:lnTo>
                    <a:lnTo>
                      <a:pt x="162" y="466"/>
                    </a:lnTo>
                    <a:lnTo>
                      <a:pt x="160" y="459"/>
                    </a:lnTo>
                    <a:lnTo>
                      <a:pt x="160" y="451"/>
                    </a:lnTo>
                    <a:lnTo>
                      <a:pt x="159" y="444"/>
                    </a:lnTo>
                    <a:lnTo>
                      <a:pt x="160" y="436"/>
                    </a:lnTo>
                    <a:lnTo>
                      <a:pt x="162" y="429"/>
                    </a:lnTo>
                    <a:lnTo>
                      <a:pt x="165" y="423"/>
                    </a:lnTo>
                    <a:lnTo>
                      <a:pt x="171" y="417"/>
                    </a:lnTo>
                    <a:lnTo>
                      <a:pt x="182" y="406"/>
                    </a:lnTo>
                    <a:lnTo>
                      <a:pt x="195" y="394"/>
                    </a:lnTo>
                    <a:lnTo>
                      <a:pt x="203" y="388"/>
                    </a:lnTo>
                    <a:lnTo>
                      <a:pt x="209" y="381"/>
                    </a:lnTo>
                    <a:lnTo>
                      <a:pt x="215" y="374"/>
                    </a:lnTo>
                    <a:lnTo>
                      <a:pt x="220" y="365"/>
                    </a:lnTo>
                    <a:lnTo>
                      <a:pt x="226" y="356"/>
                    </a:lnTo>
                    <a:lnTo>
                      <a:pt x="229" y="346"/>
                    </a:lnTo>
                    <a:lnTo>
                      <a:pt x="231" y="334"/>
                    </a:lnTo>
                    <a:lnTo>
                      <a:pt x="232" y="321"/>
                    </a:lnTo>
                    <a:lnTo>
                      <a:pt x="227" y="320"/>
                    </a:lnTo>
                    <a:lnTo>
                      <a:pt x="221" y="319"/>
                    </a:lnTo>
                    <a:lnTo>
                      <a:pt x="216" y="318"/>
                    </a:lnTo>
                    <a:lnTo>
                      <a:pt x="210" y="315"/>
                    </a:lnTo>
                    <a:lnTo>
                      <a:pt x="200" y="308"/>
                    </a:lnTo>
                    <a:lnTo>
                      <a:pt x="192" y="300"/>
                    </a:lnTo>
                    <a:lnTo>
                      <a:pt x="183" y="289"/>
                    </a:lnTo>
                    <a:lnTo>
                      <a:pt x="174" y="276"/>
                    </a:lnTo>
                    <a:lnTo>
                      <a:pt x="166" y="264"/>
                    </a:lnTo>
                    <a:lnTo>
                      <a:pt x="160" y="250"/>
                    </a:lnTo>
                    <a:lnTo>
                      <a:pt x="153" y="237"/>
                    </a:lnTo>
                    <a:lnTo>
                      <a:pt x="148" y="222"/>
                    </a:lnTo>
                    <a:lnTo>
                      <a:pt x="143" y="209"/>
                    </a:lnTo>
                    <a:lnTo>
                      <a:pt x="140" y="196"/>
                    </a:lnTo>
                    <a:lnTo>
                      <a:pt x="135" y="174"/>
                    </a:lnTo>
                    <a:lnTo>
                      <a:pt x="132" y="160"/>
                    </a:lnTo>
                    <a:lnTo>
                      <a:pt x="132" y="148"/>
                    </a:lnTo>
                    <a:lnTo>
                      <a:pt x="131" y="137"/>
                    </a:lnTo>
                    <a:lnTo>
                      <a:pt x="129" y="125"/>
                    </a:lnTo>
                    <a:lnTo>
                      <a:pt x="128" y="114"/>
                    </a:lnTo>
                    <a:lnTo>
                      <a:pt x="125" y="103"/>
                    </a:lnTo>
                    <a:lnTo>
                      <a:pt x="121" y="93"/>
                    </a:lnTo>
                    <a:lnTo>
                      <a:pt x="118" y="84"/>
                    </a:lnTo>
                    <a:lnTo>
                      <a:pt x="114" y="74"/>
                    </a:lnTo>
                    <a:lnTo>
                      <a:pt x="103" y="55"/>
                    </a:lnTo>
                    <a:lnTo>
                      <a:pt x="91" y="37"/>
                    </a:lnTo>
                    <a:lnTo>
                      <a:pt x="75" y="19"/>
                    </a:lnTo>
                    <a:lnTo>
                      <a:pt x="59" y="0"/>
                    </a:lnTo>
                    <a:lnTo>
                      <a:pt x="54" y="14"/>
                    </a:lnTo>
                    <a:lnTo>
                      <a:pt x="49" y="25"/>
                    </a:lnTo>
                    <a:lnTo>
                      <a:pt x="41" y="37"/>
                    </a:lnTo>
                    <a:lnTo>
                      <a:pt x="32" y="50"/>
                    </a:lnTo>
                    <a:lnTo>
                      <a:pt x="0" y="44"/>
                    </a:lnTo>
                    <a:lnTo>
                      <a:pt x="0" y="62"/>
                    </a:lnTo>
                    <a:lnTo>
                      <a:pt x="2" y="81"/>
                    </a:lnTo>
                    <a:lnTo>
                      <a:pt x="4" y="98"/>
                    </a:lnTo>
                    <a:lnTo>
                      <a:pt x="7" y="114"/>
                    </a:lnTo>
                    <a:lnTo>
                      <a:pt x="14" y="145"/>
                    </a:lnTo>
                    <a:lnTo>
                      <a:pt x="23" y="173"/>
                    </a:lnTo>
                    <a:lnTo>
                      <a:pt x="31" y="200"/>
                    </a:lnTo>
                    <a:lnTo>
                      <a:pt x="39" y="227"/>
                    </a:lnTo>
                    <a:lnTo>
                      <a:pt x="41" y="241"/>
                    </a:lnTo>
                    <a:lnTo>
                      <a:pt x="45" y="255"/>
                    </a:lnTo>
                    <a:lnTo>
                      <a:pt x="46" y="269"/>
                    </a:lnTo>
                    <a:lnTo>
                      <a:pt x="46" y="283"/>
                    </a:lnTo>
                    <a:lnTo>
                      <a:pt x="46" y="295"/>
                    </a:lnTo>
                    <a:lnTo>
                      <a:pt x="42" y="304"/>
                    </a:lnTo>
                    <a:lnTo>
                      <a:pt x="40" y="313"/>
                    </a:lnTo>
                    <a:lnTo>
                      <a:pt x="36" y="320"/>
                    </a:lnTo>
                    <a:lnTo>
                      <a:pt x="32" y="327"/>
                    </a:lnTo>
                    <a:lnTo>
                      <a:pt x="29" y="335"/>
                    </a:lnTo>
                    <a:lnTo>
                      <a:pt x="27" y="342"/>
                    </a:lnTo>
                    <a:lnTo>
                      <a:pt x="26" y="352"/>
                    </a:lnTo>
                    <a:lnTo>
                      <a:pt x="27" y="374"/>
                    </a:lnTo>
                    <a:lnTo>
                      <a:pt x="30" y="395"/>
                    </a:lnTo>
                    <a:lnTo>
                      <a:pt x="35" y="416"/>
                    </a:lnTo>
                    <a:lnTo>
                      <a:pt x="39" y="435"/>
                    </a:lnTo>
                    <a:lnTo>
                      <a:pt x="45" y="457"/>
                    </a:lnTo>
                    <a:lnTo>
                      <a:pt x="49" y="477"/>
                    </a:lnTo>
                    <a:lnTo>
                      <a:pt x="51" y="500"/>
                    </a:lnTo>
                    <a:lnTo>
                      <a:pt x="52" y="524"/>
                    </a:lnTo>
                    <a:lnTo>
                      <a:pt x="51" y="553"/>
                    </a:lnTo>
                    <a:lnTo>
                      <a:pt x="49" y="572"/>
                    </a:lnTo>
                    <a:lnTo>
                      <a:pt x="47" y="588"/>
                    </a:lnTo>
                    <a:lnTo>
                      <a:pt x="46" y="610"/>
                    </a:lnTo>
                    <a:lnTo>
                      <a:pt x="46" y="622"/>
                    </a:lnTo>
                    <a:lnTo>
                      <a:pt x="46" y="635"/>
                    </a:lnTo>
                    <a:lnTo>
                      <a:pt x="46" y="649"/>
                    </a:lnTo>
                    <a:lnTo>
                      <a:pt x="46" y="660"/>
                    </a:lnTo>
                    <a:lnTo>
                      <a:pt x="41" y="666"/>
                    </a:lnTo>
                    <a:lnTo>
                      <a:pt x="37" y="675"/>
                    </a:lnTo>
                    <a:lnTo>
                      <a:pt x="34" y="687"/>
                    </a:lnTo>
                    <a:lnTo>
                      <a:pt x="32" y="697"/>
                    </a:lnTo>
                    <a:lnTo>
                      <a:pt x="34" y="709"/>
                    </a:lnTo>
                    <a:lnTo>
                      <a:pt x="36" y="718"/>
                    </a:lnTo>
                    <a:lnTo>
                      <a:pt x="39" y="725"/>
                    </a:lnTo>
                    <a:lnTo>
                      <a:pt x="42" y="731"/>
                    </a:lnTo>
                    <a:lnTo>
                      <a:pt x="47" y="737"/>
                    </a:lnTo>
                    <a:lnTo>
                      <a:pt x="50" y="741"/>
                    </a:lnTo>
                    <a:lnTo>
                      <a:pt x="52" y="746"/>
                    </a:lnTo>
                    <a:lnTo>
                      <a:pt x="52" y="752"/>
                    </a:lnTo>
                    <a:lnTo>
                      <a:pt x="52" y="767"/>
                    </a:lnTo>
                    <a:lnTo>
                      <a:pt x="52" y="782"/>
                    </a:lnTo>
                    <a:lnTo>
                      <a:pt x="52" y="797"/>
                    </a:lnTo>
                    <a:lnTo>
                      <a:pt x="52" y="808"/>
                    </a:lnTo>
                    <a:lnTo>
                      <a:pt x="53" y="822"/>
                    </a:lnTo>
                    <a:lnTo>
                      <a:pt x="58" y="847"/>
                    </a:lnTo>
                    <a:lnTo>
                      <a:pt x="60" y="860"/>
                    </a:lnTo>
                    <a:lnTo>
                      <a:pt x="64" y="871"/>
                    </a:lnTo>
                    <a:lnTo>
                      <a:pt x="65" y="875"/>
                    </a:lnTo>
                    <a:lnTo>
                      <a:pt x="68" y="879"/>
                    </a:lnTo>
                    <a:lnTo>
                      <a:pt x="70" y="881"/>
                    </a:lnTo>
                    <a:lnTo>
                      <a:pt x="73" y="881"/>
                    </a:lnTo>
                    <a:lnTo>
                      <a:pt x="76" y="894"/>
                    </a:lnTo>
                    <a:lnTo>
                      <a:pt x="80" y="905"/>
                    </a:lnTo>
                    <a:lnTo>
                      <a:pt x="81" y="913"/>
                    </a:lnTo>
                    <a:lnTo>
                      <a:pt x="81" y="921"/>
                    </a:lnTo>
                    <a:lnTo>
                      <a:pt x="80" y="936"/>
                    </a:lnTo>
                    <a:lnTo>
                      <a:pt x="80" y="956"/>
                    </a:lnTo>
                    <a:lnTo>
                      <a:pt x="79" y="980"/>
                    </a:lnTo>
                    <a:lnTo>
                      <a:pt x="78" y="1002"/>
                    </a:lnTo>
                    <a:lnTo>
                      <a:pt x="75" y="1024"/>
                    </a:lnTo>
                    <a:lnTo>
                      <a:pt x="73" y="1045"/>
                    </a:lnTo>
                    <a:lnTo>
                      <a:pt x="70" y="1065"/>
                    </a:lnTo>
                    <a:lnTo>
                      <a:pt x="68" y="1087"/>
                    </a:lnTo>
                    <a:lnTo>
                      <a:pt x="67" y="1110"/>
                    </a:lnTo>
                    <a:lnTo>
                      <a:pt x="67" y="1135"/>
                    </a:lnTo>
                    <a:lnTo>
                      <a:pt x="65" y="1141"/>
                    </a:lnTo>
                    <a:lnTo>
                      <a:pt x="64" y="1147"/>
                    </a:lnTo>
                    <a:lnTo>
                      <a:pt x="63" y="1152"/>
                    </a:lnTo>
                    <a:lnTo>
                      <a:pt x="62" y="1156"/>
                    </a:lnTo>
                    <a:lnTo>
                      <a:pt x="58" y="1163"/>
                    </a:lnTo>
                    <a:lnTo>
                      <a:pt x="52" y="1169"/>
                    </a:lnTo>
                    <a:lnTo>
                      <a:pt x="48" y="1175"/>
                    </a:lnTo>
                    <a:lnTo>
                      <a:pt x="43" y="1181"/>
                    </a:lnTo>
                    <a:lnTo>
                      <a:pt x="41" y="1185"/>
                    </a:lnTo>
                    <a:lnTo>
                      <a:pt x="40" y="1188"/>
                    </a:lnTo>
                    <a:lnTo>
                      <a:pt x="40" y="1192"/>
                    </a:lnTo>
                    <a:lnTo>
                      <a:pt x="39" y="1196"/>
                    </a:lnTo>
                    <a:lnTo>
                      <a:pt x="40" y="1205"/>
                    </a:lnTo>
                    <a:lnTo>
                      <a:pt x="42" y="1215"/>
                    </a:lnTo>
                    <a:lnTo>
                      <a:pt x="46" y="1225"/>
                    </a:lnTo>
                    <a:lnTo>
                      <a:pt x="50" y="1237"/>
                    </a:lnTo>
                    <a:lnTo>
                      <a:pt x="60" y="1258"/>
                    </a:lnTo>
                    <a:lnTo>
                      <a:pt x="73" y="1279"/>
                    </a:lnTo>
                    <a:lnTo>
                      <a:pt x="85" y="1299"/>
                    </a:lnTo>
                    <a:lnTo>
                      <a:pt x="95" y="1317"/>
                    </a:lnTo>
                    <a:lnTo>
                      <a:pt x="99" y="1325"/>
                    </a:lnTo>
                    <a:lnTo>
                      <a:pt x="103" y="1332"/>
                    </a:lnTo>
                    <a:lnTo>
                      <a:pt x="105" y="1338"/>
                    </a:lnTo>
                    <a:lnTo>
                      <a:pt x="106" y="1343"/>
                    </a:lnTo>
                    <a:lnTo>
                      <a:pt x="105" y="1351"/>
                    </a:lnTo>
                    <a:lnTo>
                      <a:pt x="104" y="1358"/>
                    </a:lnTo>
                    <a:lnTo>
                      <a:pt x="102" y="1365"/>
                    </a:lnTo>
                    <a:lnTo>
                      <a:pt x="99" y="1372"/>
                    </a:lnTo>
                    <a:lnTo>
                      <a:pt x="97" y="1380"/>
                    </a:lnTo>
                    <a:lnTo>
                      <a:pt x="95" y="1388"/>
                    </a:lnTo>
                    <a:lnTo>
                      <a:pt x="93" y="1396"/>
                    </a:lnTo>
                    <a:lnTo>
                      <a:pt x="93" y="1406"/>
                    </a:lnTo>
                    <a:lnTo>
                      <a:pt x="93" y="1415"/>
                    </a:lnTo>
                    <a:lnTo>
                      <a:pt x="94" y="1424"/>
                    </a:lnTo>
                    <a:lnTo>
                      <a:pt x="96" y="1432"/>
                    </a:lnTo>
                    <a:lnTo>
                      <a:pt x="98" y="1438"/>
                    </a:lnTo>
                    <a:lnTo>
                      <a:pt x="102" y="1444"/>
                    </a:lnTo>
                    <a:lnTo>
                      <a:pt x="106" y="1449"/>
                    </a:lnTo>
                    <a:lnTo>
                      <a:pt x="112" y="1453"/>
                    </a:lnTo>
                    <a:lnTo>
                      <a:pt x="117" y="1457"/>
                    </a:lnTo>
                    <a:lnTo>
                      <a:pt x="123" y="1460"/>
                    </a:lnTo>
                    <a:lnTo>
                      <a:pt x="130" y="1463"/>
                    </a:lnTo>
                    <a:lnTo>
                      <a:pt x="138" y="1464"/>
                    </a:lnTo>
                    <a:lnTo>
                      <a:pt x="146" y="1465"/>
                    </a:lnTo>
                    <a:lnTo>
                      <a:pt x="164" y="1467"/>
                    </a:lnTo>
                    <a:lnTo>
                      <a:pt x="185" y="1467"/>
                    </a:lnTo>
                    <a:lnTo>
                      <a:pt x="191" y="1501"/>
                    </a:lnTo>
                    <a:lnTo>
                      <a:pt x="195" y="1531"/>
                    </a:lnTo>
                    <a:lnTo>
                      <a:pt x="197" y="1559"/>
                    </a:lnTo>
                    <a:lnTo>
                      <a:pt x="199" y="1590"/>
                    </a:lnTo>
                    <a:lnTo>
                      <a:pt x="202" y="1602"/>
                    </a:lnTo>
                    <a:lnTo>
                      <a:pt x="209" y="1621"/>
                    </a:lnTo>
                    <a:lnTo>
                      <a:pt x="216" y="1643"/>
                    </a:lnTo>
                    <a:lnTo>
                      <a:pt x="219" y="1658"/>
                    </a:lnTo>
                    <a:lnTo>
                      <a:pt x="219" y="1668"/>
                    </a:lnTo>
                    <a:lnTo>
                      <a:pt x="220" y="1679"/>
                    </a:lnTo>
                    <a:lnTo>
                      <a:pt x="221" y="1687"/>
                    </a:lnTo>
                    <a:lnTo>
                      <a:pt x="222" y="1694"/>
                    </a:lnTo>
                    <a:lnTo>
                      <a:pt x="227" y="1709"/>
                    </a:lnTo>
                    <a:lnTo>
                      <a:pt x="232" y="1725"/>
                    </a:lnTo>
                    <a:lnTo>
                      <a:pt x="202" y="1732"/>
                    </a:lnTo>
                    <a:lnTo>
                      <a:pt x="173" y="1739"/>
                    </a:lnTo>
                    <a:lnTo>
                      <a:pt x="166" y="1740"/>
                    </a:lnTo>
                    <a:lnTo>
                      <a:pt x="161" y="1743"/>
                    </a:lnTo>
                    <a:lnTo>
                      <a:pt x="155" y="1745"/>
                    </a:lnTo>
                    <a:lnTo>
                      <a:pt x="151" y="1749"/>
                    </a:lnTo>
                    <a:lnTo>
                      <a:pt x="147" y="1752"/>
                    </a:lnTo>
                    <a:lnTo>
                      <a:pt x="143" y="1757"/>
                    </a:lnTo>
                    <a:lnTo>
                      <a:pt x="141" y="1762"/>
                    </a:lnTo>
                    <a:lnTo>
                      <a:pt x="139" y="1769"/>
                    </a:lnTo>
                    <a:lnTo>
                      <a:pt x="164" y="1770"/>
                    </a:lnTo>
                    <a:lnTo>
                      <a:pt x="193" y="1773"/>
                    </a:lnTo>
                    <a:lnTo>
                      <a:pt x="207" y="1776"/>
                    </a:lnTo>
                    <a:lnTo>
                      <a:pt x="218" y="1779"/>
                    </a:lnTo>
                    <a:lnTo>
                      <a:pt x="224" y="1781"/>
                    </a:lnTo>
                    <a:lnTo>
                      <a:pt x="227" y="1783"/>
                    </a:lnTo>
                    <a:lnTo>
                      <a:pt x="230" y="1785"/>
                    </a:lnTo>
                    <a:lnTo>
                      <a:pt x="232" y="1787"/>
                    </a:lnTo>
                    <a:lnTo>
                      <a:pt x="243" y="1807"/>
                    </a:lnTo>
                    <a:lnTo>
                      <a:pt x="250" y="1820"/>
                    </a:lnTo>
                    <a:lnTo>
                      <a:pt x="253" y="1825"/>
                    </a:lnTo>
                    <a:lnTo>
                      <a:pt x="258" y="1828"/>
                    </a:lnTo>
                    <a:lnTo>
                      <a:pt x="263" y="1830"/>
                    </a:lnTo>
                    <a:lnTo>
                      <a:pt x="272" y="1830"/>
                    </a:lnTo>
                    <a:lnTo>
                      <a:pt x="272" y="1843"/>
                    </a:lnTo>
                    <a:lnTo>
                      <a:pt x="273" y="1857"/>
                    </a:lnTo>
                    <a:lnTo>
                      <a:pt x="275" y="1871"/>
                    </a:lnTo>
                    <a:lnTo>
                      <a:pt x="278" y="1884"/>
                    </a:lnTo>
                    <a:lnTo>
                      <a:pt x="282" y="1898"/>
                    </a:lnTo>
                    <a:lnTo>
                      <a:pt x="285" y="1912"/>
                    </a:lnTo>
                    <a:lnTo>
                      <a:pt x="289" y="1925"/>
                    </a:lnTo>
                    <a:lnTo>
                      <a:pt x="295" y="1937"/>
                    </a:lnTo>
                    <a:lnTo>
                      <a:pt x="301" y="1949"/>
                    </a:lnTo>
                    <a:lnTo>
                      <a:pt x="308" y="1961"/>
                    </a:lnTo>
                    <a:lnTo>
                      <a:pt x="315" y="1971"/>
                    </a:lnTo>
                    <a:lnTo>
                      <a:pt x="322" y="1980"/>
                    </a:lnTo>
                    <a:lnTo>
                      <a:pt x="330" y="1988"/>
                    </a:lnTo>
                    <a:lnTo>
                      <a:pt x="339" y="1995"/>
                    </a:lnTo>
                    <a:lnTo>
                      <a:pt x="349" y="2000"/>
                    </a:lnTo>
                    <a:lnTo>
                      <a:pt x="359" y="2003"/>
                    </a:lnTo>
                    <a:lnTo>
                      <a:pt x="359" y="2013"/>
                    </a:lnTo>
                    <a:lnTo>
                      <a:pt x="361" y="2021"/>
                    </a:lnTo>
                    <a:lnTo>
                      <a:pt x="364" y="2028"/>
                    </a:lnTo>
                    <a:lnTo>
                      <a:pt x="368" y="2034"/>
                    </a:lnTo>
                    <a:lnTo>
                      <a:pt x="374" y="2038"/>
                    </a:lnTo>
                    <a:lnTo>
                      <a:pt x="379" y="2042"/>
                    </a:lnTo>
                    <a:lnTo>
                      <a:pt x="386" y="2046"/>
                    </a:lnTo>
                    <a:lnTo>
                      <a:pt x="393" y="2048"/>
                    </a:lnTo>
                    <a:lnTo>
                      <a:pt x="407" y="2053"/>
                    </a:lnTo>
                    <a:lnTo>
                      <a:pt x="420" y="2057"/>
                    </a:lnTo>
                    <a:lnTo>
                      <a:pt x="426" y="2060"/>
                    </a:lnTo>
                    <a:lnTo>
                      <a:pt x="431" y="2063"/>
                    </a:lnTo>
                    <a:lnTo>
                      <a:pt x="435" y="2066"/>
                    </a:lnTo>
                    <a:lnTo>
                      <a:pt x="438" y="2071"/>
                    </a:lnTo>
                    <a:lnTo>
                      <a:pt x="424" y="2074"/>
                    </a:lnTo>
                    <a:lnTo>
                      <a:pt x="411" y="2077"/>
                    </a:lnTo>
                    <a:lnTo>
                      <a:pt x="415" y="2084"/>
                    </a:lnTo>
                    <a:lnTo>
                      <a:pt x="421" y="2091"/>
                    </a:lnTo>
                    <a:lnTo>
                      <a:pt x="429" y="2097"/>
                    </a:lnTo>
                    <a:lnTo>
                      <a:pt x="440" y="2102"/>
                    </a:lnTo>
                    <a:lnTo>
                      <a:pt x="452" y="2107"/>
                    </a:lnTo>
                    <a:lnTo>
                      <a:pt x="465" y="2110"/>
                    </a:lnTo>
                    <a:lnTo>
                      <a:pt x="480" y="2113"/>
                    </a:lnTo>
                    <a:lnTo>
                      <a:pt x="498" y="2114"/>
                    </a:lnTo>
                    <a:lnTo>
                      <a:pt x="502" y="2117"/>
                    </a:lnTo>
                    <a:lnTo>
                      <a:pt x="507" y="2121"/>
                    </a:lnTo>
                    <a:lnTo>
                      <a:pt x="510" y="2127"/>
                    </a:lnTo>
                    <a:lnTo>
                      <a:pt x="513" y="2131"/>
                    </a:lnTo>
                    <a:lnTo>
                      <a:pt x="519" y="2140"/>
                    </a:lnTo>
                    <a:lnTo>
                      <a:pt x="522" y="2149"/>
                    </a:lnTo>
                    <a:lnTo>
                      <a:pt x="527" y="2155"/>
                    </a:lnTo>
                    <a:lnTo>
                      <a:pt x="530" y="2158"/>
                    </a:lnTo>
                    <a:lnTo>
                      <a:pt x="531" y="2158"/>
                    </a:lnTo>
                    <a:lnTo>
                      <a:pt x="533" y="2157"/>
                    </a:lnTo>
                    <a:lnTo>
                      <a:pt x="535" y="2155"/>
                    </a:lnTo>
                    <a:lnTo>
                      <a:pt x="538" y="2151"/>
                    </a:lnTo>
                    <a:lnTo>
                      <a:pt x="543" y="2137"/>
                    </a:lnTo>
                    <a:lnTo>
                      <a:pt x="547" y="2125"/>
                    </a:lnTo>
                    <a:lnTo>
                      <a:pt x="554" y="2116"/>
                    </a:lnTo>
                    <a:lnTo>
                      <a:pt x="561" y="2109"/>
                    </a:lnTo>
                    <a:lnTo>
                      <a:pt x="567" y="2104"/>
                    </a:lnTo>
                    <a:lnTo>
                      <a:pt x="576" y="2101"/>
                    </a:lnTo>
                    <a:lnTo>
                      <a:pt x="586" y="2098"/>
                    </a:lnTo>
                    <a:lnTo>
                      <a:pt x="598" y="2095"/>
                    </a:lnTo>
                    <a:lnTo>
                      <a:pt x="592" y="2087"/>
                    </a:lnTo>
                    <a:lnTo>
                      <a:pt x="589" y="2081"/>
                    </a:lnTo>
                    <a:lnTo>
                      <a:pt x="588" y="2078"/>
                    </a:lnTo>
                    <a:lnTo>
                      <a:pt x="588" y="2076"/>
                    </a:lnTo>
                    <a:lnTo>
                      <a:pt x="589" y="2074"/>
                    </a:lnTo>
                    <a:lnTo>
                      <a:pt x="591" y="2071"/>
                    </a:lnTo>
                    <a:lnTo>
                      <a:pt x="491" y="2046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87" name="Freeform 9">
                <a:extLst>
                  <a:ext uri="{FF2B5EF4-FFF2-40B4-BE49-F238E27FC236}">
                    <a16:creationId xmlns="" xmlns:a16="http://schemas.microsoft.com/office/drawing/2014/main" id="{1CD0727D-6C44-44C6-80E5-880644E18259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2176463" y="3508375"/>
                <a:ext cx="966787" cy="1203325"/>
              </a:xfrm>
              <a:custGeom>
                <a:avLst/>
                <a:gdLst>
                  <a:gd name="T0" fmla="*/ 2147483646 w 2226"/>
                  <a:gd name="T1" fmla="*/ 2147483646 h 2292"/>
                  <a:gd name="T2" fmla="*/ 2147483646 w 2226"/>
                  <a:gd name="T3" fmla="*/ 2147483646 h 2292"/>
                  <a:gd name="T4" fmla="*/ 2147483646 w 2226"/>
                  <a:gd name="T5" fmla="*/ 2147483646 h 2292"/>
                  <a:gd name="T6" fmla="*/ 2147483646 w 2226"/>
                  <a:gd name="T7" fmla="*/ 2147483646 h 2292"/>
                  <a:gd name="T8" fmla="*/ 2147483646 w 2226"/>
                  <a:gd name="T9" fmla="*/ 2147483646 h 2292"/>
                  <a:gd name="T10" fmla="*/ 2147483646 w 2226"/>
                  <a:gd name="T11" fmla="*/ 2147483646 h 2292"/>
                  <a:gd name="T12" fmla="*/ 2147483646 w 2226"/>
                  <a:gd name="T13" fmla="*/ 2147483646 h 2292"/>
                  <a:gd name="T14" fmla="*/ 2147483646 w 2226"/>
                  <a:gd name="T15" fmla="*/ 2147483646 h 2292"/>
                  <a:gd name="T16" fmla="*/ 2147483646 w 2226"/>
                  <a:gd name="T17" fmla="*/ 2147483646 h 2292"/>
                  <a:gd name="T18" fmla="*/ 2147483646 w 2226"/>
                  <a:gd name="T19" fmla="*/ 2147483646 h 2292"/>
                  <a:gd name="T20" fmla="*/ 2147483646 w 2226"/>
                  <a:gd name="T21" fmla="*/ 2147483646 h 2292"/>
                  <a:gd name="T22" fmla="*/ 2147483646 w 2226"/>
                  <a:gd name="T23" fmla="*/ 2147483646 h 2292"/>
                  <a:gd name="T24" fmla="*/ 2147483646 w 2226"/>
                  <a:gd name="T25" fmla="*/ 2147483646 h 2292"/>
                  <a:gd name="T26" fmla="*/ 2147483646 w 2226"/>
                  <a:gd name="T27" fmla="*/ 2147483646 h 2292"/>
                  <a:gd name="T28" fmla="*/ 2147483646 w 2226"/>
                  <a:gd name="T29" fmla="*/ 2147483646 h 2292"/>
                  <a:gd name="T30" fmla="*/ 2147483646 w 2226"/>
                  <a:gd name="T31" fmla="*/ 2147483646 h 2292"/>
                  <a:gd name="T32" fmla="*/ 2147483646 w 2226"/>
                  <a:gd name="T33" fmla="*/ 2147483646 h 2292"/>
                  <a:gd name="T34" fmla="*/ 2147483646 w 2226"/>
                  <a:gd name="T35" fmla="*/ 2147483646 h 2292"/>
                  <a:gd name="T36" fmla="*/ 2147483646 w 2226"/>
                  <a:gd name="T37" fmla="*/ 2147483646 h 2292"/>
                  <a:gd name="T38" fmla="*/ 2147483646 w 2226"/>
                  <a:gd name="T39" fmla="*/ 2147483646 h 2292"/>
                  <a:gd name="T40" fmla="*/ 2147483646 w 2226"/>
                  <a:gd name="T41" fmla="*/ 2147483646 h 2292"/>
                  <a:gd name="T42" fmla="*/ 2147483646 w 2226"/>
                  <a:gd name="T43" fmla="*/ 2147483646 h 2292"/>
                  <a:gd name="T44" fmla="*/ 2147483646 w 2226"/>
                  <a:gd name="T45" fmla="*/ 2147483646 h 2292"/>
                  <a:gd name="T46" fmla="*/ 2147483646 w 2226"/>
                  <a:gd name="T47" fmla="*/ 2147483646 h 2292"/>
                  <a:gd name="T48" fmla="*/ 2147483646 w 2226"/>
                  <a:gd name="T49" fmla="*/ 2147483646 h 2292"/>
                  <a:gd name="T50" fmla="*/ 2147483646 w 2226"/>
                  <a:gd name="T51" fmla="*/ 2147483646 h 2292"/>
                  <a:gd name="T52" fmla="*/ 2147483646 w 2226"/>
                  <a:gd name="T53" fmla="*/ 2147483646 h 2292"/>
                  <a:gd name="T54" fmla="*/ 2147483646 w 2226"/>
                  <a:gd name="T55" fmla="*/ 2147483646 h 2292"/>
                  <a:gd name="T56" fmla="*/ 2147483646 w 2226"/>
                  <a:gd name="T57" fmla="*/ 2147483646 h 2292"/>
                  <a:gd name="T58" fmla="*/ 2147483646 w 2226"/>
                  <a:gd name="T59" fmla="*/ 2147483646 h 2292"/>
                  <a:gd name="T60" fmla="*/ 2147483646 w 2226"/>
                  <a:gd name="T61" fmla="*/ 2147483646 h 2292"/>
                  <a:gd name="T62" fmla="*/ 2147483646 w 2226"/>
                  <a:gd name="T63" fmla="*/ 2147483646 h 2292"/>
                  <a:gd name="T64" fmla="*/ 2147483646 w 2226"/>
                  <a:gd name="T65" fmla="*/ 2147483646 h 2292"/>
                  <a:gd name="T66" fmla="*/ 2147483646 w 2226"/>
                  <a:gd name="T67" fmla="*/ 2147483646 h 2292"/>
                  <a:gd name="T68" fmla="*/ 2147483646 w 2226"/>
                  <a:gd name="T69" fmla="*/ 2147483646 h 2292"/>
                  <a:gd name="T70" fmla="*/ 2147483646 w 2226"/>
                  <a:gd name="T71" fmla="*/ 2147483646 h 2292"/>
                  <a:gd name="T72" fmla="*/ 2147483646 w 2226"/>
                  <a:gd name="T73" fmla="*/ 2147483646 h 2292"/>
                  <a:gd name="T74" fmla="*/ 2147483646 w 2226"/>
                  <a:gd name="T75" fmla="*/ 2147483646 h 2292"/>
                  <a:gd name="T76" fmla="*/ 2147483646 w 2226"/>
                  <a:gd name="T77" fmla="*/ 2147483646 h 2292"/>
                  <a:gd name="T78" fmla="*/ 2147483646 w 2226"/>
                  <a:gd name="T79" fmla="*/ 2147483646 h 2292"/>
                  <a:gd name="T80" fmla="*/ 2147483646 w 2226"/>
                  <a:gd name="T81" fmla="*/ 2147483646 h 2292"/>
                  <a:gd name="T82" fmla="*/ 2147483646 w 2226"/>
                  <a:gd name="T83" fmla="*/ 2147483646 h 2292"/>
                  <a:gd name="T84" fmla="*/ 2147483646 w 2226"/>
                  <a:gd name="T85" fmla="*/ 2147483646 h 2292"/>
                  <a:gd name="T86" fmla="*/ 2147483646 w 2226"/>
                  <a:gd name="T87" fmla="*/ 2147483646 h 2292"/>
                  <a:gd name="T88" fmla="*/ 2147483646 w 2226"/>
                  <a:gd name="T89" fmla="*/ 2147483646 h 2292"/>
                  <a:gd name="T90" fmla="*/ 2147483646 w 2226"/>
                  <a:gd name="T91" fmla="*/ 2147483646 h 2292"/>
                  <a:gd name="T92" fmla="*/ 2147483646 w 2226"/>
                  <a:gd name="T93" fmla="*/ 2147483646 h 2292"/>
                  <a:gd name="T94" fmla="*/ 2147483646 w 2226"/>
                  <a:gd name="T95" fmla="*/ 2147483646 h 2292"/>
                  <a:gd name="T96" fmla="*/ 2147483646 w 2226"/>
                  <a:gd name="T97" fmla="*/ 0 h 2292"/>
                  <a:gd name="T98" fmla="*/ 2147483646 w 2226"/>
                  <a:gd name="T99" fmla="*/ 2147483646 h 2292"/>
                  <a:gd name="T100" fmla="*/ 2147483646 w 2226"/>
                  <a:gd name="T101" fmla="*/ 2147483646 h 2292"/>
                  <a:gd name="T102" fmla="*/ 2147483646 w 2226"/>
                  <a:gd name="T103" fmla="*/ 2147483646 h 2292"/>
                  <a:gd name="T104" fmla="*/ 2147483646 w 2226"/>
                  <a:gd name="T105" fmla="*/ 2147483646 h 2292"/>
                  <a:gd name="T106" fmla="*/ 2147483646 w 2226"/>
                  <a:gd name="T107" fmla="*/ 2147483646 h 2292"/>
                  <a:gd name="T108" fmla="*/ 2147483646 w 2226"/>
                  <a:gd name="T109" fmla="*/ 2147483646 h 2292"/>
                  <a:gd name="T110" fmla="*/ 2147483646 w 2226"/>
                  <a:gd name="T111" fmla="*/ 2147483646 h 2292"/>
                  <a:gd name="T112" fmla="*/ 2147483646 w 2226"/>
                  <a:gd name="T113" fmla="*/ 2147483646 h 2292"/>
                  <a:gd name="T114" fmla="*/ 2147483646 w 2226"/>
                  <a:gd name="T115" fmla="*/ 2147483646 h 2292"/>
                  <a:gd name="T116" fmla="*/ 2147483646 w 2226"/>
                  <a:gd name="T117" fmla="*/ 2147483646 h 2292"/>
                  <a:gd name="T118" fmla="*/ 2147483646 w 2226"/>
                  <a:gd name="T119" fmla="*/ 2147483646 h 2292"/>
                  <a:gd name="T120" fmla="*/ 2147483646 w 2226"/>
                  <a:gd name="T121" fmla="*/ 2147483646 h 2292"/>
                  <a:gd name="T122" fmla="*/ 2147483646 w 2226"/>
                  <a:gd name="T123" fmla="*/ 2147483646 h 2292"/>
                  <a:gd name="T124" fmla="*/ 2147483646 w 2226"/>
                  <a:gd name="T125" fmla="*/ 2147483646 h 2292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2226"/>
                  <a:gd name="T190" fmla="*/ 0 h 2292"/>
                  <a:gd name="T191" fmla="*/ 2226 w 2226"/>
                  <a:gd name="T192" fmla="*/ 2292 h 2292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2226" h="2292">
                    <a:moveTo>
                      <a:pt x="233" y="973"/>
                    </a:moveTo>
                    <a:lnTo>
                      <a:pt x="313" y="967"/>
                    </a:lnTo>
                    <a:lnTo>
                      <a:pt x="323" y="963"/>
                    </a:lnTo>
                    <a:lnTo>
                      <a:pt x="332" y="959"/>
                    </a:lnTo>
                    <a:lnTo>
                      <a:pt x="342" y="953"/>
                    </a:lnTo>
                    <a:lnTo>
                      <a:pt x="351" y="948"/>
                    </a:lnTo>
                    <a:lnTo>
                      <a:pt x="368" y="936"/>
                    </a:lnTo>
                    <a:lnTo>
                      <a:pt x="386" y="923"/>
                    </a:lnTo>
                    <a:lnTo>
                      <a:pt x="403" y="911"/>
                    </a:lnTo>
                    <a:lnTo>
                      <a:pt x="421" y="902"/>
                    </a:lnTo>
                    <a:lnTo>
                      <a:pt x="431" y="898"/>
                    </a:lnTo>
                    <a:lnTo>
                      <a:pt x="440" y="896"/>
                    </a:lnTo>
                    <a:lnTo>
                      <a:pt x="449" y="894"/>
                    </a:lnTo>
                    <a:lnTo>
                      <a:pt x="459" y="893"/>
                    </a:lnTo>
                    <a:lnTo>
                      <a:pt x="467" y="894"/>
                    </a:lnTo>
                    <a:lnTo>
                      <a:pt x="474" y="896"/>
                    </a:lnTo>
                    <a:lnTo>
                      <a:pt x="480" y="899"/>
                    </a:lnTo>
                    <a:lnTo>
                      <a:pt x="485" y="902"/>
                    </a:lnTo>
                    <a:lnTo>
                      <a:pt x="489" y="907"/>
                    </a:lnTo>
                    <a:lnTo>
                      <a:pt x="492" y="912"/>
                    </a:lnTo>
                    <a:lnTo>
                      <a:pt x="496" y="918"/>
                    </a:lnTo>
                    <a:lnTo>
                      <a:pt x="498" y="925"/>
                    </a:lnTo>
                    <a:lnTo>
                      <a:pt x="502" y="956"/>
                    </a:lnTo>
                    <a:lnTo>
                      <a:pt x="505" y="985"/>
                    </a:lnTo>
                    <a:lnTo>
                      <a:pt x="509" y="994"/>
                    </a:lnTo>
                    <a:lnTo>
                      <a:pt x="512" y="1001"/>
                    </a:lnTo>
                    <a:lnTo>
                      <a:pt x="515" y="1008"/>
                    </a:lnTo>
                    <a:lnTo>
                      <a:pt x="520" y="1015"/>
                    </a:lnTo>
                    <a:lnTo>
                      <a:pt x="525" y="1022"/>
                    </a:lnTo>
                    <a:lnTo>
                      <a:pt x="531" y="1028"/>
                    </a:lnTo>
                    <a:lnTo>
                      <a:pt x="536" y="1033"/>
                    </a:lnTo>
                    <a:lnTo>
                      <a:pt x="543" y="1038"/>
                    </a:lnTo>
                    <a:lnTo>
                      <a:pt x="549" y="1044"/>
                    </a:lnTo>
                    <a:lnTo>
                      <a:pt x="557" y="1048"/>
                    </a:lnTo>
                    <a:lnTo>
                      <a:pt x="564" y="1051"/>
                    </a:lnTo>
                    <a:lnTo>
                      <a:pt x="572" y="1054"/>
                    </a:lnTo>
                    <a:lnTo>
                      <a:pt x="580" y="1057"/>
                    </a:lnTo>
                    <a:lnTo>
                      <a:pt x="588" y="1058"/>
                    </a:lnTo>
                    <a:lnTo>
                      <a:pt x="597" y="1059"/>
                    </a:lnTo>
                    <a:lnTo>
                      <a:pt x="605" y="1060"/>
                    </a:lnTo>
                    <a:lnTo>
                      <a:pt x="614" y="1060"/>
                    </a:lnTo>
                    <a:lnTo>
                      <a:pt x="625" y="1063"/>
                    </a:lnTo>
                    <a:lnTo>
                      <a:pt x="638" y="1066"/>
                    </a:lnTo>
                    <a:lnTo>
                      <a:pt x="653" y="1071"/>
                    </a:lnTo>
                    <a:lnTo>
                      <a:pt x="668" y="1076"/>
                    </a:lnTo>
                    <a:lnTo>
                      <a:pt x="683" y="1083"/>
                    </a:lnTo>
                    <a:lnTo>
                      <a:pt x="700" y="1090"/>
                    </a:lnTo>
                    <a:lnTo>
                      <a:pt x="716" y="1098"/>
                    </a:lnTo>
                    <a:lnTo>
                      <a:pt x="733" y="1108"/>
                    </a:lnTo>
                    <a:lnTo>
                      <a:pt x="747" y="1116"/>
                    </a:lnTo>
                    <a:lnTo>
                      <a:pt x="761" y="1126"/>
                    </a:lnTo>
                    <a:lnTo>
                      <a:pt x="773" y="1135"/>
                    </a:lnTo>
                    <a:lnTo>
                      <a:pt x="783" y="1144"/>
                    </a:lnTo>
                    <a:lnTo>
                      <a:pt x="791" y="1153"/>
                    </a:lnTo>
                    <a:lnTo>
                      <a:pt x="794" y="1158"/>
                    </a:lnTo>
                    <a:lnTo>
                      <a:pt x="796" y="1162"/>
                    </a:lnTo>
                    <a:lnTo>
                      <a:pt x="798" y="1167"/>
                    </a:lnTo>
                    <a:lnTo>
                      <a:pt x="798" y="1171"/>
                    </a:lnTo>
                    <a:lnTo>
                      <a:pt x="798" y="1190"/>
                    </a:lnTo>
                    <a:lnTo>
                      <a:pt x="798" y="1204"/>
                    </a:lnTo>
                    <a:lnTo>
                      <a:pt x="798" y="1214"/>
                    </a:lnTo>
                    <a:lnTo>
                      <a:pt x="798" y="1220"/>
                    </a:lnTo>
                    <a:lnTo>
                      <a:pt x="799" y="1229"/>
                    </a:lnTo>
                    <a:lnTo>
                      <a:pt x="803" y="1242"/>
                    </a:lnTo>
                    <a:lnTo>
                      <a:pt x="806" y="1249"/>
                    </a:lnTo>
                    <a:lnTo>
                      <a:pt x="810" y="1256"/>
                    </a:lnTo>
                    <a:lnTo>
                      <a:pt x="814" y="1263"/>
                    </a:lnTo>
                    <a:lnTo>
                      <a:pt x="818" y="1271"/>
                    </a:lnTo>
                    <a:lnTo>
                      <a:pt x="824" y="1277"/>
                    </a:lnTo>
                    <a:lnTo>
                      <a:pt x="830" y="1283"/>
                    </a:lnTo>
                    <a:lnTo>
                      <a:pt x="838" y="1288"/>
                    </a:lnTo>
                    <a:lnTo>
                      <a:pt x="846" y="1292"/>
                    </a:lnTo>
                    <a:lnTo>
                      <a:pt x="854" y="1295"/>
                    </a:lnTo>
                    <a:lnTo>
                      <a:pt x="863" y="1296"/>
                    </a:lnTo>
                    <a:lnTo>
                      <a:pt x="873" y="1296"/>
                    </a:lnTo>
                    <a:lnTo>
                      <a:pt x="884" y="1294"/>
                    </a:lnTo>
                    <a:lnTo>
                      <a:pt x="917" y="1294"/>
                    </a:lnTo>
                    <a:lnTo>
                      <a:pt x="918" y="1306"/>
                    </a:lnTo>
                    <a:lnTo>
                      <a:pt x="919" y="1317"/>
                    </a:lnTo>
                    <a:lnTo>
                      <a:pt x="923" y="1328"/>
                    </a:lnTo>
                    <a:lnTo>
                      <a:pt x="926" y="1336"/>
                    </a:lnTo>
                    <a:lnTo>
                      <a:pt x="929" y="1343"/>
                    </a:lnTo>
                    <a:lnTo>
                      <a:pt x="935" y="1349"/>
                    </a:lnTo>
                    <a:lnTo>
                      <a:pt x="939" y="1355"/>
                    </a:lnTo>
                    <a:lnTo>
                      <a:pt x="944" y="1360"/>
                    </a:lnTo>
                    <a:lnTo>
                      <a:pt x="953" y="1371"/>
                    </a:lnTo>
                    <a:lnTo>
                      <a:pt x="962" y="1385"/>
                    </a:lnTo>
                    <a:lnTo>
                      <a:pt x="965" y="1392"/>
                    </a:lnTo>
                    <a:lnTo>
                      <a:pt x="969" y="1401"/>
                    </a:lnTo>
                    <a:lnTo>
                      <a:pt x="970" y="1411"/>
                    </a:lnTo>
                    <a:lnTo>
                      <a:pt x="971" y="1423"/>
                    </a:lnTo>
                    <a:lnTo>
                      <a:pt x="970" y="1434"/>
                    </a:lnTo>
                    <a:lnTo>
                      <a:pt x="968" y="1443"/>
                    </a:lnTo>
                    <a:lnTo>
                      <a:pt x="964" y="1452"/>
                    </a:lnTo>
                    <a:lnTo>
                      <a:pt x="961" y="1459"/>
                    </a:lnTo>
                    <a:lnTo>
                      <a:pt x="957" y="1466"/>
                    </a:lnTo>
                    <a:lnTo>
                      <a:pt x="953" y="1474"/>
                    </a:lnTo>
                    <a:lnTo>
                      <a:pt x="951" y="1482"/>
                    </a:lnTo>
                    <a:lnTo>
                      <a:pt x="951" y="1491"/>
                    </a:lnTo>
                    <a:lnTo>
                      <a:pt x="951" y="1498"/>
                    </a:lnTo>
                    <a:lnTo>
                      <a:pt x="952" y="1503"/>
                    </a:lnTo>
                    <a:lnTo>
                      <a:pt x="953" y="1509"/>
                    </a:lnTo>
                    <a:lnTo>
                      <a:pt x="955" y="1513"/>
                    </a:lnTo>
                    <a:lnTo>
                      <a:pt x="959" y="1521"/>
                    </a:lnTo>
                    <a:lnTo>
                      <a:pt x="964" y="1527"/>
                    </a:lnTo>
                    <a:lnTo>
                      <a:pt x="969" y="1533"/>
                    </a:lnTo>
                    <a:lnTo>
                      <a:pt x="973" y="1537"/>
                    </a:lnTo>
                    <a:lnTo>
                      <a:pt x="976" y="1541"/>
                    </a:lnTo>
                    <a:lnTo>
                      <a:pt x="978" y="1547"/>
                    </a:lnTo>
                    <a:lnTo>
                      <a:pt x="979" y="1555"/>
                    </a:lnTo>
                    <a:lnTo>
                      <a:pt x="979" y="1564"/>
                    </a:lnTo>
                    <a:lnTo>
                      <a:pt x="979" y="1572"/>
                    </a:lnTo>
                    <a:lnTo>
                      <a:pt x="978" y="1580"/>
                    </a:lnTo>
                    <a:lnTo>
                      <a:pt x="976" y="1588"/>
                    </a:lnTo>
                    <a:lnTo>
                      <a:pt x="975" y="1596"/>
                    </a:lnTo>
                    <a:lnTo>
                      <a:pt x="975" y="1605"/>
                    </a:lnTo>
                    <a:lnTo>
                      <a:pt x="978" y="1614"/>
                    </a:lnTo>
                    <a:lnTo>
                      <a:pt x="981" y="1621"/>
                    </a:lnTo>
                    <a:lnTo>
                      <a:pt x="985" y="1627"/>
                    </a:lnTo>
                    <a:lnTo>
                      <a:pt x="992" y="1632"/>
                    </a:lnTo>
                    <a:lnTo>
                      <a:pt x="998" y="1637"/>
                    </a:lnTo>
                    <a:lnTo>
                      <a:pt x="1016" y="1645"/>
                    </a:lnTo>
                    <a:lnTo>
                      <a:pt x="1036" y="1653"/>
                    </a:lnTo>
                    <a:lnTo>
                      <a:pt x="1057" y="1661"/>
                    </a:lnTo>
                    <a:lnTo>
                      <a:pt x="1077" y="1669"/>
                    </a:lnTo>
                    <a:lnTo>
                      <a:pt x="1086" y="1673"/>
                    </a:lnTo>
                    <a:lnTo>
                      <a:pt x="1095" y="1678"/>
                    </a:lnTo>
                    <a:lnTo>
                      <a:pt x="1104" y="1682"/>
                    </a:lnTo>
                    <a:lnTo>
                      <a:pt x="1110" y="1688"/>
                    </a:lnTo>
                    <a:lnTo>
                      <a:pt x="1116" y="1692"/>
                    </a:lnTo>
                    <a:lnTo>
                      <a:pt x="1124" y="1695"/>
                    </a:lnTo>
                    <a:lnTo>
                      <a:pt x="1131" y="1698"/>
                    </a:lnTo>
                    <a:lnTo>
                      <a:pt x="1140" y="1700"/>
                    </a:lnTo>
                    <a:lnTo>
                      <a:pt x="1149" y="1702"/>
                    </a:lnTo>
                    <a:lnTo>
                      <a:pt x="1157" y="1705"/>
                    </a:lnTo>
                    <a:lnTo>
                      <a:pt x="1164" y="1708"/>
                    </a:lnTo>
                    <a:lnTo>
                      <a:pt x="1170" y="1713"/>
                    </a:lnTo>
                    <a:lnTo>
                      <a:pt x="1176" y="1721"/>
                    </a:lnTo>
                    <a:lnTo>
                      <a:pt x="1181" y="1729"/>
                    </a:lnTo>
                    <a:lnTo>
                      <a:pt x="1185" y="1739"/>
                    </a:lnTo>
                    <a:lnTo>
                      <a:pt x="1187" y="1749"/>
                    </a:lnTo>
                    <a:lnTo>
                      <a:pt x="1189" y="1772"/>
                    </a:lnTo>
                    <a:lnTo>
                      <a:pt x="1192" y="1794"/>
                    </a:lnTo>
                    <a:lnTo>
                      <a:pt x="1193" y="1805"/>
                    </a:lnTo>
                    <a:lnTo>
                      <a:pt x="1195" y="1815"/>
                    </a:lnTo>
                    <a:lnTo>
                      <a:pt x="1198" y="1825"/>
                    </a:lnTo>
                    <a:lnTo>
                      <a:pt x="1204" y="1832"/>
                    </a:lnTo>
                    <a:lnTo>
                      <a:pt x="1207" y="1836"/>
                    </a:lnTo>
                    <a:lnTo>
                      <a:pt x="1210" y="1839"/>
                    </a:lnTo>
                    <a:lnTo>
                      <a:pt x="1214" y="1842"/>
                    </a:lnTo>
                    <a:lnTo>
                      <a:pt x="1219" y="1844"/>
                    </a:lnTo>
                    <a:lnTo>
                      <a:pt x="1224" y="1846"/>
                    </a:lnTo>
                    <a:lnTo>
                      <a:pt x="1229" y="1847"/>
                    </a:lnTo>
                    <a:lnTo>
                      <a:pt x="1236" y="1848"/>
                    </a:lnTo>
                    <a:lnTo>
                      <a:pt x="1243" y="1848"/>
                    </a:lnTo>
                    <a:lnTo>
                      <a:pt x="1243" y="1864"/>
                    </a:lnTo>
                    <a:lnTo>
                      <a:pt x="1243" y="1879"/>
                    </a:lnTo>
                    <a:lnTo>
                      <a:pt x="1243" y="1891"/>
                    </a:lnTo>
                    <a:lnTo>
                      <a:pt x="1243" y="1904"/>
                    </a:lnTo>
                    <a:lnTo>
                      <a:pt x="1243" y="1921"/>
                    </a:lnTo>
                    <a:lnTo>
                      <a:pt x="1243" y="1942"/>
                    </a:lnTo>
                    <a:lnTo>
                      <a:pt x="1243" y="1961"/>
                    </a:lnTo>
                    <a:lnTo>
                      <a:pt x="1243" y="1971"/>
                    </a:lnTo>
                    <a:lnTo>
                      <a:pt x="1232" y="1974"/>
                    </a:lnTo>
                    <a:lnTo>
                      <a:pt x="1221" y="1979"/>
                    </a:lnTo>
                    <a:lnTo>
                      <a:pt x="1208" y="1985"/>
                    </a:lnTo>
                    <a:lnTo>
                      <a:pt x="1196" y="1994"/>
                    </a:lnTo>
                    <a:lnTo>
                      <a:pt x="1183" y="2003"/>
                    </a:lnTo>
                    <a:lnTo>
                      <a:pt x="1170" y="2013"/>
                    </a:lnTo>
                    <a:lnTo>
                      <a:pt x="1157" y="2023"/>
                    </a:lnTo>
                    <a:lnTo>
                      <a:pt x="1143" y="2034"/>
                    </a:lnTo>
                    <a:lnTo>
                      <a:pt x="1131" y="2047"/>
                    </a:lnTo>
                    <a:lnTo>
                      <a:pt x="1120" y="2059"/>
                    </a:lnTo>
                    <a:lnTo>
                      <a:pt x="1109" y="2070"/>
                    </a:lnTo>
                    <a:lnTo>
                      <a:pt x="1101" y="2082"/>
                    </a:lnTo>
                    <a:lnTo>
                      <a:pt x="1094" y="2094"/>
                    </a:lnTo>
                    <a:lnTo>
                      <a:pt x="1088" y="2106"/>
                    </a:lnTo>
                    <a:lnTo>
                      <a:pt x="1085" y="2116"/>
                    </a:lnTo>
                    <a:lnTo>
                      <a:pt x="1084" y="2125"/>
                    </a:lnTo>
                    <a:lnTo>
                      <a:pt x="1084" y="2128"/>
                    </a:lnTo>
                    <a:lnTo>
                      <a:pt x="1086" y="2130"/>
                    </a:lnTo>
                    <a:lnTo>
                      <a:pt x="1088" y="2132"/>
                    </a:lnTo>
                    <a:lnTo>
                      <a:pt x="1092" y="2133"/>
                    </a:lnTo>
                    <a:lnTo>
                      <a:pt x="1101" y="2137"/>
                    </a:lnTo>
                    <a:lnTo>
                      <a:pt x="1110" y="2139"/>
                    </a:lnTo>
                    <a:lnTo>
                      <a:pt x="1131" y="2142"/>
                    </a:lnTo>
                    <a:lnTo>
                      <a:pt x="1143" y="2144"/>
                    </a:lnTo>
                    <a:lnTo>
                      <a:pt x="1151" y="2145"/>
                    </a:lnTo>
                    <a:lnTo>
                      <a:pt x="1158" y="2147"/>
                    </a:lnTo>
                    <a:lnTo>
                      <a:pt x="1163" y="2150"/>
                    </a:lnTo>
                    <a:lnTo>
                      <a:pt x="1169" y="2153"/>
                    </a:lnTo>
                    <a:lnTo>
                      <a:pt x="1180" y="2161"/>
                    </a:lnTo>
                    <a:lnTo>
                      <a:pt x="1189" y="2170"/>
                    </a:lnTo>
                    <a:lnTo>
                      <a:pt x="1200" y="2178"/>
                    </a:lnTo>
                    <a:lnTo>
                      <a:pt x="1210" y="2186"/>
                    </a:lnTo>
                    <a:lnTo>
                      <a:pt x="1216" y="2190"/>
                    </a:lnTo>
                    <a:lnTo>
                      <a:pt x="1222" y="2193"/>
                    </a:lnTo>
                    <a:lnTo>
                      <a:pt x="1229" y="2197"/>
                    </a:lnTo>
                    <a:lnTo>
                      <a:pt x="1237" y="2199"/>
                    </a:lnTo>
                    <a:lnTo>
                      <a:pt x="1248" y="2203"/>
                    </a:lnTo>
                    <a:lnTo>
                      <a:pt x="1258" y="2208"/>
                    </a:lnTo>
                    <a:lnTo>
                      <a:pt x="1267" y="2214"/>
                    </a:lnTo>
                    <a:lnTo>
                      <a:pt x="1277" y="2220"/>
                    </a:lnTo>
                    <a:lnTo>
                      <a:pt x="1296" y="2234"/>
                    </a:lnTo>
                    <a:lnTo>
                      <a:pt x="1312" y="2248"/>
                    </a:lnTo>
                    <a:lnTo>
                      <a:pt x="1327" y="2262"/>
                    </a:lnTo>
                    <a:lnTo>
                      <a:pt x="1340" y="2275"/>
                    </a:lnTo>
                    <a:lnTo>
                      <a:pt x="1352" y="2285"/>
                    </a:lnTo>
                    <a:lnTo>
                      <a:pt x="1363" y="2292"/>
                    </a:lnTo>
                    <a:lnTo>
                      <a:pt x="1370" y="2276"/>
                    </a:lnTo>
                    <a:lnTo>
                      <a:pt x="1377" y="2261"/>
                    </a:lnTo>
                    <a:lnTo>
                      <a:pt x="1385" y="2248"/>
                    </a:lnTo>
                    <a:lnTo>
                      <a:pt x="1394" y="2235"/>
                    </a:lnTo>
                    <a:lnTo>
                      <a:pt x="1401" y="2223"/>
                    </a:lnTo>
                    <a:lnTo>
                      <a:pt x="1410" y="2210"/>
                    </a:lnTo>
                    <a:lnTo>
                      <a:pt x="1419" y="2198"/>
                    </a:lnTo>
                    <a:lnTo>
                      <a:pt x="1429" y="2187"/>
                    </a:lnTo>
                    <a:lnTo>
                      <a:pt x="1439" y="2160"/>
                    </a:lnTo>
                    <a:lnTo>
                      <a:pt x="1449" y="2138"/>
                    </a:lnTo>
                    <a:lnTo>
                      <a:pt x="1459" y="2116"/>
                    </a:lnTo>
                    <a:lnTo>
                      <a:pt x="1468" y="2088"/>
                    </a:lnTo>
                    <a:lnTo>
                      <a:pt x="1472" y="2082"/>
                    </a:lnTo>
                    <a:lnTo>
                      <a:pt x="1476" y="2076"/>
                    </a:lnTo>
                    <a:lnTo>
                      <a:pt x="1480" y="2070"/>
                    </a:lnTo>
                    <a:lnTo>
                      <a:pt x="1485" y="2065"/>
                    </a:lnTo>
                    <a:lnTo>
                      <a:pt x="1496" y="2055"/>
                    </a:lnTo>
                    <a:lnTo>
                      <a:pt x="1507" y="2046"/>
                    </a:lnTo>
                    <a:lnTo>
                      <a:pt x="1518" y="2036"/>
                    </a:lnTo>
                    <a:lnTo>
                      <a:pt x="1527" y="2026"/>
                    </a:lnTo>
                    <a:lnTo>
                      <a:pt x="1530" y="2021"/>
                    </a:lnTo>
                    <a:lnTo>
                      <a:pt x="1533" y="2015"/>
                    </a:lnTo>
                    <a:lnTo>
                      <a:pt x="1534" y="2009"/>
                    </a:lnTo>
                    <a:lnTo>
                      <a:pt x="1535" y="2002"/>
                    </a:lnTo>
                    <a:lnTo>
                      <a:pt x="1535" y="1993"/>
                    </a:lnTo>
                    <a:lnTo>
                      <a:pt x="1534" y="1984"/>
                    </a:lnTo>
                    <a:lnTo>
                      <a:pt x="1532" y="1975"/>
                    </a:lnTo>
                    <a:lnTo>
                      <a:pt x="1530" y="1966"/>
                    </a:lnTo>
                    <a:lnTo>
                      <a:pt x="1524" y="1950"/>
                    </a:lnTo>
                    <a:lnTo>
                      <a:pt x="1519" y="1934"/>
                    </a:lnTo>
                    <a:lnTo>
                      <a:pt x="1512" y="1918"/>
                    </a:lnTo>
                    <a:lnTo>
                      <a:pt x="1507" y="1904"/>
                    </a:lnTo>
                    <a:lnTo>
                      <a:pt x="1504" y="1891"/>
                    </a:lnTo>
                    <a:lnTo>
                      <a:pt x="1502" y="1879"/>
                    </a:lnTo>
                    <a:lnTo>
                      <a:pt x="1502" y="1873"/>
                    </a:lnTo>
                    <a:lnTo>
                      <a:pt x="1504" y="1867"/>
                    </a:lnTo>
                    <a:lnTo>
                      <a:pt x="1506" y="1861"/>
                    </a:lnTo>
                    <a:lnTo>
                      <a:pt x="1508" y="1855"/>
                    </a:lnTo>
                    <a:lnTo>
                      <a:pt x="1514" y="1843"/>
                    </a:lnTo>
                    <a:lnTo>
                      <a:pt x="1523" y="1830"/>
                    </a:lnTo>
                    <a:lnTo>
                      <a:pt x="1534" y="1817"/>
                    </a:lnTo>
                    <a:lnTo>
                      <a:pt x="1547" y="1805"/>
                    </a:lnTo>
                    <a:lnTo>
                      <a:pt x="1561" y="1793"/>
                    </a:lnTo>
                    <a:lnTo>
                      <a:pt x="1576" y="1782"/>
                    </a:lnTo>
                    <a:lnTo>
                      <a:pt x="1591" y="1772"/>
                    </a:lnTo>
                    <a:lnTo>
                      <a:pt x="1608" y="1761"/>
                    </a:lnTo>
                    <a:lnTo>
                      <a:pt x="1623" y="1753"/>
                    </a:lnTo>
                    <a:lnTo>
                      <a:pt x="1640" y="1745"/>
                    </a:lnTo>
                    <a:lnTo>
                      <a:pt x="1655" y="1739"/>
                    </a:lnTo>
                    <a:lnTo>
                      <a:pt x="1669" y="1735"/>
                    </a:lnTo>
                    <a:lnTo>
                      <a:pt x="1682" y="1732"/>
                    </a:lnTo>
                    <a:lnTo>
                      <a:pt x="1695" y="1731"/>
                    </a:lnTo>
                    <a:lnTo>
                      <a:pt x="1699" y="1731"/>
                    </a:lnTo>
                    <a:lnTo>
                      <a:pt x="1702" y="1729"/>
                    </a:lnTo>
                    <a:lnTo>
                      <a:pt x="1706" y="1727"/>
                    </a:lnTo>
                    <a:lnTo>
                      <a:pt x="1709" y="1725"/>
                    </a:lnTo>
                    <a:lnTo>
                      <a:pt x="1717" y="1718"/>
                    </a:lnTo>
                    <a:lnTo>
                      <a:pt x="1724" y="1709"/>
                    </a:lnTo>
                    <a:lnTo>
                      <a:pt x="1733" y="1701"/>
                    </a:lnTo>
                    <a:lnTo>
                      <a:pt x="1743" y="1694"/>
                    </a:lnTo>
                    <a:lnTo>
                      <a:pt x="1748" y="1692"/>
                    </a:lnTo>
                    <a:lnTo>
                      <a:pt x="1754" y="1690"/>
                    </a:lnTo>
                    <a:lnTo>
                      <a:pt x="1760" y="1688"/>
                    </a:lnTo>
                    <a:lnTo>
                      <a:pt x="1768" y="1688"/>
                    </a:lnTo>
                    <a:lnTo>
                      <a:pt x="1779" y="1684"/>
                    </a:lnTo>
                    <a:lnTo>
                      <a:pt x="1789" y="1682"/>
                    </a:lnTo>
                    <a:lnTo>
                      <a:pt x="1798" y="1681"/>
                    </a:lnTo>
                    <a:lnTo>
                      <a:pt x="1807" y="1680"/>
                    </a:lnTo>
                    <a:lnTo>
                      <a:pt x="1820" y="1681"/>
                    </a:lnTo>
                    <a:lnTo>
                      <a:pt x="1834" y="1682"/>
                    </a:lnTo>
                    <a:lnTo>
                      <a:pt x="1854" y="1681"/>
                    </a:lnTo>
                    <a:lnTo>
                      <a:pt x="1868" y="1679"/>
                    </a:lnTo>
                    <a:lnTo>
                      <a:pt x="1874" y="1678"/>
                    </a:lnTo>
                    <a:lnTo>
                      <a:pt x="1878" y="1676"/>
                    </a:lnTo>
                    <a:lnTo>
                      <a:pt x="1882" y="1673"/>
                    </a:lnTo>
                    <a:lnTo>
                      <a:pt x="1885" y="1670"/>
                    </a:lnTo>
                    <a:lnTo>
                      <a:pt x="1890" y="1663"/>
                    </a:lnTo>
                    <a:lnTo>
                      <a:pt x="1893" y="1653"/>
                    </a:lnTo>
                    <a:lnTo>
                      <a:pt x="1897" y="1641"/>
                    </a:lnTo>
                    <a:lnTo>
                      <a:pt x="1901" y="1626"/>
                    </a:lnTo>
                    <a:lnTo>
                      <a:pt x="1927" y="1571"/>
                    </a:lnTo>
                    <a:lnTo>
                      <a:pt x="1939" y="1553"/>
                    </a:lnTo>
                    <a:lnTo>
                      <a:pt x="1949" y="1535"/>
                    </a:lnTo>
                    <a:lnTo>
                      <a:pt x="1959" y="1518"/>
                    </a:lnTo>
                    <a:lnTo>
                      <a:pt x="1967" y="1500"/>
                    </a:lnTo>
                    <a:lnTo>
                      <a:pt x="1972" y="1480"/>
                    </a:lnTo>
                    <a:lnTo>
                      <a:pt x="1977" y="1460"/>
                    </a:lnTo>
                    <a:lnTo>
                      <a:pt x="1980" y="1437"/>
                    </a:lnTo>
                    <a:lnTo>
                      <a:pt x="1980" y="1411"/>
                    </a:lnTo>
                    <a:lnTo>
                      <a:pt x="1981" y="1405"/>
                    </a:lnTo>
                    <a:lnTo>
                      <a:pt x="1982" y="1400"/>
                    </a:lnTo>
                    <a:lnTo>
                      <a:pt x="1983" y="1395"/>
                    </a:lnTo>
                    <a:lnTo>
                      <a:pt x="1986" y="1391"/>
                    </a:lnTo>
                    <a:lnTo>
                      <a:pt x="1991" y="1382"/>
                    </a:lnTo>
                    <a:lnTo>
                      <a:pt x="1997" y="1372"/>
                    </a:lnTo>
                    <a:lnTo>
                      <a:pt x="2003" y="1364"/>
                    </a:lnTo>
                    <a:lnTo>
                      <a:pt x="2009" y="1354"/>
                    </a:lnTo>
                    <a:lnTo>
                      <a:pt x="2011" y="1349"/>
                    </a:lnTo>
                    <a:lnTo>
                      <a:pt x="2012" y="1343"/>
                    </a:lnTo>
                    <a:lnTo>
                      <a:pt x="2013" y="1337"/>
                    </a:lnTo>
                    <a:lnTo>
                      <a:pt x="2014" y="1331"/>
                    </a:lnTo>
                    <a:lnTo>
                      <a:pt x="2014" y="1307"/>
                    </a:lnTo>
                    <a:lnTo>
                      <a:pt x="2014" y="1288"/>
                    </a:lnTo>
                    <a:lnTo>
                      <a:pt x="2014" y="1271"/>
                    </a:lnTo>
                    <a:lnTo>
                      <a:pt x="2014" y="1250"/>
                    </a:lnTo>
                    <a:lnTo>
                      <a:pt x="2011" y="1223"/>
                    </a:lnTo>
                    <a:lnTo>
                      <a:pt x="2004" y="1185"/>
                    </a:lnTo>
                    <a:lnTo>
                      <a:pt x="2000" y="1165"/>
                    </a:lnTo>
                    <a:lnTo>
                      <a:pt x="1997" y="1145"/>
                    </a:lnTo>
                    <a:lnTo>
                      <a:pt x="1994" y="1129"/>
                    </a:lnTo>
                    <a:lnTo>
                      <a:pt x="1993" y="1115"/>
                    </a:lnTo>
                    <a:lnTo>
                      <a:pt x="1994" y="1108"/>
                    </a:lnTo>
                    <a:lnTo>
                      <a:pt x="1997" y="1102"/>
                    </a:lnTo>
                    <a:lnTo>
                      <a:pt x="1999" y="1096"/>
                    </a:lnTo>
                    <a:lnTo>
                      <a:pt x="2002" y="1090"/>
                    </a:lnTo>
                    <a:lnTo>
                      <a:pt x="2006" y="1085"/>
                    </a:lnTo>
                    <a:lnTo>
                      <a:pt x="2012" y="1081"/>
                    </a:lnTo>
                    <a:lnTo>
                      <a:pt x="2017" y="1077"/>
                    </a:lnTo>
                    <a:lnTo>
                      <a:pt x="2023" y="1073"/>
                    </a:lnTo>
                    <a:lnTo>
                      <a:pt x="2035" y="1067"/>
                    </a:lnTo>
                    <a:lnTo>
                      <a:pt x="2047" y="1063"/>
                    </a:lnTo>
                    <a:lnTo>
                      <a:pt x="2058" y="1060"/>
                    </a:lnTo>
                    <a:lnTo>
                      <a:pt x="2067" y="1060"/>
                    </a:lnTo>
                    <a:lnTo>
                      <a:pt x="2067" y="1046"/>
                    </a:lnTo>
                    <a:lnTo>
                      <a:pt x="2069" y="1032"/>
                    </a:lnTo>
                    <a:lnTo>
                      <a:pt x="2071" y="1020"/>
                    </a:lnTo>
                    <a:lnTo>
                      <a:pt x="2073" y="1009"/>
                    </a:lnTo>
                    <a:lnTo>
                      <a:pt x="2078" y="999"/>
                    </a:lnTo>
                    <a:lnTo>
                      <a:pt x="2081" y="990"/>
                    </a:lnTo>
                    <a:lnTo>
                      <a:pt x="2087" y="980"/>
                    </a:lnTo>
                    <a:lnTo>
                      <a:pt x="2092" y="972"/>
                    </a:lnTo>
                    <a:lnTo>
                      <a:pt x="2104" y="956"/>
                    </a:lnTo>
                    <a:lnTo>
                      <a:pt x="2117" y="943"/>
                    </a:lnTo>
                    <a:lnTo>
                      <a:pt x="2132" y="929"/>
                    </a:lnTo>
                    <a:lnTo>
                      <a:pt x="2147" y="917"/>
                    </a:lnTo>
                    <a:lnTo>
                      <a:pt x="2161" y="904"/>
                    </a:lnTo>
                    <a:lnTo>
                      <a:pt x="2175" y="891"/>
                    </a:lnTo>
                    <a:lnTo>
                      <a:pt x="2183" y="885"/>
                    </a:lnTo>
                    <a:lnTo>
                      <a:pt x="2190" y="877"/>
                    </a:lnTo>
                    <a:lnTo>
                      <a:pt x="2195" y="869"/>
                    </a:lnTo>
                    <a:lnTo>
                      <a:pt x="2202" y="861"/>
                    </a:lnTo>
                    <a:lnTo>
                      <a:pt x="2206" y="852"/>
                    </a:lnTo>
                    <a:lnTo>
                      <a:pt x="2212" y="843"/>
                    </a:lnTo>
                    <a:lnTo>
                      <a:pt x="2216" y="833"/>
                    </a:lnTo>
                    <a:lnTo>
                      <a:pt x="2219" y="822"/>
                    </a:lnTo>
                    <a:lnTo>
                      <a:pt x="2223" y="810"/>
                    </a:lnTo>
                    <a:lnTo>
                      <a:pt x="2225" y="798"/>
                    </a:lnTo>
                    <a:lnTo>
                      <a:pt x="2226" y="784"/>
                    </a:lnTo>
                    <a:lnTo>
                      <a:pt x="2226" y="770"/>
                    </a:lnTo>
                    <a:lnTo>
                      <a:pt x="2225" y="752"/>
                    </a:lnTo>
                    <a:lnTo>
                      <a:pt x="2222" y="732"/>
                    </a:lnTo>
                    <a:lnTo>
                      <a:pt x="2217" y="711"/>
                    </a:lnTo>
                    <a:lnTo>
                      <a:pt x="2212" y="689"/>
                    </a:lnTo>
                    <a:lnTo>
                      <a:pt x="2205" y="668"/>
                    </a:lnTo>
                    <a:lnTo>
                      <a:pt x="2199" y="649"/>
                    </a:lnTo>
                    <a:lnTo>
                      <a:pt x="2192" y="633"/>
                    </a:lnTo>
                    <a:lnTo>
                      <a:pt x="2186" y="622"/>
                    </a:lnTo>
                    <a:lnTo>
                      <a:pt x="2182" y="614"/>
                    </a:lnTo>
                    <a:lnTo>
                      <a:pt x="2178" y="608"/>
                    </a:lnTo>
                    <a:lnTo>
                      <a:pt x="2173" y="604"/>
                    </a:lnTo>
                    <a:lnTo>
                      <a:pt x="2168" y="601"/>
                    </a:lnTo>
                    <a:lnTo>
                      <a:pt x="2163" y="600"/>
                    </a:lnTo>
                    <a:lnTo>
                      <a:pt x="2157" y="599"/>
                    </a:lnTo>
                    <a:lnTo>
                      <a:pt x="2151" y="600"/>
                    </a:lnTo>
                    <a:lnTo>
                      <a:pt x="2146" y="601"/>
                    </a:lnTo>
                    <a:lnTo>
                      <a:pt x="2134" y="603"/>
                    </a:lnTo>
                    <a:lnTo>
                      <a:pt x="2122" y="605"/>
                    </a:lnTo>
                    <a:lnTo>
                      <a:pt x="2116" y="605"/>
                    </a:lnTo>
                    <a:lnTo>
                      <a:pt x="2111" y="604"/>
                    </a:lnTo>
                    <a:lnTo>
                      <a:pt x="2105" y="602"/>
                    </a:lnTo>
                    <a:lnTo>
                      <a:pt x="2100" y="597"/>
                    </a:lnTo>
                    <a:lnTo>
                      <a:pt x="2089" y="590"/>
                    </a:lnTo>
                    <a:lnTo>
                      <a:pt x="2079" y="582"/>
                    </a:lnTo>
                    <a:lnTo>
                      <a:pt x="2069" y="573"/>
                    </a:lnTo>
                    <a:lnTo>
                      <a:pt x="2059" y="563"/>
                    </a:lnTo>
                    <a:lnTo>
                      <a:pt x="2039" y="540"/>
                    </a:lnTo>
                    <a:lnTo>
                      <a:pt x="2021" y="518"/>
                    </a:lnTo>
                    <a:lnTo>
                      <a:pt x="2010" y="507"/>
                    </a:lnTo>
                    <a:lnTo>
                      <a:pt x="2000" y="497"/>
                    </a:lnTo>
                    <a:lnTo>
                      <a:pt x="1989" y="488"/>
                    </a:lnTo>
                    <a:lnTo>
                      <a:pt x="1977" y="478"/>
                    </a:lnTo>
                    <a:lnTo>
                      <a:pt x="1965" y="471"/>
                    </a:lnTo>
                    <a:lnTo>
                      <a:pt x="1950" y="466"/>
                    </a:lnTo>
                    <a:lnTo>
                      <a:pt x="1944" y="464"/>
                    </a:lnTo>
                    <a:lnTo>
                      <a:pt x="1936" y="463"/>
                    </a:lnTo>
                    <a:lnTo>
                      <a:pt x="1928" y="462"/>
                    </a:lnTo>
                    <a:lnTo>
                      <a:pt x="1921" y="462"/>
                    </a:lnTo>
                    <a:lnTo>
                      <a:pt x="1898" y="462"/>
                    </a:lnTo>
                    <a:lnTo>
                      <a:pt x="1878" y="462"/>
                    </a:lnTo>
                    <a:lnTo>
                      <a:pt x="1860" y="462"/>
                    </a:lnTo>
                    <a:lnTo>
                      <a:pt x="1841" y="462"/>
                    </a:lnTo>
                    <a:lnTo>
                      <a:pt x="1826" y="461"/>
                    </a:lnTo>
                    <a:lnTo>
                      <a:pt x="1814" y="460"/>
                    </a:lnTo>
                    <a:lnTo>
                      <a:pt x="1802" y="458"/>
                    </a:lnTo>
                    <a:lnTo>
                      <a:pt x="1791" y="456"/>
                    </a:lnTo>
                    <a:lnTo>
                      <a:pt x="1780" y="453"/>
                    </a:lnTo>
                    <a:lnTo>
                      <a:pt x="1768" y="451"/>
                    </a:lnTo>
                    <a:lnTo>
                      <a:pt x="1755" y="450"/>
                    </a:lnTo>
                    <a:lnTo>
                      <a:pt x="1742" y="450"/>
                    </a:lnTo>
                    <a:lnTo>
                      <a:pt x="1725" y="450"/>
                    </a:lnTo>
                    <a:lnTo>
                      <a:pt x="1713" y="452"/>
                    </a:lnTo>
                    <a:lnTo>
                      <a:pt x="1703" y="454"/>
                    </a:lnTo>
                    <a:lnTo>
                      <a:pt x="1696" y="458"/>
                    </a:lnTo>
                    <a:lnTo>
                      <a:pt x="1689" y="462"/>
                    </a:lnTo>
                    <a:lnTo>
                      <a:pt x="1685" y="467"/>
                    </a:lnTo>
                    <a:lnTo>
                      <a:pt x="1679" y="473"/>
                    </a:lnTo>
                    <a:lnTo>
                      <a:pt x="1675" y="480"/>
                    </a:lnTo>
                    <a:lnTo>
                      <a:pt x="1672" y="471"/>
                    </a:lnTo>
                    <a:lnTo>
                      <a:pt x="1669" y="462"/>
                    </a:lnTo>
                    <a:lnTo>
                      <a:pt x="1669" y="454"/>
                    </a:lnTo>
                    <a:lnTo>
                      <a:pt x="1670" y="447"/>
                    </a:lnTo>
                    <a:lnTo>
                      <a:pt x="1673" y="436"/>
                    </a:lnTo>
                    <a:lnTo>
                      <a:pt x="1675" y="430"/>
                    </a:lnTo>
                    <a:lnTo>
                      <a:pt x="1675" y="426"/>
                    </a:lnTo>
                    <a:lnTo>
                      <a:pt x="1673" y="421"/>
                    </a:lnTo>
                    <a:lnTo>
                      <a:pt x="1670" y="417"/>
                    </a:lnTo>
                    <a:lnTo>
                      <a:pt x="1668" y="413"/>
                    </a:lnTo>
                    <a:lnTo>
                      <a:pt x="1664" y="406"/>
                    </a:lnTo>
                    <a:lnTo>
                      <a:pt x="1662" y="400"/>
                    </a:lnTo>
                    <a:lnTo>
                      <a:pt x="1655" y="400"/>
                    </a:lnTo>
                    <a:lnTo>
                      <a:pt x="1648" y="398"/>
                    </a:lnTo>
                    <a:lnTo>
                      <a:pt x="1643" y="396"/>
                    </a:lnTo>
                    <a:lnTo>
                      <a:pt x="1636" y="394"/>
                    </a:lnTo>
                    <a:lnTo>
                      <a:pt x="1624" y="387"/>
                    </a:lnTo>
                    <a:lnTo>
                      <a:pt x="1612" y="379"/>
                    </a:lnTo>
                    <a:lnTo>
                      <a:pt x="1596" y="363"/>
                    </a:lnTo>
                    <a:lnTo>
                      <a:pt x="1588" y="357"/>
                    </a:lnTo>
                    <a:lnTo>
                      <a:pt x="1581" y="359"/>
                    </a:lnTo>
                    <a:lnTo>
                      <a:pt x="1574" y="360"/>
                    </a:lnTo>
                    <a:lnTo>
                      <a:pt x="1567" y="361"/>
                    </a:lnTo>
                    <a:lnTo>
                      <a:pt x="1560" y="362"/>
                    </a:lnTo>
                    <a:lnTo>
                      <a:pt x="1546" y="361"/>
                    </a:lnTo>
                    <a:lnTo>
                      <a:pt x="1534" y="358"/>
                    </a:lnTo>
                    <a:lnTo>
                      <a:pt x="1523" y="354"/>
                    </a:lnTo>
                    <a:lnTo>
                      <a:pt x="1512" y="348"/>
                    </a:lnTo>
                    <a:lnTo>
                      <a:pt x="1504" y="341"/>
                    </a:lnTo>
                    <a:lnTo>
                      <a:pt x="1496" y="333"/>
                    </a:lnTo>
                    <a:lnTo>
                      <a:pt x="1468" y="333"/>
                    </a:lnTo>
                    <a:lnTo>
                      <a:pt x="1468" y="337"/>
                    </a:lnTo>
                    <a:lnTo>
                      <a:pt x="1466" y="342"/>
                    </a:lnTo>
                    <a:lnTo>
                      <a:pt x="1463" y="349"/>
                    </a:lnTo>
                    <a:lnTo>
                      <a:pt x="1459" y="357"/>
                    </a:lnTo>
                    <a:lnTo>
                      <a:pt x="1446" y="373"/>
                    </a:lnTo>
                    <a:lnTo>
                      <a:pt x="1433" y="390"/>
                    </a:lnTo>
                    <a:lnTo>
                      <a:pt x="1426" y="398"/>
                    </a:lnTo>
                    <a:lnTo>
                      <a:pt x="1419" y="404"/>
                    </a:lnTo>
                    <a:lnTo>
                      <a:pt x="1411" y="409"/>
                    </a:lnTo>
                    <a:lnTo>
                      <a:pt x="1405" y="413"/>
                    </a:lnTo>
                    <a:lnTo>
                      <a:pt x="1401" y="414"/>
                    </a:lnTo>
                    <a:lnTo>
                      <a:pt x="1398" y="415"/>
                    </a:lnTo>
                    <a:lnTo>
                      <a:pt x="1395" y="415"/>
                    </a:lnTo>
                    <a:lnTo>
                      <a:pt x="1392" y="414"/>
                    </a:lnTo>
                    <a:lnTo>
                      <a:pt x="1389" y="413"/>
                    </a:lnTo>
                    <a:lnTo>
                      <a:pt x="1387" y="412"/>
                    </a:lnTo>
                    <a:lnTo>
                      <a:pt x="1385" y="409"/>
                    </a:lnTo>
                    <a:lnTo>
                      <a:pt x="1383" y="406"/>
                    </a:lnTo>
                    <a:lnTo>
                      <a:pt x="1367" y="406"/>
                    </a:lnTo>
                    <a:lnTo>
                      <a:pt x="1352" y="406"/>
                    </a:lnTo>
                    <a:lnTo>
                      <a:pt x="1338" y="405"/>
                    </a:lnTo>
                    <a:lnTo>
                      <a:pt x="1325" y="402"/>
                    </a:lnTo>
                    <a:lnTo>
                      <a:pt x="1318" y="401"/>
                    </a:lnTo>
                    <a:lnTo>
                      <a:pt x="1312" y="399"/>
                    </a:lnTo>
                    <a:lnTo>
                      <a:pt x="1308" y="396"/>
                    </a:lnTo>
                    <a:lnTo>
                      <a:pt x="1304" y="393"/>
                    </a:lnTo>
                    <a:lnTo>
                      <a:pt x="1300" y="390"/>
                    </a:lnTo>
                    <a:lnTo>
                      <a:pt x="1298" y="386"/>
                    </a:lnTo>
                    <a:lnTo>
                      <a:pt x="1297" y="381"/>
                    </a:lnTo>
                    <a:lnTo>
                      <a:pt x="1296" y="375"/>
                    </a:lnTo>
                    <a:lnTo>
                      <a:pt x="1270" y="375"/>
                    </a:lnTo>
                    <a:lnTo>
                      <a:pt x="1259" y="380"/>
                    </a:lnTo>
                    <a:lnTo>
                      <a:pt x="1247" y="384"/>
                    </a:lnTo>
                    <a:lnTo>
                      <a:pt x="1240" y="384"/>
                    </a:lnTo>
                    <a:lnTo>
                      <a:pt x="1235" y="384"/>
                    </a:lnTo>
                    <a:lnTo>
                      <a:pt x="1228" y="384"/>
                    </a:lnTo>
                    <a:lnTo>
                      <a:pt x="1224" y="382"/>
                    </a:lnTo>
                    <a:lnTo>
                      <a:pt x="1283" y="333"/>
                    </a:lnTo>
                    <a:lnTo>
                      <a:pt x="1286" y="321"/>
                    </a:lnTo>
                    <a:lnTo>
                      <a:pt x="1289" y="309"/>
                    </a:lnTo>
                    <a:lnTo>
                      <a:pt x="1294" y="299"/>
                    </a:lnTo>
                    <a:lnTo>
                      <a:pt x="1299" y="290"/>
                    </a:lnTo>
                    <a:lnTo>
                      <a:pt x="1305" y="282"/>
                    </a:lnTo>
                    <a:lnTo>
                      <a:pt x="1310" y="274"/>
                    </a:lnTo>
                    <a:lnTo>
                      <a:pt x="1317" y="268"/>
                    </a:lnTo>
                    <a:lnTo>
                      <a:pt x="1323" y="260"/>
                    </a:lnTo>
                    <a:lnTo>
                      <a:pt x="1349" y="240"/>
                    </a:lnTo>
                    <a:lnTo>
                      <a:pt x="1370" y="222"/>
                    </a:lnTo>
                    <a:lnTo>
                      <a:pt x="1362" y="217"/>
                    </a:lnTo>
                    <a:lnTo>
                      <a:pt x="1356" y="213"/>
                    </a:lnTo>
                    <a:lnTo>
                      <a:pt x="1352" y="210"/>
                    </a:lnTo>
                    <a:lnTo>
                      <a:pt x="1349" y="205"/>
                    </a:lnTo>
                    <a:lnTo>
                      <a:pt x="1345" y="201"/>
                    </a:lnTo>
                    <a:lnTo>
                      <a:pt x="1344" y="196"/>
                    </a:lnTo>
                    <a:lnTo>
                      <a:pt x="1343" y="191"/>
                    </a:lnTo>
                    <a:lnTo>
                      <a:pt x="1343" y="184"/>
                    </a:lnTo>
                    <a:lnTo>
                      <a:pt x="1338" y="184"/>
                    </a:lnTo>
                    <a:lnTo>
                      <a:pt x="1333" y="183"/>
                    </a:lnTo>
                    <a:lnTo>
                      <a:pt x="1330" y="182"/>
                    </a:lnTo>
                    <a:lnTo>
                      <a:pt x="1326" y="179"/>
                    </a:lnTo>
                    <a:lnTo>
                      <a:pt x="1320" y="174"/>
                    </a:lnTo>
                    <a:lnTo>
                      <a:pt x="1315" y="166"/>
                    </a:lnTo>
                    <a:lnTo>
                      <a:pt x="1310" y="157"/>
                    </a:lnTo>
                    <a:lnTo>
                      <a:pt x="1307" y="146"/>
                    </a:lnTo>
                    <a:lnTo>
                      <a:pt x="1305" y="135"/>
                    </a:lnTo>
                    <a:lnTo>
                      <a:pt x="1301" y="124"/>
                    </a:lnTo>
                    <a:lnTo>
                      <a:pt x="1298" y="100"/>
                    </a:lnTo>
                    <a:lnTo>
                      <a:pt x="1293" y="78"/>
                    </a:lnTo>
                    <a:lnTo>
                      <a:pt x="1291" y="68"/>
                    </a:lnTo>
                    <a:lnTo>
                      <a:pt x="1286" y="60"/>
                    </a:lnTo>
                    <a:lnTo>
                      <a:pt x="1282" y="54"/>
                    </a:lnTo>
                    <a:lnTo>
                      <a:pt x="1276" y="49"/>
                    </a:lnTo>
                    <a:lnTo>
                      <a:pt x="1264" y="71"/>
                    </a:lnTo>
                    <a:lnTo>
                      <a:pt x="1240" y="109"/>
                    </a:lnTo>
                    <a:lnTo>
                      <a:pt x="1227" y="128"/>
                    </a:lnTo>
                    <a:lnTo>
                      <a:pt x="1214" y="144"/>
                    </a:lnTo>
                    <a:lnTo>
                      <a:pt x="1207" y="150"/>
                    </a:lnTo>
                    <a:lnTo>
                      <a:pt x="1200" y="156"/>
                    </a:lnTo>
                    <a:lnTo>
                      <a:pt x="1195" y="159"/>
                    </a:lnTo>
                    <a:lnTo>
                      <a:pt x="1189" y="160"/>
                    </a:lnTo>
                    <a:lnTo>
                      <a:pt x="1124" y="135"/>
                    </a:lnTo>
                    <a:lnTo>
                      <a:pt x="1113" y="139"/>
                    </a:lnTo>
                    <a:lnTo>
                      <a:pt x="1102" y="142"/>
                    </a:lnTo>
                    <a:lnTo>
                      <a:pt x="1088" y="144"/>
                    </a:lnTo>
                    <a:lnTo>
                      <a:pt x="1075" y="146"/>
                    </a:lnTo>
                    <a:lnTo>
                      <a:pt x="1047" y="147"/>
                    </a:lnTo>
                    <a:lnTo>
                      <a:pt x="1017" y="147"/>
                    </a:lnTo>
                    <a:lnTo>
                      <a:pt x="1016" y="152"/>
                    </a:lnTo>
                    <a:lnTo>
                      <a:pt x="1015" y="157"/>
                    </a:lnTo>
                    <a:lnTo>
                      <a:pt x="1013" y="161"/>
                    </a:lnTo>
                    <a:lnTo>
                      <a:pt x="1009" y="165"/>
                    </a:lnTo>
                    <a:lnTo>
                      <a:pt x="1006" y="168"/>
                    </a:lnTo>
                    <a:lnTo>
                      <a:pt x="1003" y="170"/>
                    </a:lnTo>
                    <a:lnTo>
                      <a:pt x="1000" y="172"/>
                    </a:lnTo>
                    <a:lnTo>
                      <a:pt x="997" y="172"/>
                    </a:lnTo>
                    <a:lnTo>
                      <a:pt x="992" y="173"/>
                    </a:lnTo>
                    <a:lnTo>
                      <a:pt x="987" y="175"/>
                    </a:lnTo>
                    <a:lnTo>
                      <a:pt x="985" y="175"/>
                    </a:lnTo>
                    <a:lnTo>
                      <a:pt x="982" y="175"/>
                    </a:lnTo>
                    <a:lnTo>
                      <a:pt x="980" y="174"/>
                    </a:lnTo>
                    <a:lnTo>
                      <a:pt x="978" y="172"/>
                    </a:lnTo>
                    <a:lnTo>
                      <a:pt x="976" y="176"/>
                    </a:lnTo>
                    <a:lnTo>
                      <a:pt x="972" y="179"/>
                    </a:lnTo>
                    <a:lnTo>
                      <a:pt x="967" y="183"/>
                    </a:lnTo>
                    <a:lnTo>
                      <a:pt x="960" y="187"/>
                    </a:lnTo>
                    <a:lnTo>
                      <a:pt x="941" y="194"/>
                    </a:lnTo>
                    <a:lnTo>
                      <a:pt x="920" y="200"/>
                    </a:lnTo>
                    <a:lnTo>
                      <a:pt x="879" y="212"/>
                    </a:lnTo>
                    <a:lnTo>
                      <a:pt x="858" y="216"/>
                    </a:lnTo>
                    <a:lnTo>
                      <a:pt x="851" y="215"/>
                    </a:lnTo>
                    <a:lnTo>
                      <a:pt x="846" y="213"/>
                    </a:lnTo>
                    <a:lnTo>
                      <a:pt x="839" y="208"/>
                    </a:lnTo>
                    <a:lnTo>
                      <a:pt x="834" y="203"/>
                    </a:lnTo>
                    <a:lnTo>
                      <a:pt x="827" y="197"/>
                    </a:lnTo>
                    <a:lnTo>
                      <a:pt x="822" y="191"/>
                    </a:lnTo>
                    <a:lnTo>
                      <a:pt x="817" y="184"/>
                    </a:lnTo>
                    <a:lnTo>
                      <a:pt x="812" y="176"/>
                    </a:lnTo>
                    <a:lnTo>
                      <a:pt x="803" y="161"/>
                    </a:lnTo>
                    <a:lnTo>
                      <a:pt x="796" y="145"/>
                    </a:lnTo>
                    <a:lnTo>
                      <a:pt x="793" y="132"/>
                    </a:lnTo>
                    <a:lnTo>
                      <a:pt x="791" y="123"/>
                    </a:lnTo>
                    <a:lnTo>
                      <a:pt x="792" y="116"/>
                    </a:lnTo>
                    <a:lnTo>
                      <a:pt x="794" y="109"/>
                    </a:lnTo>
                    <a:lnTo>
                      <a:pt x="798" y="103"/>
                    </a:lnTo>
                    <a:lnTo>
                      <a:pt x="801" y="95"/>
                    </a:lnTo>
                    <a:lnTo>
                      <a:pt x="805" y="88"/>
                    </a:lnTo>
                    <a:lnTo>
                      <a:pt x="808" y="81"/>
                    </a:lnTo>
                    <a:lnTo>
                      <a:pt x="811" y="74"/>
                    </a:lnTo>
                    <a:lnTo>
                      <a:pt x="811" y="67"/>
                    </a:lnTo>
                    <a:lnTo>
                      <a:pt x="811" y="53"/>
                    </a:lnTo>
                    <a:lnTo>
                      <a:pt x="808" y="39"/>
                    </a:lnTo>
                    <a:lnTo>
                      <a:pt x="806" y="33"/>
                    </a:lnTo>
                    <a:lnTo>
                      <a:pt x="804" y="28"/>
                    </a:lnTo>
                    <a:lnTo>
                      <a:pt x="801" y="24"/>
                    </a:lnTo>
                    <a:lnTo>
                      <a:pt x="798" y="20"/>
                    </a:lnTo>
                    <a:lnTo>
                      <a:pt x="794" y="16"/>
                    </a:lnTo>
                    <a:lnTo>
                      <a:pt x="789" y="12"/>
                    </a:lnTo>
                    <a:lnTo>
                      <a:pt x="783" y="9"/>
                    </a:lnTo>
                    <a:lnTo>
                      <a:pt x="778" y="7"/>
                    </a:lnTo>
                    <a:lnTo>
                      <a:pt x="762" y="3"/>
                    </a:lnTo>
                    <a:lnTo>
                      <a:pt x="745" y="0"/>
                    </a:lnTo>
                    <a:lnTo>
                      <a:pt x="739" y="10"/>
                    </a:lnTo>
                    <a:lnTo>
                      <a:pt x="733" y="21"/>
                    </a:lnTo>
                    <a:lnTo>
                      <a:pt x="729" y="23"/>
                    </a:lnTo>
                    <a:lnTo>
                      <a:pt x="727" y="25"/>
                    </a:lnTo>
                    <a:lnTo>
                      <a:pt x="725" y="26"/>
                    </a:lnTo>
                    <a:lnTo>
                      <a:pt x="722" y="27"/>
                    </a:lnTo>
                    <a:lnTo>
                      <a:pt x="717" y="27"/>
                    </a:lnTo>
                    <a:lnTo>
                      <a:pt x="714" y="27"/>
                    </a:lnTo>
                    <a:lnTo>
                      <a:pt x="710" y="26"/>
                    </a:lnTo>
                    <a:lnTo>
                      <a:pt x="705" y="24"/>
                    </a:lnTo>
                    <a:lnTo>
                      <a:pt x="703" y="28"/>
                    </a:lnTo>
                    <a:lnTo>
                      <a:pt x="700" y="31"/>
                    </a:lnTo>
                    <a:lnTo>
                      <a:pt x="695" y="35"/>
                    </a:lnTo>
                    <a:lnTo>
                      <a:pt x="690" y="39"/>
                    </a:lnTo>
                    <a:lnTo>
                      <a:pt x="677" y="47"/>
                    </a:lnTo>
                    <a:lnTo>
                      <a:pt x="662" y="55"/>
                    </a:lnTo>
                    <a:lnTo>
                      <a:pt x="648" y="63"/>
                    </a:lnTo>
                    <a:lnTo>
                      <a:pt x="637" y="71"/>
                    </a:lnTo>
                    <a:lnTo>
                      <a:pt x="632" y="75"/>
                    </a:lnTo>
                    <a:lnTo>
                      <a:pt x="628" y="79"/>
                    </a:lnTo>
                    <a:lnTo>
                      <a:pt x="626" y="82"/>
                    </a:lnTo>
                    <a:lnTo>
                      <a:pt x="625" y="86"/>
                    </a:lnTo>
                    <a:lnTo>
                      <a:pt x="612" y="79"/>
                    </a:lnTo>
                    <a:lnTo>
                      <a:pt x="589" y="70"/>
                    </a:lnTo>
                    <a:lnTo>
                      <a:pt x="566" y="62"/>
                    </a:lnTo>
                    <a:lnTo>
                      <a:pt x="552" y="55"/>
                    </a:lnTo>
                    <a:lnTo>
                      <a:pt x="525" y="55"/>
                    </a:lnTo>
                    <a:lnTo>
                      <a:pt x="525" y="99"/>
                    </a:lnTo>
                    <a:lnTo>
                      <a:pt x="535" y="114"/>
                    </a:lnTo>
                    <a:lnTo>
                      <a:pt x="552" y="137"/>
                    </a:lnTo>
                    <a:lnTo>
                      <a:pt x="566" y="160"/>
                    </a:lnTo>
                    <a:lnTo>
                      <a:pt x="572" y="172"/>
                    </a:lnTo>
                    <a:lnTo>
                      <a:pt x="571" y="178"/>
                    </a:lnTo>
                    <a:lnTo>
                      <a:pt x="569" y="185"/>
                    </a:lnTo>
                    <a:lnTo>
                      <a:pt x="566" y="191"/>
                    </a:lnTo>
                    <a:lnTo>
                      <a:pt x="560" y="198"/>
                    </a:lnTo>
                    <a:lnTo>
                      <a:pt x="555" y="205"/>
                    </a:lnTo>
                    <a:lnTo>
                      <a:pt x="548" y="213"/>
                    </a:lnTo>
                    <a:lnTo>
                      <a:pt x="541" y="220"/>
                    </a:lnTo>
                    <a:lnTo>
                      <a:pt x="532" y="227"/>
                    </a:lnTo>
                    <a:lnTo>
                      <a:pt x="523" y="233"/>
                    </a:lnTo>
                    <a:lnTo>
                      <a:pt x="513" y="239"/>
                    </a:lnTo>
                    <a:lnTo>
                      <a:pt x="503" y="244"/>
                    </a:lnTo>
                    <a:lnTo>
                      <a:pt x="493" y="249"/>
                    </a:lnTo>
                    <a:lnTo>
                      <a:pt x="483" y="253"/>
                    </a:lnTo>
                    <a:lnTo>
                      <a:pt x="472" y="256"/>
                    </a:lnTo>
                    <a:lnTo>
                      <a:pt x="463" y="257"/>
                    </a:lnTo>
                    <a:lnTo>
                      <a:pt x="453" y="258"/>
                    </a:lnTo>
                    <a:lnTo>
                      <a:pt x="446" y="258"/>
                    </a:lnTo>
                    <a:lnTo>
                      <a:pt x="440" y="256"/>
                    </a:lnTo>
                    <a:lnTo>
                      <a:pt x="433" y="254"/>
                    </a:lnTo>
                    <a:lnTo>
                      <a:pt x="426" y="252"/>
                    </a:lnTo>
                    <a:lnTo>
                      <a:pt x="413" y="245"/>
                    </a:lnTo>
                    <a:lnTo>
                      <a:pt x="401" y="235"/>
                    </a:lnTo>
                    <a:lnTo>
                      <a:pt x="389" y="224"/>
                    </a:lnTo>
                    <a:lnTo>
                      <a:pt x="378" y="212"/>
                    </a:lnTo>
                    <a:lnTo>
                      <a:pt x="368" y="198"/>
                    </a:lnTo>
                    <a:lnTo>
                      <a:pt x="359" y="184"/>
                    </a:lnTo>
                    <a:lnTo>
                      <a:pt x="330" y="190"/>
                    </a:lnTo>
                    <a:lnTo>
                      <a:pt x="286" y="197"/>
                    </a:lnTo>
                    <a:lnTo>
                      <a:pt x="263" y="201"/>
                    </a:lnTo>
                    <a:lnTo>
                      <a:pt x="244" y="206"/>
                    </a:lnTo>
                    <a:lnTo>
                      <a:pt x="238" y="208"/>
                    </a:lnTo>
                    <a:lnTo>
                      <a:pt x="231" y="211"/>
                    </a:lnTo>
                    <a:lnTo>
                      <a:pt x="228" y="213"/>
                    </a:lnTo>
                    <a:lnTo>
                      <a:pt x="227" y="216"/>
                    </a:lnTo>
                    <a:lnTo>
                      <a:pt x="227" y="220"/>
                    </a:lnTo>
                    <a:lnTo>
                      <a:pt x="229" y="224"/>
                    </a:lnTo>
                    <a:lnTo>
                      <a:pt x="231" y="227"/>
                    </a:lnTo>
                    <a:lnTo>
                      <a:pt x="235" y="230"/>
                    </a:lnTo>
                    <a:lnTo>
                      <a:pt x="243" y="235"/>
                    </a:lnTo>
                    <a:lnTo>
                      <a:pt x="253" y="240"/>
                    </a:lnTo>
                    <a:lnTo>
                      <a:pt x="253" y="258"/>
                    </a:lnTo>
                    <a:lnTo>
                      <a:pt x="241" y="262"/>
                    </a:lnTo>
                    <a:lnTo>
                      <a:pt x="221" y="268"/>
                    </a:lnTo>
                    <a:lnTo>
                      <a:pt x="210" y="272"/>
                    </a:lnTo>
                    <a:lnTo>
                      <a:pt x="201" y="278"/>
                    </a:lnTo>
                    <a:lnTo>
                      <a:pt x="198" y="281"/>
                    </a:lnTo>
                    <a:lnTo>
                      <a:pt x="196" y="285"/>
                    </a:lnTo>
                    <a:lnTo>
                      <a:pt x="194" y="290"/>
                    </a:lnTo>
                    <a:lnTo>
                      <a:pt x="194" y="295"/>
                    </a:lnTo>
                    <a:lnTo>
                      <a:pt x="194" y="302"/>
                    </a:lnTo>
                    <a:lnTo>
                      <a:pt x="196" y="307"/>
                    </a:lnTo>
                    <a:lnTo>
                      <a:pt x="198" y="311"/>
                    </a:lnTo>
                    <a:lnTo>
                      <a:pt x="201" y="314"/>
                    </a:lnTo>
                    <a:lnTo>
                      <a:pt x="210" y="321"/>
                    </a:lnTo>
                    <a:lnTo>
                      <a:pt x="220" y="327"/>
                    </a:lnTo>
                    <a:lnTo>
                      <a:pt x="224" y="330"/>
                    </a:lnTo>
                    <a:lnTo>
                      <a:pt x="230" y="333"/>
                    </a:lnTo>
                    <a:lnTo>
                      <a:pt x="234" y="337"/>
                    </a:lnTo>
                    <a:lnTo>
                      <a:pt x="239" y="342"/>
                    </a:lnTo>
                    <a:lnTo>
                      <a:pt x="242" y="348"/>
                    </a:lnTo>
                    <a:lnTo>
                      <a:pt x="244" y="356"/>
                    </a:lnTo>
                    <a:lnTo>
                      <a:pt x="246" y="365"/>
                    </a:lnTo>
                    <a:lnTo>
                      <a:pt x="246" y="375"/>
                    </a:lnTo>
                    <a:lnTo>
                      <a:pt x="246" y="388"/>
                    </a:lnTo>
                    <a:lnTo>
                      <a:pt x="245" y="400"/>
                    </a:lnTo>
                    <a:lnTo>
                      <a:pt x="243" y="412"/>
                    </a:lnTo>
                    <a:lnTo>
                      <a:pt x="241" y="423"/>
                    </a:lnTo>
                    <a:lnTo>
                      <a:pt x="236" y="446"/>
                    </a:lnTo>
                    <a:lnTo>
                      <a:pt x="230" y="468"/>
                    </a:lnTo>
                    <a:lnTo>
                      <a:pt x="223" y="490"/>
                    </a:lnTo>
                    <a:lnTo>
                      <a:pt x="219" y="512"/>
                    </a:lnTo>
                    <a:lnTo>
                      <a:pt x="217" y="524"/>
                    </a:lnTo>
                    <a:lnTo>
                      <a:pt x="214" y="535"/>
                    </a:lnTo>
                    <a:lnTo>
                      <a:pt x="213" y="548"/>
                    </a:lnTo>
                    <a:lnTo>
                      <a:pt x="213" y="560"/>
                    </a:lnTo>
                    <a:lnTo>
                      <a:pt x="194" y="560"/>
                    </a:lnTo>
                    <a:lnTo>
                      <a:pt x="188" y="557"/>
                    </a:lnTo>
                    <a:lnTo>
                      <a:pt x="184" y="554"/>
                    </a:lnTo>
                    <a:lnTo>
                      <a:pt x="183" y="553"/>
                    </a:lnTo>
                    <a:lnTo>
                      <a:pt x="182" y="552"/>
                    </a:lnTo>
                    <a:lnTo>
                      <a:pt x="180" y="550"/>
                    </a:lnTo>
                    <a:lnTo>
                      <a:pt x="180" y="548"/>
                    </a:lnTo>
                    <a:lnTo>
                      <a:pt x="168" y="554"/>
                    </a:lnTo>
                    <a:lnTo>
                      <a:pt x="157" y="559"/>
                    </a:lnTo>
                    <a:lnTo>
                      <a:pt x="147" y="562"/>
                    </a:lnTo>
                    <a:lnTo>
                      <a:pt x="138" y="564"/>
                    </a:lnTo>
                    <a:lnTo>
                      <a:pt x="119" y="566"/>
                    </a:lnTo>
                    <a:lnTo>
                      <a:pt x="100" y="567"/>
                    </a:lnTo>
                    <a:lnTo>
                      <a:pt x="96" y="567"/>
                    </a:lnTo>
                    <a:lnTo>
                      <a:pt x="93" y="569"/>
                    </a:lnTo>
                    <a:lnTo>
                      <a:pt x="90" y="573"/>
                    </a:lnTo>
                    <a:lnTo>
                      <a:pt x="88" y="576"/>
                    </a:lnTo>
                    <a:lnTo>
                      <a:pt x="85" y="584"/>
                    </a:lnTo>
                    <a:lnTo>
                      <a:pt x="81" y="591"/>
                    </a:lnTo>
                    <a:lnTo>
                      <a:pt x="65" y="607"/>
                    </a:lnTo>
                    <a:lnTo>
                      <a:pt x="51" y="624"/>
                    </a:lnTo>
                    <a:lnTo>
                      <a:pt x="38" y="643"/>
                    </a:lnTo>
                    <a:lnTo>
                      <a:pt x="26" y="665"/>
                    </a:lnTo>
                    <a:lnTo>
                      <a:pt x="20" y="676"/>
                    </a:lnTo>
                    <a:lnTo>
                      <a:pt x="16" y="687"/>
                    </a:lnTo>
                    <a:lnTo>
                      <a:pt x="11" y="699"/>
                    </a:lnTo>
                    <a:lnTo>
                      <a:pt x="7" y="711"/>
                    </a:lnTo>
                    <a:lnTo>
                      <a:pt x="5" y="723"/>
                    </a:lnTo>
                    <a:lnTo>
                      <a:pt x="3" y="734"/>
                    </a:lnTo>
                    <a:lnTo>
                      <a:pt x="1" y="746"/>
                    </a:lnTo>
                    <a:lnTo>
                      <a:pt x="0" y="757"/>
                    </a:lnTo>
                    <a:lnTo>
                      <a:pt x="1" y="767"/>
                    </a:lnTo>
                    <a:lnTo>
                      <a:pt x="4" y="777"/>
                    </a:lnTo>
                    <a:lnTo>
                      <a:pt x="7" y="787"/>
                    </a:lnTo>
                    <a:lnTo>
                      <a:pt x="11" y="799"/>
                    </a:lnTo>
                    <a:lnTo>
                      <a:pt x="17" y="811"/>
                    </a:lnTo>
                    <a:lnTo>
                      <a:pt x="22" y="824"/>
                    </a:lnTo>
                    <a:lnTo>
                      <a:pt x="30" y="836"/>
                    </a:lnTo>
                    <a:lnTo>
                      <a:pt x="38" y="848"/>
                    </a:lnTo>
                    <a:lnTo>
                      <a:pt x="46" y="859"/>
                    </a:lnTo>
                    <a:lnTo>
                      <a:pt x="56" y="870"/>
                    </a:lnTo>
                    <a:lnTo>
                      <a:pt x="66" y="880"/>
                    </a:lnTo>
                    <a:lnTo>
                      <a:pt x="76" y="889"/>
                    </a:lnTo>
                    <a:lnTo>
                      <a:pt x="87" y="896"/>
                    </a:lnTo>
                    <a:lnTo>
                      <a:pt x="98" y="901"/>
                    </a:lnTo>
                    <a:lnTo>
                      <a:pt x="104" y="903"/>
                    </a:lnTo>
                    <a:lnTo>
                      <a:pt x="109" y="904"/>
                    </a:lnTo>
                    <a:lnTo>
                      <a:pt x="115" y="905"/>
                    </a:lnTo>
                    <a:lnTo>
                      <a:pt x="120" y="905"/>
                    </a:lnTo>
                    <a:lnTo>
                      <a:pt x="130" y="904"/>
                    </a:lnTo>
                    <a:lnTo>
                      <a:pt x="138" y="902"/>
                    </a:lnTo>
                    <a:lnTo>
                      <a:pt x="146" y="898"/>
                    </a:lnTo>
                    <a:lnTo>
                      <a:pt x="153" y="893"/>
                    </a:lnTo>
                    <a:lnTo>
                      <a:pt x="161" y="889"/>
                    </a:lnTo>
                    <a:lnTo>
                      <a:pt x="168" y="885"/>
                    </a:lnTo>
                    <a:lnTo>
                      <a:pt x="177" y="882"/>
                    </a:lnTo>
                    <a:lnTo>
                      <a:pt x="187" y="881"/>
                    </a:lnTo>
                    <a:lnTo>
                      <a:pt x="189" y="903"/>
                    </a:lnTo>
                    <a:lnTo>
                      <a:pt x="190" y="934"/>
                    </a:lnTo>
                    <a:lnTo>
                      <a:pt x="190" y="942"/>
                    </a:lnTo>
                    <a:lnTo>
                      <a:pt x="191" y="949"/>
                    </a:lnTo>
                    <a:lnTo>
                      <a:pt x="194" y="956"/>
                    </a:lnTo>
                    <a:lnTo>
                      <a:pt x="196" y="961"/>
                    </a:lnTo>
                    <a:lnTo>
                      <a:pt x="199" y="966"/>
                    </a:lnTo>
                    <a:lnTo>
                      <a:pt x="202" y="970"/>
                    </a:lnTo>
                    <a:lnTo>
                      <a:pt x="208" y="972"/>
                    </a:lnTo>
                    <a:lnTo>
                      <a:pt x="213" y="973"/>
                    </a:lnTo>
                    <a:lnTo>
                      <a:pt x="233" y="973"/>
                    </a:lnTo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88" name="Freeform 10">
                <a:extLst>
                  <a:ext uri="{FF2B5EF4-FFF2-40B4-BE49-F238E27FC236}">
                    <a16:creationId xmlns="" xmlns:a16="http://schemas.microsoft.com/office/drawing/2014/main" id="{F04BDF1D-71F4-4572-83B4-94A560C8CD21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4289425" y="2454275"/>
                <a:ext cx="69850" cy="49213"/>
              </a:xfrm>
              <a:custGeom>
                <a:avLst/>
                <a:gdLst>
                  <a:gd name="T0" fmla="*/ 2147483646 w 161"/>
                  <a:gd name="T1" fmla="*/ 0 h 93"/>
                  <a:gd name="T2" fmla="*/ 2147483646 w 161"/>
                  <a:gd name="T3" fmla="*/ 2147483646 h 93"/>
                  <a:gd name="T4" fmla="*/ 2147483646 w 161"/>
                  <a:gd name="T5" fmla="*/ 2147483646 h 93"/>
                  <a:gd name="T6" fmla="*/ 2147483646 w 161"/>
                  <a:gd name="T7" fmla="*/ 2147483646 h 93"/>
                  <a:gd name="T8" fmla="*/ 2147483646 w 161"/>
                  <a:gd name="T9" fmla="*/ 2147483646 h 93"/>
                  <a:gd name="T10" fmla="*/ 2147483646 w 161"/>
                  <a:gd name="T11" fmla="*/ 2147483646 h 93"/>
                  <a:gd name="T12" fmla="*/ 2147483646 w 161"/>
                  <a:gd name="T13" fmla="*/ 2147483646 h 93"/>
                  <a:gd name="T14" fmla="*/ 2147483646 w 161"/>
                  <a:gd name="T15" fmla="*/ 0 h 93"/>
                  <a:gd name="T16" fmla="*/ 2147483646 w 161"/>
                  <a:gd name="T17" fmla="*/ 0 h 93"/>
                  <a:gd name="T18" fmla="*/ 2147483646 w 161"/>
                  <a:gd name="T19" fmla="*/ 0 h 93"/>
                  <a:gd name="T20" fmla="*/ 2147483646 w 161"/>
                  <a:gd name="T21" fmla="*/ 2147483646 h 93"/>
                  <a:gd name="T22" fmla="*/ 2147483646 w 161"/>
                  <a:gd name="T23" fmla="*/ 2147483646 h 93"/>
                  <a:gd name="T24" fmla="*/ 2147483646 w 161"/>
                  <a:gd name="T25" fmla="*/ 2147483646 h 93"/>
                  <a:gd name="T26" fmla="*/ 2147483646 w 161"/>
                  <a:gd name="T27" fmla="*/ 2147483646 h 93"/>
                  <a:gd name="T28" fmla="*/ 2147483646 w 161"/>
                  <a:gd name="T29" fmla="*/ 2147483646 h 93"/>
                  <a:gd name="T30" fmla="*/ 2147483646 w 161"/>
                  <a:gd name="T31" fmla="*/ 2147483646 h 93"/>
                  <a:gd name="T32" fmla="*/ 2147483646 w 161"/>
                  <a:gd name="T33" fmla="*/ 2147483646 h 93"/>
                  <a:gd name="T34" fmla="*/ 2147483646 w 161"/>
                  <a:gd name="T35" fmla="*/ 2147483646 h 93"/>
                  <a:gd name="T36" fmla="*/ 2147483646 w 161"/>
                  <a:gd name="T37" fmla="*/ 2147483646 h 93"/>
                  <a:gd name="T38" fmla="*/ 2147483646 w 161"/>
                  <a:gd name="T39" fmla="*/ 2147483646 h 93"/>
                  <a:gd name="T40" fmla="*/ 2147483646 w 161"/>
                  <a:gd name="T41" fmla="*/ 2147483646 h 93"/>
                  <a:gd name="T42" fmla="*/ 2147483646 w 161"/>
                  <a:gd name="T43" fmla="*/ 2147483646 h 93"/>
                  <a:gd name="T44" fmla="*/ 2147483646 w 161"/>
                  <a:gd name="T45" fmla="*/ 2147483646 h 93"/>
                  <a:gd name="T46" fmla="*/ 2147483646 w 161"/>
                  <a:gd name="T47" fmla="*/ 2147483646 h 93"/>
                  <a:gd name="T48" fmla="*/ 2147483646 w 161"/>
                  <a:gd name="T49" fmla="*/ 2147483646 h 93"/>
                  <a:gd name="T50" fmla="*/ 2147483646 w 161"/>
                  <a:gd name="T51" fmla="*/ 2147483646 h 93"/>
                  <a:gd name="T52" fmla="*/ 2147483646 w 161"/>
                  <a:gd name="T53" fmla="*/ 2147483646 h 93"/>
                  <a:gd name="T54" fmla="*/ 2147483646 w 161"/>
                  <a:gd name="T55" fmla="*/ 2147483646 h 93"/>
                  <a:gd name="T56" fmla="*/ 2147483646 w 161"/>
                  <a:gd name="T57" fmla="*/ 2147483646 h 93"/>
                  <a:gd name="T58" fmla="*/ 2147483646 w 161"/>
                  <a:gd name="T59" fmla="*/ 2147483646 h 93"/>
                  <a:gd name="T60" fmla="*/ 2147483646 w 161"/>
                  <a:gd name="T61" fmla="*/ 2147483646 h 93"/>
                  <a:gd name="T62" fmla="*/ 2147483646 w 161"/>
                  <a:gd name="T63" fmla="*/ 2147483646 h 93"/>
                  <a:gd name="T64" fmla="*/ 2147483646 w 161"/>
                  <a:gd name="T65" fmla="*/ 2147483646 h 93"/>
                  <a:gd name="T66" fmla="*/ 2147483646 w 161"/>
                  <a:gd name="T67" fmla="*/ 2147483646 h 93"/>
                  <a:gd name="T68" fmla="*/ 2147483646 w 161"/>
                  <a:gd name="T69" fmla="*/ 2147483646 h 93"/>
                  <a:gd name="T70" fmla="*/ 2147483646 w 161"/>
                  <a:gd name="T71" fmla="*/ 2147483646 h 93"/>
                  <a:gd name="T72" fmla="*/ 0 w 161"/>
                  <a:gd name="T73" fmla="*/ 0 h 93"/>
                  <a:gd name="T74" fmla="*/ 2147483646 w 161"/>
                  <a:gd name="T75" fmla="*/ 0 h 93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61"/>
                  <a:gd name="T115" fmla="*/ 0 h 93"/>
                  <a:gd name="T116" fmla="*/ 161 w 161"/>
                  <a:gd name="T117" fmla="*/ 93 h 93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61" h="93">
                    <a:moveTo>
                      <a:pt x="94" y="0"/>
                    </a:moveTo>
                    <a:lnTo>
                      <a:pt x="107" y="18"/>
                    </a:lnTo>
                    <a:lnTo>
                      <a:pt x="112" y="12"/>
                    </a:lnTo>
                    <a:lnTo>
                      <a:pt x="117" y="8"/>
                    </a:lnTo>
                    <a:lnTo>
                      <a:pt x="122" y="5"/>
                    </a:lnTo>
                    <a:lnTo>
                      <a:pt x="127" y="3"/>
                    </a:lnTo>
                    <a:lnTo>
                      <a:pt x="137" y="1"/>
                    </a:lnTo>
                    <a:lnTo>
                      <a:pt x="148" y="0"/>
                    </a:lnTo>
                    <a:lnTo>
                      <a:pt x="151" y="0"/>
                    </a:lnTo>
                    <a:lnTo>
                      <a:pt x="161" y="0"/>
                    </a:lnTo>
                    <a:lnTo>
                      <a:pt x="161" y="92"/>
                    </a:lnTo>
                    <a:lnTo>
                      <a:pt x="155" y="93"/>
                    </a:lnTo>
                    <a:lnTo>
                      <a:pt x="150" y="93"/>
                    </a:lnTo>
                    <a:lnTo>
                      <a:pt x="145" y="92"/>
                    </a:lnTo>
                    <a:lnTo>
                      <a:pt x="140" y="91"/>
                    </a:lnTo>
                    <a:lnTo>
                      <a:pt x="129" y="88"/>
                    </a:lnTo>
                    <a:lnTo>
                      <a:pt x="120" y="82"/>
                    </a:lnTo>
                    <a:lnTo>
                      <a:pt x="111" y="75"/>
                    </a:lnTo>
                    <a:lnTo>
                      <a:pt x="104" y="67"/>
                    </a:lnTo>
                    <a:lnTo>
                      <a:pt x="97" y="59"/>
                    </a:lnTo>
                    <a:lnTo>
                      <a:pt x="94" y="49"/>
                    </a:lnTo>
                    <a:lnTo>
                      <a:pt x="92" y="50"/>
                    </a:lnTo>
                    <a:lnTo>
                      <a:pt x="89" y="51"/>
                    </a:lnTo>
                    <a:lnTo>
                      <a:pt x="86" y="51"/>
                    </a:lnTo>
                    <a:lnTo>
                      <a:pt x="84" y="51"/>
                    </a:lnTo>
                    <a:lnTo>
                      <a:pt x="78" y="50"/>
                    </a:lnTo>
                    <a:lnTo>
                      <a:pt x="74" y="49"/>
                    </a:lnTo>
                    <a:lnTo>
                      <a:pt x="65" y="48"/>
                    </a:lnTo>
                    <a:lnTo>
                      <a:pt x="55" y="45"/>
                    </a:lnTo>
                    <a:lnTo>
                      <a:pt x="44" y="40"/>
                    </a:lnTo>
                    <a:lnTo>
                      <a:pt x="32" y="34"/>
                    </a:lnTo>
                    <a:lnTo>
                      <a:pt x="21" y="26"/>
                    </a:lnTo>
                    <a:lnTo>
                      <a:pt x="12" y="18"/>
                    </a:lnTo>
                    <a:lnTo>
                      <a:pt x="8" y="14"/>
                    </a:lnTo>
                    <a:lnTo>
                      <a:pt x="5" y="9"/>
                    </a:lnTo>
                    <a:lnTo>
                      <a:pt x="3" y="5"/>
                    </a:lnTo>
                    <a:lnTo>
                      <a:pt x="0" y="0"/>
                    </a:lnTo>
                    <a:lnTo>
                      <a:pt x="94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89" name="Freeform 11">
                <a:extLst>
                  <a:ext uri="{FF2B5EF4-FFF2-40B4-BE49-F238E27FC236}">
                    <a16:creationId xmlns="" xmlns:a16="http://schemas.microsoft.com/office/drawing/2014/main" id="{C02AB799-3958-425E-B3E4-47C10D24C462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3787775" y="2328863"/>
                <a:ext cx="82550" cy="160337"/>
              </a:xfrm>
              <a:custGeom>
                <a:avLst/>
                <a:gdLst>
                  <a:gd name="T0" fmla="*/ 2147483646 w 192"/>
                  <a:gd name="T1" fmla="*/ 2147483646 h 307"/>
                  <a:gd name="T2" fmla="*/ 2147483646 w 192"/>
                  <a:gd name="T3" fmla="*/ 0 h 307"/>
                  <a:gd name="T4" fmla="*/ 2147483646 w 192"/>
                  <a:gd name="T5" fmla="*/ 2147483646 h 307"/>
                  <a:gd name="T6" fmla="*/ 2147483646 w 192"/>
                  <a:gd name="T7" fmla="*/ 2147483646 h 307"/>
                  <a:gd name="T8" fmla="*/ 2147483646 w 192"/>
                  <a:gd name="T9" fmla="*/ 2147483646 h 307"/>
                  <a:gd name="T10" fmla="*/ 2147483646 w 192"/>
                  <a:gd name="T11" fmla="*/ 2147483646 h 307"/>
                  <a:gd name="T12" fmla="*/ 2147483646 w 192"/>
                  <a:gd name="T13" fmla="*/ 2147483646 h 307"/>
                  <a:gd name="T14" fmla="*/ 2147483646 w 192"/>
                  <a:gd name="T15" fmla="*/ 2147483646 h 307"/>
                  <a:gd name="T16" fmla="*/ 2147483646 w 192"/>
                  <a:gd name="T17" fmla="*/ 2147483646 h 307"/>
                  <a:gd name="T18" fmla="*/ 2147483646 w 192"/>
                  <a:gd name="T19" fmla="*/ 2147483646 h 307"/>
                  <a:gd name="T20" fmla="*/ 2147483646 w 192"/>
                  <a:gd name="T21" fmla="*/ 2147483646 h 307"/>
                  <a:gd name="T22" fmla="*/ 2147483646 w 192"/>
                  <a:gd name="T23" fmla="*/ 2147483646 h 307"/>
                  <a:gd name="T24" fmla="*/ 2147483646 w 192"/>
                  <a:gd name="T25" fmla="*/ 2147483646 h 307"/>
                  <a:gd name="T26" fmla="*/ 2147483646 w 192"/>
                  <a:gd name="T27" fmla="*/ 2147483646 h 307"/>
                  <a:gd name="T28" fmla="*/ 2147483646 w 192"/>
                  <a:gd name="T29" fmla="*/ 2147483646 h 307"/>
                  <a:gd name="T30" fmla="*/ 2147483646 w 192"/>
                  <a:gd name="T31" fmla="*/ 2147483646 h 307"/>
                  <a:gd name="T32" fmla="*/ 2147483646 w 192"/>
                  <a:gd name="T33" fmla="*/ 2147483646 h 307"/>
                  <a:gd name="T34" fmla="*/ 2147483646 w 192"/>
                  <a:gd name="T35" fmla="*/ 2147483646 h 307"/>
                  <a:gd name="T36" fmla="*/ 2147483646 w 192"/>
                  <a:gd name="T37" fmla="*/ 2147483646 h 307"/>
                  <a:gd name="T38" fmla="*/ 2147483646 w 192"/>
                  <a:gd name="T39" fmla="*/ 2147483646 h 307"/>
                  <a:gd name="T40" fmla="*/ 2147483646 w 192"/>
                  <a:gd name="T41" fmla="*/ 2147483646 h 307"/>
                  <a:gd name="T42" fmla="*/ 2147483646 w 192"/>
                  <a:gd name="T43" fmla="*/ 2147483646 h 307"/>
                  <a:gd name="T44" fmla="*/ 2147483646 w 192"/>
                  <a:gd name="T45" fmla="*/ 2147483646 h 307"/>
                  <a:gd name="T46" fmla="*/ 0 w 192"/>
                  <a:gd name="T47" fmla="*/ 2147483646 h 307"/>
                  <a:gd name="T48" fmla="*/ 0 w 192"/>
                  <a:gd name="T49" fmla="*/ 2147483646 h 307"/>
                  <a:gd name="T50" fmla="*/ 2147483646 w 192"/>
                  <a:gd name="T51" fmla="*/ 2147483646 h 307"/>
                  <a:gd name="T52" fmla="*/ 2147483646 w 192"/>
                  <a:gd name="T53" fmla="*/ 2147483646 h 307"/>
                  <a:gd name="T54" fmla="*/ 2147483646 w 192"/>
                  <a:gd name="T55" fmla="*/ 2147483646 h 307"/>
                  <a:gd name="T56" fmla="*/ 2147483646 w 192"/>
                  <a:gd name="T57" fmla="*/ 2147483646 h 307"/>
                  <a:gd name="T58" fmla="*/ 2147483646 w 192"/>
                  <a:gd name="T59" fmla="*/ 2147483646 h 307"/>
                  <a:gd name="T60" fmla="*/ 2147483646 w 192"/>
                  <a:gd name="T61" fmla="*/ 2147483646 h 307"/>
                  <a:gd name="T62" fmla="*/ 2147483646 w 192"/>
                  <a:gd name="T63" fmla="*/ 2147483646 h 307"/>
                  <a:gd name="T64" fmla="*/ 2147483646 w 192"/>
                  <a:gd name="T65" fmla="*/ 2147483646 h 307"/>
                  <a:gd name="T66" fmla="*/ 2147483646 w 192"/>
                  <a:gd name="T67" fmla="*/ 2147483646 h 307"/>
                  <a:gd name="T68" fmla="*/ 2147483646 w 192"/>
                  <a:gd name="T69" fmla="*/ 2147483646 h 307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92"/>
                  <a:gd name="T106" fmla="*/ 0 h 307"/>
                  <a:gd name="T107" fmla="*/ 192 w 192"/>
                  <a:gd name="T108" fmla="*/ 307 h 307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92" h="307">
                    <a:moveTo>
                      <a:pt x="44" y="7"/>
                    </a:moveTo>
                    <a:lnTo>
                      <a:pt x="38" y="3"/>
                    </a:lnTo>
                    <a:lnTo>
                      <a:pt x="35" y="1"/>
                    </a:lnTo>
                    <a:lnTo>
                      <a:pt x="37" y="0"/>
                    </a:lnTo>
                    <a:lnTo>
                      <a:pt x="41" y="0"/>
                    </a:lnTo>
                    <a:lnTo>
                      <a:pt x="57" y="3"/>
                    </a:lnTo>
                    <a:lnTo>
                      <a:pt x="82" y="8"/>
                    </a:lnTo>
                    <a:lnTo>
                      <a:pt x="110" y="14"/>
                    </a:lnTo>
                    <a:lnTo>
                      <a:pt x="141" y="22"/>
                    </a:lnTo>
                    <a:lnTo>
                      <a:pt x="155" y="25"/>
                    </a:lnTo>
                    <a:lnTo>
                      <a:pt x="169" y="27"/>
                    </a:lnTo>
                    <a:lnTo>
                      <a:pt x="181" y="28"/>
                    </a:lnTo>
                    <a:lnTo>
                      <a:pt x="192" y="29"/>
                    </a:lnTo>
                    <a:lnTo>
                      <a:pt x="192" y="35"/>
                    </a:lnTo>
                    <a:lnTo>
                      <a:pt x="192" y="41"/>
                    </a:lnTo>
                    <a:lnTo>
                      <a:pt x="188" y="47"/>
                    </a:lnTo>
                    <a:lnTo>
                      <a:pt x="183" y="61"/>
                    </a:lnTo>
                    <a:lnTo>
                      <a:pt x="175" y="82"/>
                    </a:lnTo>
                    <a:lnTo>
                      <a:pt x="167" y="104"/>
                    </a:lnTo>
                    <a:lnTo>
                      <a:pt x="158" y="127"/>
                    </a:lnTo>
                    <a:lnTo>
                      <a:pt x="152" y="148"/>
                    </a:lnTo>
                    <a:lnTo>
                      <a:pt x="147" y="165"/>
                    </a:lnTo>
                    <a:lnTo>
                      <a:pt x="146" y="176"/>
                    </a:lnTo>
                    <a:lnTo>
                      <a:pt x="146" y="207"/>
                    </a:lnTo>
                    <a:lnTo>
                      <a:pt x="146" y="234"/>
                    </a:lnTo>
                    <a:lnTo>
                      <a:pt x="144" y="249"/>
                    </a:lnTo>
                    <a:lnTo>
                      <a:pt x="141" y="263"/>
                    </a:lnTo>
                    <a:lnTo>
                      <a:pt x="134" y="277"/>
                    </a:lnTo>
                    <a:lnTo>
                      <a:pt x="127" y="294"/>
                    </a:lnTo>
                    <a:lnTo>
                      <a:pt x="106" y="296"/>
                    </a:lnTo>
                    <a:lnTo>
                      <a:pt x="91" y="300"/>
                    </a:lnTo>
                    <a:lnTo>
                      <a:pt x="83" y="303"/>
                    </a:lnTo>
                    <a:lnTo>
                      <a:pt x="77" y="306"/>
                    </a:lnTo>
                    <a:lnTo>
                      <a:pt x="72" y="307"/>
                    </a:lnTo>
                    <a:lnTo>
                      <a:pt x="64" y="307"/>
                    </a:lnTo>
                    <a:lnTo>
                      <a:pt x="52" y="305"/>
                    </a:lnTo>
                    <a:lnTo>
                      <a:pt x="33" y="300"/>
                    </a:lnTo>
                    <a:lnTo>
                      <a:pt x="32" y="291"/>
                    </a:lnTo>
                    <a:lnTo>
                      <a:pt x="32" y="284"/>
                    </a:lnTo>
                    <a:lnTo>
                      <a:pt x="30" y="277"/>
                    </a:lnTo>
                    <a:lnTo>
                      <a:pt x="28" y="270"/>
                    </a:lnTo>
                    <a:lnTo>
                      <a:pt x="22" y="257"/>
                    </a:lnTo>
                    <a:lnTo>
                      <a:pt x="17" y="244"/>
                    </a:lnTo>
                    <a:lnTo>
                      <a:pt x="10" y="231"/>
                    </a:lnTo>
                    <a:lnTo>
                      <a:pt x="5" y="218"/>
                    </a:lnTo>
                    <a:lnTo>
                      <a:pt x="2" y="211"/>
                    </a:lnTo>
                    <a:lnTo>
                      <a:pt x="1" y="204"/>
                    </a:lnTo>
                    <a:lnTo>
                      <a:pt x="0" y="197"/>
                    </a:lnTo>
                    <a:lnTo>
                      <a:pt x="0" y="189"/>
                    </a:lnTo>
                    <a:lnTo>
                      <a:pt x="0" y="180"/>
                    </a:lnTo>
                    <a:lnTo>
                      <a:pt x="1" y="173"/>
                    </a:lnTo>
                    <a:lnTo>
                      <a:pt x="2" y="165"/>
                    </a:lnTo>
                    <a:lnTo>
                      <a:pt x="5" y="158"/>
                    </a:lnTo>
                    <a:lnTo>
                      <a:pt x="11" y="145"/>
                    </a:lnTo>
                    <a:lnTo>
                      <a:pt x="18" y="133"/>
                    </a:lnTo>
                    <a:lnTo>
                      <a:pt x="33" y="109"/>
                    </a:lnTo>
                    <a:lnTo>
                      <a:pt x="46" y="90"/>
                    </a:lnTo>
                    <a:lnTo>
                      <a:pt x="48" y="81"/>
                    </a:lnTo>
                    <a:lnTo>
                      <a:pt x="50" y="72"/>
                    </a:lnTo>
                    <a:lnTo>
                      <a:pt x="52" y="62"/>
                    </a:lnTo>
                    <a:lnTo>
                      <a:pt x="53" y="53"/>
                    </a:lnTo>
                    <a:lnTo>
                      <a:pt x="53" y="41"/>
                    </a:lnTo>
                    <a:lnTo>
                      <a:pt x="54" y="34"/>
                    </a:lnTo>
                    <a:lnTo>
                      <a:pt x="55" y="30"/>
                    </a:lnTo>
                    <a:lnTo>
                      <a:pt x="56" y="28"/>
                    </a:lnTo>
                    <a:lnTo>
                      <a:pt x="57" y="26"/>
                    </a:lnTo>
                    <a:lnTo>
                      <a:pt x="58" y="25"/>
                    </a:lnTo>
                    <a:lnTo>
                      <a:pt x="60" y="22"/>
                    </a:lnTo>
                    <a:lnTo>
                      <a:pt x="60" y="16"/>
                    </a:lnTo>
                    <a:lnTo>
                      <a:pt x="44" y="7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90" name="Freeform 12">
                <a:extLst>
                  <a:ext uri="{FF2B5EF4-FFF2-40B4-BE49-F238E27FC236}">
                    <a16:creationId xmlns="" xmlns:a16="http://schemas.microsoft.com/office/drawing/2014/main" id="{C0CB4A26-943B-4F7C-AB42-1B3F711852B2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3868738" y="1814513"/>
                <a:ext cx="171450" cy="269875"/>
              </a:xfrm>
              <a:custGeom>
                <a:avLst/>
                <a:gdLst>
                  <a:gd name="T0" fmla="*/ 2147483646 w 398"/>
                  <a:gd name="T1" fmla="*/ 2147483646 h 518"/>
                  <a:gd name="T2" fmla="*/ 2147483646 w 398"/>
                  <a:gd name="T3" fmla="*/ 2147483646 h 518"/>
                  <a:gd name="T4" fmla="*/ 2147483646 w 398"/>
                  <a:gd name="T5" fmla="*/ 2147483646 h 518"/>
                  <a:gd name="T6" fmla="*/ 2147483646 w 398"/>
                  <a:gd name="T7" fmla="*/ 2147483646 h 518"/>
                  <a:gd name="T8" fmla="*/ 2147483646 w 398"/>
                  <a:gd name="T9" fmla="*/ 2147483646 h 518"/>
                  <a:gd name="T10" fmla="*/ 2147483646 w 398"/>
                  <a:gd name="T11" fmla="*/ 2147483646 h 518"/>
                  <a:gd name="T12" fmla="*/ 2147483646 w 398"/>
                  <a:gd name="T13" fmla="*/ 2147483646 h 518"/>
                  <a:gd name="T14" fmla="*/ 2147483646 w 398"/>
                  <a:gd name="T15" fmla="*/ 2147483646 h 518"/>
                  <a:gd name="T16" fmla="*/ 2147483646 w 398"/>
                  <a:gd name="T17" fmla="*/ 2147483646 h 518"/>
                  <a:gd name="T18" fmla="*/ 2147483646 w 398"/>
                  <a:gd name="T19" fmla="*/ 2147483646 h 518"/>
                  <a:gd name="T20" fmla="*/ 2147483646 w 398"/>
                  <a:gd name="T21" fmla="*/ 2147483646 h 518"/>
                  <a:gd name="T22" fmla="*/ 2147483646 w 398"/>
                  <a:gd name="T23" fmla="*/ 2147483646 h 518"/>
                  <a:gd name="T24" fmla="*/ 2147483646 w 398"/>
                  <a:gd name="T25" fmla="*/ 2147483646 h 518"/>
                  <a:gd name="T26" fmla="*/ 2147483646 w 398"/>
                  <a:gd name="T27" fmla="*/ 2147483646 h 518"/>
                  <a:gd name="T28" fmla="*/ 2147483646 w 398"/>
                  <a:gd name="T29" fmla="*/ 2147483646 h 518"/>
                  <a:gd name="T30" fmla="*/ 2147483646 w 398"/>
                  <a:gd name="T31" fmla="*/ 2147483646 h 518"/>
                  <a:gd name="T32" fmla="*/ 2147483646 w 398"/>
                  <a:gd name="T33" fmla="*/ 2147483646 h 518"/>
                  <a:gd name="T34" fmla="*/ 2147483646 w 398"/>
                  <a:gd name="T35" fmla="*/ 2147483646 h 518"/>
                  <a:gd name="T36" fmla="*/ 2147483646 w 398"/>
                  <a:gd name="T37" fmla="*/ 2147483646 h 518"/>
                  <a:gd name="T38" fmla="*/ 2147483646 w 398"/>
                  <a:gd name="T39" fmla="*/ 2147483646 h 518"/>
                  <a:gd name="T40" fmla="*/ 2147483646 w 398"/>
                  <a:gd name="T41" fmla="*/ 2147483646 h 518"/>
                  <a:gd name="T42" fmla="*/ 2147483646 w 398"/>
                  <a:gd name="T43" fmla="*/ 2147483646 h 518"/>
                  <a:gd name="T44" fmla="*/ 2147483646 w 398"/>
                  <a:gd name="T45" fmla="*/ 2147483646 h 518"/>
                  <a:gd name="T46" fmla="*/ 2147483646 w 398"/>
                  <a:gd name="T47" fmla="*/ 2147483646 h 518"/>
                  <a:gd name="T48" fmla="*/ 2147483646 w 398"/>
                  <a:gd name="T49" fmla="*/ 2147483646 h 518"/>
                  <a:gd name="T50" fmla="*/ 2147483646 w 398"/>
                  <a:gd name="T51" fmla="*/ 2147483646 h 518"/>
                  <a:gd name="T52" fmla="*/ 2147483646 w 398"/>
                  <a:gd name="T53" fmla="*/ 2147483646 h 518"/>
                  <a:gd name="T54" fmla="*/ 2147483646 w 398"/>
                  <a:gd name="T55" fmla="*/ 2147483646 h 518"/>
                  <a:gd name="T56" fmla="*/ 2147483646 w 398"/>
                  <a:gd name="T57" fmla="*/ 2147483646 h 518"/>
                  <a:gd name="T58" fmla="*/ 2147483646 w 398"/>
                  <a:gd name="T59" fmla="*/ 2147483646 h 518"/>
                  <a:gd name="T60" fmla="*/ 2147483646 w 398"/>
                  <a:gd name="T61" fmla="*/ 2147483646 h 518"/>
                  <a:gd name="T62" fmla="*/ 2147483646 w 398"/>
                  <a:gd name="T63" fmla="*/ 2147483646 h 518"/>
                  <a:gd name="T64" fmla="*/ 2147483646 w 398"/>
                  <a:gd name="T65" fmla="*/ 2147483646 h 518"/>
                  <a:gd name="T66" fmla="*/ 2147483646 w 398"/>
                  <a:gd name="T67" fmla="*/ 2147483646 h 518"/>
                  <a:gd name="T68" fmla="*/ 2147483646 w 398"/>
                  <a:gd name="T69" fmla="*/ 2147483646 h 518"/>
                  <a:gd name="T70" fmla="*/ 2147483646 w 398"/>
                  <a:gd name="T71" fmla="*/ 2147483646 h 518"/>
                  <a:gd name="T72" fmla="*/ 2147483646 w 398"/>
                  <a:gd name="T73" fmla="*/ 2147483646 h 518"/>
                  <a:gd name="T74" fmla="*/ 2147483646 w 398"/>
                  <a:gd name="T75" fmla="*/ 2147483646 h 518"/>
                  <a:gd name="T76" fmla="*/ 2147483646 w 398"/>
                  <a:gd name="T77" fmla="*/ 2147483646 h 518"/>
                  <a:gd name="T78" fmla="*/ 2147483646 w 398"/>
                  <a:gd name="T79" fmla="*/ 2147483646 h 518"/>
                  <a:gd name="T80" fmla="*/ 2147483646 w 398"/>
                  <a:gd name="T81" fmla="*/ 2147483646 h 518"/>
                  <a:gd name="T82" fmla="*/ 2147483646 w 398"/>
                  <a:gd name="T83" fmla="*/ 2147483646 h 518"/>
                  <a:gd name="T84" fmla="*/ 2147483646 w 398"/>
                  <a:gd name="T85" fmla="*/ 2147483646 h 518"/>
                  <a:gd name="T86" fmla="*/ 2147483646 w 398"/>
                  <a:gd name="T87" fmla="*/ 2147483646 h 518"/>
                  <a:gd name="T88" fmla="*/ 2147483646 w 398"/>
                  <a:gd name="T89" fmla="*/ 2147483646 h 518"/>
                  <a:gd name="T90" fmla="*/ 2147483646 w 398"/>
                  <a:gd name="T91" fmla="*/ 2147483646 h 518"/>
                  <a:gd name="T92" fmla="*/ 2147483646 w 398"/>
                  <a:gd name="T93" fmla="*/ 2147483646 h 518"/>
                  <a:gd name="T94" fmla="*/ 2147483646 w 398"/>
                  <a:gd name="T95" fmla="*/ 2147483646 h 518"/>
                  <a:gd name="T96" fmla="*/ 2147483646 w 398"/>
                  <a:gd name="T97" fmla="*/ 2147483646 h 518"/>
                  <a:gd name="T98" fmla="*/ 2147483646 w 398"/>
                  <a:gd name="T99" fmla="*/ 2147483646 h 518"/>
                  <a:gd name="T100" fmla="*/ 2147483646 w 398"/>
                  <a:gd name="T101" fmla="*/ 2147483646 h 518"/>
                  <a:gd name="T102" fmla="*/ 2147483646 w 398"/>
                  <a:gd name="T103" fmla="*/ 2147483646 h 518"/>
                  <a:gd name="T104" fmla="*/ 2147483646 w 398"/>
                  <a:gd name="T105" fmla="*/ 2147483646 h 518"/>
                  <a:gd name="T106" fmla="*/ 2147483646 w 398"/>
                  <a:gd name="T107" fmla="*/ 2147483646 h 518"/>
                  <a:gd name="T108" fmla="*/ 2147483646 w 398"/>
                  <a:gd name="T109" fmla="*/ 2147483646 h 518"/>
                  <a:gd name="T110" fmla="*/ 2147483646 w 398"/>
                  <a:gd name="T111" fmla="*/ 2147483646 h 518"/>
                  <a:gd name="T112" fmla="*/ 2147483646 w 398"/>
                  <a:gd name="T113" fmla="*/ 2147483646 h 518"/>
                  <a:gd name="T114" fmla="*/ 2147483646 w 398"/>
                  <a:gd name="T115" fmla="*/ 2147483646 h 518"/>
                  <a:gd name="T116" fmla="*/ 2147483646 w 398"/>
                  <a:gd name="T117" fmla="*/ 2147483646 h 518"/>
                  <a:gd name="T118" fmla="*/ 2147483646 w 398"/>
                  <a:gd name="T119" fmla="*/ 2147483646 h 5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398"/>
                  <a:gd name="T181" fmla="*/ 0 h 518"/>
                  <a:gd name="T182" fmla="*/ 398 w 398"/>
                  <a:gd name="T183" fmla="*/ 518 h 518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398" h="518">
                    <a:moveTo>
                      <a:pt x="0" y="1"/>
                    </a:moveTo>
                    <a:lnTo>
                      <a:pt x="6" y="0"/>
                    </a:lnTo>
                    <a:lnTo>
                      <a:pt x="15" y="1"/>
                    </a:lnTo>
                    <a:lnTo>
                      <a:pt x="26" y="2"/>
                    </a:lnTo>
                    <a:lnTo>
                      <a:pt x="39" y="5"/>
                    </a:lnTo>
                    <a:lnTo>
                      <a:pt x="56" y="8"/>
                    </a:lnTo>
                    <a:lnTo>
                      <a:pt x="75" y="11"/>
                    </a:lnTo>
                    <a:lnTo>
                      <a:pt x="95" y="13"/>
                    </a:lnTo>
                    <a:lnTo>
                      <a:pt x="120" y="13"/>
                    </a:lnTo>
                    <a:lnTo>
                      <a:pt x="120" y="17"/>
                    </a:lnTo>
                    <a:lnTo>
                      <a:pt x="118" y="20"/>
                    </a:lnTo>
                    <a:lnTo>
                      <a:pt x="116" y="23"/>
                    </a:lnTo>
                    <a:lnTo>
                      <a:pt x="114" y="26"/>
                    </a:lnTo>
                    <a:lnTo>
                      <a:pt x="107" y="32"/>
                    </a:lnTo>
                    <a:lnTo>
                      <a:pt x="99" y="37"/>
                    </a:lnTo>
                    <a:lnTo>
                      <a:pt x="80" y="47"/>
                    </a:lnTo>
                    <a:lnTo>
                      <a:pt x="66" y="57"/>
                    </a:lnTo>
                    <a:lnTo>
                      <a:pt x="65" y="59"/>
                    </a:lnTo>
                    <a:lnTo>
                      <a:pt x="64" y="61"/>
                    </a:lnTo>
                    <a:lnTo>
                      <a:pt x="64" y="62"/>
                    </a:lnTo>
                    <a:lnTo>
                      <a:pt x="65" y="64"/>
                    </a:lnTo>
                    <a:lnTo>
                      <a:pt x="68" y="66"/>
                    </a:lnTo>
                    <a:lnTo>
                      <a:pt x="71" y="67"/>
                    </a:lnTo>
                    <a:lnTo>
                      <a:pt x="77" y="69"/>
                    </a:lnTo>
                    <a:lnTo>
                      <a:pt x="84" y="70"/>
                    </a:lnTo>
                    <a:lnTo>
                      <a:pt x="103" y="73"/>
                    </a:lnTo>
                    <a:lnTo>
                      <a:pt x="131" y="76"/>
                    </a:lnTo>
                    <a:lnTo>
                      <a:pt x="167" y="79"/>
                    </a:lnTo>
                    <a:lnTo>
                      <a:pt x="213" y="81"/>
                    </a:lnTo>
                    <a:lnTo>
                      <a:pt x="213" y="91"/>
                    </a:lnTo>
                    <a:lnTo>
                      <a:pt x="213" y="105"/>
                    </a:lnTo>
                    <a:lnTo>
                      <a:pt x="210" y="109"/>
                    </a:lnTo>
                    <a:lnTo>
                      <a:pt x="202" y="112"/>
                    </a:lnTo>
                    <a:lnTo>
                      <a:pt x="191" y="116"/>
                    </a:lnTo>
                    <a:lnTo>
                      <a:pt x="179" y="120"/>
                    </a:lnTo>
                    <a:lnTo>
                      <a:pt x="154" y="127"/>
                    </a:lnTo>
                    <a:lnTo>
                      <a:pt x="139" y="130"/>
                    </a:lnTo>
                    <a:lnTo>
                      <a:pt x="142" y="133"/>
                    </a:lnTo>
                    <a:lnTo>
                      <a:pt x="144" y="136"/>
                    </a:lnTo>
                    <a:lnTo>
                      <a:pt x="147" y="138"/>
                    </a:lnTo>
                    <a:lnTo>
                      <a:pt x="150" y="140"/>
                    </a:lnTo>
                    <a:lnTo>
                      <a:pt x="160" y="142"/>
                    </a:lnTo>
                    <a:lnTo>
                      <a:pt x="170" y="143"/>
                    </a:lnTo>
                    <a:lnTo>
                      <a:pt x="191" y="143"/>
                    </a:lnTo>
                    <a:lnTo>
                      <a:pt x="206" y="142"/>
                    </a:lnTo>
                    <a:lnTo>
                      <a:pt x="206" y="147"/>
                    </a:lnTo>
                    <a:lnTo>
                      <a:pt x="208" y="152"/>
                    </a:lnTo>
                    <a:lnTo>
                      <a:pt x="211" y="156"/>
                    </a:lnTo>
                    <a:lnTo>
                      <a:pt x="214" y="161"/>
                    </a:lnTo>
                    <a:lnTo>
                      <a:pt x="223" y="172"/>
                    </a:lnTo>
                    <a:lnTo>
                      <a:pt x="233" y="182"/>
                    </a:lnTo>
                    <a:lnTo>
                      <a:pt x="243" y="191"/>
                    </a:lnTo>
                    <a:lnTo>
                      <a:pt x="250" y="200"/>
                    </a:lnTo>
                    <a:lnTo>
                      <a:pt x="254" y="205"/>
                    </a:lnTo>
                    <a:lnTo>
                      <a:pt x="257" y="209"/>
                    </a:lnTo>
                    <a:lnTo>
                      <a:pt x="258" y="212"/>
                    </a:lnTo>
                    <a:lnTo>
                      <a:pt x="259" y="216"/>
                    </a:lnTo>
                    <a:lnTo>
                      <a:pt x="259" y="223"/>
                    </a:lnTo>
                    <a:lnTo>
                      <a:pt x="260" y="232"/>
                    </a:lnTo>
                    <a:lnTo>
                      <a:pt x="260" y="237"/>
                    </a:lnTo>
                    <a:lnTo>
                      <a:pt x="262" y="241"/>
                    </a:lnTo>
                    <a:lnTo>
                      <a:pt x="263" y="244"/>
                    </a:lnTo>
                    <a:lnTo>
                      <a:pt x="266" y="247"/>
                    </a:lnTo>
                    <a:lnTo>
                      <a:pt x="272" y="254"/>
                    </a:lnTo>
                    <a:lnTo>
                      <a:pt x="277" y="261"/>
                    </a:lnTo>
                    <a:lnTo>
                      <a:pt x="280" y="267"/>
                    </a:lnTo>
                    <a:lnTo>
                      <a:pt x="283" y="273"/>
                    </a:lnTo>
                    <a:lnTo>
                      <a:pt x="286" y="279"/>
                    </a:lnTo>
                    <a:lnTo>
                      <a:pt x="291" y="284"/>
                    </a:lnTo>
                    <a:lnTo>
                      <a:pt x="297" y="288"/>
                    </a:lnTo>
                    <a:lnTo>
                      <a:pt x="305" y="291"/>
                    </a:lnTo>
                    <a:lnTo>
                      <a:pt x="306" y="297"/>
                    </a:lnTo>
                    <a:lnTo>
                      <a:pt x="310" y="304"/>
                    </a:lnTo>
                    <a:lnTo>
                      <a:pt x="315" y="310"/>
                    </a:lnTo>
                    <a:lnTo>
                      <a:pt x="320" y="316"/>
                    </a:lnTo>
                    <a:lnTo>
                      <a:pt x="327" y="320"/>
                    </a:lnTo>
                    <a:lnTo>
                      <a:pt x="334" y="324"/>
                    </a:lnTo>
                    <a:lnTo>
                      <a:pt x="340" y="326"/>
                    </a:lnTo>
                    <a:lnTo>
                      <a:pt x="346" y="327"/>
                    </a:lnTo>
                    <a:lnTo>
                      <a:pt x="346" y="337"/>
                    </a:lnTo>
                    <a:lnTo>
                      <a:pt x="346" y="346"/>
                    </a:lnTo>
                    <a:lnTo>
                      <a:pt x="355" y="343"/>
                    </a:lnTo>
                    <a:lnTo>
                      <a:pt x="363" y="341"/>
                    </a:lnTo>
                    <a:lnTo>
                      <a:pt x="370" y="341"/>
                    </a:lnTo>
                    <a:lnTo>
                      <a:pt x="376" y="342"/>
                    </a:lnTo>
                    <a:lnTo>
                      <a:pt x="389" y="347"/>
                    </a:lnTo>
                    <a:lnTo>
                      <a:pt x="398" y="352"/>
                    </a:lnTo>
                    <a:lnTo>
                      <a:pt x="396" y="365"/>
                    </a:lnTo>
                    <a:lnTo>
                      <a:pt x="394" y="376"/>
                    </a:lnTo>
                    <a:lnTo>
                      <a:pt x="393" y="382"/>
                    </a:lnTo>
                    <a:lnTo>
                      <a:pt x="393" y="389"/>
                    </a:lnTo>
                    <a:lnTo>
                      <a:pt x="395" y="395"/>
                    </a:lnTo>
                    <a:lnTo>
                      <a:pt x="398" y="401"/>
                    </a:lnTo>
                    <a:lnTo>
                      <a:pt x="393" y="402"/>
                    </a:lnTo>
                    <a:lnTo>
                      <a:pt x="387" y="403"/>
                    </a:lnTo>
                    <a:lnTo>
                      <a:pt x="382" y="404"/>
                    </a:lnTo>
                    <a:lnTo>
                      <a:pt x="376" y="406"/>
                    </a:lnTo>
                    <a:lnTo>
                      <a:pt x="372" y="409"/>
                    </a:lnTo>
                    <a:lnTo>
                      <a:pt x="369" y="412"/>
                    </a:lnTo>
                    <a:lnTo>
                      <a:pt x="367" y="415"/>
                    </a:lnTo>
                    <a:lnTo>
                      <a:pt x="365" y="420"/>
                    </a:lnTo>
                    <a:lnTo>
                      <a:pt x="365" y="422"/>
                    </a:lnTo>
                    <a:lnTo>
                      <a:pt x="367" y="424"/>
                    </a:lnTo>
                    <a:lnTo>
                      <a:pt x="368" y="426"/>
                    </a:lnTo>
                    <a:lnTo>
                      <a:pt x="370" y="429"/>
                    </a:lnTo>
                    <a:lnTo>
                      <a:pt x="376" y="433"/>
                    </a:lnTo>
                    <a:lnTo>
                      <a:pt x="385" y="438"/>
                    </a:lnTo>
                    <a:lnTo>
                      <a:pt x="376" y="443"/>
                    </a:lnTo>
                    <a:lnTo>
                      <a:pt x="371" y="447"/>
                    </a:lnTo>
                    <a:lnTo>
                      <a:pt x="367" y="451"/>
                    </a:lnTo>
                    <a:lnTo>
                      <a:pt x="363" y="455"/>
                    </a:lnTo>
                    <a:lnTo>
                      <a:pt x="359" y="463"/>
                    </a:lnTo>
                    <a:lnTo>
                      <a:pt x="352" y="475"/>
                    </a:lnTo>
                    <a:lnTo>
                      <a:pt x="146" y="475"/>
                    </a:lnTo>
                    <a:lnTo>
                      <a:pt x="146" y="487"/>
                    </a:lnTo>
                    <a:lnTo>
                      <a:pt x="146" y="500"/>
                    </a:lnTo>
                    <a:lnTo>
                      <a:pt x="116" y="501"/>
                    </a:lnTo>
                    <a:lnTo>
                      <a:pt x="90" y="503"/>
                    </a:lnTo>
                    <a:lnTo>
                      <a:pt x="78" y="505"/>
                    </a:lnTo>
                    <a:lnTo>
                      <a:pt x="68" y="508"/>
                    </a:lnTo>
                    <a:lnTo>
                      <a:pt x="64" y="510"/>
                    </a:lnTo>
                    <a:lnTo>
                      <a:pt x="59" y="512"/>
                    </a:lnTo>
                    <a:lnTo>
                      <a:pt x="56" y="515"/>
                    </a:lnTo>
                    <a:lnTo>
                      <a:pt x="53" y="518"/>
                    </a:lnTo>
                    <a:lnTo>
                      <a:pt x="54" y="511"/>
                    </a:lnTo>
                    <a:lnTo>
                      <a:pt x="55" y="505"/>
                    </a:lnTo>
                    <a:lnTo>
                      <a:pt x="56" y="499"/>
                    </a:lnTo>
                    <a:lnTo>
                      <a:pt x="58" y="493"/>
                    </a:lnTo>
                    <a:lnTo>
                      <a:pt x="61" y="488"/>
                    </a:lnTo>
                    <a:lnTo>
                      <a:pt x="64" y="484"/>
                    </a:lnTo>
                    <a:lnTo>
                      <a:pt x="68" y="480"/>
                    </a:lnTo>
                    <a:lnTo>
                      <a:pt x="71" y="476"/>
                    </a:lnTo>
                    <a:lnTo>
                      <a:pt x="81" y="470"/>
                    </a:lnTo>
                    <a:lnTo>
                      <a:pt x="91" y="465"/>
                    </a:lnTo>
                    <a:lnTo>
                      <a:pt x="102" y="462"/>
                    </a:lnTo>
                    <a:lnTo>
                      <a:pt x="114" y="458"/>
                    </a:lnTo>
                    <a:lnTo>
                      <a:pt x="136" y="453"/>
                    </a:lnTo>
                    <a:lnTo>
                      <a:pt x="157" y="448"/>
                    </a:lnTo>
                    <a:lnTo>
                      <a:pt x="165" y="444"/>
                    </a:lnTo>
                    <a:lnTo>
                      <a:pt x="172" y="439"/>
                    </a:lnTo>
                    <a:lnTo>
                      <a:pt x="174" y="436"/>
                    </a:lnTo>
                    <a:lnTo>
                      <a:pt x="177" y="433"/>
                    </a:lnTo>
                    <a:lnTo>
                      <a:pt x="179" y="429"/>
                    </a:lnTo>
                    <a:lnTo>
                      <a:pt x="179" y="426"/>
                    </a:lnTo>
                    <a:lnTo>
                      <a:pt x="179" y="428"/>
                    </a:lnTo>
                    <a:lnTo>
                      <a:pt x="177" y="430"/>
                    </a:lnTo>
                    <a:lnTo>
                      <a:pt x="174" y="432"/>
                    </a:lnTo>
                    <a:lnTo>
                      <a:pt x="171" y="434"/>
                    </a:lnTo>
                    <a:lnTo>
                      <a:pt x="162" y="437"/>
                    </a:lnTo>
                    <a:lnTo>
                      <a:pt x="152" y="438"/>
                    </a:lnTo>
                    <a:lnTo>
                      <a:pt x="137" y="437"/>
                    </a:lnTo>
                    <a:lnTo>
                      <a:pt x="111" y="432"/>
                    </a:lnTo>
                    <a:lnTo>
                      <a:pt x="96" y="429"/>
                    </a:lnTo>
                    <a:lnTo>
                      <a:pt x="84" y="425"/>
                    </a:lnTo>
                    <a:lnTo>
                      <a:pt x="80" y="423"/>
                    </a:lnTo>
                    <a:lnTo>
                      <a:pt x="76" y="420"/>
                    </a:lnTo>
                    <a:lnTo>
                      <a:pt x="73" y="417"/>
                    </a:lnTo>
                    <a:lnTo>
                      <a:pt x="73" y="414"/>
                    </a:lnTo>
                    <a:lnTo>
                      <a:pt x="73" y="407"/>
                    </a:lnTo>
                    <a:lnTo>
                      <a:pt x="77" y="402"/>
                    </a:lnTo>
                    <a:lnTo>
                      <a:pt x="80" y="398"/>
                    </a:lnTo>
                    <a:lnTo>
                      <a:pt x="84" y="395"/>
                    </a:lnTo>
                    <a:lnTo>
                      <a:pt x="90" y="392"/>
                    </a:lnTo>
                    <a:lnTo>
                      <a:pt x="95" y="391"/>
                    </a:lnTo>
                    <a:lnTo>
                      <a:pt x="101" y="390"/>
                    </a:lnTo>
                    <a:lnTo>
                      <a:pt x="106" y="389"/>
                    </a:lnTo>
                    <a:lnTo>
                      <a:pt x="106" y="352"/>
                    </a:lnTo>
                    <a:lnTo>
                      <a:pt x="87" y="352"/>
                    </a:lnTo>
                    <a:lnTo>
                      <a:pt x="90" y="345"/>
                    </a:lnTo>
                    <a:lnTo>
                      <a:pt x="94" y="339"/>
                    </a:lnTo>
                    <a:lnTo>
                      <a:pt x="100" y="334"/>
                    </a:lnTo>
                    <a:lnTo>
                      <a:pt x="105" y="329"/>
                    </a:lnTo>
                    <a:lnTo>
                      <a:pt x="117" y="323"/>
                    </a:lnTo>
                    <a:lnTo>
                      <a:pt x="129" y="319"/>
                    </a:lnTo>
                    <a:lnTo>
                      <a:pt x="142" y="315"/>
                    </a:lnTo>
                    <a:lnTo>
                      <a:pt x="154" y="309"/>
                    </a:lnTo>
                    <a:lnTo>
                      <a:pt x="159" y="306"/>
                    </a:lnTo>
                    <a:lnTo>
                      <a:pt x="163" y="302"/>
                    </a:lnTo>
                    <a:lnTo>
                      <a:pt x="169" y="297"/>
                    </a:lnTo>
                    <a:lnTo>
                      <a:pt x="172" y="291"/>
                    </a:lnTo>
                    <a:lnTo>
                      <a:pt x="166" y="286"/>
                    </a:lnTo>
                    <a:lnTo>
                      <a:pt x="159" y="281"/>
                    </a:lnTo>
                    <a:lnTo>
                      <a:pt x="154" y="277"/>
                    </a:lnTo>
                    <a:lnTo>
                      <a:pt x="148" y="271"/>
                    </a:lnTo>
                    <a:lnTo>
                      <a:pt x="145" y="265"/>
                    </a:lnTo>
                    <a:lnTo>
                      <a:pt x="142" y="260"/>
                    </a:lnTo>
                    <a:lnTo>
                      <a:pt x="140" y="254"/>
                    </a:lnTo>
                    <a:lnTo>
                      <a:pt x="139" y="247"/>
                    </a:lnTo>
                    <a:lnTo>
                      <a:pt x="125" y="247"/>
                    </a:lnTo>
                    <a:lnTo>
                      <a:pt x="113" y="245"/>
                    </a:lnTo>
                    <a:lnTo>
                      <a:pt x="103" y="242"/>
                    </a:lnTo>
                    <a:lnTo>
                      <a:pt x="94" y="239"/>
                    </a:lnTo>
                    <a:lnTo>
                      <a:pt x="88" y="235"/>
                    </a:lnTo>
                    <a:lnTo>
                      <a:pt x="83" y="229"/>
                    </a:lnTo>
                    <a:lnTo>
                      <a:pt x="80" y="224"/>
                    </a:lnTo>
                    <a:lnTo>
                      <a:pt x="80" y="216"/>
                    </a:lnTo>
                    <a:lnTo>
                      <a:pt x="80" y="209"/>
                    </a:lnTo>
                    <a:lnTo>
                      <a:pt x="82" y="203"/>
                    </a:lnTo>
                    <a:lnTo>
                      <a:pt x="86" y="198"/>
                    </a:lnTo>
                    <a:lnTo>
                      <a:pt x="90" y="192"/>
                    </a:lnTo>
                    <a:lnTo>
                      <a:pt x="93" y="186"/>
                    </a:lnTo>
                    <a:lnTo>
                      <a:pt x="96" y="180"/>
                    </a:lnTo>
                    <a:lnTo>
                      <a:pt x="99" y="174"/>
                    </a:lnTo>
                    <a:lnTo>
                      <a:pt x="100" y="168"/>
                    </a:lnTo>
                    <a:lnTo>
                      <a:pt x="92" y="171"/>
                    </a:lnTo>
                    <a:lnTo>
                      <a:pt x="86" y="175"/>
                    </a:lnTo>
                    <a:lnTo>
                      <a:pt x="80" y="180"/>
                    </a:lnTo>
                    <a:lnTo>
                      <a:pt x="73" y="186"/>
                    </a:lnTo>
                    <a:lnTo>
                      <a:pt x="64" y="199"/>
                    </a:lnTo>
                    <a:lnTo>
                      <a:pt x="53" y="210"/>
                    </a:lnTo>
                    <a:lnTo>
                      <a:pt x="31" y="179"/>
                    </a:lnTo>
                    <a:lnTo>
                      <a:pt x="22" y="162"/>
                    </a:lnTo>
                    <a:lnTo>
                      <a:pt x="20" y="157"/>
                    </a:lnTo>
                    <a:lnTo>
                      <a:pt x="20" y="153"/>
                    </a:lnTo>
                    <a:lnTo>
                      <a:pt x="20" y="148"/>
                    </a:lnTo>
                    <a:lnTo>
                      <a:pt x="20" y="142"/>
                    </a:lnTo>
                    <a:lnTo>
                      <a:pt x="17" y="141"/>
                    </a:lnTo>
                    <a:lnTo>
                      <a:pt x="16" y="138"/>
                    </a:lnTo>
                    <a:lnTo>
                      <a:pt x="15" y="135"/>
                    </a:lnTo>
                    <a:lnTo>
                      <a:pt x="14" y="131"/>
                    </a:lnTo>
                    <a:lnTo>
                      <a:pt x="14" y="121"/>
                    </a:lnTo>
                    <a:lnTo>
                      <a:pt x="15" y="110"/>
                    </a:lnTo>
                    <a:lnTo>
                      <a:pt x="17" y="84"/>
                    </a:lnTo>
                    <a:lnTo>
                      <a:pt x="20" y="63"/>
                    </a:lnTo>
                    <a:lnTo>
                      <a:pt x="21" y="59"/>
                    </a:lnTo>
                    <a:lnTo>
                      <a:pt x="21" y="55"/>
                    </a:lnTo>
                    <a:lnTo>
                      <a:pt x="20" y="51"/>
                    </a:lnTo>
                    <a:lnTo>
                      <a:pt x="19" y="49"/>
                    </a:lnTo>
                    <a:lnTo>
                      <a:pt x="15" y="45"/>
                    </a:lnTo>
                    <a:lnTo>
                      <a:pt x="11" y="43"/>
                    </a:lnTo>
                    <a:lnTo>
                      <a:pt x="6" y="41"/>
                    </a:lnTo>
                    <a:lnTo>
                      <a:pt x="4" y="40"/>
                    </a:lnTo>
                    <a:lnTo>
                      <a:pt x="3" y="39"/>
                    </a:lnTo>
                    <a:lnTo>
                      <a:pt x="6" y="37"/>
                    </a:lnTo>
                    <a:lnTo>
                      <a:pt x="13" y="28"/>
                    </a:lnTo>
                    <a:lnTo>
                      <a:pt x="20" y="19"/>
                    </a:lnTo>
                    <a:lnTo>
                      <a:pt x="20" y="13"/>
                    </a:lnTo>
                    <a:lnTo>
                      <a:pt x="11" y="11"/>
                    </a:lnTo>
                    <a:lnTo>
                      <a:pt x="5" y="10"/>
                    </a:lnTo>
                    <a:lnTo>
                      <a:pt x="3" y="9"/>
                    </a:lnTo>
                    <a:lnTo>
                      <a:pt x="1" y="7"/>
                    </a:lnTo>
                    <a:lnTo>
                      <a:pt x="0" y="5"/>
                    </a:lnTo>
                    <a:lnTo>
                      <a:pt x="0" y="1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91" name="Freeform 13">
                <a:extLst>
                  <a:ext uri="{FF2B5EF4-FFF2-40B4-BE49-F238E27FC236}">
                    <a16:creationId xmlns="" xmlns:a16="http://schemas.microsoft.com/office/drawing/2014/main" id="{8C3DED62-6FA8-45F4-BC4B-F934370A22CE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227513" y="2117725"/>
                <a:ext cx="169862" cy="76200"/>
              </a:xfrm>
              <a:custGeom>
                <a:avLst/>
                <a:gdLst>
                  <a:gd name="T0" fmla="*/ 2147483646 w 382"/>
                  <a:gd name="T1" fmla="*/ 2147483646 h 148"/>
                  <a:gd name="T2" fmla="*/ 2147483646 w 382"/>
                  <a:gd name="T3" fmla="*/ 2147483646 h 148"/>
                  <a:gd name="T4" fmla="*/ 2147483646 w 382"/>
                  <a:gd name="T5" fmla="*/ 2147483646 h 148"/>
                  <a:gd name="T6" fmla="*/ 2147483646 w 382"/>
                  <a:gd name="T7" fmla="*/ 2147483646 h 148"/>
                  <a:gd name="T8" fmla="*/ 2147483646 w 382"/>
                  <a:gd name="T9" fmla="*/ 2147483646 h 148"/>
                  <a:gd name="T10" fmla="*/ 2147483646 w 382"/>
                  <a:gd name="T11" fmla="*/ 2147483646 h 148"/>
                  <a:gd name="T12" fmla="*/ 2147483646 w 382"/>
                  <a:gd name="T13" fmla="*/ 2147483646 h 148"/>
                  <a:gd name="T14" fmla="*/ 2147483646 w 382"/>
                  <a:gd name="T15" fmla="*/ 2147483646 h 148"/>
                  <a:gd name="T16" fmla="*/ 2147483646 w 382"/>
                  <a:gd name="T17" fmla="*/ 2147483646 h 148"/>
                  <a:gd name="T18" fmla="*/ 2147483646 w 382"/>
                  <a:gd name="T19" fmla="*/ 2147483646 h 148"/>
                  <a:gd name="T20" fmla="*/ 2147483646 w 382"/>
                  <a:gd name="T21" fmla="*/ 2147483646 h 148"/>
                  <a:gd name="T22" fmla="*/ 0 w 382"/>
                  <a:gd name="T23" fmla="*/ 2147483646 h 148"/>
                  <a:gd name="T24" fmla="*/ 2147483646 w 382"/>
                  <a:gd name="T25" fmla="*/ 2147483646 h 148"/>
                  <a:gd name="T26" fmla="*/ 2147483646 w 382"/>
                  <a:gd name="T27" fmla="*/ 2147483646 h 148"/>
                  <a:gd name="T28" fmla="*/ 2147483646 w 382"/>
                  <a:gd name="T29" fmla="*/ 2147483646 h 148"/>
                  <a:gd name="T30" fmla="*/ 2147483646 w 382"/>
                  <a:gd name="T31" fmla="*/ 2147483646 h 148"/>
                  <a:gd name="T32" fmla="*/ 2147483646 w 382"/>
                  <a:gd name="T33" fmla="*/ 2147483646 h 148"/>
                  <a:gd name="T34" fmla="*/ 2147483646 w 382"/>
                  <a:gd name="T35" fmla="*/ 2147483646 h 148"/>
                  <a:gd name="T36" fmla="*/ 2147483646 w 382"/>
                  <a:gd name="T37" fmla="*/ 2147483646 h 148"/>
                  <a:gd name="T38" fmla="*/ 2147483646 w 382"/>
                  <a:gd name="T39" fmla="*/ 2147483646 h 148"/>
                  <a:gd name="T40" fmla="*/ 2147483646 w 382"/>
                  <a:gd name="T41" fmla="*/ 2147483646 h 148"/>
                  <a:gd name="T42" fmla="*/ 2147483646 w 382"/>
                  <a:gd name="T43" fmla="*/ 2147483646 h 148"/>
                  <a:gd name="T44" fmla="*/ 2147483646 w 382"/>
                  <a:gd name="T45" fmla="*/ 2147483646 h 148"/>
                  <a:gd name="T46" fmla="*/ 2147483646 w 382"/>
                  <a:gd name="T47" fmla="*/ 2147483646 h 148"/>
                  <a:gd name="T48" fmla="*/ 2147483646 w 382"/>
                  <a:gd name="T49" fmla="*/ 2147483646 h 148"/>
                  <a:gd name="T50" fmla="*/ 2147483646 w 382"/>
                  <a:gd name="T51" fmla="*/ 2147483646 h 148"/>
                  <a:gd name="T52" fmla="*/ 2147483646 w 382"/>
                  <a:gd name="T53" fmla="*/ 2147483646 h 148"/>
                  <a:gd name="T54" fmla="*/ 2147483646 w 382"/>
                  <a:gd name="T55" fmla="*/ 2147483646 h 148"/>
                  <a:gd name="T56" fmla="*/ 2147483646 w 382"/>
                  <a:gd name="T57" fmla="*/ 2147483646 h 148"/>
                  <a:gd name="T58" fmla="*/ 2147483646 w 382"/>
                  <a:gd name="T59" fmla="*/ 2147483646 h 148"/>
                  <a:gd name="T60" fmla="*/ 2147483646 w 382"/>
                  <a:gd name="T61" fmla="*/ 2147483646 h 148"/>
                  <a:gd name="T62" fmla="*/ 2147483646 w 382"/>
                  <a:gd name="T63" fmla="*/ 2147483646 h 148"/>
                  <a:gd name="T64" fmla="*/ 2147483646 w 382"/>
                  <a:gd name="T65" fmla="*/ 2147483646 h 148"/>
                  <a:gd name="T66" fmla="*/ 2147483646 w 382"/>
                  <a:gd name="T67" fmla="*/ 2147483646 h 148"/>
                  <a:gd name="T68" fmla="*/ 2147483646 w 382"/>
                  <a:gd name="T69" fmla="*/ 2147483646 h 14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382"/>
                  <a:gd name="T106" fmla="*/ 0 h 148"/>
                  <a:gd name="T107" fmla="*/ 382 w 382"/>
                  <a:gd name="T108" fmla="*/ 148 h 148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382" h="148">
                    <a:moveTo>
                      <a:pt x="203" y="18"/>
                    </a:moveTo>
                    <a:lnTo>
                      <a:pt x="190" y="21"/>
                    </a:lnTo>
                    <a:lnTo>
                      <a:pt x="177" y="24"/>
                    </a:lnTo>
                    <a:lnTo>
                      <a:pt x="177" y="31"/>
                    </a:lnTo>
                    <a:lnTo>
                      <a:pt x="175" y="40"/>
                    </a:lnTo>
                    <a:lnTo>
                      <a:pt x="174" y="45"/>
                    </a:lnTo>
                    <a:lnTo>
                      <a:pt x="172" y="49"/>
                    </a:lnTo>
                    <a:lnTo>
                      <a:pt x="168" y="53"/>
                    </a:lnTo>
                    <a:lnTo>
                      <a:pt x="164" y="55"/>
                    </a:lnTo>
                    <a:lnTo>
                      <a:pt x="166" y="61"/>
                    </a:lnTo>
                    <a:lnTo>
                      <a:pt x="170" y="67"/>
                    </a:lnTo>
                    <a:lnTo>
                      <a:pt x="177" y="74"/>
                    </a:lnTo>
                    <a:lnTo>
                      <a:pt x="184" y="80"/>
                    </a:lnTo>
                    <a:lnTo>
                      <a:pt x="155" y="86"/>
                    </a:lnTo>
                    <a:lnTo>
                      <a:pt x="125" y="93"/>
                    </a:lnTo>
                    <a:lnTo>
                      <a:pt x="108" y="96"/>
                    </a:lnTo>
                    <a:lnTo>
                      <a:pt x="88" y="97"/>
                    </a:lnTo>
                    <a:lnTo>
                      <a:pt x="77" y="97"/>
                    </a:lnTo>
                    <a:lnTo>
                      <a:pt x="65" y="96"/>
                    </a:lnTo>
                    <a:lnTo>
                      <a:pt x="52" y="95"/>
                    </a:lnTo>
                    <a:lnTo>
                      <a:pt x="38" y="93"/>
                    </a:lnTo>
                    <a:lnTo>
                      <a:pt x="4" y="111"/>
                    </a:lnTo>
                    <a:lnTo>
                      <a:pt x="1" y="122"/>
                    </a:lnTo>
                    <a:lnTo>
                      <a:pt x="0" y="129"/>
                    </a:lnTo>
                    <a:lnTo>
                      <a:pt x="1" y="130"/>
                    </a:lnTo>
                    <a:lnTo>
                      <a:pt x="4" y="131"/>
                    </a:lnTo>
                    <a:lnTo>
                      <a:pt x="7" y="131"/>
                    </a:lnTo>
                    <a:lnTo>
                      <a:pt x="12" y="131"/>
                    </a:lnTo>
                    <a:lnTo>
                      <a:pt x="28" y="131"/>
                    </a:lnTo>
                    <a:lnTo>
                      <a:pt x="51" y="129"/>
                    </a:lnTo>
                    <a:lnTo>
                      <a:pt x="110" y="123"/>
                    </a:lnTo>
                    <a:lnTo>
                      <a:pt x="114" y="127"/>
                    </a:lnTo>
                    <a:lnTo>
                      <a:pt x="119" y="131"/>
                    </a:lnTo>
                    <a:lnTo>
                      <a:pt x="123" y="134"/>
                    </a:lnTo>
                    <a:lnTo>
                      <a:pt x="128" y="137"/>
                    </a:lnTo>
                    <a:lnTo>
                      <a:pt x="137" y="141"/>
                    </a:lnTo>
                    <a:lnTo>
                      <a:pt x="148" y="144"/>
                    </a:lnTo>
                    <a:lnTo>
                      <a:pt x="159" y="147"/>
                    </a:lnTo>
                    <a:lnTo>
                      <a:pt x="172" y="148"/>
                    </a:lnTo>
                    <a:lnTo>
                      <a:pt x="185" y="148"/>
                    </a:lnTo>
                    <a:lnTo>
                      <a:pt x="197" y="148"/>
                    </a:lnTo>
                    <a:lnTo>
                      <a:pt x="210" y="148"/>
                    </a:lnTo>
                    <a:lnTo>
                      <a:pt x="222" y="148"/>
                    </a:lnTo>
                    <a:lnTo>
                      <a:pt x="233" y="148"/>
                    </a:lnTo>
                    <a:lnTo>
                      <a:pt x="243" y="148"/>
                    </a:lnTo>
                    <a:lnTo>
                      <a:pt x="255" y="148"/>
                    </a:lnTo>
                    <a:lnTo>
                      <a:pt x="265" y="145"/>
                    </a:lnTo>
                    <a:lnTo>
                      <a:pt x="275" y="143"/>
                    </a:lnTo>
                    <a:lnTo>
                      <a:pt x="284" y="140"/>
                    </a:lnTo>
                    <a:lnTo>
                      <a:pt x="301" y="134"/>
                    </a:lnTo>
                    <a:lnTo>
                      <a:pt x="323" y="129"/>
                    </a:lnTo>
                    <a:lnTo>
                      <a:pt x="334" y="121"/>
                    </a:lnTo>
                    <a:lnTo>
                      <a:pt x="344" y="113"/>
                    </a:lnTo>
                    <a:lnTo>
                      <a:pt x="353" y="103"/>
                    </a:lnTo>
                    <a:lnTo>
                      <a:pt x="360" y="93"/>
                    </a:lnTo>
                    <a:lnTo>
                      <a:pt x="372" y="72"/>
                    </a:lnTo>
                    <a:lnTo>
                      <a:pt x="382" y="55"/>
                    </a:lnTo>
                    <a:lnTo>
                      <a:pt x="376" y="52"/>
                    </a:lnTo>
                    <a:lnTo>
                      <a:pt x="367" y="47"/>
                    </a:lnTo>
                    <a:lnTo>
                      <a:pt x="363" y="44"/>
                    </a:lnTo>
                    <a:lnTo>
                      <a:pt x="359" y="39"/>
                    </a:lnTo>
                    <a:lnTo>
                      <a:pt x="357" y="32"/>
                    </a:lnTo>
                    <a:lnTo>
                      <a:pt x="356" y="24"/>
                    </a:lnTo>
                    <a:lnTo>
                      <a:pt x="347" y="22"/>
                    </a:lnTo>
                    <a:lnTo>
                      <a:pt x="341" y="20"/>
                    </a:lnTo>
                    <a:lnTo>
                      <a:pt x="334" y="17"/>
                    </a:lnTo>
                    <a:lnTo>
                      <a:pt x="330" y="14"/>
                    </a:lnTo>
                    <a:lnTo>
                      <a:pt x="319" y="8"/>
                    </a:lnTo>
                    <a:lnTo>
                      <a:pt x="303" y="0"/>
                    </a:lnTo>
                    <a:lnTo>
                      <a:pt x="203" y="18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92" name="Freeform 14">
                <a:extLst>
                  <a:ext uri="{FF2B5EF4-FFF2-40B4-BE49-F238E27FC236}">
                    <a16:creationId xmlns="" xmlns:a16="http://schemas.microsoft.com/office/drawing/2014/main" id="{63C0F98A-0DC3-4271-B794-A62D6522B85E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5719763" y="1966913"/>
                <a:ext cx="1281112" cy="1038225"/>
              </a:xfrm>
              <a:custGeom>
                <a:avLst/>
                <a:gdLst>
                  <a:gd name="T0" fmla="*/ 2147483646 w 2936"/>
                  <a:gd name="T1" fmla="*/ 2147483646 h 1983"/>
                  <a:gd name="T2" fmla="*/ 2147483646 w 2936"/>
                  <a:gd name="T3" fmla="*/ 2147483646 h 1983"/>
                  <a:gd name="T4" fmla="*/ 2147483646 w 2936"/>
                  <a:gd name="T5" fmla="*/ 2147483646 h 1983"/>
                  <a:gd name="T6" fmla="*/ 2147483646 w 2936"/>
                  <a:gd name="T7" fmla="*/ 2147483646 h 1983"/>
                  <a:gd name="T8" fmla="*/ 2147483646 w 2936"/>
                  <a:gd name="T9" fmla="*/ 2147483646 h 1983"/>
                  <a:gd name="T10" fmla="*/ 2147483646 w 2936"/>
                  <a:gd name="T11" fmla="*/ 2147483646 h 1983"/>
                  <a:gd name="T12" fmla="*/ 2147483646 w 2936"/>
                  <a:gd name="T13" fmla="*/ 2147483646 h 1983"/>
                  <a:gd name="T14" fmla="*/ 2147483646 w 2936"/>
                  <a:gd name="T15" fmla="*/ 2147483646 h 1983"/>
                  <a:gd name="T16" fmla="*/ 2147483646 w 2936"/>
                  <a:gd name="T17" fmla="*/ 2147483646 h 1983"/>
                  <a:gd name="T18" fmla="*/ 2147483646 w 2936"/>
                  <a:gd name="T19" fmla="*/ 2147483646 h 1983"/>
                  <a:gd name="T20" fmla="*/ 2147483646 w 2936"/>
                  <a:gd name="T21" fmla="*/ 2147483646 h 1983"/>
                  <a:gd name="T22" fmla="*/ 2147483646 w 2936"/>
                  <a:gd name="T23" fmla="*/ 2147483646 h 1983"/>
                  <a:gd name="T24" fmla="*/ 2147483646 w 2936"/>
                  <a:gd name="T25" fmla="*/ 2147483646 h 1983"/>
                  <a:gd name="T26" fmla="*/ 2147483646 w 2936"/>
                  <a:gd name="T27" fmla="*/ 2147483646 h 1983"/>
                  <a:gd name="T28" fmla="*/ 2147483646 w 2936"/>
                  <a:gd name="T29" fmla="*/ 2147483646 h 1983"/>
                  <a:gd name="T30" fmla="*/ 2147483646 w 2936"/>
                  <a:gd name="T31" fmla="*/ 2147483646 h 1983"/>
                  <a:gd name="T32" fmla="*/ 2147483646 w 2936"/>
                  <a:gd name="T33" fmla="*/ 2147483646 h 1983"/>
                  <a:gd name="T34" fmla="*/ 2147483646 w 2936"/>
                  <a:gd name="T35" fmla="*/ 2147483646 h 1983"/>
                  <a:gd name="T36" fmla="*/ 2147483646 w 2936"/>
                  <a:gd name="T37" fmla="*/ 2147483646 h 1983"/>
                  <a:gd name="T38" fmla="*/ 2147483646 w 2936"/>
                  <a:gd name="T39" fmla="*/ 2147483646 h 1983"/>
                  <a:gd name="T40" fmla="*/ 2147483646 w 2936"/>
                  <a:gd name="T41" fmla="*/ 2147483646 h 1983"/>
                  <a:gd name="T42" fmla="*/ 2147483646 w 2936"/>
                  <a:gd name="T43" fmla="*/ 2147483646 h 1983"/>
                  <a:gd name="T44" fmla="*/ 2147483646 w 2936"/>
                  <a:gd name="T45" fmla="*/ 2147483646 h 1983"/>
                  <a:gd name="T46" fmla="*/ 2147483646 w 2936"/>
                  <a:gd name="T47" fmla="*/ 2147483646 h 1983"/>
                  <a:gd name="T48" fmla="*/ 2147483646 w 2936"/>
                  <a:gd name="T49" fmla="*/ 2147483646 h 1983"/>
                  <a:gd name="T50" fmla="*/ 2147483646 w 2936"/>
                  <a:gd name="T51" fmla="*/ 2147483646 h 1983"/>
                  <a:gd name="T52" fmla="*/ 2147483646 w 2936"/>
                  <a:gd name="T53" fmla="*/ 2147483646 h 1983"/>
                  <a:gd name="T54" fmla="*/ 2147483646 w 2936"/>
                  <a:gd name="T55" fmla="*/ 2147483646 h 1983"/>
                  <a:gd name="T56" fmla="*/ 2147483646 w 2936"/>
                  <a:gd name="T57" fmla="*/ 2147483646 h 1983"/>
                  <a:gd name="T58" fmla="*/ 2147483646 w 2936"/>
                  <a:gd name="T59" fmla="*/ 2147483646 h 1983"/>
                  <a:gd name="T60" fmla="*/ 2147483646 w 2936"/>
                  <a:gd name="T61" fmla="*/ 2147483646 h 1983"/>
                  <a:gd name="T62" fmla="*/ 2147483646 w 2936"/>
                  <a:gd name="T63" fmla="*/ 2147483646 h 1983"/>
                  <a:gd name="T64" fmla="*/ 2147483646 w 2936"/>
                  <a:gd name="T65" fmla="*/ 2147483646 h 1983"/>
                  <a:gd name="T66" fmla="*/ 2147483646 w 2936"/>
                  <a:gd name="T67" fmla="*/ 2147483646 h 1983"/>
                  <a:gd name="T68" fmla="*/ 2147483646 w 2936"/>
                  <a:gd name="T69" fmla="*/ 2147483646 h 1983"/>
                  <a:gd name="T70" fmla="*/ 2147483646 w 2936"/>
                  <a:gd name="T71" fmla="*/ 2147483646 h 1983"/>
                  <a:gd name="T72" fmla="*/ 2147483646 w 2936"/>
                  <a:gd name="T73" fmla="*/ 2147483646 h 1983"/>
                  <a:gd name="T74" fmla="*/ 2147483646 w 2936"/>
                  <a:gd name="T75" fmla="*/ 2147483646 h 1983"/>
                  <a:gd name="T76" fmla="*/ 2147483646 w 2936"/>
                  <a:gd name="T77" fmla="*/ 2147483646 h 1983"/>
                  <a:gd name="T78" fmla="*/ 2147483646 w 2936"/>
                  <a:gd name="T79" fmla="*/ 2147483646 h 1983"/>
                  <a:gd name="T80" fmla="*/ 2147483646 w 2936"/>
                  <a:gd name="T81" fmla="*/ 2147483646 h 1983"/>
                  <a:gd name="T82" fmla="*/ 2147483646 w 2936"/>
                  <a:gd name="T83" fmla="*/ 2147483646 h 1983"/>
                  <a:gd name="T84" fmla="*/ 2147483646 w 2936"/>
                  <a:gd name="T85" fmla="*/ 2147483646 h 1983"/>
                  <a:gd name="T86" fmla="*/ 2147483646 w 2936"/>
                  <a:gd name="T87" fmla="*/ 2147483646 h 1983"/>
                  <a:gd name="T88" fmla="*/ 2147483646 w 2936"/>
                  <a:gd name="T89" fmla="*/ 2147483646 h 1983"/>
                  <a:gd name="T90" fmla="*/ 2147483646 w 2936"/>
                  <a:gd name="T91" fmla="*/ 2147483646 h 1983"/>
                  <a:gd name="T92" fmla="*/ 2147483646 w 2936"/>
                  <a:gd name="T93" fmla="*/ 2147483646 h 1983"/>
                  <a:gd name="T94" fmla="*/ 2147483646 w 2936"/>
                  <a:gd name="T95" fmla="*/ 2147483646 h 1983"/>
                  <a:gd name="T96" fmla="*/ 2147483646 w 2936"/>
                  <a:gd name="T97" fmla="*/ 2147483646 h 1983"/>
                  <a:gd name="T98" fmla="*/ 2147483646 w 2936"/>
                  <a:gd name="T99" fmla="*/ 2147483646 h 1983"/>
                  <a:gd name="T100" fmla="*/ 2147483646 w 2936"/>
                  <a:gd name="T101" fmla="*/ 2147483646 h 1983"/>
                  <a:gd name="T102" fmla="*/ 2147483646 w 2936"/>
                  <a:gd name="T103" fmla="*/ 2147483646 h 1983"/>
                  <a:gd name="T104" fmla="*/ 2147483646 w 2936"/>
                  <a:gd name="T105" fmla="*/ 2147483646 h 1983"/>
                  <a:gd name="T106" fmla="*/ 2147483646 w 2936"/>
                  <a:gd name="T107" fmla="*/ 2147483646 h 1983"/>
                  <a:gd name="T108" fmla="*/ 2147483646 w 2936"/>
                  <a:gd name="T109" fmla="*/ 2147483646 h 1983"/>
                  <a:gd name="T110" fmla="*/ 2147483646 w 2936"/>
                  <a:gd name="T111" fmla="*/ 2147483646 h 1983"/>
                  <a:gd name="T112" fmla="*/ 2147483646 w 2936"/>
                  <a:gd name="T113" fmla="*/ 2147483646 h 1983"/>
                  <a:gd name="T114" fmla="*/ 2147483646 w 2936"/>
                  <a:gd name="T115" fmla="*/ 2147483646 h 1983"/>
                  <a:gd name="T116" fmla="*/ 2147483646 w 2936"/>
                  <a:gd name="T117" fmla="*/ 2147483646 h 1983"/>
                  <a:gd name="T118" fmla="*/ 2147483646 w 2936"/>
                  <a:gd name="T119" fmla="*/ 2147483646 h 1983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2936"/>
                  <a:gd name="T181" fmla="*/ 0 h 1983"/>
                  <a:gd name="T182" fmla="*/ 2936 w 2936"/>
                  <a:gd name="T183" fmla="*/ 1983 h 1983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2936" h="1983">
                    <a:moveTo>
                      <a:pt x="98" y="954"/>
                    </a:moveTo>
                    <a:lnTo>
                      <a:pt x="129" y="989"/>
                    </a:lnTo>
                    <a:lnTo>
                      <a:pt x="157" y="1017"/>
                    </a:lnTo>
                    <a:lnTo>
                      <a:pt x="170" y="1029"/>
                    </a:lnTo>
                    <a:lnTo>
                      <a:pt x="182" y="1041"/>
                    </a:lnTo>
                    <a:lnTo>
                      <a:pt x="194" y="1050"/>
                    </a:lnTo>
                    <a:lnTo>
                      <a:pt x="205" y="1059"/>
                    </a:lnTo>
                    <a:lnTo>
                      <a:pt x="216" y="1066"/>
                    </a:lnTo>
                    <a:lnTo>
                      <a:pt x="227" y="1072"/>
                    </a:lnTo>
                    <a:lnTo>
                      <a:pt x="238" y="1076"/>
                    </a:lnTo>
                    <a:lnTo>
                      <a:pt x="248" y="1080"/>
                    </a:lnTo>
                    <a:lnTo>
                      <a:pt x="259" y="1082"/>
                    </a:lnTo>
                    <a:lnTo>
                      <a:pt x="270" y="1084"/>
                    </a:lnTo>
                    <a:lnTo>
                      <a:pt x="281" y="1084"/>
                    </a:lnTo>
                    <a:lnTo>
                      <a:pt x="292" y="1084"/>
                    </a:lnTo>
                    <a:lnTo>
                      <a:pt x="364" y="1065"/>
                    </a:lnTo>
                    <a:lnTo>
                      <a:pt x="373" y="1071"/>
                    </a:lnTo>
                    <a:lnTo>
                      <a:pt x="383" y="1079"/>
                    </a:lnTo>
                    <a:lnTo>
                      <a:pt x="393" y="1090"/>
                    </a:lnTo>
                    <a:lnTo>
                      <a:pt x="401" y="1102"/>
                    </a:lnTo>
                    <a:lnTo>
                      <a:pt x="410" y="1114"/>
                    </a:lnTo>
                    <a:lnTo>
                      <a:pt x="418" y="1127"/>
                    </a:lnTo>
                    <a:lnTo>
                      <a:pt x="420" y="1133"/>
                    </a:lnTo>
                    <a:lnTo>
                      <a:pt x="422" y="1139"/>
                    </a:lnTo>
                    <a:lnTo>
                      <a:pt x="423" y="1145"/>
                    </a:lnTo>
                    <a:lnTo>
                      <a:pt x="425" y="1151"/>
                    </a:lnTo>
                    <a:lnTo>
                      <a:pt x="423" y="1157"/>
                    </a:lnTo>
                    <a:lnTo>
                      <a:pt x="420" y="1162"/>
                    </a:lnTo>
                    <a:lnTo>
                      <a:pt x="416" y="1167"/>
                    </a:lnTo>
                    <a:lnTo>
                      <a:pt x="409" y="1172"/>
                    </a:lnTo>
                    <a:lnTo>
                      <a:pt x="403" y="1176"/>
                    </a:lnTo>
                    <a:lnTo>
                      <a:pt x="396" y="1179"/>
                    </a:lnTo>
                    <a:lnTo>
                      <a:pt x="390" y="1182"/>
                    </a:lnTo>
                    <a:lnTo>
                      <a:pt x="385" y="1182"/>
                    </a:lnTo>
                    <a:lnTo>
                      <a:pt x="399" y="1200"/>
                    </a:lnTo>
                    <a:lnTo>
                      <a:pt x="412" y="1217"/>
                    </a:lnTo>
                    <a:lnTo>
                      <a:pt x="419" y="1226"/>
                    </a:lnTo>
                    <a:lnTo>
                      <a:pt x="423" y="1235"/>
                    </a:lnTo>
                    <a:lnTo>
                      <a:pt x="428" y="1245"/>
                    </a:lnTo>
                    <a:lnTo>
                      <a:pt x="431" y="1256"/>
                    </a:lnTo>
                    <a:lnTo>
                      <a:pt x="385" y="1256"/>
                    </a:lnTo>
                    <a:lnTo>
                      <a:pt x="385" y="1287"/>
                    </a:lnTo>
                    <a:lnTo>
                      <a:pt x="390" y="1300"/>
                    </a:lnTo>
                    <a:lnTo>
                      <a:pt x="397" y="1311"/>
                    </a:lnTo>
                    <a:lnTo>
                      <a:pt x="405" y="1321"/>
                    </a:lnTo>
                    <a:lnTo>
                      <a:pt x="414" y="1328"/>
                    </a:lnTo>
                    <a:lnTo>
                      <a:pt x="423" y="1335"/>
                    </a:lnTo>
                    <a:lnTo>
                      <a:pt x="434" y="1340"/>
                    </a:lnTo>
                    <a:lnTo>
                      <a:pt x="444" y="1345"/>
                    </a:lnTo>
                    <a:lnTo>
                      <a:pt x="456" y="1349"/>
                    </a:lnTo>
                    <a:lnTo>
                      <a:pt x="478" y="1358"/>
                    </a:lnTo>
                    <a:lnTo>
                      <a:pt x="500" y="1367"/>
                    </a:lnTo>
                    <a:lnTo>
                      <a:pt x="510" y="1373"/>
                    </a:lnTo>
                    <a:lnTo>
                      <a:pt x="520" y="1381"/>
                    </a:lnTo>
                    <a:lnTo>
                      <a:pt x="529" y="1389"/>
                    </a:lnTo>
                    <a:lnTo>
                      <a:pt x="538" y="1398"/>
                    </a:lnTo>
                    <a:lnTo>
                      <a:pt x="617" y="1404"/>
                    </a:lnTo>
                    <a:lnTo>
                      <a:pt x="620" y="1408"/>
                    </a:lnTo>
                    <a:lnTo>
                      <a:pt x="623" y="1411"/>
                    </a:lnTo>
                    <a:lnTo>
                      <a:pt x="628" y="1414"/>
                    </a:lnTo>
                    <a:lnTo>
                      <a:pt x="633" y="1417"/>
                    </a:lnTo>
                    <a:lnTo>
                      <a:pt x="644" y="1422"/>
                    </a:lnTo>
                    <a:lnTo>
                      <a:pt x="656" y="1427"/>
                    </a:lnTo>
                    <a:lnTo>
                      <a:pt x="678" y="1436"/>
                    </a:lnTo>
                    <a:lnTo>
                      <a:pt x="690" y="1441"/>
                    </a:lnTo>
                    <a:lnTo>
                      <a:pt x="723" y="1462"/>
                    </a:lnTo>
                    <a:lnTo>
                      <a:pt x="754" y="1481"/>
                    </a:lnTo>
                    <a:lnTo>
                      <a:pt x="768" y="1492"/>
                    </a:lnTo>
                    <a:lnTo>
                      <a:pt x="784" y="1501"/>
                    </a:lnTo>
                    <a:lnTo>
                      <a:pt x="798" y="1509"/>
                    </a:lnTo>
                    <a:lnTo>
                      <a:pt x="814" y="1517"/>
                    </a:lnTo>
                    <a:lnTo>
                      <a:pt x="830" y="1525"/>
                    </a:lnTo>
                    <a:lnTo>
                      <a:pt x="847" y="1531"/>
                    </a:lnTo>
                    <a:lnTo>
                      <a:pt x="866" y="1537"/>
                    </a:lnTo>
                    <a:lnTo>
                      <a:pt x="886" y="1543"/>
                    </a:lnTo>
                    <a:lnTo>
                      <a:pt x="907" y="1547"/>
                    </a:lnTo>
                    <a:lnTo>
                      <a:pt x="930" y="1550"/>
                    </a:lnTo>
                    <a:lnTo>
                      <a:pt x="955" y="1552"/>
                    </a:lnTo>
                    <a:lnTo>
                      <a:pt x="982" y="1552"/>
                    </a:lnTo>
                    <a:lnTo>
                      <a:pt x="982" y="1521"/>
                    </a:lnTo>
                    <a:lnTo>
                      <a:pt x="1015" y="1521"/>
                    </a:lnTo>
                    <a:lnTo>
                      <a:pt x="1021" y="1532"/>
                    </a:lnTo>
                    <a:lnTo>
                      <a:pt x="1025" y="1539"/>
                    </a:lnTo>
                    <a:lnTo>
                      <a:pt x="1031" y="1545"/>
                    </a:lnTo>
                    <a:lnTo>
                      <a:pt x="1036" y="1552"/>
                    </a:lnTo>
                    <a:lnTo>
                      <a:pt x="1042" y="1552"/>
                    </a:lnTo>
                    <a:lnTo>
                      <a:pt x="1046" y="1551"/>
                    </a:lnTo>
                    <a:lnTo>
                      <a:pt x="1050" y="1548"/>
                    </a:lnTo>
                    <a:lnTo>
                      <a:pt x="1054" y="1546"/>
                    </a:lnTo>
                    <a:lnTo>
                      <a:pt x="1058" y="1538"/>
                    </a:lnTo>
                    <a:lnTo>
                      <a:pt x="1062" y="1530"/>
                    </a:lnTo>
                    <a:lnTo>
                      <a:pt x="1066" y="1522"/>
                    </a:lnTo>
                    <a:lnTo>
                      <a:pt x="1071" y="1516"/>
                    </a:lnTo>
                    <a:lnTo>
                      <a:pt x="1075" y="1513"/>
                    </a:lnTo>
                    <a:lnTo>
                      <a:pt x="1078" y="1511"/>
                    </a:lnTo>
                    <a:lnTo>
                      <a:pt x="1083" y="1510"/>
                    </a:lnTo>
                    <a:lnTo>
                      <a:pt x="1089" y="1509"/>
                    </a:lnTo>
                    <a:lnTo>
                      <a:pt x="1092" y="1512"/>
                    </a:lnTo>
                    <a:lnTo>
                      <a:pt x="1096" y="1516"/>
                    </a:lnTo>
                    <a:lnTo>
                      <a:pt x="1102" y="1519"/>
                    </a:lnTo>
                    <a:lnTo>
                      <a:pt x="1109" y="1522"/>
                    </a:lnTo>
                    <a:lnTo>
                      <a:pt x="1124" y="1529"/>
                    </a:lnTo>
                    <a:lnTo>
                      <a:pt x="1142" y="1534"/>
                    </a:lnTo>
                    <a:lnTo>
                      <a:pt x="1159" y="1539"/>
                    </a:lnTo>
                    <a:lnTo>
                      <a:pt x="1178" y="1543"/>
                    </a:lnTo>
                    <a:lnTo>
                      <a:pt x="1194" y="1546"/>
                    </a:lnTo>
                    <a:lnTo>
                      <a:pt x="1208" y="1546"/>
                    </a:lnTo>
                    <a:lnTo>
                      <a:pt x="1217" y="1535"/>
                    </a:lnTo>
                    <a:lnTo>
                      <a:pt x="1227" y="1526"/>
                    </a:lnTo>
                    <a:lnTo>
                      <a:pt x="1236" y="1518"/>
                    </a:lnTo>
                    <a:lnTo>
                      <a:pt x="1247" y="1510"/>
                    </a:lnTo>
                    <a:lnTo>
                      <a:pt x="1258" y="1502"/>
                    </a:lnTo>
                    <a:lnTo>
                      <a:pt x="1269" y="1496"/>
                    </a:lnTo>
                    <a:lnTo>
                      <a:pt x="1280" y="1489"/>
                    </a:lnTo>
                    <a:lnTo>
                      <a:pt x="1292" y="1482"/>
                    </a:lnTo>
                    <a:lnTo>
                      <a:pt x="1317" y="1472"/>
                    </a:lnTo>
                    <a:lnTo>
                      <a:pt x="1344" y="1463"/>
                    </a:lnTo>
                    <a:lnTo>
                      <a:pt x="1372" y="1455"/>
                    </a:lnTo>
                    <a:lnTo>
                      <a:pt x="1401" y="1448"/>
                    </a:lnTo>
                    <a:lnTo>
                      <a:pt x="1408" y="1456"/>
                    </a:lnTo>
                    <a:lnTo>
                      <a:pt x="1418" y="1465"/>
                    </a:lnTo>
                    <a:lnTo>
                      <a:pt x="1431" y="1476"/>
                    </a:lnTo>
                    <a:lnTo>
                      <a:pt x="1446" y="1487"/>
                    </a:lnTo>
                    <a:lnTo>
                      <a:pt x="1453" y="1492"/>
                    </a:lnTo>
                    <a:lnTo>
                      <a:pt x="1461" y="1496"/>
                    </a:lnTo>
                    <a:lnTo>
                      <a:pt x="1469" y="1499"/>
                    </a:lnTo>
                    <a:lnTo>
                      <a:pt x="1475" y="1502"/>
                    </a:lnTo>
                    <a:lnTo>
                      <a:pt x="1483" y="1504"/>
                    </a:lnTo>
                    <a:lnTo>
                      <a:pt x="1490" y="1505"/>
                    </a:lnTo>
                    <a:lnTo>
                      <a:pt x="1495" y="1505"/>
                    </a:lnTo>
                    <a:lnTo>
                      <a:pt x="1501" y="1503"/>
                    </a:lnTo>
                    <a:lnTo>
                      <a:pt x="1512" y="1510"/>
                    </a:lnTo>
                    <a:lnTo>
                      <a:pt x="1521" y="1518"/>
                    </a:lnTo>
                    <a:lnTo>
                      <a:pt x="1530" y="1526"/>
                    </a:lnTo>
                    <a:lnTo>
                      <a:pt x="1538" y="1534"/>
                    </a:lnTo>
                    <a:lnTo>
                      <a:pt x="1547" y="1542"/>
                    </a:lnTo>
                    <a:lnTo>
                      <a:pt x="1555" y="1547"/>
                    </a:lnTo>
                    <a:lnTo>
                      <a:pt x="1561" y="1550"/>
                    </a:lnTo>
                    <a:lnTo>
                      <a:pt x="1566" y="1551"/>
                    </a:lnTo>
                    <a:lnTo>
                      <a:pt x="1573" y="1552"/>
                    </a:lnTo>
                    <a:lnTo>
                      <a:pt x="1581" y="1552"/>
                    </a:lnTo>
                    <a:lnTo>
                      <a:pt x="1586" y="1578"/>
                    </a:lnTo>
                    <a:lnTo>
                      <a:pt x="1593" y="1602"/>
                    </a:lnTo>
                    <a:lnTo>
                      <a:pt x="1596" y="1613"/>
                    </a:lnTo>
                    <a:lnTo>
                      <a:pt x="1598" y="1625"/>
                    </a:lnTo>
                    <a:lnTo>
                      <a:pt x="1599" y="1637"/>
                    </a:lnTo>
                    <a:lnTo>
                      <a:pt x="1600" y="1650"/>
                    </a:lnTo>
                    <a:lnTo>
                      <a:pt x="1599" y="1658"/>
                    </a:lnTo>
                    <a:lnTo>
                      <a:pt x="1598" y="1664"/>
                    </a:lnTo>
                    <a:lnTo>
                      <a:pt x="1596" y="1670"/>
                    </a:lnTo>
                    <a:lnTo>
                      <a:pt x="1593" y="1676"/>
                    </a:lnTo>
                    <a:lnTo>
                      <a:pt x="1585" y="1686"/>
                    </a:lnTo>
                    <a:lnTo>
                      <a:pt x="1577" y="1697"/>
                    </a:lnTo>
                    <a:lnTo>
                      <a:pt x="1569" y="1707"/>
                    </a:lnTo>
                    <a:lnTo>
                      <a:pt x="1561" y="1719"/>
                    </a:lnTo>
                    <a:lnTo>
                      <a:pt x="1558" y="1724"/>
                    </a:lnTo>
                    <a:lnTo>
                      <a:pt x="1555" y="1730"/>
                    </a:lnTo>
                    <a:lnTo>
                      <a:pt x="1554" y="1736"/>
                    </a:lnTo>
                    <a:lnTo>
                      <a:pt x="1553" y="1743"/>
                    </a:lnTo>
                    <a:lnTo>
                      <a:pt x="1554" y="1748"/>
                    </a:lnTo>
                    <a:lnTo>
                      <a:pt x="1555" y="1753"/>
                    </a:lnTo>
                    <a:lnTo>
                      <a:pt x="1558" y="1756"/>
                    </a:lnTo>
                    <a:lnTo>
                      <a:pt x="1561" y="1759"/>
                    </a:lnTo>
                    <a:lnTo>
                      <a:pt x="1565" y="1761"/>
                    </a:lnTo>
                    <a:lnTo>
                      <a:pt x="1570" y="1764"/>
                    </a:lnTo>
                    <a:lnTo>
                      <a:pt x="1574" y="1765"/>
                    </a:lnTo>
                    <a:lnTo>
                      <a:pt x="1580" y="1767"/>
                    </a:lnTo>
                    <a:lnTo>
                      <a:pt x="1591" y="1769"/>
                    </a:lnTo>
                    <a:lnTo>
                      <a:pt x="1602" y="1771"/>
                    </a:lnTo>
                    <a:lnTo>
                      <a:pt x="1607" y="1773"/>
                    </a:lnTo>
                    <a:lnTo>
                      <a:pt x="1611" y="1775"/>
                    </a:lnTo>
                    <a:lnTo>
                      <a:pt x="1616" y="1777"/>
                    </a:lnTo>
                    <a:lnTo>
                      <a:pt x="1620" y="1780"/>
                    </a:lnTo>
                    <a:lnTo>
                      <a:pt x="1627" y="1787"/>
                    </a:lnTo>
                    <a:lnTo>
                      <a:pt x="1632" y="1794"/>
                    </a:lnTo>
                    <a:lnTo>
                      <a:pt x="1636" y="1801"/>
                    </a:lnTo>
                    <a:lnTo>
                      <a:pt x="1639" y="1807"/>
                    </a:lnTo>
                    <a:lnTo>
                      <a:pt x="1645" y="1822"/>
                    </a:lnTo>
                    <a:lnTo>
                      <a:pt x="1653" y="1836"/>
                    </a:lnTo>
                    <a:lnTo>
                      <a:pt x="1659" y="1848"/>
                    </a:lnTo>
                    <a:lnTo>
                      <a:pt x="1666" y="1862"/>
                    </a:lnTo>
                    <a:lnTo>
                      <a:pt x="1674" y="1877"/>
                    </a:lnTo>
                    <a:lnTo>
                      <a:pt x="1683" y="1890"/>
                    </a:lnTo>
                    <a:lnTo>
                      <a:pt x="1688" y="1897"/>
                    </a:lnTo>
                    <a:lnTo>
                      <a:pt x="1694" y="1903"/>
                    </a:lnTo>
                    <a:lnTo>
                      <a:pt x="1699" y="1908"/>
                    </a:lnTo>
                    <a:lnTo>
                      <a:pt x="1706" y="1912"/>
                    </a:lnTo>
                    <a:lnTo>
                      <a:pt x="1712" y="1916"/>
                    </a:lnTo>
                    <a:lnTo>
                      <a:pt x="1719" y="1919"/>
                    </a:lnTo>
                    <a:lnTo>
                      <a:pt x="1726" y="1921"/>
                    </a:lnTo>
                    <a:lnTo>
                      <a:pt x="1733" y="1921"/>
                    </a:lnTo>
                    <a:lnTo>
                      <a:pt x="1741" y="1921"/>
                    </a:lnTo>
                    <a:lnTo>
                      <a:pt x="1752" y="1918"/>
                    </a:lnTo>
                    <a:lnTo>
                      <a:pt x="1762" y="1916"/>
                    </a:lnTo>
                    <a:lnTo>
                      <a:pt x="1766" y="1915"/>
                    </a:lnTo>
                    <a:lnTo>
                      <a:pt x="1777" y="1910"/>
                    </a:lnTo>
                    <a:lnTo>
                      <a:pt x="1787" y="1904"/>
                    </a:lnTo>
                    <a:lnTo>
                      <a:pt x="1795" y="1898"/>
                    </a:lnTo>
                    <a:lnTo>
                      <a:pt x="1803" y="1891"/>
                    </a:lnTo>
                    <a:lnTo>
                      <a:pt x="1809" y="1884"/>
                    </a:lnTo>
                    <a:lnTo>
                      <a:pt x="1816" y="1878"/>
                    </a:lnTo>
                    <a:lnTo>
                      <a:pt x="1823" y="1871"/>
                    </a:lnTo>
                    <a:lnTo>
                      <a:pt x="1833" y="1866"/>
                    </a:lnTo>
                    <a:lnTo>
                      <a:pt x="1842" y="1859"/>
                    </a:lnTo>
                    <a:lnTo>
                      <a:pt x="1852" y="1853"/>
                    </a:lnTo>
                    <a:lnTo>
                      <a:pt x="1863" y="1848"/>
                    </a:lnTo>
                    <a:lnTo>
                      <a:pt x="1874" y="1844"/>
                    </a:lnTo>
                    <a:lnTo>
                      <a:pt x="1896" y="1838"/>
                    </a:lnTo>
                    <a:lnTo>
                      <a:pt x="1919" y="1834"/>
                    </a:lnTo>
                    <a:lnTo>
                      <a:pt x="1941" y="1831"/>
                    </a:lnTo>
                    <a:lnTo>
                      <a:pt x="1960" y="1827"/>
                    </a:lnTo>
                    <a:lnTo>
                      <a:pt x="1968" y="1824"/>
                    </a:lnTo>
                    <a:lnTo>
                      <a:pt x="1975" y="1821"/>
                    </a:lnTo>
                    <a:lnTo>
                      <a:pt x="1981" y="1816"/>
                    </a:lnTo>
                    <a:lnTo>
                      <a:pt x="1986" y="1811"/>
                    </a:lnTo>
                    <a:lnTo>
                      <a:pt x="1996" y="1820"/>
                    </a:lnTo>
                    <a:lnTo>
                      <a:pt x="2008" y="1827"/>
                    </a:lnTo>
                    <a:lnTo>
                      <a:pt x="2019" y="1832"/>
                    </a:lnTo>
                    <a:lnTo>
                      <a:pt x="2031" y="1837"/>
                    </a:lnTo>
                    <a:lnTo>
                      <a:pt x="2054" y="1846"/>
                    </a:lnTo>
                    <a:lnTo>
                      <a:pt x="2072" y="1854"/>
                    </a:lnTo>
                    <a:lnTo>
                      <a:pt x="2091" y="1869"/>
                    </a:lnTo>
                    <a:lnTo>
                      <a:pt x="2109" y="1887"/>
                    </a:lnTo>
                    <a:lnTo>
                      <a:pt x="2119" y="1896"/>
                    </a:lnTo>
                    <a:lnTo>
                      <a:pt x="2129" y="1903"/>
                    </a:lnTo>
                    <a:lnTo>
                      <a:pt x="2140" y="1910"/>
                    </a:lnTo>
                    <a:lnTo>
                      <a:pt x="2152" y="1915"/>
                    </a:lnTo>
                    <a:lnTo>
                      <a:pt x="2245" y="1921"/>
                    </a:lnTo>
                    <a:lnTo>
                      <a:pt x="2238" y="1935"/>
                    </a:lnTo>
                    <a:lnTo>
                      <a:pt x="2232" y="1947"/>
                    </a:lnTo>
                    <a:lnTo>
                      <a:pt x="2232" y="1953"/>
                    </a:lnTo>
                    <a:lnTo>
                      <a:pt x="2235" y="1957"/>
                    </a:lnTo>
                    <a:lnTo>
                      <a:pt x="2238" y="1961"/>
                    </a:lnTo>
                    <a:lnTo>
                      <a:pt x="2243" y="1965"/>
                    </a:lnTo>
                    <a:lnTo>
                      <a:pt x="2248" y="1968"/>
                    </a:lnTo>
                    <a:lnTo>
                      <a:pt x="2254" y="1972"/>
                    </a:lnTo>
                    <a:lnTo>
                      <a:pt x="2259" y="1977"/>
                    </a:lnTo>
                    <a:lnTo>
                      <a:pt x="2265" y="1983"/>
                    </a:lnTo>
                    <a:lnTo>
                      <a:pt x="2266" y="1980"/>
                    </a:lnTo>
                    <a:lnTo>
                      <a:pt x="2267" y="1972"/>
                    </a:lnTo>
                    <a:lnTo>
                      <a:pt x="2268" y="1968"/>
                    </a:lnTo>
                    <a:lnTo>
                      <a:pt x="2267" y="1963"/>
                    </a:lnTo>
                    <a:lnTo>
                      <a:pt x="2267" y="1957"/>
                    </a:lnTo>
                    <a:lnTo>
                      <a:pt x="2265" y="1953"/>
                    </a:lnTo>
                    <a:lnTo>
                      <a:pt x="2275" y="1947"/>
                    </a:lnTo>
                    <a:lnTo>
                      <a:pt x="2293" y="1935"/>
                    </a:lnTo>
                    <a:lnTo>
                      <a:pt x="2303" y="1927"/>
                    </a:lnTo>
                    <a:lnTo>
                      <a:pt x="2313" y="1921"/>
                    </a:lnTo>
                    <a:lnTo>
                      <a:pt x="2319" y="1919"/>
                    </a:lnTo>
                    <a:lnTo>
                      <a:pt x="2323" y="1917"/>
                    </a:lnTo>
                    <a:lnTo>
                      <a:pt x="2327" y="1916"/>
                    </a:lnTo>
                    <a:lnTo>
                      <a:pt x="2331" y="1915"/>
                    </a:lnTo>
                    <a:lnTo>
                      <a:pt x="2341" y="1915"/>
                    </a:lnTo>
                    <a:lnTo>
                      <a:pt x="2349" y="1913"/>
                    </a:lnTo>
                    <a:lnTo>
                      <a:pt x="2357" y="1910"/>
                    </a:lnTo>
                    <a:lnTo>
                      <a:pt x="2364" y="1906"/>
                    </a:lnTo>
                    <a:lnTo>
                      <a:pt x="2370" y="1901"/>
                    </a:lnTo>
                    <a:lnTo>
                      <a:pt x="2376" y="1895"/>
                    </a:lnTo>
                    <a:lnTo>
                      <a:pt x="2382" y="1889"/>
                    </a:lnTo>
                    <a:lnTo>
                      <a:pt x="2388" y="1882"/>
                    </a:lnTo>
                    <a:lnTo>
                      <a:pt x="2399" y="1867"/>
                    </a:lnTo>
                    <a:lnTo>
                      <a:pt x="2412" y="1853"/>
                    </a:lnTo>
                    <a:lnTo>
                      <a:pt x="2418" y="1847"/>
                    </a:lnTo>
                    <a:lnTo>
                      <a:pt x="2426" y="1840"/>
                    </a:lnTo>
                    <a:lnTo>
                      <a:pt x="2435" y="1835"/>
                    </a:lnTo>
                    <a:lnTo>
                      <a:pt x="2444" y="1830"/>
                    </a:lnTo>
                    <a:lnTo>
                      <a:pt x="2449" y="1838"/>
                    </a:lnTo>
                    <a:lnTo>
                      <a:pt x="2454" y="1846"/>
                    </a:lnTo>
                    <a:lnTo>
                      <a:pt x="2455" y="1850"/>
                    </a:lnTo>
                    <a:lnTo>
                      <a:pt x="2456" y="1854"/>
                    </a:lnTo>
                    <a:lnTo>
                      <a:pt x="2457" y="1860"/>
                    </a:lnTo>
                    <a:lnTo>
                      <a:pt x="2457" y="1866"/>
                    </a:lnTo>
                    <a:lnTo>
                      <a:pt x="2462" y="1860"/>
                    </a:lnTo>
                    <a:lnTo>
                      <a:pt x="2468" y="1857"/>
                    </a:lnTo>
                    <a:lnTo>
                      <a:pt x="2474" y="1855"/>
                    </a:lnTo>
                    <a:lnTo>
                      <a:pt x="2481" y="1855"/>
                    </a:lnTo>
                    <a:lnTo>
                      <a:pt x="2487" y="1856"/>
                    </a:lnTo>
                    <a:lnTo>
                      <a:pt x="2493" y="1858"/>
                    </a:lnTo>
                    <a:lnTo>
                      <a:pt x="2499" y="1862"/>
                    </a:lnTo>
                    <a:lnTo>
                      <a:pt x="2504" y="1866"/>
                    </a:lnTo>
                    <a:lnTo>
                      <a:pt x="2505" y="1856"/>
                    </a:lnTo>
                    <a:lnTo>
                      <a:pt x="2507" y="1847"/>
                    </a:lnTo>
                    <a:lnTo>
                      <a:pt x="2511" y="1841"/>
                    </a:lnTo>
                    <a:lnTo>
                      <a:pt x="2514" y="1836"/>
                    </a:lnTo>
                    <a:lnTo>
                      <a:pt x="2517" y="1832"/>
                    </a:lnTo>
                    <a:lnTo>
                      <a:pt x="2522" y="1829"/>
                    </a:lnTo>
                    <a:lnTo>
                      <a:pt x="2527" y="1828"/>
                    </a:lnTo>
                    <a:lnTo>
                      <a:pt x="2533" y="1827"/>
                    </a:lnTo>
                    <a:lnTo>
                      <a:pt x="2546" y="1826"/>
                    </a:lnTo>
                    <a:lnTo>
                      <a:pt x="2561" y="1827"/>
                    </a:lnTo>
                    <a:lnTo>
                      <a:pt x="2569" y="1827"/>
                    </a:lnTo>
                    <a:lnTo>
                      <a:pt x="2578" y="1826"/>
                    </a:lnTo>
                    <a:lnTo>
                      <a:pt x="2588" y="1825"/>
                    </a:lnTo>
                    <a:lnTo>
                      <a:pt x="2596" y="1824"/>
                    </a:lnTo>
                    <a:lnTo>
                      <a:pt x="2604" y="1821"/>
                    </a:lnTo>
                    <a:lnTo>
                      <a:pt x="2611" y="1816"/>
                    </a:lnTo>
                    <a:lnTo>
                      <a:pt x="2616" y="1810"/>
                    </a:lnTo>
                    <a:lnTo>
                      <a:pt x="2622" y="1804"/>
                    </a:lnTo>
                    <a:lnTo>
                      <a:pt x="2633" y="1790"/>
                    </a:lnTo>
                    <a:lnTo>
                      <a:pt x="2642" y="1774"/>
                    </a:lnTo>
                    <a:lnTo>
                      <a:pt x="2648" y="1766"/>
                    </a:lnTo>
                    <a:lnTo>
                      <a:pt x="2653" y="1758"/>
                    </a:lnTo>
                    <a:lnTo>
                      <a:pt x="2660" y="1750"/>
                    </a:lnTo>
                    <a:lnTo>
                      <a:pt x="2667" y="1743"/>
                    </a:lnTo>
                    <a:lnTo>
                      <a:pt x="2674" y="1737"/>
                    </a:lnTo>
                    <a:lnTo>
                      <a:pt x="2683" y="1732"/>
                    </a:lnTo>
                    <a:lnTo>
                      <a:pt x="2693" y="1728"/>
                    </a:lnTo>
                    <a:lnTo>
                      <a:pt x="2703" y="1725"/>
                    </a:lnTo>
                    <a:lnTo>
                      <a:pt x="2704" y="1716"/>
                    </a:lnTo>
                    <a:lnTo>
                      <a:pt x="2706" y="1707"/>
                    </a:lnTo>
                    <a:lnTo>
                      <a:pt x="2711" y="1699"/>
                    </a:lnTo>
                    <a:lnTo>
                      <a:pt x="2715" y="1691"/>
                    </a:lnTo>
                    <a:lnTo>
                      <a:pt x="2726" y="1677"/>
                    </a:lnTo>
                    <a:lnTo>
                      <a:pt x="2737" y="1663"/>
                    </a:lnTo>
                    <a:lnTo>
                      <a:pt x="2733" y="1658"/>
                    </a:lnTo>
                    <a:lnTo>
                      <a:pt x="2730" y="1651"/>
                    </a:lnTo>
                    <a:lnTo>
                      <a:pt x="2729" y="1645"/>
                    </a:lnTo>
                    <a:lnTo>
                      <a:pt x="2729" y="1638"/>
                    </a:lnTo>
                    <a:lnTo>
                      <a:pt x="2728" y="1631"/>
                    </a:lnTo>
                    <a:lnTo>
                      <a:pt x="2726" y="1625"/>
                    </a:lnTo>
                    <a:lnTo>
                      <a:pt x="2725" y="1622"/>
                    </a:lnTo>
                    <a:lnTo>
                      <a:pt x="2723" y="1619"/>
                    </a:lnTo>
                    <a:lnTo>
                      <a:pt x="2719" y="1616"/>
                    </a:lnTo>
                    <a:lnTo>
                      <a:pt x="2716" y="1614"/>
                    </a:lnTo>
                    <a:lnTo>
                      <a:pt x="2728" y="1602"/>
                    </a:lnTo>
                    <a:lnTo>
                      <a:pt x="2739" y="1588"/>
                    </a:lnTo>
                    <a:lnTo>
                      <a:pt x="2750" y="1573"/>
                    </a:lnTo>
                    <a:lnTo>
                      <a:pt x="2760" y="1558"/>
                    </a:lnTo>
                    <a:lnTo>
                      <a:pt x="2780" y="1521"/>
                    </a:lnTo>
                    <a:lnTo>
                      <a:pt x="2803" y="1478"/>
                    </a:lnTo>
                    <a:lnTo>
                      <a:pt x="2798" y="1475"/>
                    </a:lnTo>
                    <a:lnTo>
                      <a:pt x="2796" y="1471"/>
                    </a:lnTo>
                    <a:lnTo>
                      <a:pt x="2795" y="1467"/>
                    </a:lnTo>
                    <a:lnTo>
                      <a:pt x="2794" y="1462"/>
                    </a:lnTo>
                    <a:lnTo>
                      <a:pt x="2795" y="1451"/>
                    </a:lnTo>
                    <a:lnTo>
                      <a:pt x="2796" y="1441"/>
                    </a:lnTo>
                    <a:lnTo>
                      <a:pt x="2790" y="1428"/>
                    </a:lnTo>
                    <a:lnTo>
                      <a:pt x="2790" y="1426"/>
                    </a:lnTo>
                    <a:lnTo>
                      <a:pt x="2792" y="1423"/>
                    </a:lnTo>
                    <a:lnTo>
                      <a:pt x="2794" y="1420"/>
                    </a:lnTo>
                    <a:lnTo>
                      <a:pt x="2797" y="1417"/>
                    </a:lnTo>
                    <a:lnTo>
                      <a:pt x="2801" y="1414"/>
                    </a:lnTo>
                    <a:lnTo>
                      <a:pt x="2804" y="1412"/>
                    </a:lnTo>
                    <a:lnTo>
                      <a:pt x="2807" y="1411"/>
                    </a:lnTo>
                    <a:lnTo>
                      <a:pt x="2809" y="1410"/>
                    </a:lnTo>
                    <a:lnTo>
                      <a:pt x="2809" y="1386"/>
                    </a:lnTo>
                    <a:lnTo>
                      <a:pt x="2801" y="1389"/>
                    </a:lnTo>
                    <a:lnTo>
                      <a:pt x="2793" y="1391"/>
                    </a:lnTo>
                    <a:lnTo>
                      <a:pt x="2785" y="1393"/>
                    </a:lnTo>
                    <a:lnTo>
                      <a:pt x="2778" y="1394"/>
                    </a:lnTo>
                    <a:lnTo>
                      <a:pt x="2763" y="1395"/>
                    </a:lnTo>
                    <a:lnTo>
                      <a:pt x="2750" y="1394"/>
                    </a:lnTo>
                    <a:lnTo>
                      <a:pt x="2738" y="1392"/>
                    </a:lnTo>
                    <a:lnTo>
                      <a:pt x="2725" y="1389"/>
                    </a:lnTo>
                    <a:lnTo>
                      <a:pt x="2711" y="1384"/>
                    </a:lnTo>
                    <a:lnTo>
                      <a:pt x="2696" y="1380"/>
                    </a:lnTo>
                    <a:lnTo>
                      <a:pt x="2705" y="1375"/>
                    </a:lnTo>
                    <a:lnTo>
                      <a:pt x="2713" y="1369"/>
                    </a:lnTo>
                    <a:lnTo>
                      <a:pt x="2719" y="1363"/>
                    </a:lnTo>
                    <a:lnTo>
                      <a:pt x="2726" y="1356"/>
                    </a:lnTo>
                    <a:lnTo>
                      <a:pt x="2737" y="1342"/>
                    </a:lnTo>
                    <a:lnTo>
                      <a:pt x="2750" y="1324"/>
                    </a:lnTo>
                    <a:lnTo>
                      <a:pt x="2730" y="1316"/>
                    </a:lnTo>
                    <a:lnTo>
                      <a:pt x="2712" y="1310"/>
                    </a:lnTo>
                    <a:lnTo>
                      <a:pt x="2695" y="1305"/>
                    </a:lnTo>
                    <a:lnTo>
                      <a:pt x="2679" y="1300"/>
                    </a:lnTo>
                    <a:lnTo>
                      <a:pt x="2662" y="1294"/>
                    </a:lnTo>
                    <a:lnTo>
                      <a:pt x="2647" y="1287"/>
                    </a:lnTo>
                    <a:lnTo>
                      <a:pt x="2639" y="1282"/>
                    </a:lnTo>
                    <a:lnTo>
                      <a:pt x="2632" y="1277"/>
                    </a:lnTo>
                    <a:lnTo>
                      <a:pt x="2624" y="1270"/>
                    </a:lnTo>
                    <a:lnTo>
                      <a:pt x="2617" y="1262"/>
                    </a:lnTo>
                    <a:lnTo>
                      <a:pt x="2626" y="1268"/>
                    </a:lnTo>
                    <a:lnTo>
                      <a:pt x="2640" y="1273"/>
                    </a:lnTo>
                    <a:lnTo>
                      <a:pt x="2657" y="1278"/>
                    </a:lnTo>
                    <a:lnTo>
                      <a:pt x="2675" y="1283"/>
                    </a:lnTo>
                    <a:lnTo>
                      <a:pt x="2715" y="1293"/>
                    </a:lnTo>
                    <a:lnTo>
                      <a:pt x="2750" y="1299"/>
                    </a:lnTo>
                    <a:lnTo>
                      <a:pt x="2749" y="1293"/>
                    </a:lnTo>
                    <a:lnTo>
                      <a:pt x="2746" y="1288"/>
                    </a:lnTo>
                    <a:lnTo>
                      <a:pt x="2742" y="1283"/>
                    </a:lnTo>
                    <a:lnTo>
                      <a:pt x="2737" y="1279"/>
                    </a:lnTo>
                    <a:lnTo>
                      <a:pt x="2725" y="1272"/>
                    </a:lnTo>
                    <a:lnTo>
                      <a:pt x="2709" y="1266"/>
                    </a:lnTo>
                    <a:lnTo>
                      <a:pt x="2695" y="1259"/>
                    </a:lnTo>
                    <a:lnTo>
                      <a:pt x="2682" y="1252"/>
                    </a:lnTo>
                    <a:lnTo>
                      <a:pt x="2678" y="1248"/>
                    </a:lnTo>
                    <a:lnTo>
                      <a:pt x="2673" y="1244"/>
                    </a:lnTo>
                    <a:lnTo>
                      <a:pt x="2671" y="1238"/>
                    </a:lnTo>
                    <a:lnTo>
                      <a:pt x="2670" y="1232"/>
                    </a:lnTo>
                    <a:lnTo>
                      <a:pt x="2669" y="1227"/>
                    </a:lnTo>
                    <a:lnTo>
                      <a:pt x="2668" y="1224"/>
                    </a:lnTo>
                    <a:lnTo>
                      <a:pt x="2666" y="1220"/>
                    </a:lnTo>
                    <a:lnTo>
                      <a:pt x="2662" y="1217"/>
                    </a:lnTo>
                    <a:lnTo>
                      <a:pt x="2656" y="1212"/>
                    </a:lnTo>
                    <a:lnTo>
                      <a:pt x="2650" y="1208"/>
                    </a:lnTo>
                    <a:lnTo>
                      <a:pt x="2626" y="1186"/>
                    </a:lnTo>
                    <a:lnTo>
                      <a:pt x="2581" y="1145"/>
                    </a:lnTo>
                    <a:lnTo>
                      <a:pt x="2557" y="1124"/>
                    </a:lnTo>
                    <a:lnTo>
                      <a:pt x="2537" y="1105"/>
                    </a:lnTo>
                    <a:lnTo>
                      <a:pt x="2523" y="1090"/>
                    </a:lnTo>
                    <a:lnTo>
                      <a:pt x="2517" y="1084"/>
                    </a:lnTo>
                    <a:lnTo>
                      <a:pt x="2517" y="1078"/>
                    </a:lnTo>
                    <a:lnTo>
                      <a:pt x="2520" y="1074"/>
                    </a:lnTo>
                    <a:lnTo>
                      <a:pt x="2522" y="1070"/>
                    </a:lnTo>
                    <a:lnTo>
                      <a:pt x="2525" y="1068"/>
                    </a:lnTo>
                    <a:lnTo>
                      <a:pt x="2528" y="1065"/>
                    </a:lnTo>
                    <a:lnTo>
                      <a:pt x="2532" y="1061"/>
                    </a:lnTo>
                    <a:lnTo>
                      <a:pt x="2534" y="1055"/>
                    </a:lnTo>
                    <a:lnTo>
                      <a:pt x="2537" y="1047"/>
                    </a:lnTo>
                    <a:lnTo>
                      <a:pt x="2535" y="1046"/>
                    </a:lnTo>
                    <a:lnTo>
                      <a:pt x="2530" y="1043"/>
                    </a:lnTo>
                    <a:lnTo>
                      <a:pt x="2528" y="1042"/>
                    </a:lnTo>
                    <a:lnTo>
                      <a:pt x="2526" y="1039"/>
                    </a:lnTo>
                    <a:lnTo>
                      <a:pt x="2524" y="1036"/>
                    </a:lnTo>
                    <a:lnTo>
                      <a:pt x="2524" y="1034"/>
                    </a:lnTo>
                    <a:lnTo>
                      <a:pt x="2557" y="1034"/>
                    </a:lnTo>
                    <a:lnTo>
                      <a:pt x="2558" y="1028"/>
                    </a:lnTo>
                    <a:lnTo>
                      <a:pt x="2559" y="1022"/>
                    </a:lnTo>
                    <a:lnTo>
                      <a:pt x="2561" y="1016"/>
                    </a:lnTo>
                    <a:lnTo>
                      <a:pt x="2565" y="1011"/>
                    </a:lnTo>
                    <a:lnTo>
                      <a:pt x="2569" y="1006"/>
                    </a:lnTo>
                    <a:lnTo>
                      <a:pt x="2573" y="1002"/>
                    </a:lnTo>
                    <a:lnTo>
                      <a:pt x="2578" y="997"/>
                    </a:lnTo>
                    <a:lnTo>
                      <a:pt x="2583" y="993"/>
                    </a:lnTo>
                    <a:lnTo>
                      <a:pt x="2607" y="977"/>
                    </a:lnTo>
                    <a:lnTo>
                      <a:pt x="2630" y="960"/>
                    </a:lnTo>
                    <a:lnTo>
                      <a:pt x="2617" y="958"/>
                    </a:lnTo>
                    <a:lnTo>
                      <a:pt x="2603" y="954"/>
                    </a:lnTo>
                    <a:lnTo>
                      <a:pt x="2590" y="949"/>
                    </a:lnTo>
                    <a:lnTo>
                      <a:pt x="2577" y="944"/>
                    </a:lnTo>
                    <a:lnTo>
                      <a:pt x="2563" y="938"/>
                    </a:lnTo>
                    <a:lnTo>
                      <a:pt x="2552" y="932"/>
                    </a:lnTo>
                    <a:lnTo>
                      <a:pt x="2544" y="924"/>
                    </a:lnTo>
                    <a:lnTo>
                      <a:pt x="2537" y="917"/>
                    </a:lnTo>
                    <a:lnTo>
                      <a:pt x="2498" y="917"/>
                    </a:lnTo>
                    <a:lnTo>
                      <a:pt x="2498" y="926"/>
                    </a:lnTo>
                    <a:lnTo>
                      <a:pt x="2498" y="938"/>
                    </a:lnTo>
                    <a:lnTo>
                      <a:pt x="2498" y="950"/>
                    </a:lnTo>
                    <a:lnTo>
                      <a:pt x="2498" y="967"/>
                    </a:lnTo>
                    <a:lnTo>
                      <a:pt x="2457" y="967"/>
                    </a:lnTo>
                    <a:lnTo>
                      <a:pt x="2453" y="962"/>
                    </a:lnTo>
                    <a:lnTo>
                      <a:pt x="2449" y="956"/>
                    </a:lnTo>
                    <a:lnTo>
                      <a:pt x="2447" y="949"/>
                    </a:lnTo>
                    <a:lnTo>
                      <a:pt x="2444" y="942"/>
                    </a:lnTo>
                    <a:lnTo>
                      <a:pt x="2442" y="936"/>
                    </a:lnTo>
                    <a:lnTo>
                      <a:pt x="2438" y="928"/>
                    </a:lnTo>
                    <a:lnTo>
                      <a:pt x="2435" y="922"/>
                    </a:lnTo>
                    <a:lnTo>
                      <a:pt x="2431" y="917"/>
                    </a:lnTo>
                    <a:lnTo>
                      <a:pt x="2426" y="914"/>
                    </a:lnTo>
                    <a:lnTo>
                      <a:pt x="2421" y="911"/>
                    </a:lnTo>
                    <a:lnTo>
                      <a:pt x="2413" y="909"/>
                    </a:lnTo>
                    <a:lnTo>
                      <a:pt x="2404" y="907"/>
                    </a:lnTo>
                    <a:lnTo>
                      <a:pt x="2387" y="903"/>
                    </a:lnTo>
                    <a:lnTo>
                      <a:pt x="2367" y="899"/>
                    </a:lnTo>
                    <a:lnTo>
                      <a:pt x="2357" y="897"/>
                    </a:lnTo>
                    <a:lnTo>
                      <a:pt x="2348" y="894"/>
                    </a:lnTo>
                    <a:lnTo>
                      <a:pt x="2339" y="890"/>
                    </a:lnTo>
                    <a:lnTo>
                      <a:pt x="2333" y="887"/>
                    </a:lnTo>
                    <a:lnTo>
                      <a:pt x="2326" y="882"/>
                    </a:lnTo>
                    <a:lnTo>
                      <a:pt x="2322" y="876"/>
                    </a:lnTo>
                    <a:lnTo>
                      <a:pt x="2320" y="872"/>
                    </a:lnTo>
                    <a:lnTo>
                      <a:pt x="2319" y="869"/>
                    </a:lnTo>
                    <a:lnTo>
                      <a:pt x="2319" y="866"/>
                    </a:lnTo>
                    <a:lnTo>
                      <a:pt x="2317" y="862"/>
                    </a:lnTo>
                    <a:lnTo>
                      <a:pt x="2319" y="858"/>
                    </a:lnTo>
                    <a:lnTo>
                      <a:pt x="2319" y="855"/>
                    </a:lnTo>
                    <a:lnTo>
                      <a:pt x="2321" y="853"/>
                    </a:lnTo>
                    <a:lnTo>
                      <a:pt x="2322" y="850"/>
                    </a:lnTo>
                    <a:lnTo>
                      <a:pt x="2327" y="846"/>
                    </a:lnTo>
                    <a:lnTo>
                      <a:pt x="2334" y="843"/>
                    </a:lnTo>
                    <a:lnTo>
                      <a:pt x="2341" y="840"/>
                    </a:lnTo>
                    <a:lnTo>
                      <a:pt x="2348" y="839"/>
                    </a:lnTo>
                    <a:lnTo>
                      <a:pt x="2357" y="838"/>
                    </a:lnTo>
                    <a:lnTo>
                      <a:pt x="2365" y="837"/>
                    </a:lnTo>
                    <a:lnTo>
                      <a:pt x="2368" y="836"/>
                    </a:lnTo>
                    <a:lnTo>
                      <a:pt x="2372" y="833"/>
                    </a:lnTo>
                    <a:lnTo>
                      <a:pt x="2378" y="828"/>
                    </a:lnTo>
                    <a:lnTo>
                      <a:pt x="2383" y="822"/>
                    </a:lnTo>
                    <a:lnTo>
                      <a:pt x="2393" y="811"/>
                    </a:lnTo>
                    <a:lnTo>
                      <a:pt x="2398" y="806"/>
                    </a:lnTo>
                    <a:lnTo>
                      <a:pt x="2410" y="798"/>
                    </a:lnTo>
                    <a:lnTo>
                      <a:pt x="2423" y="789"/>
                    </a:lnTo>
                    <a:lnTo>
                      <a:pt x="2428" y="783"/>
                    </a:lnTo>
                    <a:lnTo>
                      <a:pt x="2433" y="776"/>
                    </a:lnTo>
                    <a:lnTo>
                      <a:pt x="2435" y="773"/>
                    </a:lnTo>
                    <a:lnTo>
                      <a:pt x="2436" y="768"/>
                    </a:lnTo>
                    <a:lnTo>
                      <a:pt x="2437" y="763"/>
                    </a:lnTo>
                    <a:lnTo>
                      <a:pt x="2437" y="757"/>
                    </a:lnTo>
                    <a:lnTo>
                      <a:pt x="2438" y="758"/>
                    </a:lnTo>
                    <a:lnTo>
                      <a:pt x="2439" y="758"/>
                    </a:lnTo>
                    <a:lnTo>
                      <a:pt x="2442" y="757"/>
                    </a:lnTo>
                    <a:lnTo>
                      <a:pt x="2443" y="756"/>
                    </a:lnTo>
                    <a:lnTo>
                      <a:pt x="2445" y="752"/>
                    </a:lnTo>
                    <a:lnTo>
                      <a:pt x="2448" y="747"/>
                    </a:lnTo>
                    <a:lnTo>
                      <a:pt x="2451" y="742"/>
                    </a:lnTo>
                    <a:lnTo>
                      <a:pt x="2455" y="737"/>
                    </a:lnTo>
                    <a:lnTo>
                      <a:pt x="2457" y="735"/>
                    </a:lnTo>
                    <a:lnTo>
                      <a:pt x="2459" y="734"/>
                    </a:lnTo>
                    <a:lnTo>
                      <a:pt x="2461" y="733"/>
                    </a:lnTo>
                    <a:lnTo>
                      <a:pt x="2464" y="733"/>
                    </a:lnTo>
                    <a:lnTo>
                      <a:pt x="2471" y="733"/>
                    </a:lnTo>
                    <a:lnTo>
                      <a:pt x="2478" y="735"/>
                    </a:lnTo>
                    <a:lnTo>
                      <a:pt x="2484" y="737"/>
                    </a:lnTo>
                    <a:lnTo>
                      <a:pt x="2491" y="741"/>
                    </a:lnTo>
                    <a:lnTo>
                      <a:pt x="2503" y="751"/>
                    </a:lnTo>
                    <a:lnTo>
                      <a:pt x="2517" y="764"/>
                    </a:lnTo>
                    <a:lnTo>
                      <a:pt x="2511" y="769"/>
                    </a:lnTo>
                    <a:lnTo>
                      <a:pt x="2504" y="775"/>
                    </a:lnTo>
                    <a:lnTo>
                      <a:pt x="2496" y="780"/>
                    </a:lnTo>
                    <a:lnTo>
                      <a:pt x="2491" y="782"/>
                    </a:lnTo>
                    <a:lnTo>
                      <a:pt x="2493" y="789"/>
                    </a:lnTo>
                    <a:lnTo>
                      <a:pt x="2496" y="795"/>
                    </a:lnTo>
                    <a:lnTo>
                      <a:pt x="2501" y="800"/>
                    </a:lnTo>
                    <a:lnTo>
                      <a:pt x="2504" y="805"/>
                    </a:lnTo>
                    <a:lnTo>
                      <a:pt x="2510" y="809"/>
                    </a:lnTo>
                    <a:lnTo>
                      <a:pt x="2514" y="813"/>
                    </a:lnTo>
                    <a:lnTo>
                      <a:pt x="2518" y="816"/>
                    </a:lnTo>
                    <a:lnTo>
                      <a:pt x="2524" y="819"/>
                    </a:lnTo>
                    <a:lnTo>
                      <a:pt x="2524" y="837"/>
                    </a:lnTo>
                    <a:lnTo>
                      <a:pt x="2523" y="840"/>
                    </a:lnTo>
                    <a:lnTo>
                      <a:pt x="2523" y="842"/>
                    </a:lnTo>
                    <a:lnTo>
                      <a:pt x="2525" y="844"/>
                    </a:lnTo>
                    <a:lnTo>
                      <a:pt x="2527" y="847"/>
                    </a:lnTo>
                    <a:lnTo>
                      <a:pt x="2529" y="849"/>
                    </a:lnTo>
                    <a:lnTo>
                      <a:pt x="2532" y="851"/>
                    </a:lnTo>
                    <a:lnTo>
                      <a:pt x="2532" y="853"/>
                    </a:lnTo>
                    <a:lnTo>
                      <a:pt x="2530" y="856"/>
                    </a:lnTo>
                    <a:lnTo>
                      <a:pt x="2561" y="830"/>
                    </a:lnTo>
                    <a:lnTo>
                      <a:pt x="2585" y="810"/>
                    </a:lnTo>
                    <a:lnTo>
                      <a:pt x="2596" y="803"/>
                    </a:lnTo>
                    <a:lnTo>
                      <a:pt x="2605" y="797"/>
                    </a:lnTo>
                    <a:lnTo>
                      <a:pt x="2613" y="793"/>
                    </a:lnTo>
                    <a:lnTo>
                      <a:pt x="2621" y="790"/>
                    </a:lnTo>
                    <a:lnTo>
                      <a:pt x="2627" y="787"/>
                    </a:lnTo>
                    <a:lnTo>
                      <a:pt x="2633" y="786"/>
                    </a:lnTo>
                    <a:lnTo>
                      <a:pt x="2638" y="785"/>
                    </a:lnTo>
                    <a:lnTo>
                      <a:pt x="2645" y="785"/>
                    </a:lnTo>
                    <a:lnTo>
                      <a:pt x="2657" y="786"/>
                    </a:lnTo>
                    <a:lnTo>
                      <a:pt x="2670" y="788"/>
                    </a:lnTo>
                    <a:lnTo>
                      <a:pt x="2674" y="781"/>
                    </a:lnTo>
                    <a:lnTo>
                      <a:pt x="2679" y="774"/>
                    </a:lnTo>
                    <a:lnTo>
                      <a:pt x="2683" y="768"/>
                    </a:lnTo>
                    <a:lnTo>
                      <a:pt x="2689" y="763"/>
                    </a:lnTo>
                    <a:lnTo>
                      <a:pt x="2701" y="753"/>
                    </a:lnTo>
                    <a:lnTo>
                      <a:pt x="2713" y="745"/>
                    </a:lnTo>
                    <a:lnTo>
                      <a:pt x="2724" y="738"/>
                    </a:lnTo>
                    <a:lnTo>
                      <a:pt x="2735" y="730"/>
                    </a:lnTo>
                    <a:lnTo>
                      <a:pt x="2739" y="726"/>
                    </a:lnTo>
                    <a:lnTo>
                      <a:pt x="2743" y="721"/>
                    </a:lnTo>
                    <a:lnTo>
                      <a:pt x="2747" y="715"/>
                    </a:lnTo>
                    <a:lnTo>
                      <a:pt x="2750" y="708"/>
                    </a:lnTo>
                    <a:lnTo>
                      <a:pt x="2758" y="708"/>
                    </a:lnTo>
                    <a:lnTo>
                      <a:pt x="2765" y="706"/>
                    </a:lnTo>
                    <a:lnTo>
                      <a:pt x="2773" y="705"/>
                    </a:lnTo>
                    <a:lnTo>
                      <a:pt x="2780" y="704"/>
                    </a:lnTo>
                    <a:lnTo>
                      <a:pt x="2792" y="700"/>
                    </a:lnTo>
                    <a:lnTo>
                      <a:pt x="2803" y="694"/>
                    </a:lnTo>
                    <a:lnTo>
                      <a:pt x="2812" y="688"/>
                    </a:lnTo>
                    <a:lnTo>
                      <a:pt x="2820" y="681"/>
                    </a:lnTo>
                    <a:lnTo>
                      <a:pt x="2828" y="673"/>
                    </a:lnTo>
                    <a:lnTo>
                      <a:pt x="2836" y="665"/>
                    </a:lnTo>
                    <a:lnTo>
                      <a:pt x="2842" y="657"/>
                    </a:lnTo>
                    <a:lnTo>
                      <a:pt x="2850" y="649"/>
                    </a:lnTo>
                    <a:lnTo>
                      <a:pt x="2858" y="641"/>
                    </a:lnTo>
                    <a:lnTo>
                      <a:pt x="2866" y="635"/>
                    </a:lnTo>
                    <a:lnTo>
                      <a:pt x="2876" y="630"/>
                    </a:lnTo>
                    <a:lnTo>
                      <a:pt x="2887" y="625"/>
                    </a:lnTo>
                    <a:lnTo>
                      <a:pt x="2901" y="623"/>
                    </a:lnTo>
                    <a:lnTo>
                      <a:pt x="2916" y="622"/>
                    </a:lnTo>
                    <a:lnTo>
                      <a:pt x="2915" y="611"/>
                    </a:lnTo>
                    <a:lnTo>
                      <a:pt x="2914" y="602"/>
                    </a:lnTo>
                    <a:lnTo>
                      <a:pt x="2910" y="593"/>
                    </a:lnTo>
                    <a:lnTo>
                      <a:pt x="2906" y="586"/>
                    </a:lnTo>
                    <a:lnTo>
                      <a:pt x="2902" y="580"/>
                    </a:lnTo>
                    <a:lnTo>
                      <a:pt x="2897" y="574"/>
                    </a:lnTo>
                    <a:lnTo>
                      <a:pt x="2892" y="569"/>
                    </a:lnTo>
                    <a:lnTo>
                      <a:pt x="2886" y="564"/>
                    </a:lnTo>
                    <a:lnTo>
                      <a:pt x="2875" y="554"/>
                    </a:lnTo>
                    <a:lnTo>
                      <a:pt x="2865" y="543"/>
                    </a:lnTo>
                    <a:lnTo>
                      <a:pt x="2861" y="536"/>
                    </a:lnTo>
                    <a:lnTo>
                      <a:pt x="2859" y="529"/>
                    </a:lnTo>
                    <a:lnTo>
                      <a:pt x="2857" y="520"/>
                    </a:lnTo>
                    <a:lnTo>
                      <a:pt x="2855" y="511"/>
                    </a:lnTo>
                    <a:lnTo>
                      <a:pt x="2857" y="505"/>
                    </a:lnTo>
                    <a:lnTo>
                      <a:pt x="2860" y="499"/>
                    </a:lnTo>
                    <a:lnTo>
                      <a:pt x="2862" y="497"/>
                    </a:lnTo>
                    <a:lnTo>
                      <a:pt x="2864" y="495"/>
                    </a:lnTo>
                    <a:lnTo>
                      <a:pt x="2866" y="493"/>
                    </a:lnTo>
                    <a:lnTo>
                      <a:pt x="2870" y="493"/>
                    </a:lnTo>
                    <a:lnTo>
                      <a:pt x="2885" y="493"/>
                    </a:lnTo>
                    <a:lnTo>
                      <a:pt x="2903" y="495"/>
                    </a:lnTo>
                    <a:lnTo>
                      <a:pt x="2911" y="495"/>
                    </a:lnTo>
                    <a:lnTo>
                      <a:pt x="2919" y="495"/>
                    </a:lnTo>
                    <a:lnTo>
                      <a:pt x="2928" y="494"/>
                    </a:lnTo>
                    <a:lnTo>
                      <a:pt x="2936" y="493"/>
                    </a:lnTo>
                    <a:lnTo>
                      <a:pt x="2936" y="412"/>
                    </a:lnTo>
                    <a:lnTo>
                      <a:pt x="2930" y="407"/>
                    </a:lnTo>
                    <a:lnTo>
                      <a:pt x="2926" y="402"/>
                    </a:lnTo>
                    <a:lnTo>
                      <a:pt x="2921" y="396"/>
                    </a:lnTo>
                    <a:lnTo>
                      <a:pt x="2917" y="389"/>
                    </a:lnTo>
                    <a:lnTo>
                      <a:pt x="2914" y="382"/>
                    </a:lnTo>
                    <a:lnTo>
                      <a:pt x="2911" y="375"/>
                    </a:lnTo>
                    <a:lnTo>
                      <a:pt x="2909" y="365"/>
                    </a:lnTo>
                    <a:lnTo>
                      <a:pt x="2909" y="357"/>
                    </a:lnTo>
                    <a:lnTo>
                      <a:pt x="2909" y="348"/>
                    </a:lnTo>
                    <a:lnTo>
                      <a:pt x="2909" y="341"/>
                    </a:lnTo>
                    <a:lnTo>
                      <a:pt x="2909" y="332"/>
                    </a:lnTo>
                    <a:lnTo>
                      <a:pt x="2909" y="320"/>
                    </a:lnTo>
                    <a:lnTo>
                      <a:pt x="2904" y="316"/>
                    </a:lnTo>
                    <a:lnTo>
                      <a:pt x="2897" y="310"/>
                    </a:lnTo>
                    <a:lnTo>
                      <a:pt x="2893" y="307"/>
                    </a:lnTo>
                    <a:lnTo>
                      <a:pt x="2888" y="304"/>
                    </a:lnTo>
                    <a:lnTo>
                      <a:pt x="2883" y="302"/>
                    </a:lnTo>
                    <a:lnTo>
                      <a:pt x="2876" y="301"/>
                    </a:lnTo>
                    <a:lnTo>
                      <a:pt x="2866" y="302"/>
                    </a:lnTo>
                    <a:lnTo>
                      <a:pt x="2858" y="303"/>
                    </a:lnTo>
                    <a:lnTo>
                      <a:pt x="2849" y="305"/>
                    </a:lnTo>
                    <a:lnTo>
                      <a:pt x="2841" y="308"/>
                    </a:lnTo>
                    <a:lnTo>
                      <a:pt x="2827" y="314"/>
                    </a:lnTo>
                    <a:lnTo>
                      <a:pt x="2813" y="323"/>
                    </a:lnTo>
                    <a:lnTo>
                      <a:pt x="2798" y="331"/>
                    </a:lnTo>
                    <a:lnTo>
                      <a:pt x="2784" y="338"/>
                    </a:lnTo>
                    <a:lnTo>
                      <a:pt x="2776" y="341"/>
                    </a:lnTo>
                    <a:lnTo>
                      <a:pt x="2768" y="343"/>
                    </a:lnTo>
                    <a:lnTo>
                      <a:pt x="2759" y="344"/>
                    </a:lnTo>
                    <a:lnTo>
                      <a:pt x="2750" y="344"/>
                    </a:lnTo>
                    <a:lnTo>
                      <a:pt x="2735" y="343"/>
                    </a:lnTo>
                    <a:lnTo>
                      <a:pt x="2722" y="341"/>
                    </a:lnTo>
                    <a:lnTo>
                      <a:pt x="2708" y="336"/>
                    </a:lnTo>
                    <a:lnTo>
                      <a:pt x="2696" y="331"/>
                    </a:lnTo>
                    <a:lnTo>
                      <a:pt x="2684" y="324"/>
                    </a:lnTo>
                    <a:lnTo>
                      <a:pt x="2672" y="315"/>
                    </a:lnTo>
                    <a:lnTo>
                      <a:pt x="2661" y="307"/>
                    </a:lnTo>
                    <a:lnTo>
                      <a:pt x="2650" y="298"/>
                    </a:lnTo>
                    <a:lnTo>
                      <a:pt x="2627" y="280"/>
                    </a:lnTo>
                    <a:lnTo>
                      <a:pt x="2604" y="261"/>
                    </a:lnTo>
                    <a:lnTo>
                      <a:pt x="2592" y="253"/>
                    </a:lnTo>
                    <a:lnTo>
                      <a:pt x="2579" y="245"/>
                    </a:lnTo>
                    <a:lnTo>
                      <a:pt x="2565" y="239"/>
                    </a:lnTo>
                    <a:lnTo>
                      <a:pt x="2550" y="233"/>
                    </a:lnTo>
                    <a:lnTo>
                      <a:pt x="2525" y="227"/>
                    </a:lnTo>
                    <a:lnTo>
                      <a:pt x="2499" y="219"/>
                    </a:lnTo>
                    <a:lnTo>
                      <a:pt x="2487" y="215"/>
                    </a:lnTo>
                    <a:lnTo>
                      <a:pt x="2473" y="211"/>
                    </a:lnTo>
                    <a:lnTo>
                      <a:pt x="2461" y="205"/>
                    </a:lnTo>
                    <a:lnTo>
                      <a:pt x="2450" y="199"/>
                    </a:lnTo>
                    <a:lnTo>
                      <a:pt x="2438" y="193"/>
                    </a:lnTo>
                    <a:lnTo>
                      <a:pt x="2428" y="187"/>
                    </a:lnTo>
                    <a:lnTo>
                      <a:pt x="2418" y="179"/>
                    </a:lnTo>
                    <a:lnTo>
                      <a:pt x="2410" y="171"/>
                    </a:lnTo>
                    <a:lnTo>
                      <a:pt x="2401" y="162"/>
                    </a:lnTo>
                    <a:lnTo>
                      <a:pt x="2394" y="152"/>
                    </a:lnTo>
                    <a:lnTo>
                      <a:pt x="2389" y="141"/>
                    </a:lnTo>
                    <a:lnTo>
                      <a:pt x="2384" y="129"/>
                    </a:lnTo>
                    <a:lnTo>
                      <a:pt x="2370" y="128"/>
                    </a:lnTo>
                    <a:lnTo>
                      <a:pt x="2357" y="126"/>
                    </a:lnTo>
                    <a:lnTo>
                      <a:pt x="2346" y="122"/>
                    </a:lnTo>
                    <a:lnTo>
                      <a:pt x="2335" y="117"/>
                    </a:lnTo>
                    <a:lnTo>
                      <a:pt x="2325" y="111"/>
                    </a:lnTo>
                    <a:lnTo>
                      <a:pt x="2316" y="105"/>
                    </a:lnTo>
                    <a:lnTo>
                      <a:pt x="2308" y="98"/>
                    </a:lnTo>
                    <a:lnTo>
                      <a:pt x="2300" y="89"/>
                    </a:lnTo>
                    <a:lnTo>
                      <a:pt x="2283" y="74"/>
                    </a:lnTo>
                    <a:lnTo>
                      <a:pt x="2267" y="59"/>
                    </a:lnTo>
                    <a:lnTo>
                      <a:pt x="2257" y="52"/>
                    </a:lnTo>
                    <a:lnTo>
                      <a:pt x="2247" y="46"/>
                    </a:lnTo>
                    <a:lnTo>
                      <a:pt x="2236" y="41"/>
                    </a:lnTo>
                    <a:lnTo>
                      <a:pt x="2225" y="36"/>
                    </a:lnTo>
                    <a:lnTo>
                      <a:pt x="2190" y="25"/>
                    </a:lnTo>
                    <a:lnTo>
                      <a:pt x="2160" y="18"/>
                    </a:lnTo>
                    <a:lnTo>
                      <a:pt x="2131" y="10"/>
                    </a:lnTo>
                    <a:lnTo>
                      <a:pt x="2092" y="0"/>
                    </a:lnTo>
                    <a:lnTo>
                      <a:pt x="1973" y="18"/>
                    </a:lnTo>
                    <a:lnTo>
                      <a:pt x="1973" y="27"/>
                    </a:lnTo>
                    <a:lnTo>
                      <a:pt x="1973" y="36"/>
                    </a:lnTo>
                    <a:lnTo>
                      <a:pt x="1973" y="42"/>
                    </a:lnTo>
                    <a:lnTo>
                      <a:pt x="1975" y="46"/>
                    </a:lnTo>
                    <a:lnTo>
                      <a:pt x="1977" y="50"/>
                    </a:lnTo>
                    <a:lnTo>
                      <a:pt x="1980" y="53"/>
                    </a:lnTo>
                    <a:lnTo>
                      <a:pt x="1989" y="58"/>
                    </a:lnTo>
                    <a:lnTo>
                      <a:pt x="1999" y="62"/>
                    </a:lnTo>
                    <a:lnTo>
                      <a:pt x="2009" y="66"/>
                    </a:lnTo>
                    <a:lnTo>
                      <a:pt x="2018" y="72"/>
                    </a:lnTo>
                    <a:lnTo>
                      <a:pt x="2021" y="75"/>
                    </a:lnTo>
                    <a:lnTo>
                      <a:pt x="2023" y="80"/>
                    </a:lnTo>
                    <a:lnTo>
                      <a:pt x="2025" y="85"/>
                    </a:lnTo>
                    <a:lnTo>
                      <a:pt x="2025" y="91"/>
                    </a:lnTo>
                    <a:lnTo>
                      <a:pt x="2024" y="101"/>
                    </a:lnTo>
                    <a:lnTo>
                      <a:pt x="2022" y="108"/>
                    </a:lnTo>
                    <a:lnTo>
                      <a:pt x="2019" y="114"/>
                    </a:lnTo>
                    <a:lnTo>
                      <a:pt x="2016" y="120"/>
                    </a:lnTo>
                    <a:lnTo>
                      <a:pt x="2012" y="125"/>
                    </a:lnTo>
                    <a:lnTo>
                      <a:pt x="2009" y="131"/>
                    </a:lnTo>
                    <a:lnTo>
                      <a:pt x="2007" y="138"/>
                    </a:lnTo>
                    <a:lnTo>
                      <a:pt x="2006" y="147"/>
                    </a:lnTo>
                    <a:lnTo>
                      <a:pt x="2007" y="155"/>
                    </a:lnTo>
                    <a:lnTo>
                      <a:pt x="2009" y="161"/>
                    </a:lnTo>
                    <a:lnTo>
                      <a:pt x="2012" y="168"/>
                    </a:lnTo>
                    <a:lnTo>
                      <a:pt x="2018" y="174"/>
                    </a:lnTo>
                    <a:lnTo>
                      <a:pt x="2022" y="179"/>
                    </a:lnTo>
                    <a:lnTo>
                      <a:pt x="2028" y="184"/>
                    </a:lnTo>
                    <a:lnTo>
                      <a:pt x="2033" y="187"/>
                    </a:lnTo>
                    <a:lnTo>
                      <a:pt x="2039" y="190"/>
                    </a:lnTo>
                    <a:lnTo>
                      <a:pt x="2033" y="197"/>
                    </a:lnTo>
                    <a:lnTo>
                      <a:pt x="2025" y="204"/>
                    </a:lnTo>
                    <a:lnTo>
                      <a:pt x="2017" y="211"/>
                    </a:lnTo>
                    <a:lnTo>
                      <a:pt x="2008" y="216"/>
                    </a:lnTo>
                    <a:lnTo>
                      <a:pt x="1999" y="221"/>
                    </a:lnTo>
                    <a:lnTo>
                      <a:pt x="1989" y="224"/>
                    </a:lnTo>
                    <a:lnTo>
                      <a:pt x="1980" y="227"/>
                    </a:lnTo>
                    <a:lnTo>
                      <a:pt x="1973" y="227"/>
                    </a:lnTo>
                    <a:lnTo>
                      <a:pt x="1962" y="227"/>
                    </a:lnTo>
                    <a:lnTo>
                      <a:pt x="1952" y="227"/>
                    </a:lnTo>
                    <a:lnTo>
                      <a:pt x="1940" y="227"/>
                    </a:lnTo>
                    <a:lnTo>
                      <a:pt x="1925" y="227"/>
                    </a:lnTo>
                    <a:lnTo>
                      <a:pt x="1919" y="258"/>
                    </a:lnTo>
                    <a:lnTo>
                      <a:pt x="1924" y="278"/>
                    </a:lnTo>
                    <a:lnTo>
                      <a:pt x="1930" y="296"/>
                    </a:lnTo>
                    <a:lnTo>
                      <a:pt x="1933" y="304"/>
                    </a:lnTo>
                    <a:lnTo>
                      <a:pt x="1938" y="311"/>
                    </a:lnTo>
                    <a:lnTo>
                      <a:pt x="1942" y="319"/>
                    </a:lnTo>
                    <a:lnTo>
                      <a:pt x="1947" y="326"/>
                    </a:lnTo>
                    <a:lnTo>
                      <a:pt x="1953" y="331"/>
                    </a:lnTo>
                    <a:lnTo>
                      <a:pt x="1961" y="336"/>
                    </a:lnTo>
                    <a:lnTo>
                      <a:pt x="1968" y="340"/>
                    </a:lnTo>
                    <a:lnTo>
                      <a:pt x="1977" y="344"/>
                    </a:lnTo>
                    <a:lnTo>
                      <a:pt x="1987" y="347"/>
                    </a:lnTo>
                    <a:lnTo>
                      <a:pt x="1999" y="349"/>
                    </a:lnTo>
                    <a:lnTo>
                      <a:pt x="2011" y="350"/>
                    </a:lnTo>
                    <a:lnTo>
                      <a:pt x="2025" y="350"/>
                    </a:lnTo>
                    <a:lnTo>
                      <a:pt x="2036" y="350"/>
                    </a:lnTo>
                    <a:lnTo>
                      <a:pt x="2043" y="349"/>
                    </a:lnTo>
                    <a:lnTo>
                      <a:pt x="2048" y="347"/>
                    </a:lnTo>
                    <a:lnTo>
                      <a:pt x="2053" y="344"/>
                    </a:lnTo>
                    <a:lnTo>
                      <a:pt x="2057" y="342"/>
                    </a:lnTo>
                    <a:lnTo>
                      <a:pt x="2064" y="340"/>
                    </a:lnTo>
                    <a:lnTo>
                      <a:pt x="2073" y="339"/>
                    </a:lnTo>
                    <a:lnTo>
                      <a:pt x="2086" y="338"/>
                    </a:lnTo>
                    <a:lnTo>
                      <a:pt x="2092" y="339"/>
                    </a:lnTo>
                    <a:lnTo>
                      <a:pt x="2098" y="340"/>
                    </a:lnTo>
                    <a:lnTo>
                      <a:pt x="2103" y="341"/>
                    </a:lnTo>
                    <a:lnTo>
                      <a:pt x="2109" y="343"/>
                    </a:lnTo>
                    <a:lnTo>
                      <a:pt x="2122" y="349"/>
                    </a:lnTo>
                    <a:lnTo>
                      <a:pt x="2138" y="357"/>
                    </a:lnTo>
                    <a:lnTo>
                      <a:pt x="2140" y="361"/>
                    </a:lnTo>
                    <a:lnTo>
                      <a:pt x="2142" y="366"/>
                    </a:lnTo>
                    <a:lnTo>
                      <a:pt x="2146" y="370"/>
                    </a:lnTo>
                    <a:lnTo>
                      <a:pt x="2151" y="375"/>
                    </a:lnTo>
                    <a:lnTo>
                      <a:pt x="2157" y="379"/>
                    </a:lnTo>
                    <a:lnTo>
                      <a:pt x="2164" y="382"/>
                    </a:lnTo>
                    <a:lnTo>
                      <a:pt x="2170" y="385"/>
                    </a:lnTo>
                    <a:lnTo>
                      <a:pt x="2178" y="388"/>
                    </a:lnTo>
                    <a:lnTo>
                      <a:pt x="2175" y="393"/>
                    </a:lnTo>
                    <a:lnTo>
                      <a:pt x="2169" y="399"/>
                    </a:lnTo>
                    <a:lnTo>
                      <a:pt x="2160" y="405"/>
                    </a:lnTo>
                    <a:lnTo>
                      <a:pt x="2152" y="410"/>
                    </a:lnTo>
                    <a:lnTo>
                      <a:pt x="2141" y="416"/>
                    </a:lnTo>
                    <a:lnTo>
                      <a:pt x="2130" y="420"/>
                    </a:lnTo>
                    <a:lnTo>
                      <a:pt x="2118" y="423"/>
                    </a:lnTo>
                    <a:lnTo>
                      <a:pt x="2106" y="424"/>
                    </a:lnTo>
                    <a:lnTo>
                      <a:pt x="2098" y="426"/>
                    </a:lnTo>
                    <a:lnTo>
                      <a:pt x="2084" y="434"/>
                    </a:lnTo>
                    <a:lnTo>
                      <a:pt x="2064" y="443"/>
                    </a:lnTo>
                    <a:lnTo>
                      <a:pt x="2041" y="455"/>
                    </a:lnTo>
                    <a:lnTo>
                      <a:pt x="2019" y="467"/>
                    </a:lnTo>
                    <a:lnTo>
                      <a:pt x="1998" y="479"/>
                    </a:lnTo>
                    <a:lnTo>
                      <a:pt x="1989" y="485"/>
                    </a:lnTo>
                    <a:lnTo>
                      <a:pt x="1981" y="490"/>
                    </a:lnTo>
                    <a:lnTo>
                      <a:pt x="1976" y="495"/>
                    </a:lnTo>
                    <a:lnTo>
                      <a:pt x="1973" y="499"/>
                    </a:lnTo>
                    <a:lnTo>
                      <a:pt x="1860" y="499"/>
                    </a:lnTo>
                    <a:lnTo>
                      <a:pt x="1860" y="506"/>
                    </a:lnTo>
                    <a:lnTo>
                      <a:pt x="1861" y="513"/>
                    </a:lnTo>
                    <a:lnTo>
                      <a:pt x="1863" y="520"/>
                    </a:lnTo>
                    <a:lnTo>
                      <a:pt x="1864" y="525"/>
                    </a:lnTo>
                    <a:lnTo>
                      <a:pt x="1869" y="536"/>
                    </a:lnTo>
                    <a:lnTo>
                      <a:pt x="1876" y="546"/>
                    </a:lnTo>
                    <a:lnTo>
                      <a:pt x="1882" y="554"/>
                    </a:lnTo>
                    <a:lnTo>
                      <a:pt x="1887" y="562"/>
                    </a:lnTo>
                    <a:lnTo>
                      <a:pt x="1889" y="566"/>
                    </a:lnTo>
                    <a:lnTo>
                      <a:pt x="1891" y="570"/>
                    </a:lnTo>
                    <a:lnTo>
                      <a:pt x="1893" y="574"/>
                    </a:lnTo>
                    <a:lnTo>
                      <a:pt x="1893" y="578"/>
                    </a:lnTo>
                    <a:lnTo>
                      <a:pt x="1893" y="583"/>
                    </a:lnTo>
                    <a:lnTo>
                      <a:pt x="1890" y="588"/>
                    </a:lnTo>
                    <a:lnTo>
                      <a:pt x="1888" y="594"/>
                    </a:lnTo>
                    <a:lnTo>
                      <a:pt x="1885" y="601"/>
                    </a:lnTo>
                    <a:lnTo>
                      <a:pt x="1877" y="613"/>
                    </a:lnTo>
                    <a:lnTo>
                      <a:pt x="1867" y="625"/>
                    </a:lnTo>
                    <a:lnTo>
                      <a:pt x="1856" y="637"/>
                    </a:lnTo>
                    <a:lnTo>
                      <a:pt x="1845" y="647"/>
                    </a:lnTo>
                    <a:lnTo>
                      <a:pt x="1834" y="655"/>
                    </a:lnTo>
                    <a:lnTo>
                      <a:pt x="1827" y="659"/>
                    </a:lnTo>
                    <a:lnTo>
                      <a:pt x="1727" y="659"/>
                    </a:lnTo>
                    <a:lnTo>
                      <a:pt x="1699" y="674"/>
                    </a:lnTo>
                    <a:lnTo>
                      <a:pt x="1664" y="694"/>
                    </a:lnTo>
                    <a:lnTo>
                      <a:pt x="1647" y="704"/>
                    </a:lnTo>
                    <a:lnTo>
                      <a:pt x="1630" y="713"/>
                    </a:lnTo>
                    <a:lnTo>
                      <a:pt x="1624" y="716"/>
                    </a:lnTo>
                    <a:lnTo>
                      <a:pt x="1617" y="718"/>
                    </a:lnTo>
                    <a:lnTo>
                      <a:pt x="1611" y="720"/>
                    </a:lnTo>
                    <a:lnTo>
                      <a:pt x="1607" y="721"/>
                    </a:lnTo>
                    <a:lnTo>
                      <a:pt x="1598" y="720"/>
                    </a:lnTo>
                    <a:lnTo>
                      <a:pt x="1587" y="719"/>
                    </a:lnTo>
                    <a:lnTo>
                      <a:pt x="1574" y="717"/>
                    </a:lnTo>
                    <a:lnTo>
                      <a:pt x="1560" y="714"/>
                    </a:lnTo>
                    <a:lnTo>
                      <a:pt x="1527" y="705"/>
                    </a:lnTo>
                    <a:lnTo>
                      <a:pt x="1493" y="696"/>
                    </a:lnTo>
                    <a:lnTo>
                      <a:pt x="1460" y="686"/>
                    </a:lnTo>
                    <a:lnTo>
                      <a:pt x="1430" y="676"/>
                    </a:lnTo>
                    <a:lnTo>
                      <a:pt x="1418" y="671"/>
                    </a:lnTo>
                    <a:lnTo>
                      <a:pt x="1407" y="667"/>
                    </a:lnTo>
                    <a:lnTo>
                      <a:pt x="1400" y="663"/>
                    </a:lnTo>
                    <a:lnTo>
                      <a:pt x="1394" y="659"/>
                    </a:lnTo>
                    <a:lnTo>
                      <a:pt x="1228" y="659"/>
                    </a:lnTo>
                    <a:lnTo>
                      <a:pt x="1169" y="646"/>
                    </a:lnTo>
                    <a:lnTo>
                      <a:pt x="1160" y="646"/>
                    </a:lnTo>
                    <a:lnTo>
                      <a:pt x="1151" y="646"/>
                    </a:lnTo>
                    <a:lnTo>
                      <a:pt x="1143" y="644"/>
                    </a:lnTo>
                    <a:lnTo>
                      <a:pt x="1133" y="641"/>
                    </a:lnTo>
                    <a:lnTo>
                      <a:pt x="1123" y="638"/>
                    </a:lnTo>
                    <a:lnTo>
                      <a:pt x="1112" y="633"/>
                    </a:lnTo>
                    <a:lnTo>
                      <a:pt x="1102" y="628"/>
                    </a:lnTo>
                    <a:lnTo>
                      <a:pt x="1092" y="622"/>
                    </a:lnTo>
                    <a:lnTo>
                      <a:pt x="1082" y="615"/>
                    </a:lnTo>
                    <a:lnTo>
                      <a:pt x="1073" y="608"/>
                    </a:lnTo>
                    <a:lnTo>
                      <a:pt x="1065" y="601"/>
                    </a:lnTo>
                    <a:lnTo>
                      <a:pt x="1056" y="592"/>
                    </a:lnTo>
                    <a:lnTo>
                      <a:pt x="1049" y="584"/>
                    </a:lnTo>
                    <a:lnTo>
                      <a:pt x="1044" y="576"/>
                    </a:lnTo>
                    <a:lnTo>
                      <a:pt x="1038" y="568"/>
                    </a:lnTo>
                    <a:lnTo>
                      <a:pt x="1036" y="560"/>
                    </a:lnTo>
                    <a:lnTo>
                      <a:pt x="1022" y="560"/>
                    </a:lnTo>
                    <a:lnTo>
                      <a:pt x="1008" y="558"/>
                    </a:lnTo>
                    <a:lnTo>
                      <a:pt x="994" y="555"/>
                    </a:lnTo>
                    <a:lnTo>
                      <a:pt x="980" y="552"/>
                    </a:lnTo>
                    <a:lnTo>
                      <a:pt x="953" y="543"/>
                    </a:lnTo>
                    <a:lnTo>
                      <a:pt x="923" y="532"/>
                    </a:lnTo>
                    <a:lnTo>
                      <a:pt x="893" y="522"/>
                    </a:lnTo>
                    <a:lnTo>
                      <a:pt x="863" y="513"/>
                    </a:lnTo>
                    <a:lnTo>
                      <a:pt x="846" y="510"/>
                    </a:lnTo>
                    <a:lnTo>
                      <a:pt x="831" y="507"/>
                    </a:lnTo>
                    <a:lnTo>
                      <a:pt x="813" y="505"/>
                    </a:lnTo>
                    <a:lnTo>
                      <a:pt x="797" y="505"/>
                    </a:lnTo>
                    <a:lnTo>
                      <a:pt x="786" y="504"/>
                    </a:lnTo>
                    <a:lnTo>
                      <a:pt x="770" y="501"/>
                    </a:lnTo>
                    <a:lnTo>
                      <a:pt x="763" y="499"/>
                    </a:lnTo>
                    <a:lnTo>
                      <a:pt x="756" y="497"/>
                    </a:lnTo>
                    <a:lnTo>
                      <a:pt x="752" y="495"/>
                    </a:lnTo>
                    <a:lnTo>
                      <a:pt x="750" y="493"/>
                    </a:lnTo>
                    <a:lnTo>
                      <a:pt x="746" y="485"/>
                    </a:lnTo>
                    <a:lnTo>
                      <a:pt x="744" y="477"/>
                    </a:lnTo>
                    <a:lnTo>
                      <a:pt x="743" y="470"/>
                    </a:lnTo>
                    <a:lnTo>
                      <a:pt x="743" y="461"/>
                    </a:lnTo>
                    <a:lnTo>
                      <a:pt x="743" y="456"/>
                    </a:lnTo>
                    <a:lnTo>
                      <a:pt x="743" y="449"/>
                    </a:lnTo>
                    <a:lnTo>
                      <a:pt x="743" y="440"/>
                    </a:lnTo>
                    <a:lnTo>
                      <a:pt x="743" y="431"/>
                    </a:lnTo>
                    <a:lnTo>
                      <a:pt x="741" y="431"/>
                    </a:lnTo>
                    <a:lnTo>
                      <a:pt x="736" y="428"/>
                    </a:lnTo>
                    <a:lnTo>
                      <a:pt x="732" y="426"/>
                    </a:lnTo>
                    <a:lnTo>
                      <a:pt x="728" y="422"/>
                    </a:lnTo>
                    <a:lnTo>
                      <a:pt x="717" y="414"/>
                    </a:lnTo>
                    <a:lnTo>
                      <a:pt x="705" y="403"/>
                    </a:lnTo>
                    <a:lnTo>
                      <a:pt x="695" y="391"/>
                    </a:lnTo>
                    <a:lnTo>
                      <a:pt x="686" y="379"/>
                    </a:lnTo>
                    <a:lnTo>
                      <a:pt x="681" y="372"/>
                    </a:lnTo>
                    <a:lnTo>
                      <a:pt x="679" y="367"/>
                    </a:lnTo>
                    <a:lnTo>
                      <a:pt x="677" y="361"/>
                    </a:lnTo>
                    <a:lnTo>
                      <a:pt x="677" y="357"/>
                    </a:lnTo>
                    <a:lnTo>
                      <a:pt x="661" y="356"/>
                    </a:lnTo>
                    <a:lnTo>
                      <a:pt x="645" y="355"/>
                    </a:lnTo>
                    <a:lnTo>
                      <a:pt x="630" y="353"/>
                    </a:lnTo>
                    <a:lnTo>
                      <a:pt x="616" y="351"/>
                    </a:lnTo>
                    <a:lnTo>
                      <a:pt x="602" y="348"/>
                    </a:lnTo>
                    <a:lnTo>
                      <a:pt x="589" y="344"/>
                    </a:lnTo>
                    <a:lnTo>
                      <a:pt x="576" y="340"/>
                    </a:lnTo>
                    <a:lnTo>
                      <a:pt x="564" y="335"/>
                    </a:lnTo>
                    <a:lnTo>
                      <a:pt x="552" y="329"/>
                    </a:lnTo>
                    <a:lnTo>
                      <a:pt x="541" y="323"/>
                    </a:lnTo>
                    <a:lnTo>
                      <a:pt x="531" y="315"/>
                    </a:lnTo>
                    <a:lnTo>
                      <a:pt x="522" y="307"/>
                    </a:lnTo>
                    <a:lnTo>
                      <a:pt x="512" y="299"/>
                    </a:lnTo>
                    <a:lnTo>
                      <a:pt x="505" y="290"/>
                    </a:lnTo>
                    <a:lnTo>
                      <a:pt x="497" y="281"/>
                    </a:lnTo>
                    <a:lnTo>
                      <a:pt x="490" y="271"/>
                    </a:lnTo>
                    <a:lnTo>
                      <a:pt x="475" y="268"/>
                    </a:lnTo>
                    <a:lnTo>
                      <a:pt x="463" y="267"/>
                    </a:lnTo>
                    <a:lnTo>
                      <a:pt x="454" y="267"/>
                    </a:lnTo>
                    <a:lnTo>
                      <a:pt x="449" y="268"/>
                    </a:lnTo>
                    <a:lnTo>
                      <a:pt x="444" y="270"/>
                    </a:lnTo>
                    <a:lnTo>
                      <a:pt x="442" y="273"/>
                    </a:lnTo>
                    <a:lnTo>
                      <a:pt x="441" y="277"/>
                    </a:lnTo>
                    <a:lnTo>
                      <a:pt x="441" y="281"/>
                    </a:lnTo>
                    <a:lnTo>
                      <a:pt x="441" y="286"/>
                    </a:lnTo>
                    <a:lnTo>
                      <a:pt x="441" y="291"/>
                    </a:lnTo>
                    <a:lnTo>
                      <a:pt x="440" y="296"/>
                    </a:lnTo>
                    <a:lnTo>
                      <a:pt x="439" y="301"/>
                    </a:lnTo>
                    <a:lnTo>
                      <a:pt x="436" y="307"/>
                    </a:lnTo>
                    <a:lnTo>
                      <a:pt x="430" y="311"/>
                    </a:lnTo>
                    <a:lnTo>
                      <a:pt x="422" y="316"/>
                    </a:lnTo>
                    <a:lnTo>
                      <a:pt x="411" y="320"/>
                    </a:lnTo>
                    <a:lnTo>
                      <a:pt x="407" y="320"/>
                    </a:lnTo>
                    <a:lnTo>
                      <a:pt x="403" y="321"/>
                    </a:lnTo>
                    <a:lnTo>
                      <a:pt x="400" y="322"/>
                    </a:lnTo>
                    <a:lnTo>
                      <a:pt x="398" y="323"/>
                    </a:lnTo>
                    <a:lnTo>
                      <a:pt x="397" y="325"/>
                    </a:lnTo>
                    <a:lnTo>
                      <a:pt x="396" y="327"/>
                    </a:lnTo>
                    <a:lnTo>
                      <a:pt x="396" y="329"/>
                    </a:lnTo>
                    <a:lnTo>
                      <a:pt x="396" y="332"/>
                    </a:lnTo>
                    <a:lnTo>
                      <a:pt x="401" y="344"/>
                    </a:lnTo>
                    <a:lnTo>
                      <a:pt x="410" y="357"/>
                    </a:lnTo>
                    <a:lnTo>
                      <a:pt x="415" y="364"/>
                    </a:lnTo>
                    <a:lnTo>
                      <a:pt x="419" y="371"/>
                    </a:lnTo>
                    <a:lnTo>
                      <a:pt x="421" y="379"/>
                    </a:lnTo>
                    <a:lnTo>
                      <a:pt x="423" y="385"/>
                    </a:lnTo>
                    <a:lnTo>
                      <a:pt x="423" y="388"/>
                    </a:lnTo>
                    <a:lnTo>
                      <a:pt x="422" y="390"/>
                    </a:lnTo>
                    <a:lnTo>
                      <a:pt x="421" y="393"/>
                    </a:lnTo>
                    <a:lnTo>
                      <a:pt x="420" y="395"/>
                    </a:lnTo>
                    <a:lnTo>
                      <a:pt x="417" y="397"/>
                    </a:lnTo>
                    <a:lnTo>
                      <a:pt x="414" y="398"/>
                    </a:lnTo>
                    <a:lnTo>
                      <a:pt x="409" y="399"/>
                    </a:lnTo>
                    <a:lnTo>
                      <a:pt x="405" y="400"/>
                    </a:lnTo>
                    <a:lnTo>
                      <a:pt x="392" y="400"/>
                    </a:lnTo>
                    <a:lnTo>
                      <a:pt x="377" y="400"/>
                    </a:lnTo>
                    <a:lnTo>
                      <a:pt x="370" y="400"/>
                    </a:lnTo>
                    <a:lnTo>
                      <a:pt x="361" y="399"/>
                    </a:lnTo>
                    <a:lnTo>
                      <a:pt x="351" y="397"/>
                    </a:lnTo>
                    <a:lnTo>
                      <a:pt x="341" y="395"/>
                    </a:lnTo>
                    <a:lnTo>
                      <a:pt x="331" y="393"/>
                    </a:lnTo>
                    <a:lnTo>
                      <a:pt x="321" y="390"/>
                    </a:lnTo>
                    <a:lnTo>
                      <a:pt x="313" y="386"/>
                    </a:lnTo>
                    <a:lnTo>
                      <a:pt x="305" y="382"/>
                    </a:lnTo>
                    <a:lnTo>
                      <a:pt x="303" y="387"/>
                    </a:lnTo>
                    <a:lnTo>
                      <a:pt x="302" y="393"/>
                    </a:lnTo>
                    <a:lnTo>
                      <a:pt x="303" y="401"/>
                    </a:lnTo>
                    <a:lnTo>
                      <a:pt x="303" y="409"/>
                    </a:lnTo>
                    <a:lnTo>
                      <a:pt x="307" y="427"/>
                    </a:lnTo>
                    <a:lnTo>
                      <a:pt x="311" y="448"/>
                    </a:lnTo>
                    <a:lnTo>
                      <a:pt x="316" y="467"/>
                    </a:lnTo>
                    <a:lnTo>
                      <a:pt x="320" y="483"/>
                    </a:lnTo>
                    <a:lnTo>
                      <a:pt x="320" y="491"/>
                    </a:lnTo>
                    <a:lnTo>
                      <a:pt x="320" y="497"/>
                    </a:lnTo>
                    <a:lnTo>
                      <a:pt x="320" y="502"/>
                    </a:lnTo>
                    <a:lnTo>
                      <a:pt x="318" y="505"/>
                    </a:lnTo>
                    <a:lnTo>
                      <a:pt x="292" y="503"/>
                    </a:lnTo>
                    <a:lnTo>
                      <a:pt x="254" y="503"/>
                    </a:lnTo>
                    <a:lnTo>
                      <a:pt x="244" y="504"/>
                    </a:lnTo>
                    <a:lnTo>
                      <a:pt x="236" y="505"/>
                    </a:lnTo>
                    <a:lnTo>
                      <a:pt x="227" y="507"/>
                    </a:lnTo>
                    <a:lnTo>
                      <a:pt x="220" y="510"/>
                    </a:lnTo>
                    <a:lnTo>
                      <a:pt x="214" y="513"/>
                    </a:lnTo>
                    <a:lnTo>
                      <a:pt x="209" y="517"/>
                    </a:lnTo>
                    <a:lnTo>
                      <a:pt x="207" y="520"/>
                    </a:lnTo>
                    <a:lnTo>
                      <a:pt x="206" y="523"/>
                    </a:lnTo>
                    <a:lnTo>
                      <a:pt x="205" y="526"/>
                    </a:lnTo>
                    <a:lnTo>
                      <a:pt x="205" y="529"/>
                    </a:lnTo>
                    <a:lnTo>
                      <a:pt x="216" y="531"/>
                    </a:lnTo>
                    <a:lnTo>
                      <a:pt x="226" y="534"/>
                    </a:lnTo>
                    <a:lnTo>
                      <a:pt x="233" y="538"/>
                    </a:lnTo>
                    <a:lnTo>
                      <a:pt x="239" y="544"/>
                    </a:lnTo>
                    <a:lnTo>
                      <a:pt x="243" y="550"/>
                    </a:lnTo>
                    <a:lnTo>
                      <a:pt x="247" y="556"/>
                    </a:lnTo>
                    <a:lnTo>
                      <a:pt x="250" y="563"/>
                    </a:lnTo>
                    <a:lnTo>
                      <a:pt x="252" y="569"/>
                    </a:lnTo>
                    <a:lnTo>
                      <a:pt x="255" y="583"/>
                    </a:lnTo>
                    <a:lnTo>
                      <a:pt x="260" y="595"/>
                    </a:lnTo>
                    <a:lnTo>
                      <a:pt x="262" y="601"/>
                    </a:lnTo>
                    <a:lnTo>
                      <a:pt x="266" y="605"/>
                    </a:lnTo>
                    <a:lnTo>
                      <a:pt x="272" y="608"/>
                    </a:lnTo>
                    <a:lnTo>
                      <a:pt x="278" y="610"/>
                    </a:lnTo>
                    <a:lnTo>
                      <a:pt x="276" y="614"/>
                    </a:lnTo>
                    <a:lnTo>
                      <a:pt x="275" y="618"/>
                    </a:lnTo>
                    <a:lnTo>
                      <a:pt x="275" y="621"/>
                    </a:lnTo>
                    <a:lnTo>
                      <a:pt x="275" y="625"/>
                    </a:lnTo>
                    <a:lnTo>
                      <a:pt x="277" y="632"/>
                    </a:lnTo>
                    <a:lnTo>
                      <a:pt x="278" y="640"/>
                    </a:lnTo>
                    <a:lnTo>
                      <a:pt x="277" y="658"/>
                    </a:lnTo>
                    <a:lnTo>
                      <a:pt x="274" y="674"/>
                    </a:lnTo>
                    <a:lnTo>
                      <a:pt x="270" y="688"/>
                    </a:lnTo>
                    <a:lnTo>
                      <a:pt x="264" y="700"/>
                    </a:lnTo>
                    <a:lnTo>
                      <a:pt x="261" y="705"/>
                    </a:lnTo>
                    <a:lnTo>
                      <a:pt x="257" y="711"/>
                    </a:lnTo>
                    <a:lnTo>
                      <a:pt x="252" y="716"/>
                    </a:lnTo>
                    <a:lnTo>
                      <a:pt x="248" y="720"/>
                    </a:lnTo>
                    <a:lnTo>
                      <a:pt x="242" y="724"/>
                    </a:lnTo>
                    <a:lnTo>
                      <a:pt x="237" y="727"/>
                    </a:lnTo>
                    <a:lnTo>
                      <a:pt x="231" y="730"/>
                    </a:lnTo>
                    <a:lnTo>
                      <a:pt x="225" y="733"/>
                    </a:lnTo>
                    <a:lnTo>
                      <a:pt x="206" y="735"/>
                    </a:lnTo>
                    <a:lnTo>
                      <a:pt x="182" y="737"/>
                    </a:lnTo>
                    <a:lnTo>
                      <a:pt x="170" y="739"/>
                    </a:lnTo>
                    <a:lnTo>
                      <a:pt x="158" y="741"/>
                    </a:lnTo>
                    <a:lnTo>
                      <a:pt x="152" y="743"/>
                    </a:lnTo>
                    <a:lnTo>
                      <a:pt x="147" y="745"/>
                    </a:lnTo>
                    <a:lnTo>
                      <a:pt x="142" y="748"/>
                    </a:lnTo>
                    <a:lnTo>
                      <a:pt x="139" y="751"/>
                    </a:lnTo>
                    <a:lnTo>
                      <a:pt x="134" y="758"/>
                    </a:lnTo>
                    <a:lnTo>
                      <a:pt x="127" y="770"/>
                    </a:lnTo>
                    <a:lnTo>
                      <a:pt x="123" y="776"/>
                    </a:lnTo>
                    <a:lnTo>
                      <a:pt x="118" y="781"/>
                    </a:lnTo>
                    <a:lnTo>
                      <a:pt x="113" y="785"/>
                    </a:lnTo>
                    <a:lnTo>
                      <a:pt x="105" y="788"/>
                    </a:lnTo>
                    <a:lnTo>
                      <a:pt x="81" y="794"/>
                    </a:lnTo>
                    <a:lnTo>
                      <a:pt x="45" y="800"/>
                    </a:lnTo>
                    <a:lnTo>
                      <a:pt x="27" y="804"/>
                    </a:lnTo>
                    <a:lnTo>
                      <a:pt x="13" y="807"/>
                    </a:lnTo>
                    <a:lnTo>
                      <a:pt x="3" y="810"/>
                    </a:lnTo>
                    <a:lnTo>
                      <a:pt x="0" y="812"/>
                    </a:lnTo>
                    <a:lnTo>
                      <a:pt x="0" y="824"/>
                    </a:lnTo>
                    <a:lnTo>
                      <a:pt x="3" y="833"/>
                    </a:lnTo>
                    <a:lnTo>
                      <a:pt x="6" y="842"/>
                    </a:lnTo>
                    <a:lnTo>
                      <a:pt x="9" y="850"/>
                    </a:lnTo>
                    <a:lnTo>
                      <a:pt x="14" y="859"/>
                    </a:lnTo>
                    <a:lnTo>
                      <a:pt x="18" y="869"/>
                    </a:lnTo>
                    <a:lnTo>
                      <a:pt x="23" y="880"/>
                    </a:lnTo>
                    <a:lnTo>
                      <a:pt x="26" y="893"/>
                    </a:lnTo>
                    <a:lnTo>
                      <a:pt x="40" y="894"/>
                    </a:lnTo>
                    <a:lnTo>
                      <a:pt x="53" y="896"/>
                    </a:lnTo>
                    <a:lnTo>
                      <a:pt x="59" y="897"/>
                    </a:lnTo>
                    <a:lnTo>
                      <a:pt x="64" y="899"/>
                    </a:lnTo>
                    <a:lnTo>
                      <a:pt x="70" y="902"/>
                    </a:lnTo>
                    <a:lnTo>
                      <a:pt x="74" y="905"/>
                    </a:lnTo>
                    <a:lnTo>
                      <a:pt x="79" y="909"/>
                    </a:lnTo>
                    <a:lnTo>
                      <a:pt x="83" y="913"/>
                    </a:lnTo>
                    <a:lnTo>
                      <a:pt x="87" y="918"/>
                    </a:lnTo>
                    <a:lnTo>
                      <a:pt x="90" y="924"/>
                    </a:lnTo>
                    <a:lnTo>
                      <a:pt x="93" y="931"/>
                    </a:lnTo>
                    <a:lnTo>
                      <a:pt x="95" y="938"/>
                    </a:lnTo>
                    <a:lnTo>
                      <a:pt x="97" y="946"/>
                    </a:lnTo>
                    <a:lnTo>
                      <a:pt x="98" y="954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93" name="Freeform 15">
                <a:extLst>
                  <a:ext uri="{FF2B5EF4-FFF2-40B4-BE49-F238E27FC236}">
                    <a16:creationId xmlns="" xmlns:a16="http://schemas.microsoft.com/office/drawing/2014/main" id="{C68E1706-3192-4E3F-942B-5E4E11E8218F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11663" y="1508125"/>
                <a:ext cx="220662" cy="273050"/>
              </a:xfrm>
              <a:custGeom>
                <a:avLst/>
                <a:gdLst>
                  <a:gd name="T0" fmla="*/ 2147483646 w 504"/>
                  <a:gd name="T1" fmla="*/ 2147483646 h 524"/>
                  <a:gd name="T2" fmla="*/ 2147483646 w 504"/>
                  <a:gd name="T3" fmla="*/ 2147483646 h 524"/>
                  <a:gd name="T4" fmla="*/ 2147483646 w 504"/>
                  <a:gd name="T5" fmla="*/ 2147483646 h 524"/>
                  <a:gd name="T6" fmla="*/ 2147483646 w 504"/>
                  <a:gd name="T7" fmla="*/ 2147483646 h 524"/>
                  <a:gd name="T8" fmla="*/ 2147483646 w 504"/>
                  <a:gd name="T9" fmla="*/ 2147483646 h 524"/>
                  <a:gd name="T10" fmla="*/ 2147483646 w 504"/>
                  <a:gd name="T11" fmla="*/ 2147483646 h 524"/>
                  <a:gd name="T12" fmla="*/ 2147483646 w 504"/>
                  <a:gd name="T13" fmla="*/ 2147483646 h 524"/>
                  <a:gd name="T14" fmla="*/ 2147483646 w 504"/>
                  <a:gd name="T15" fmla="*/ 2147483646 h 524"/>
                  <a:gd name="T16" fmla="*/ 2147483646 w 504"/>
                  <a:gd name="T17" fmla="*/ 2147483646 h 524"/>
                  <a:gd name="T18" fmla="*/ 2147483646 w 504"/>
                  <a:gd name="T19" fmla="*/ 2147483646 h 524"/>
                  <a:gd name="T20" fmla="*/ 2147483646 w 504"/>
                  <a:gd name="T21" fmla="*/ 2147483646 h 524"/>
                  <a:gd name="T22" fmla="*/ 2147483646 w 504"/>
                  <a:gd name="T23" fmla="*/ 2147483646 h 524"/>
                  <a:gd name="T24" fmla="*/ 2147483646 w 504"/>
                  <a:gd name="T25" fmla="*/ 2147483646 h 524"/>
                  <a:gd name="T26" fmla="*/ 2147483646 w 504"/>
                  <a:gd name="T27" fmla="*/ 2147483646 h 524"/>
                  <a:gd name="T28" fmla="*/ 2147483646 w 504"/>
                  <a:gd name="T29" fmla="*/ 2147483646 h 524"/>
                  <a:gd name="T30" fmla="*/ 2147483646 w 504"/>
                  <a:gd name="T31" fmla="*/ 2147483646 h 524"/>
                  <a:gd name="T32" fmla="*/ 2147483646 w 504"/>
                  <a:gd name="T33" fmla="*/ 2147483646 h 524"/>
                  <a:gd name="T34" fmla="*/ 2147483646 w 504"/>
                  <a:gd name="T35" fmla="*/ 2147483646 h 524"/>
                  <a:gd name="T36" fmla="*/ 2147483646 w 504"/>
                  <a:gd name="T37" fmla="*/ 2147483646 h 524"/>
                  <a:gd name="T38" fmla="*/ 2147483646 w 504"/>
                  <a:gd name="T39" fmla="*/ 2147483646 h 524"/>
                  <a:gd name="T40" fmla="*/ 2147483646 w 504"/>
                  <a:gd name="T41" fmla="*/ 2147483646 h 524"/>
                  <a:gd name="T42" fmla="*/ 2147483646 w 504"/>
                  <a:gd name="T43" fmla="*/ 2147483646 h 524"/>
                  <a:gd name="T44" fmla="*/ 2147483646 w 504"/>
                  <a:gd name="T45" fmla="*/ 2147483646 h 524"/>
                  <a:gd name="T46" fmla="*/ 2147483646 w 504"/>
                  <a:gd name="T47" fmla="*/ 2147483646 h 524"/>
                  <a:gd name="T48" fmla="*/ 2147483646 w 504"/>
                  <a:gd name="T49" fmla="*/ 2147483646 h 524"/>
                  <a:gd name="T50" fmla="*/ 2147483646 w 504"/>
                  <a:gd name="T51" fmla="*/ 2147483646 h 524"/>
                  <a:gd name="T52" fmla="*/ 2147483646 w 504"/>
                  <a:gd name="T53" fmla="*/ 2147483646 h 524"/>
                  <a:gd name="T54" fmla="*/ 2147483646 w 504"/>
                  <a:gd name="T55" fmla="*/ 2147483646 h 524"/>
                  <a:gd name="T56" fmla="*/ 2147483646 w 504"/>
                  <a:gd name="T57" fmla="*/ 2147483646 h 524"/>
                  <a:gd name="T58" fmla="*/ 2147483646 w 504"/>
                  <a:gd name="T59" fmla="*/ 2147483646 h 524"/>
                  <a:gd name="T60" fmla="*/ 2147483646 w 504"/>
                  <a:gd name="T61" fmla="*/ 2147483646 h 524"/>
                  <a:gd name="T62" fmla="*/ 2147483646 w 504"/>
                  <a:gd name="T63" fmla="*/ 2147483646 h 524"/>
                  <a:gd name="T64" fmla="*/ 2147483646 w 504"/>
                  <a:gd name="T65" fmla="*/ 2147483646 h 524"/>
                  <a:gd name="T66" fmla="*/ 2147483646 w 504"/>
                  <a:gd name="T67" fmla="*/ 2147483646 h 524"/>
                  <a:gd name="T68" fmla="*/ 2147483646 w 504"/>
                  <a:gd name="T69" fmla="*/ 2147483646 h 524"/>
                  <a:gd name="T70" fmla="*/ 2147483646 w 504"/>
                  <a:gd name="T71" fmla="*/ 2147483646 h 524"/>
                  <a:gd name="T72" fmla="*/ 2147483646 w 504"/>
                  <a:gd name="T73" fmla="*/ 2147483646 h 524"/>
                  <a:gd name="T74" fmla="*/ 2147483646 w 504"/>
                  <a:gd name="T75" fmla="*/ 0 h 524"/>
                  <a:gd name="T76" fmla="*/ 2147483646 w 504"/>
                  <a:gd name="T77" fmla="*/ 0 h 524"/>
                  <a:gd name="T78" fmla="*/ 2147483646 w 504"/>
                  <a:gd name="T79" fmla="*/ 2147483646 h 524"/>
                  <a:gd name="T80" fmla="*/ 2147483646 w 504"/>
                  <a:gd name="T81" fmla="*/ 2147483646 h 524"/>
                  <a:gd name="T82" fmla="*/ 2147483646 w 504"/>
                  <a:gd name="T83" fmla="*/ 2147483646 h 524"/>
                  <a:gd name="T84" fmla="*/ 2147483646 w 504"/>
                  <a:gd name="T85" fmla="*/ 2147483646 h 524"/>
                  <a:gd name="T86" fmla="*/ 2147483646 w 504"/>
                  <a:gd name="T87" fmla="*/ 2147483646 h 524"/>
                  <a:gd name="T88" fmla="*/ 2147483646 w 504"/>
                  <a:gd name="T89" fmla="*/ 2147483646 h 524"/>
                  <a:gd name="T90" fmla="*/ 2147483646 w 504"/>
                  <a:gd name="T91" fmla="*/ 2147483646 h 524"/>
                  <a:gd name="T92" fmla="*/ 2147483646 w 504"/>
                  <a:gd name="T93" fmla="*/ 2147483646 h 524"/>
                  <a:gd name="T94" fmla="*/ 2147483646 w 504"/>
                  <a:gd name="T95" fmla="*/ 2147483646 h 524"/>
                  <a:gd name="T96" fmla="*/ 2147483646 w 504"/>
                  <a:gd name="T97" fmla="*/ 2147483646 h 524"/>
                  <a:gd name="T98" fmla="*/ 2147483646 w 504"/>
                  <a:gd name="T99" fmla="*/ 2147483646 h 524"/>
                  <a:gd name="T100" fmla="*/ 2147483646 w 504"/>
                  <a:gd name="T101" fmla="*/ 2147483646 h 524"/>
                  <a:gd name="T102" fmla="*/ 2147483646 w 504"/>
                  <a:gd name="T103" fmla="*/ 2147483646 h 524"/>
                  <a:gd name="T104" fmla="*/ 2147483646 w 504"/>
                  <a:gd name="T105" fmla="*/ 2147483646 h 524"/>
                  <a:gd name="T106" fmla="*/ 2147483646 w 504"/>
                  <a:gd name="T107" fmla="*/ 2147483646 h 524"/>
                  <a:gd name="T108" fmla="*/ 2147483646 w 504"/>
                  <a:gd name="T109" fmla="*/ 2147483646 h 524"/>
                  <a:gd name="T110" fmla="*/ 2147483646 w 504"/>
                  <a:gd name="T111" fmla="*/ 2147483646 h 52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504"/>
                  <a:gd name="T169" fmla="*/ 0 h 524"/>
                  <a:gd name="T170" fmla="*/ 504 w 504"/>
                  <a:gd name="T171" fmla="*/ 524 h 52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504" h="524">
                    <a:moveTo>
                      <a:pt x="365" y="493"/>
                    </a:moveTo>
                    <a:lnTo>
                      <a:pt x="355" y="493"/>
                    </a:lnTo>
                    <a:lnTo>
                      <a:pt x="345" y="493"/>
                    </a:lnTo>
                    <a:lnTo>
                      <a:pt x="266" y="493"/>
                    </a:lnTo>
                    <a:lnTo>
                      <a:pt x="262" y="500"/>
                    </a:lnTo>
                    <a:lnTo>
                      <a:pt x="256" y="505"/>
                    </a:lnTo>
                    <a:lnTo>
                      <a:pt x="250" y="510"/>
                    </a:lnTo>
                    <a:lnTo>
                      <a:pt x="243" y="513"/>
                    </a:lnTo>
                    <a:lnTo>
                      <a:pt x="235" y="517"/>
                    </a:lnTo>
                    <a:lnTo>
                      <a:pt x="228" y="519"/>
                    </a:lnTo>
                    <a:lnTo>
                      <a:pt x="219" y="521"/>
                    </a:lnTo>
                    <a:lnTo>
                      <a:pt x="210" y="522"/>
                    </a:lnTo>
                    <a:lnTo>
                      <a:pt x="191" y="524"/>
                    </a:lnTo>
                    <a:lnTo>
                      <a:pt x="173" y="524"/>
                    </a:lnTo>
                    <a:lnTo>
                      <a:pt x="155" y="524"/>
                    </a:lnTo>
                    <a:lnTo>
                      <a:pt x="140" y="524"/>
                    </a:lnTo>
                    <a:lnTo>
                      <a:pt x="121" y="523"/>
                    </a:lnTo>
                    <a:lnTo>
                      <a:pt x="106" y="522"/>
                    </a:lnTo>
                    <a:lnTo>
                      <a:pt x="100" y="521"/>
                    </a:lnTo>
                    <a:lnTo>
                      <a:pt x="96" y="519"/>
                    </a:lnTo>
                    <a:lnTo>
                      <a:pt x="94" y="516"/>
                    </a:lnTo>
                    <a:lnTo>
                      <a:pt x="93" y="512"/>
                    </a:lnTo>
                    <a:lnTo>
                      <a:pt x="82" y="511"/>
                    </a:lnTo>
                    <a:lnTo>
                      <a:pt x="71" y="509"/>
                    </a:lnTo>
                    <a:lnTo>
                      <a:pt x="59" y="505"/>
                    </a:lnTo>
                    <a:lnTo>
                      <a:pt x="47" y="501"/>
                    </a:lnTo>
                    <a:lnTo>
                      <a:pt x="36" y="496"/>
                    </a:lnTo>
                    <a:lnTo>
                      <a:pt x="28" y="491"/>
                    </a:lnTo>
                    <a:lnTo>
                      <a:pt x="25" y="489"/>
                    </a:lnTo>
                    <a:lnTo>
                      <a:pt x="22" y="486"/>
                    </a:lnTo>
                    <a:lnTo>
                      <a:pt x="20" y="484"/>
                    </a:lnTo>
                    <a:lnTo>
                      <a:pt x="20" y="481"/>
                    </a:lnTo>
                    <a:lnTo>
                      <a:pt x="20" y="477"/>
                    </a:lnTo>
                    <a:lnTo>
                      <a:pt x="22" y="472"/>
                    </a:lnTo>
                    <a:lnTo>
                      <a:pt x="25" y="467"/>
                    </a:lnTo>
                    <a:lnTo>
                      <a:pt x="27" y="463"/>
                    </a:lnTo>
                    <a:lnTo>
                      <a:pt x="31" y="456"/>
                    </a:lnTo>
                    <a:lnTo>
                      <a:pt x="33" y="450"/>
                    </a:lnTo>
                    <a:lnTo>
                      <a:pt x="32" y="445"/>
                    </a:lnTo>
                    <a:lnTo>
                      <a:pt x="31" y="440"/>
                    </a:lnTo>
                    <a:lnTo>
                      <a:pt x="30" y="436"/>
                    </a:lnTo>
                    <a:lnTo>
                      <a:pt x="28" y="432"/>
                    </a:lnTo>
                    <a:lnTo>
                      <a:pt x="22" y="426"/>
                    </a:lnTo>
                    <a:lnTo>
                      <a:pt x="17" y="421"/>
                    </a:lnTo>
                    <a:lnTo>
                      <a:pt x="10" y="417"/>
                    </a:lnTo>
                    <a:lnTo>
                      <a:pt x="5" y="412"/>
                    </a:lnTo>
                    <a:lnTo>
                      <a:pt x="3" y="409"/>
                    </a:lnTo>
                    <a:lnTo>
                      <a:pt x="1" y="407"/>
                    </a:lnTo>
                    <a:lnTo>
                      <a:pt x="0" y="404"/>
                    </a:lnTo>
                    <a:lnTo>
                      <a:pt x="0" y="401"/>
                    </a:lnTo>
                    <a:lnTo>
                      <a:pt x="1" y="391"/>
                    </a:lnTo>
                    <a:lnTo>
                      <a:pt x="5" y="381"/>
                    </a:lnTo>
                    <a:lnTo>
                      <a:pt x="10" y="371"/>
                    </a:lnTo>
                    <a:lnTo>
                      <a:pt x="17" y="360"/>
                    </a:lnTo>
                    <a:lnTo>
                      <a:pt x="26" y="349"/>
                    </a:lnTo>
                    <a:lnTo>
                      <a:pt x="37" y="338"/>
                    </a:lnTo>
                    <a:lnTo>
                      <a:pt x="48" y="328"/>
                    </a:lnTo>
                    <a:lnTo>
                      <a:pt x="60" y="318"/>
                    </a:lnTo>
                    <a:lnTo>
                      <a:pt x="73" y="309"/>
                    </a:lnTo>
                    <a:lnTo>
                      <a:pt x="86" y="299"/>
                    </a:lnTo>
                    <a:lnTo>
                      <a:pt x="99" y="291"/>
                    </a:lnTo>
                    <a:lnTo>
                      <a:pt x="112" y="285"/>
                    </a:lnTo>
                    <a:lnTo>
                      <a:pt x="124" y="279"/>
                    </a:lnTo>
                    <a:lnTo>
                      <a:pt x="138" y="275"/>
                    </a:lnTo>
                    <a:lnTo>
                      <a:pt x="149" y="272"/>
                    </a:lnTo>
                    <a:lnTo>
                      <a:pt x="160" y="272"/>
                    </a:lnTo>
                    <a:lnTo>
                      <a:pt x="166" y="266"/>
                    </a:lnTo>
                    <a:lnTo>
                      <a:pt x="160" y="265"/>
                    </a:lnTo>
                    <a:lnTo>
                      <a:pt x="155" y="264"/>
                    </a:lnTo>
                    <a:lnTo>
                      <a:pt x="150" y="263"/>
                    </a:lnTo>
                    <a:lnTo>
                      <a:pt x="145" y="261"/>
                    </a:lnTo>
                    <a:lnTo>
                      <a:pt x="142" y="259"/>
                    </a:lnTo>
                    <a:lnTo>
                      <a:pt x="139" y="257"/>
                    </a:lnTo>
                    <a:lnTo>
                      <a:pt x="135" y="254"/>
                    </a:lnTo>
                    <a:lnTo>
                      <a:pt x="133" y="251"/>
                    </a:lnTo>
                    <a:lnTo>
                      <a:pt x="130" y="244"/>
                    </a:lnTo>
                    <a:lnTo>
                      <a:pt x="128" y="236"/>
                    </a:lnTo>
                    <a:lnTo>
                      <a:pt x="127" y="229"/>
                    </a:lnTo>
                    <a:lnTo>
                      <a:pt x="127" y="222"/>
                    </a:lnTo>
                    <a:lnTo>
                      <a:pt x="126" y="208"/>
                    </a:lnTo>
                    <a:lnTo>
                      <a:pt x="124" y="195"/>
                    </a:lnTo>
                    <a:lnTo>
                      <a:pt x="121" y="182"/>
                    </a:lnTo>
                    <a:lnTo>
                      <a:pt x="119" y="171"/>
                    </a:lnTo>
                    <a:lnTo>
                      <a:pt x="115" y="161"/>
                    </a:lnTo>
                    <a:lnTo>
                      <a:pt x="110" y="152"/>
                    </a:lnTo>
                    <a:lnTo>
                      <a:pt x="106" y="143"/>
                    </a:lnTo>
                    <a:lnTo>
                      <a:pt x="100" y="134"/>
                    </a:lnTo>
                    <a:lnTo>
                      <a:pt x="89" y="119"/>
                    </a:lnTo>
                    <a:lnTo>
                      <a:pt x="78" y="104"/>
                    </a:lnTo>
                    <a:lnTo>
                      <a:pt x="68" y="90"/>
                    </a:lnTo>
                    <a:lnTo>
                      <a:pt x="60" y="74"/>
                    </a:lnTo>
                    <a:lnTo>
                      <a:pt x="74" y="66"/>
                    </a:lnTo>
                    <a:lnTo>
                      <a:pt x="86" y="60"/>
                    </a:lnTo>
                    <a:lnTo>
                      <a:pt x="93" y="58"/>
                    </a:lnTo>
                    <a:lnTo>
                      <a:pt x="99" y="57"/>
                    </a:lnTo>
                    <a:lnTo>
                      <a:pt x="106" y="56"/>
                    </a:lnTo>
                    <a:lnTo>
                      <a:pt x="112" y="56"/>
                    </a:lnTo>
                    <a:lnTo>
                      <a:pt x="123" y="56"/>
                    </a:lnTo>
                    <a:lnTo>
                      <a:pt x="130" y="58"/>
                    </a:lnTo>
                    <a:lnTo>
                      <a:pt x="133" y="59"/>
                    </a:lnTo>
                    <a:lnTo>
                      <a:pt x="137" y="60"/>
                    </a:lnTo>
                    <a:lnTo>
                      <a:pt x="139" y="61"/>
                    </a:lnTo>
                    <a:lnTo>
                      <a:pt x="143" y="61"/>
                    </a:lnTo>
                    <a:lnTo>
                      <a:pt x="149" y="59"/>
                    </a:lnTo>
                    <a:lnTo>
                      <a:pt x="160" y="56"/>
                    </a:lnTo>
                    <a:lnTo>
                      <a:pt x="160" y="47"/>
                    </a:lnTo>
                    <a:lnTo>
                      <a:pt x="162" y="40"/>
                    </a:lnTo>
                    <a:lnTo>
                      <a:pt x="164" y="33"/>
                    </a:lnTo>
                    <a:lnTo>
                      <a:pt x="166" y="25"/>
                    </a:lnTo>
                    <a:lnTo>
                      <a:pt x="168" y="19"/>
                    </a:lnTo>
                    <a:lnTo>
                      <a:pt x="171" y="13"/>
                    </a:lnTo>
                    <a:lnTo>
                      <a:pt x="172" y="7"/>
                    </a:lnTo>
                    <a:lnTo>
                      <a:pt x="173" y="0"/>
                    </a:lnTo>
                    <a:lnTo>
                      <a:pt x="187" y="0"/>
                    </a:lnTo>
                    <a:lnTo>
                      <a:pt x="201" y="0"/>
                    </a:lnTo>
                    <a:lnTo>
                      <a:pt x="214" y="0"/>
                    </a:lnTo>
                    <a:lnTo>
                      <a:pt x="225" y="0"/>
                    </a:lnTo>
                    <a:lnTo>
                      <a:pt x="235" y="1"/>
                    </a:lnTo>
                    <a:lnTo>
                      <a:pt x="244" y="4"/>
                    </a:lnTo>
                    <a:lnTo>
                      <a:pt x="254" y="8"/>
                    </a:lnTo>
                    <a:lnTo>
                      <a:pt x="263" y="12"/>
                    </a:lnTo>
                    <a:lnTo>
                      <a:pt x="270" y="17"/>
                    </a:lnTo>
                    <a:lnTo>
                      <a:pt x="280" y="21"/>
                    </a:lnTo>
                    <a:lnTo>
                      <a:pt x="289" y="24"/>
                    </a:lnTo>
                    <a:lnTo>
                      <a:pt x="299" y="25"/>
                    </a:lnTo>
                    <a:lnTo>
                      <a:pt x="279" y="62"/>
                    </a:lnTo>
                    <a:lnTo>
                      <a:pt x="283" y="67"/>
                    </a:lnTo>
                    <a:lnTo>
                      <a:pt x="287" y="72"/>
                    </a:lnTo>
                    <a:lnTo>
                      <a:pt x="292" y="77"/>
                    </a:lnTo>
                    <a:lnTo>
                      <a:pt x="297" y="82"/>
                    </a:lnTo>
                    <a:lnTo>
                      <a:pt x="308" y="88"/>
                    </a:lnTo>
                    <a:lnTo>
                      <a:pt x="319" y="94"/>
                    </a:lnTo>
                    <a:lnTo>
                      <a:pt x="341" y="103"/>
                    </a:lnTo>
                    <a:lnTo>
                      <a:pt x="358" y="111"/>
                    </a:lnTo>
                    <a:lnTo>
                      <a:pt x="356" y="119"/>
                    </a:lnTo>
                    <a:lnTo>
                      <a:pt x="353" y="126"/>
                    </a:lnTo>
                    <a:lnTo>
                      <a:pt x="350" y="131"/>
                    </a:lnTo>
                    <a:lnTo>
                      <a:pt x="346" y="135"/>
                    </a:lnTo>
                    <a:lnTo>
                      <a:pt x="343" y="141"/>
                    </a:lnTo>
                    <a:lnTo>
                      <a:pt x="341" y="146"/>
                    </a:lnTo>
                    <a:lnTo>
                      <a:pt x="340" y="153"/>
                    </a:lnTo>
                    <a:lnTo>
                      <a:pt x="339" y="161"/>
                    </a:lnTo>
                    <a:lnTo>
                      <a:pt x="340" y="168"/>
                    </a:lnTo>
                    <a:lnTo>
                      <a:pt x="344" y="176"/>
                    </a:lnTo>
                    <a:lnTo>
                      <a:pt x="350" y="184"/>
                    </a:lnTo>
                    <a:lnTo>
                      <a:pt x="356" y="193"/>
                    </a:lnTo>
                    <a:lnTo>
                      <a:pt x="363" y="200"/>
                    </a:lnTo>
                    <a:lnTo>
                      <a:pt x="369" y="205"/>
                    </a:lnTo>
                    <a:lnTo>
                      <a:pt x="375" y="209"/>
                    </a:lnTo>
                    <a:lnTo>
                      <a:pt x="378" y="210"/>
                    </a:lnTo>
                    <a:lnTo>
                      <a:pt x="379" y="226"/>
                    </a:lnTo>
                    <a:lnTo>
                      <a:pt x="381" y="241"/>
                    </a:lnTo>
                    <a:lnTo>
                      <a:pt x="386" y="256"/>
                    </a:lnTo>
                    <a:lnTo>
                      <a:pt x="391" y="268"/>
                    </a:lnTo>
                    <a:lnTo>
                      <a:pt x="397" y="279"/>
                    </a:lnTo>
                    <a:lnTo>
                      <a:pt x="404" y="289"/>
                    </a:lnTo>
                    <a:lnTo>
                      <a:pt x="413" y="298"/>
                    </a:lnTo>
                    <a:lnTo>
                      <a:pt x="422" y="307"/>
                    </a:lnTo>
                    <a:lnTo>
                      <a:pt x="432" y="315"/>
                    </a:lnTo>
                    <a:lnTo>
                      <a:pt x="442" y="322"/>
                    </a:lnTo>
                    <a:lnTo>
                      <a:pt x="452" y="329"/>
                    </a:lnTo>
                    <a:lnTo>
                      <a:pt x="463" y="335"/>
                    </a:lnTo>
                    <a:lnTo>
                      <a:pt x="485" y="346"/>
                    </a:lnTo>
                    <a:lnTo>
                      <a:pt x="504" y="357"/>
                    </a:lnTo>
                    <a:lnTo>
                      <a:pt x="466" y="390"/>
                    </a:lnTo>
                    <a:lnTo>
                      <a:pt x="430" y="424"/>
                    </a:lnTo>
                    <a:lnTo>
                      <a:pt x="413" y="440"/>
                    </a:lnTo>
                    <a:lnTo>
                      <a:pt x="397" y="457"/>
                    </a:lnTo>
                    <a:lnTo>
                      <a:pt x="380" y="476"/>
                    </a:lnTo>
                    <a:lnTo>
                      <a:pt x="365" y="493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94" name="Freeform 16">
                <a:extLst>
                  <a:ext uri="{FF2B5EF4-FFF2-40B4-BE49-F238E27FC236}">
                    <a16:creationId xmlns="" xmlns:a16="http://schemas.microsoft.com/office/drawing/2014/main" id="{664C9EFD-C6B2-4372-872E-EF99B8257915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148138" y="1925638"/>
                <a:ext cx="182562" cy="238125"/>
              </a:xfrm>
              <a:custGeom>
                <a:avLst/>
                <a:gdLst>
                  <a:gd name="T0" fmla="*/ 2147483646 w 438"/>
                  <a:gd name="T1" fmla="*/ 2147483646 h 451"/>
                  <a:gd name="T2" fmla="*/ 2147483646 w 438"/>
                  <a:gd name="T3" fmla="*/ 2147483646 h 451"/>
                  <a:gd name="T4" fmla="*/ 2147483646 w 438"/>
                  <a:gd name="T5" fmla="*/ 2147483646 h 451"/>
                  <a:gd name="T6" fmla="*/ 2147483646 w 438"/>
                  <a:gd name="T7" fmla="*/ 2147483646 h 451"/>
                  <a:gd name="T8" fmla="*/ 2147483646 w 438"/>
                  <a:gd name="T9" fmla="*/ 2147483646 h 451"/>
                  <a:gd name="T10" fmla="*/ 2147483646 w 438"/>
                  <a:gd name="T11" fmla="*/ 2147483646 h 451"/>
                  <a:gd name="T12" fmla="*/ 2147483646 w 438"/>
                  <a:gd name="T13" fmla="*/ 2147483646 h 451"/>
                  <a:gd name="T14" fmla="*/ 2147483646 w 438"/>
                  <a:gd name="T15" fmla="*/ 2147483646 h 451"/>
                  <a:gd name="T16" fmla="*/ 2147483646 w 438"/>
                  <a:gd name="T17" fmla="*/ 2147483646 h 451"/>
                  <a:gd name="T18" fmla="*/ 2147483646 w 438"/>
                  <a:gd name="T19" fmla="*/ 2147483646 h 451"/>
                  <a:gd name="T20" fmla="*/ 2147483646 w 438"/>
                  <a:gd name="T21" fmla="*/ 2147483646 h 451"/>
                  <a:gd name="T22" fmla="*/ 2147483646 w 438"/>
                  <a:gd name="T23" fmla="*/ 2147483646 h 451"/>
                  <a:gd name="T24" fmla="*/ 2147483646 w 438"/>
                  <a:gd name="T25" fmla="*/ 2147483646 h 451"/>
                  <a:gd name="T26" fmla="*/ 2147483646 w 438"/>
                  <a:gd name="T27" fmla="*/ 0 h 451"/>
                  <a:gd name="T28" fmla="*/ 2147483646 w 438"/>
                  <a:gd name="T29" fmla="*/ 2147483646 h 451"/>
                  <a:gd name="T30" fmla="*/ 2147483646 w 438"/>
                  <a:gd name="T31" fmla="*/ 2147483646 h 451"/>
                  <a:gd name="T32" fmla="*/ 2147483646 w 438"/>
                  <a:gd name="T33" fmla="*/ 2147483646 h 451"/>
                  <a:gd name="T34" fmla="*/ 2147483646 w 438"/>
                  <a:gd name="T35" fmla="*/ 2147483646 h 451"/>
                  <a:gd name="T36" fmla="*/ 2147483646 w 438"/>
                  <a:gd name="T37" fmla="*/ 2147483646 h 451"/>
                  <a:gd name="T38" fmla="*/ 2147483646 w 438"/>
                  <a:gd name="T39" fmla="*/ 2147483646 h 451"/>
                  <a:gd name="T40" fmla="*/ 2147483646 w 438"/>
                  <a:gd name="T41" fmla="*/ 2147483646 h 451"/>
                  <a:gd name="T42" fmla="*/ 2147483646 w 438"/>
                  <a:gd name="T43" fmla="*/ 2147483646 h 451"/>
                  <a:gd name="T44" fmla="*/ 2147483646 w 438"/>
                  <a:gd name="T45" fmla="*/ 2147483646 h 451"/>
                  <a:gd name="T46" fmla="*/ 2147483646 w 438"/>
                  <a:gd name="T47" fmla="*/ 2147483646 h 451"/>
                  <a:gd name="T48" fmla="*/ 2147483646 w 438"/>
                  <a:gd name="T49" fmla="*/ 2147483646 h 451"/>
                  <a:gd name="T50" fmla="*/ 2147483646 w 438"/>
                  <a:gd name="T51" fmla="*/ 2147483646 h 451"/>
                  <a:gd name="T52" fmla="*/ 2147483646 w 438"/>
                  <a:gd name="T53" fmla="*/ 2147483646 h 451"/>
                  <a:gd name="T54" fmla="*/ 2147483646 w 438"/>
                  <a:gd name="T55" fmla="*/ 2147483646 h 451"/>
                  <a:gd name="T56" fmla="*/ 2147483646 w 438"/>
                  <a:gd name="T57" fmla="*/ 2147483646 h 451"/>
                  <a:gd name="T58" fmla="*/ 2147483646 w 438"/>
                  <a:gd name="T59" fmla="*/ 2147483646 h 451"/>
                  <a:gd name="T60" fmla="*/ 2147483646 w 438"/>
                  <a:gd name="T61" fmla="*/ 2147483646 h 451"/>
                  <a:gd name="T62" fmla="*/ 2147483646 w 438"/>
                  <a:gd name="T63" fmla="*/ 2147483646 h 451"/>
                  <a:gd name="T64" fmla="*/ 2147483646 w 438"/>
                  <a:gd name="T65" fmla="*/ 2147483646 h 451"/>
                  <a:gd name="T66" fmla="*/ 2147483646 w 438"/>
                  <a:gd name="T67" fmla="*/ 2147483646 h 451"/>
                  <a:gd name="T68" fmla="*/ 2147483646 w 438"/>
                  <a:gd name="T69" fmla="*/ 2147483646 h 451"/>
                  <a:gd name="T70" fmla="*/ 2147483646 w 438"/>
                  <a:gd name="T71" fmla="*/ 2147483646 h 451"/>
                  <a:gd name="T72" fmla="*/ 2147483646 w 438"/>
                  <a:gd name="T73" fmla="*/ 2147483646 h 451"/>
                  <a:gd name="T74" fmla="*/ 2147483646 w 438"/>
                  <a:gd name="T75" fmla="*/ 2147483646 h 451"/>
                  <a:gd name="T76" fmla="*/ 2147483646 w 438"/>
                  <a:gd name="T77" fmla="*/ 2147483646 h 451"/>
                  <a:gd name="T78" fmla="*/ 2147483646 w 438"/>
                  <a:gd name="T79" fmla="*/ 2147483646 h 451"/>
                  <a:gd name="T80" fmla="*/ 2147483646 w 438"/>
                  <a:gd name="T81" fmla="*/ 2147483646 h 451"/>
                  <a:gd name="T82" fmla="*/ 2147483646 w 438"/>
                  <a:gd name="T83" fmla="*/ 2147483646 h 451"/>
                  <a:gd name="T84" fmla="*/ 2147483646 w 438"/>
                  <a:gd name="T85" fmla="*/ 2147483646 h 451"/>
                  <a:gd name="T86" fmla="*/ 2147483646 w 438"/>
                  <a:gd name="T87" fmla="*/ 2147483646 h 451"/>
                  <a:gd name="T88" fmla="*/ 2147483646 w 438"/>
                  <a:gd name="T89" fmla="*/ 2147483646 h 451"/>
                  <a:gd name="T90" fmla="*/ 2147483646 w 438"/>
                  <a:gd name="T91" fmla="*/ 2147483646 h 451"/>
                  <a:gd name="T92" fmla="*/ 2147483646 w 438"/>
                  <a:gd name="T93" fmla="*/ 2147483646 h 451"/>
                  <a:gd name="T94" fmla="*/ 2147483646 w 438"/>
                  <a:gd name="T95" fmla="*/ 2147483646 h 451"/>
                  <a:gd name="T96" fmla="*/ 2147483646 w 438"/>
                  <a:gd name="T97" fmla="*/ 2147483646 h 451"/>
                  <a:gd name="T98" fmla="*/ 2147483646 w 438"/>
                  <a:gd name="T99" fmla="*/ 2147483646 h 451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438"/>
                  <a:gd name="T151" fmla="*/ 0 h 451"/>
                  <a:gd name="T152" fmla="*/ 438 w 438"/>
                  <a:gd name="T153" fmla="*/ 451 h 451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438" h="451">
                    <a:moveTo>
                      <a:pt x="438" y="235"/>
                    </a:moveTo>
                    <a:lnTo>
                      <a:pt x="431" y="212"/>
                    </a:lnTo>
                    <a:lnTo>
                      <a:pt x="426" y="190"/>
                    </a:lnTo>
                    <a:lnTo>
                      <a:pt x="420" y="169"/>
                    </a:lnTo>
                    <a:lnTo>
                      <a:pt x="415" y="148"/>
                    </a:lnTo>
                    <a:lnTo>
                      <a:pt x="408" y="128"/>
                    </a:lnTo>
                    <a:lnTo>
                      <a:pt x="398" y="106"/>
                    </a:lnTo>
                    <a:lnTo>
                      <a:pt x="393" y="95"/>
                    </a:lnTo>
                    <a:lnTo>
                      <a:pt x="387" y="85"/>
                    </a:lnTo>
                    <a:lnTo>
                      <a:pt x="380" y="74"/>
                    </a:lnTo>
                    <a:lnTo>
                      <a:pt x="372" y="62"/>
                    </a:lnTo>
                    <a:lnTo>
                      <a:pt x="367" y="62"/>
                    </a:lnTo>
                    <a:lnTo>
                      <a:pt x="363" y="61"/>
                    </a:lnTo>
                    <a:lnTo>
                      <a:pt x="359" y="60"/>
                    </a:lnTo>
                    <a:lnTo>
                      <a:pt x="356" y="58"/>
                    </a:lnTo>
                    <a:lnTo>
                      <a:pt x="349" y="54"/>
                    </a:lnTo>
                    <a:lnTo>
                      <a:pt x="342" y="49"/>
                    </a:lnTo>
                    <a:lnTo>
                      <a:pt x="335" y="45"/>
                    </a:lnTo>
                    <a:lnTo>
                      <a:pt x="326" y="41"/>
                    </a:lnTo>
                    <a:lnTo>
                      <a:pt x="320" y="40"/>
                    </a:lnTo>
                    <a:lnTo>
                      <a:pt x="314" y="38"/>
                    </a:lnTo>
                    <a:lnTo>
                      <a:pt x="307" y="38"/>
                    </a:lnTo>
                    <a:lnTo>
                      <a:pt x="298" y="37"/>
                    </a:lnTo>
                    <a:lnTo>
                      <a:pt x="293" y="38"/>
                    </a:lnTo>
                    <a:lnTo>
                      <a:pt x="287" y="39"/>
                    </a:lnTo>
                    <a:lnTo>
                      <a:pt x="282" y="40"/>
                    </a:lnTo>
                    <a:lnTo>
                      <a:pt x="276" y="42"/>
                    </a:lnTo>
                    <a:lnTo>
                      <a:pt x="268" y="47"/>
                    </a:lnTo>
                    <a:lnTo>
                      <a:pt x="260" y="52"/>
                    </a:lnTo>
                    <a:lnTo>
                      <a:pt x="251" y="58"/>
                    </a:lnTo>
                    <a:lnTo>
                      <a:pt x="244" y="64"/>
                    </a:lnTo>
                    <a:lnTo>
                      <a:pt x="239" y="66"/>
                    </a:lnTo>
                    <a:lnTo>
                      <a:pt x="235" y="67"/>
                    </a:lnTo>
                    <a:lnTo>
                      <a:pt x="230" y="68"/>
                    </a:lnTo>
                    <a:lnTo>
                      <a:pt x="226" y="69"/>
                    </a:lnTo>
                    <a:lnTo>
                      <a:pt x="217" y="66"/>
                    </a:lnTo>
                    <a:lnTo>
                      <a:pt x="205" y="58"/>
                    </a:lnTo>
                    <a:lnTo>
                      <a:pt x="190" y="48"/>
                    </a:lnTo>
                    <a:lnTo>
                      <a:pt x="174" y="37"/>
                    </a:lnTo>
                    <a:lnTo>
                      <a:pt x="145" y="16"/>
                    </a:lnTo>
                    <a:lnTo>
                      <a:pt x="133" y="7"/>
                    </a:lnTo>
                    <a:lnTo>
                      <a:pt x="113" y="0"/>
                    </a:lnTo>
                    <a:lnTo>
                      <a:pt x="104" y="9"/>
                    </a:lnTo>
                    <a:lnTo>
                      <a:pt x="98" y="18"/>
                    </a:lnTo>
                    <a:lnTo>
                      <a:pt x="95" y="23"/>
                    </a:lnTo>
                    <a:lnTo>
                      <a:pt x="94" y="28"/>
                    </a:lnTo>
                    <a:lnTo>
                      <a:pt x="93" y="35"/>
                    </a:lnTo>
                    <a:lnTo>
                      <a:pt x="93" y="43"/>
                    </a:lnTo>
                    <a:lnTo>
                      <a:pt x="93" y="46"/>
                    </a:lnTo>
                    <a:lnTo>
                      <a:pt x="95" y="49"/>
                    </a:lnTo>
                    <a:lnTo>
                      <a:pt x="98" y="52"/>
                    </a:lnTo>
                    <a:lnTo>
                      <a:pt x="101" y="55"/>
                    </a:lnTo>
                    <a:lnTo>
                      <a:pt x="110" y="63"/>
                    </a:lnTo>
                    <a:lnTo>
                      <a:pt x="119" y="69"/>
                    </a:lnTo>
                    <a:lnTo>
                      <a:pt x="112" y="69"/>
                    </a:lnTo>
                    <a:lnTo>
                      <a:pt x="105" y="71"/>
                    </a:lnTo>
                    <a:lnTo>
                      <a:pt x="99" y="73"/>
                    </a:lnTo>
                    <a:lnTo>
                      <a:pt x="93" y="76"/>
                    </a:lnTo>
                    <a:lnTo>
                      <a:pt x="80" y="84"/>
                    </a:lnTo>
                    <a:lnTo>
                      <a:pt x="66" y="93"/>
                    </a:lnTo>
                    <a:lnTo>
                      <a:pt x="63" y="103"/>
                    </a:lnTo>
                    <a:lnTo>
                      <a:pt x="61" y="112"/>
                    </a:lnTo>
                    <a:lnTo>
                      <a:pt x="58" y="119"/>
                    </a:lnTo>
                    <a:lnTo>
                      <a:pt x="56" y="125"/>
                    </a:lnTo>
                    <a:lnTo>
                      <a:pt x="49" y="133"/>
                    </a:lnTo>
                    <a:lnTo>
                      <a:pt x="45" y="138"/>
                    </a:lnTo>
                    <a:lnTo>
                      <a:pt x="39" y="144"/>
                    </a:lnTo>
                    <a:lnTo>
                      <a:pt x="36" y="151"/>
                    </a:lnTo>
                    <a:lnTo>
                      <a:pt x="35" y="156"/>
                    </a:lnTo>
                    <a:lnTo>
                      <a:pt x="34" y="162"/>
                    </a:lnTo>
                    <a:lnTo>
                      <a:pt x="33" y="169"/>
                    </a:lnTo>
                    <a:lnTo>
                      <a:pt x="33" y="179"/>
                    </a:lnTo>
                    <a:lnTo>
                      <a:pt x="0" y="235"/>
                    </a:lnTo>
                    <a:lnTo>
                      <a:pt x="4" y="236"/>
                    </a:lnTo>
                    <a:lnTo>
                      <a:pt x="7" y="238"/>
                    </a:lnTo>
                    <a:lnTo>
                      <a:pt x="11" y="240"/>
                    </a:lnTo>
                    <a:lnTo>
                      <a:pt x="13" y="243"/>
                    </a:lnTo>
                    <a:lnTo>
                      <a:pt x="15" y="246"/>
                    </a:lnTo>
                    <a:lnTo>
                      <a:pt x="18" y="248"/>
                    </a:lnTo>
                    <a:lnTo>
                      <a:pt x="22" y="248"/>
                    </a:lnTo>
                    <a:lnTo>
                      <a:pt x="26" y="247"/>
                    </a:lnTo>
                    <a:lnTo>
                      <a:pt x="39" y="277"/>
                    </a:lnTo>
                    <a:lnTo>
                      <a:pt x="33" y="308"/>
                    </a:lnTo>
                    <a:lnTo>
                      <a:pt x="33" y="346"/>
                    </a:lnTo>
                    <a:lnTo>
                      <a:pt x="53" y="347"/>
                    </a:lnTo>
                    <a:lnTo>
                      <a:pt x="72" y="350"/>
                    </a:lnTo>
                    <a:lnTo>
                      <a:pt x="93" y="353"/>
                    </a:lnTo>
                    <a:lnTo>
                      <a:pt x="113" y="358"/>
                    </a:lnTo>
                    <a:lnTo>
                      <a:pt x="107" y="366"/>
                    </a:lnTo>
                    <a:lnTo>
                      <a:pt x="104" y="376"/>
                    </a:lnTo>
                    <a:lnTo>
                      <a:pt x="100" y="387"/>
                    </a:lnTo>
                    <a:lnTo>
                      <a:pt x="96" y="400"/>
                    </a:lnTo>
                    <a:lnTo>
                      <a:pt x="89" y="425"/>
                    </a:lnTo>
                    <a:lnTo>
                      <a:pt x="79" y="451"/>
                    </a:lnTo>
                    <a:lnTo>
                      <a:pt x="94" y="449"/>
                    </a:lnTo>
                    <a:lnTo>
                      <a:pt x="109" y="447"/>
                    </a:lnTo>
                    <a:lnTo>
                      <a:pt x="123" y="447"/>
                    </a:lnTo>
                    <a:lnTo>
                      <a:pt x="137" y="447"/>
                    </a:lnTo>
                    <a:lnTo>
                      <a:pt x="152" y="447"/>
                    </a:lnTo>
                    <a:lnTo>
                      <a:pt x="169" y="446"/>
                    </a:lnTo>
                    <a:lnTo>
                      <a:pt x="186" y="445"/>
                    </a:lnTo>
                    <a:lnTo>
                      <a:pt x="205" y="444"/>
                    </a:lnTo>
                    <a:lnTo>
                      <a:pt x="228" y="445"/>
                    </a:lnTo>
                    <a:lnTo>
                      <a:pt x="252" y="446"/>
                    </a:lnTo>
                    <a:lnTo>
                      <a:pt x="276" y="446"/>
                    </a:lnTo>
                    <a:lnTo>
                      <a:pt x="300" y="445"/>
                    </a:lnTo>
                    <a:lnTo>
                      <a:pt x="322" y="444"/>
                    </a:lnTo>
                    <a:lnTo>
                      <a:pt x="343" y="442"/>
                    </a:lnTo>
                    <a:lnTo>
                      <a:pt x="362" y="440"/>
                    </a:lnTo>
                    <a:lnTo>
                      <a:pt x="379" y="438"/>
                    </a:lnTo>
                    <a:lnTo>
                      <a:pt x="372" y="432"/>
                    </a:lnTo>
                    <a:lnTo>
                      <a:pt x="365" y="425"/>
                    </a:lnTo>
                    <a:lnTo>
                      <a:pt x="361" y="419"/>
                    </a:lnTo>
                    <a:lnTo>
                      <a:pt x="359" y="413"/>
                    </a:lnTo>
                    <a:lnTo>
                      <a:pt x="363" y="411"/>
                    </a:lnTo>
                    <a:lnTo>
                      <a:pt x="367" y="407"/>
                    </a:lnTo>
                    <a:lnTo>
                      <a:pt x="369" y="403"/>
                    </a:lnTo>
                    <a:lnTo>
                      <a:pt x="370" y="398"/>
                    </a:lnTo>
                    <a:lnTo>
                      <a:pt x="372" y="389"/>
                    </a:lnTo>
                    <a:lnTo>
                      <a:pt x="372" y="382"/>
                    </a:lnTo>
                    <a:lnTo>
                      <a:pt x="385" y="379"/>
                    </a:lnTo>
                    <a:lnTo>
                      <a:pt x="398" y="376"/>
                    </a:lnTo>
                    <a:lnTo>
                      <a:pt x="380" y="367"/>
                    </a:lnTo>
                    <a:lnTo>
                      <a:pt x="365" y="359"/>
                    </a:lnTo>
                    <a:lnTo>
                      <a:pt x="353" y="351"/>
                    </a:lnTo>
                    <a:lnTo>
                      <a:pt x="343" y="344"/>
                    </a:lnTo>
                    <a:lnTo>
                      <a:pt x="336" y="336"/>
                    </a:lnTo>
                    <a:lnTo>
                      <a:pt x="330" y="329"/>
                    </a:lnTo>
                    <a:lnTo>
                      <a:pt x="325" y="323"/>
                    </a:lnTo>
                    <a:lnTo>
                      <a:pt x="322" y="317"/>
                    </a:lnTo>
                    <a:lnTo>
                      <a:pt x="316" y="305"/>
                    </a:lnTo>
                    <a:lnTo>
                      <a:pt x="311" y="294"/>
                    </a:lnTo>
                    <a:lnTo>
                      <a:pt x="306" y="289"/>
                    </a:lnTo>
                    <a:lnTo>
                      <a:pt x="301" y="283"/>
                    </a:lnTo>
                    <a:lnTo>
                      <a:pt x="294" y="277"/>
                    </a:lnTo>
                    <a:lnTo>
                      <a:pt x="285" y="271"/>
                    </a:lnTo>
                    <a:lnTo>
                      <a:pt x="301" y="274"/>
                    </a:lnTo>
                    <a:lnTo>
                      <a:pt x="314" y="275"/>
                    </a:lnTo>
                    <a:lnTo>
                      <a:pt x="326" y="275"/>
                    </a:lnTo>
                    <a:lnTo>
                      <a:pt x="336" y="273"/>
                    </a:lnTo>
                    <a:lnTo>
                      <a:pt x="346" y="271"/>
                    </a:lnTo>
                    <a:lnTo>
                      <a:pt x="354" y="268"/>
                    </a:lnTo>
                    <a:lnTo>
                      <a:pt x="362" y="264"/>
                    </a:lnTo>
                    <a:lnTo>
                      <a:pt x="369" y="260"/>
                    </a:lnTo>
                    <a:lnTo>
                      <a:pt x="383" y="251"/>
                    </a:lnTo>
                    <a:lnTo>
                      <a:pt x="398" y="243"/>
                    </a:lnTo>
                    <a:lnTo>
                      <a:pt x="407" y="240"/>
                    </a:lnTo>
                    <a:lnTo>
                      <a:pt x="416" y="237"/>
                    </a:lnTo>
                    <a:lnTo>
                      <a:pt x="427" y="236"/>
                    </a:lnTo>
                    <a:lnTo>
                      <a:pt x="438" y="235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95" name="Freeform 17">
                <a:extLst>
                  <a:ext uri="{FF2B5EF4-FFF2-40B4-BE49-F238E27FC236}">
                    <a16:creationId xmlns="" xmlns:a16="http://schemas.microsoft.com/office/drawing/2014/main" id="{FAEBC43D-2111-4424-A5E7-71482EBABD10}"/>
                  </a:ext>
                </a:extLst>
              </p:cNvPr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173538" y="2182813"/>
                <a:ext cx="250825" cy="274637"/>
              </a:xfrm>
              <a:custGeom>
                <a:avLst/>
                <a:gdLst>
                  <a:gd name="T0" fmla="*/ 2147483646 w 578"/>
                  <a:gd name="T1" fmla="*/ 2147483646 h 524"/>
                  <a:gd name="T2" fmla="*/ 2147483646 w 578"/>
                  <a:gd name="T3" fmla="*/ 2147483646 h 524"/>
                  <a:gd name="T4" fmla="*/ 2147483646 w 578"/>
                  <a:gd name="T5" fmla="*/ 2147483646 h 524"/>
                  <a:gd name="T6" fmla="*/ 2147483646 w 578"/>
                  <a:gd name="T7" fmla="*/ 2147483646 h 524"/>
                  <a:gd name="T8" fmla="*/ 2147483646 w 578"/>
                  <a:gd name="T9" fmla="*/ 2147483646 h 524"/>
                  <a:gd name="T10" fmla="*/ 2147483646 w 578"/>
                  <a:gd name="T11" fmla="*/ 2147483646 h 524"/>
                  <a:gd name="T12" fmla="*/ 2147483646 w 578"/>
                  <a:gd name="T13" fmla="*/ 2147483646 h 524"/>
                  <a:gd name="T14" fmla="*/ 2147483646 w 578"/>
                  <a:gd name="T15" fmla="*/ 2147483646 h 524"/>
                  <a:gd name="T16" fmla="*/ 2147483646 w 578"/>
                  <a:gd name="T17" fmla="*/ 2147483646 h 524"/>
                  <a:gd name="T18" fmla="*/ 2147483646 w 578"/>
                  <a:gd name="T19" fmla="*/ 2147483646 h 524"/>
                  <a:gd name="T20" fmla="*/ 2147483646 w 578"/>
                  <a:gd name="T21" fmla="*/ 2147483646 h 524"/>
                  <a:gd name="T22" fmla="*/ 2147483646 w 578"/>
                  <a:gd name="T23" fmla="*/ 2147483646 h 524"/>
                  <a:gd name="T24" fmla="*/ 2147483646 w 578"/>
                  <a:gd name="T25" fmla="*/ 2147483646 h 524"/>
                  <a:gd name="T26" fmla="*/ 2147483646 w 578"/>
                  <a:gd name="T27" fmla="*/ 2147483646 h 524"/>
                  <a:gd name="T28" fmla="*/ 2147483646 w 578"/>
                  <a:gd name="T29" fmla="*/ 2147483646 h 524"/>
                  <a:gd name="T30" fmla="*/ 2147483646 w 578"/>
                  <a:gd name="T31" fmla="*/ 2147483646 h 524"/>
                  <a:gd name="T32" fmla="*/ 2147483646 w 578"/>
                  <a:gd name="T33" fmla="*/ 2147483646 h 524"/>
                  <a:gd name="T34" fmla="*/ 2147483646 w 578"/>
                  <a:gd name="T35" fmla="*/ 2147483646 h 524"/>
                  <a:gd name="T36" fmla="*/ 2147483646 w 578"/>
                  <a:gd name="T37" fmla="*/ 2147483646 h 524"/>
                  <a:gd name="T38" fmla="*/ 2147483646 w 578"/>
                  <a:gd name="T39" fmla="*/ 2147483646 h 524"/>
                  <a:gd name="T40" fmla="*/ 2147483646 w 578"/>
                  <a:gd name="T41" fmla="*/ 2147483646 h 524"/>
                  <a:gd name="T42" fmla="*/ 2147483646 w 578"/>
                  <a:gd name="T43" fmla="*/ 2147483646 h 524"/>
                  <a:gd name="T44" fmla="*/ 2147483646 w 578"/>
                  <a:gd name="T45" fmla="*/ 2147483646 h 524"/>
                  <a:gd name="T46" fmla="*/ 2147483646 w 578"/>
                  <a:gd name="T47" fmla="*/ 2147483646 h 524"/>
                  <a:gd name="T48" fmla="*/ 2147483646 w 578"/>
                  <a:gd name="T49" fmla="*/ 2147483646 h 524"/>
                  <a:gd name="T50" fmla="*/ 2147483646 w 578"/>
                  <a:gd name="T51" fmla="*/ 2147483646 h 524"/>
                  <a:gd name="T52" fmla="*/ 2147483646 w 578"/>
                  <a:gd name="T53" fmla="*/ 2147483646 h 524"/>
                  <a:gd name="T54" fmla="*/ 2147483646 w 578"/>
                  <a:gd name="T55" fmla="*/ 2147483646 h 524"/>
                  <a:gd name="T56" fmla="*/ 2147483646 w 578"/>
                  <a:gd name="T57" fmla="*/ 2147483646 h 524"/>
                  <a:gd name="T58" fmla="*/ 2147483646 w 578"/>
                  <a:gd name="T59" fmla="*/ 2147483646 h 524"/>
                  <a:gd name="T60" fmla="*/ 2147483646 w 578"/>
                  <a:gd name="T61" fmla="*/ 2147483646 h 524"/>
                  <a:gd name="T62" fmla="*/ 2147483646 w 578"/>
                  <a:gd name="T63" fmla="*/ 2147483646 h 524"/>
                  <a:gd name="T64" fmla="*/ 2147483646 w 578"/>
                  <a:gd name="T65" fmla="*/ 2147483646 h 524"/>
                  <a:gd name="T66" fmla="*/ 2147483646 w 578"/>
                  <a:gd name="T67" fmla="*/ 2147483646 h 524"/>
                  <a:gd name="T68" fmla="*/ 2147483646 w 578"/>
                  <a:gd name="T69" fmla="*/ 2147483646 h 524"/>
                  <a:gd name="T70" fmla="*/ 2147483646 w 578"/>
                  <a:gd name="T71" fmla="*/ 2147483646 h 524"/>
                  <a:gd name="T72" fmla="*/ 2147483646 w 578"/>
                  <a:gd name="T73" fmla="*/ 2147483646 h 524"/>
                  <a:gd name="T74" fmla="*/ 2147483646 w 578"/>
                  <a:gd name="T75" fmla="*/ 2147483646 h 524"/>
                  <a:gd name="T76" fmla="*/ 2147483646 w 578"/>
                  <a:gd name="T77" fmla="*/ 2147483646 h 524"/>
                  <a:gd name="T78" fmla="*/ 2147483646 w 578"/>
                  <a:gd name="T79" fmla="*/ 2147483646 h 524"/>
                  <a:gd name="T80" fmla="*/ 2147483646 w 578"/>
                  <a:gd name="T81" fmla="*/ 2147483646 h 524"/>
                  <a:gd name="T82" fmla="*/ 2147483646 w 578"/>
                  <a:gd name="T83" fmla="*/ 2147483646 h 524"/>
                  <a:gd name="T84" fmla="*/ 2147483646 w 578"/>
                  <a:gd name="T85" fmla="*/ 2147483646 h 524"/>
                  <a:gd name="T86" fmla="*/ 2147483646 w 578"/>
                  <a:gd name="T87" fmla="*/ 2147483646 h 524"/>
                  <a:gd name="T88" fmla="*/ 2147483646 w 578"/>
                  <a:gd name="T89" fmla="*/ 2147483646 h 524"/>
                  <a:gd name="T90" fmla="*/ 2147483646 w 578"/>
                  <a:gd name="T91" fmla="*/ 2147483646 h 524"/>
                  <a:gd name="T92" fmla="*/ 2147483646 w 578"/>
                  <a:gd name="T93" fmla="*/ 2147483646 h 524"/>
                  <a:gd name="T94" fmla="*/ 2147483646 w 578"/>
                  <a:gd name="T95" fmla="*/ 2147483646 h 524"/>
                  <a:gd name="T96" fmla="*/ 2147483646 w 578"/>
                  <a:gd name="T97" fmla="*/ 0 h 524"/>
                  <a:gd name="T98" fmla="*/ 2147483646 w 578"/>
                  <a:gd name="T99" fmla="*/ 2147483646 h 524"/>
                  <a:gd name="T100" fmla="*/ 2147483646 w 578"/>
                  <a:gd name="T101" fmla="*/ 2147483646 h 524"/>
                  <a:gd name="T102" fmla="*/ 2147483646 w 578"/>
                  <a:gd name="T103" fmla="*/ 2147483646 h 524"/>
                  <a:gd name="T104" fmla="*/ 2147483646 w 578"/>
                  <a:gd name="T105" fmla="*/ 2147483646 h 52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578"/>
                  <a:gd name="T160" fmla="*/ 0 h 524"/>
                  <a:gd name="T161" fmla="*/ 578 w 578"/>
                  <a:gd name="T162" fmla="*/ 524 h 524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578" h="524">
                    <a:moveTo>
                      <a:pt x="332" y="99"/>
                    </a:moveTo>
                    <a:lnTo>
                      <a:pt x="331" y="94"/>
                    </a:lnTo>
                    <a:lnTo>
                      <a:pt x="329" y="90"/>
                    </a:lnTo>
                    <a:lnTo>
                      <a:pt x="327" y="88"/>
                    </a:lnTo>
                    <a:lnTo>
                      <a:pt x="325" y="86"/>
                    </a:lnTo>
                    <a:lnTo>
                      <a:pt x="320" y="85"/>
                    </a:lnTo>
                    <a:lnTo>
                      <a:pt x="315" y="85"/>
                    </a:lnTo>
                    <a:lnTo>
                      <a:pt x="312" y="85"/>
                    </a:lnTo>
                    <a:lnTo>
                      <a:pt x="309" y="85"/>
                    </a:lnTo>
                    <a:lnTo>
                      <a:pt x="306" y="84"/>
                    </a:lnTo>
                    <a:lnTo>
                      <a:pt x="304" y="82"/>
                    </a:lnTo>
                    <a:lnTo>
                      <a:pt x="301" y="79"/>
                    </a:lnTo>
                    <a:lnTo>
                      <a:pt x="297" y="75"/>
                    </a:lnTo>
                    <a:lnTo>
                      <a:pt x="295" y="69"/>
                    </a:lnTo>
                    <a:lnTo>
                      <a:pt x="293" y="61"/>
                    </a:lnTo>
                    <a:lnTo>
                      <a:pt x="275" y="66"/>
                    </a:lnTo>
                    <a:lnTo>
                      <a:pt x="263" y="70"/>
                    </a:lnTo>
                    <a:lnTo>
                      <a:pt x="258" y="73"/>
                    </a:lnTo>
                    <a:lnTo>
                      <a:pt x="254" y="76"/>
                    </a:lnTo>
                    <a:lnTo>
                      <a:pt x="251" y="78"/>
                    </a:lnTo>
                    <a:lnTo>
                      <a:pt x="249" y="81"/>
                    </a:lnTo>
                    <a:lnTo>
                      <a:pt x="247" y="87"/>
                    </a:lnTo>
                    <a:lnTo>
                      <a:pt x="246" y="95"/>
                    </a:lnTo>
                    <a:lnTo>
                      <a:pt x="246" y="105"/>
                    </a:lnTo>
                    <a:lnTo>
                      <a:pt x="246" y="117"/>
                    </a:lnTo>
                    <a:lnTo>
                      <a:pt x="247" y="131"/>
                    </a:lnTo>
                    <a:lnTo>
                      <a:pt x="249" y="143"/>
                    </a:lnTo>
                    <a:lnTo>
                      <a:pt x="253" y="153"/>
                    </a:lnTo>
                    <a:lnTo>
                      <a:pt x="259" y="162"/>
                    </a:lnTo>
                    <a:lnTo>
                      <a:pt x="262" y="166"/>
                    </a:lnTo>
                    <a:lnTo>
                      <a:pt x="266" y="169"/>
                    </a:lnTo>
                    <a:lnTo>
                      <a:pt x="270" y="172"/>
                    </a:lnTo>
                    <a:lnTo>
                      <a:pt x="274" y="174"/>
                    </a:lnTo>
                    <a:lnTo>
                      <a:pt x="279" y="176"/>
                    </a:lnTo>
                    <a:lnTo>
                      <a:pt x="283" y="177"/>
                    </a:lnTo>
                    <a:lnTo>
                      <a:pt x="287" y="178"/>
                    </a:lnTo>
                    <a:lnTo>
                      <a:pt x="293" y="178"/>
                    </a:lnTo>
                    <a:lnTo>
                      <a:pt x="293" y="182"/>
                    </a:lnTo>
                    <a:lnTo>
                      <a:pt x="295" y="187"/>
                    </a:lnTo>
                    <a:lnTo>
                      <a:pt x="298" y="191"/>
                    </a:lnTo>
                    <a:lnTo>
                      <a:pt x="303" y="195"/>
                    </a:lnTo>
                    <a:lnTo>
                      <a:pt x="314" y="203"/>
                    </a:lnTo>
                    <a:lnTo>
                      <a:pt x="327" y="211"/>
                    </a:lnTo>
                    <a:lnTo>
                      <a:pt x="351" y="225"/>
                    </a:lnTo>
                    <a:lnTo>
                      <a:pt x="365" y="234"/>
                    </a:lnTo>
                    <a:lnTo>
                      <a:pt x="439" y="296"/>
                    </a:lnTo>
                    <a:lnTo>
                      <a:pt x="443" y="303"/>
                    </a:lnTo>
                    <a:lnTo>
                      <a:pt x="449" y="309"/>
                    </a:lnTo>
                    <a:lnTo>
                      <a:pt x="454" y="314"/>
                    </a:lnTo>
                    <a:lnTo>
                      <a:pt x="461" y="318"/>
                    </a:lnTo>
                    <a:lnTo>
                      <a:pt x="469" y="320"/>
                    </a:lnTo>
                    <a:lnTo>
                      <a:pt x="477" y="322"/>
                    </a:lnTo>
                    <a:lnTo>
                      <a:pt x="487" y="322"/>
                    </a:lnTo>
                    <a:lnTo>
                      <a:pt x="498" y="321"/>
                    </a:lnTo>
                    <a:lnTo>
                      <a:pt x="500" y="324"/>
                    </a:lnTo>
                    <a:lnTo>
                      <a:pt x="504" y="328"/>
                    </a:lnTo>
                    <a:lnTo>
                      <a:pt x="507" y="332"/>
                    </a:lnTo>
                    <a:lnTo>
                      <a:pt x="511" y="337"/>
                    </a:lnTo>
                    <a:lnTo>
                      <a:pt x="523" y="346"/>
                    </a:lnTo>
                    <a:lnTo>
                      <a:pt x="536" y="356"/>
                    </a:lnTo>
                    <a:lnTo>
                      <a:pt x="549" y="364"/>
                    </a:lnTo>
                    <a:lnTo>
                      <a:pt x="561" y="370"/>
                    </a:lnTo>
                    <a:lnTo>
                      <a:pt x="571" y="374"/>
                    </a:lnTo>
                    <a:lnTo>
                      <a:pt x="578" y="376"/>
                    </a:lnTo>
                    <a:lnTo>
                      <a:pt x="577" y="383"/>
                    </a:lnTo>
                    <a:lnTo>
                      <a:pt x="574" y="391"/>
                    </a:lnTo>
                    <a:lnTo>
                      <a:pt x="570" y="400"/>
                    </a:lnTo>
                    <a:lnTo>
                      <a:pt x="565" y="407"/>
                    </a:lnTo>
                    <a:lnTo>
                      <a:pt x="552" y="388"/>
                    </a:lnTo>
                    <a:lnTo>
                      <a:pt x="541" y="387"/>
                    </a:lnTo>
                    <a:lnTo>
                      <a:pt x="530" y="384"/>
                    </a:lnTo>
                    <a:lnTo>
                      <a:pt x="526" y="383"/>
                    </a:lnTo>
                    <a:lnTo>
                      <a:pt x="521" y="381"/>
                    </a:lnTo>
                    <a:lnTo>
                      <a:pt x="519" y="378"/>
                    </a:lnTo>
                    <a:lnTo>
                      <a:pt x="518" y="376"/>
                    </a:lnTo>
                    <a:lnTo>
                      <a:pt x="508" y="376"/>
                    </a:lnTo>
                    <a:lnTo>
                      <a:pt x="498" y="376"/>
                    </a:lnTo>
                    <a:lnTo>
                      <a:pt x="498" y="382"/>
                    </a:lnTo>
                    <a:lnTo>
                      <a:pt x="498" y="389"/>
                    </a:lnTo>
                    <a:lnTo>
                      <a:pt x="498" y="397"/>
                    </a:lnTo>
                    <a:lnTo>
                      <a:pt x="498" y="407"/>
                    </a:lnTo>
                    <a:lnTo>
                      <a:pt x="499" y="414"/>
                    </a:lnTo>
                    <a:lnTo>
                      <a:pt x="504" y="422"/>
                    </a:lnTo>
                    <a:lnTo>
                      <a:pt x="506" y="426"/>
                    </a:lnTo>
                    <a:lnTo>
                      <a:pt x="509" y="429"/>
                    </a:lnTo>
                    <a:lnTo>
                      <a:pt x="514" y="431"/>
                    </a:lnTo>
                    <a:lnTo>
                      <a:pt x="518" y="432"/>
                    </a:lnTo>
                    <a:lnTo>
                      <a:pt x="514" y="442"/>
                    </a:lnTo>
                    <a:lnTo>
                      <a:pt x="508" y="454"/>
                    </a:lnTo>
                    <a:lnTo>
                      <a:pt x="506" y="460"/>
                    </a:lnTo>
                    <a:lnTo>
                      <a:pt x="504" y="465"/>
                    </a:lnTo>
                    <a:lnTo>
                      <a:pt x="500" y="468"/>
                    </a:lnTo>
                    <a:lnTo>
                      <a:pt x="498" y="469"/>
                    </a:lnTo>
                    <a:lnTo>
                      <a:pt x="493" y="485"/>
                    </a:lnTo>
                    <a:lnTo>
                      <a:pt x="486" y="498"/>
                    </a:lnTo>
                    <a:lnTo>
                      <a:pt x="483" y="505"/>
                    </a:lnTo>
                    <a:lnTo>
                      <a:pt x="481" y="511"/>
                    </a:lnTo>
                    <a:lnTo>
                      <a:pt x="480" y="518"/>
                    </a:lnTo>
                    <a:lnTo>
                      <a:pt x="478" y="524"/>
                    </a:lnTo>
                    <a:lnTo>
                      <a:pt x="465" y="522"/>
                    </a:lnTo>
                    <a:lnTo>
                      <a:pt x="450" y="518"/>
                    </a:lnTo>
                    <a:lnTo>
                      <a:pt x="438" y="513"/>
                    </a:lnTo>
                    <a:lnTo>
                      <a:pt x="432" y="511"/>
                    </a:lnTo>
                    <a:lnTo>
                      <a:pt x="436" y="505"/>
                    </a:lnTo>
                    <a:lnTo>
                      <a:pt x="440" y="499"/>
                    </a:lnTo>
                    <a:lnTo>
                      <a:pt x="445" y="494"/>
                    </a:lnTo>
                    <a:lnTo>
                      <a:pt x="451" y="489"/>
                    </a:lnTo>
                    <a:lnTo>
                      <a:pt x="456" y="484"/>
                    </a:lnTo>
                    <a:lnTo>
                      <a:pt x="461" y="478"/>
                    </a:lnTo>
                    <a:lnTo>
                      <a:pt x="463" y="475"/>
                    </a:lnTo>
                    <a:lnTo>
                      <a:pt x="464" y="471"/>
                    </a:lnTo>
                    <a:lnTo>
                      <a:pt x="465" y="467"/>
                    </a:lnTo>
                    <a:lnTo>
                      <a:pt x="465" y="463"/>
                    </a:lnTo>
                    <a:lnTo>
                      <a:pt x="464" y="455"/>
                    </a:lnTo>
                    <a:lnTo>
                      <a:pt x="463" y="448"/>
                    </a:lnTo>
                    <a:lnTo>
                      <a:pt x="461" y="441"/>
                    </a:lnTo>
                    <a:lnTo>
                      <a:pt x="458" y="434"/>
                    </a:lnTo>
                    <a:lnTo>
                      <a:pt x="449" y="420"/>
                    </a:lnTo>
                    <a:lnTo>
                      <a:pt x="439" y="407"/>
                    </a:lnTo>
                    <a:lnTo>
                      <a:pt x="427" y="395"/>
                    </a:lnTo>
                    <a:lnTo>
                      <a:pt x="415" y="384"/>
                    </a:lnTo>
                    <a:lnTo>
                      <a:pt x="403" y="376"/>
                    </a:lnTo>
                    <a:lnTo>
                      <a:pt x="392" y="370"/>
                    </a:lnTo>
                    <a:lnTo>
                      <a:pt x="385" y="369"/>
                    </a:lnTo>
                    <a:lnTo>
                      <a:pt x="378" y="367"/>
                    </a:lnTo>
                    <a:lnTo>
                      <a:pt x="372" y="364"/>
                    </a:lnTo>
                    <a:lnTo>
                      <a:pt x="366" y="362"/>
                    </a:lnTo>
                    <a:lnTo>
                      <a:pt x="355" y="356"/>
                    </a:lnTo>
                    <a:lnTo>
                      <a:pt x="348" y="349"/>
                    </a:lnTo>
                    <a:lnTo>
                      <a:pt x="336" y="338"/>
                    </a:lnTo>
                    <a:lnTo>
                      <a:pt x="332" y="333"/>
                    </a:lnTo>
                    <a:lnTo>
                      <a:pt x="318" y="330"/>
                    </a:lnTo>
                    <a:lnTo>
                      <a:pt x="305" y="327"/>
                    </a:lnTo>
                    <a:lnTo>
                      <a:pt x="292" y="323"/>
                    </a:lnTo>
                    <a:lnTo>
                      <a:pt x="280" y="319"/>
                    </a:lnTo>
                    <a:lnTo>
                      <a:pt x="268" y="315"/>
                    </a:lnTo>
                    <a:lnTo>
                      <a:pt x="257" y="310"/>
                    </a:lnTo>
                    <a:lnTo>
                      <a:pt x="247" y="304"/>
                    </a:lnTo>
                    <a:lnTo>
                      <a:pt x="237" y="299"/>
                    </a:lnTo>
                    <a:lnTo>
                      <a:pt x="218" y="285"/>
                    </a:lnTo>
                    <a:lnTo>
                      <a:pt x="202" y="272"/>
                    </a:lnTo>
                    <a:lnTo>
                      <a:pt x="186" y="258"/>
                    </a:lnTo>
                    <a:lnTo>
                      <a:pt x="173" y="244"/>
                    </a:lnTo>
                    <a:lnTo>
                      <a:pt x="162" y="229"/>
                    </a:lnTo>
                    <a:lnTo>
                      <a:pt x="152" y="215"/>
                    </a:lnTo>
                    <a:lnTo>
                      <a:pt x="144" y="202"/>
                    </a:lnTo>
                    <a:lnTo>
                      <a:pt x="137" y="189"/>
                    </a:lnTo>
                    <a:lnTo>
                      <a:pt x="126" y="168"/>
                    </a:lnTo>
                    <a:lnTo>
                      <a:pt x="119" y="154"/>
                    </a:lnTo>
                    <a:lnTo>
                      <a:pt x="102" y="154"/>
                    </a:lnTo>
                    <a:lnTo>
                      <a:pt x="89" y="154"/>
                    </a:lnTo>
                    <a:lnTo>
                      <a:pt x="77" y="154"/>
                    </a:lnTo>
                    <a:lnTo>
                      <a:pt x="67" y="154"/>
                    </a:lnTo>
                    <a:lnTo>
                      <a:pt x="61" y="155"/>
                    </a:lnTo>
                    <a:lnTo>
                      <a:pt x="57" y="155"/>
                    </a:lnTo>
                    <a:lnTo>
                      <a:pt x="51" y="157"/>
                    </a:lnTo>
                    <a:lnTo>
                      <a:pt x="46" y="159"/>
                    </a:lnTo>
                    <a:lnTo>
                      <a:pt x="34" y="164"/>
                    </a:lnTo>
                    <a:lnTo>
                      <a:pt x="21" y="172"/>
                    </a:lnTo>
                    <a:lnTo>
                      <a:pt x="15" y="165"/>
                    </a:lnTo>
                    <a:lnTo>
                      <a:pt x="12" y="158"/>
                    </a:lnTo>
                    <a:lnTo>
                      <a:pt x="7" y="150"/>
                    </a:lnTo>
                    <a:lnTo>
                      <a:pt x="5" y="141"/>
                    </a:lnTo>
                    <a:lnTo>
                      <a:pt x="3" y="133"/>
                    </a:lnTo>
                    <a:lnTo>
                      <a:pt x="1" y="123"/>
                    </a:lnTo>
                    <a:lnTo>
                      <a:pt x="1" y="114"/>
                    </a:lnTo>
                    <a:lnTo>
                      <a:pt x="0" y="105"/>
                    </a:lnTo>
                    <a:lnTo>
                      <a:pt x="1" y="93"/>
                    </a:lnTo>
                    <a:lnTo>
                      <a:pt x="3" y="83"/>
                    </a:lnTo>
                    <a:lnTo>
                      <a:pt x="5" y="71"/>
                    </a:lnTo>
                    <a:lnTo>
                      <a:pt x="6" y="55"/>
                    </a:lnTo>
                    <a:lnTo>
                      <a:pt x="6" y="49"/>
                    </a:lnTo>
                    <a:lnTo>
                      <a:pt x="27" y="49"/>
                    </a:lnTo>
                    <a:lnTo>
                      <a:pt x="34" y="47"/>
                    </a:lnTo>
                    <a:lnTo>
                      <a:pt x="39" y="44"/>
                    </a:lnTo>
                    <a:lnTo>
                      <a:pt x="45" y="41"/>
                    </a:lnTo>
                    <a:lnTo>
                      <a:pt x="49" y="37"/>
                    </a:lnTo>
                    <a:lnTo>
                      <a:pt x="58" y="31"/>
                    </a:lnTo>
                    <a:lnTo>
                      <a:pt x="67" y="25"/>
                    </a:lnTo>
                    <a:lnTo>
                      <a:pt x="68" y="33"/>
                    </a:lnTo>
                    <a:lnTo>
                      <a:pt x="70" y="39"/>
                    </a:lnTo>
                    <a:lnTo>
                      <a:pt x="73" y="44"/>
                    </a:lnTo>
                    <a:lnTo>
                      <a:pt x="78" y="46"/>
                    </a:lnTo>
                    <a:lnTo>
                      <a:pt x="83" y="48"/>
                    </a:lnTo>
                    <a:lnTo>
                      <a:pt x="89" y="49"/>
                    </a:lnTo>
                    <a:lnTo>
                      <a:pt x="94" y="49"/>
                    </a:lnTo>
                    <a:lnTo>
                      <a:pt x="100" y="49"/>
                    </a:lnTo>
                    <a:lnTo>
                      <a:pt x="104" y="44"/>
                    </a:lnTo>
                    <a:lnTo>
                      <a:pt x="113" y="38"/>
                    </a:lnTo>
                    <a:lnTo>
                      <a:pt x="124" y="31"/>
                    </a:lnTo>
                    <a:lnTo>
                      <a:pt x="136" y="24"/>
                    </a:lnTo>
                    <a:lnTo>
                      <a:pt x="149" y="16"/>
                    </a:lnTo>
                    <a:lnTo>
                      <a:pt x="160" y="11"/>
                    </a:lnTo>
                    <a:lnTo>
                      <a:pt x="168" y="7"/>
                    </a:lnTo>
                    <a:lnTo>
                      <a:pt x="173" y="6"/>
                    </a:lnTo>
                    <a:lnTo>
                      <a:pt x="239" y="0"/>
                    </a:lnTo>
                    <a:lnTo>
                      <a:pt x="243" y="4"/>
                    </a:lnTo>
                    <a:lnTo>
                      <a:pt x="248" y="8"/>
                    </a:lnTo>
                    <a:lnTo>
                      <a:pt x="252" y="11"/>
                    </a:lnTo>
                    <a:lnTo>
                      <a:pt x="257" y="13"/>
                    </a:lnTo>
                    <a:lnTo>
                      <a:pt x="266" y="16"/>
                    </a:lnTo>
                    <a:lnTo>
                      <a:pt x="279" y="19"/>
                    </a:lnTo>
                    <a:lnTo>
                      <a:pt x="304" y="20"/>
                    </a:lnTo>
                    <a:lnTo>
                      <a:pt x="332" y="19"/>
                    </a:lnTo>
                    <a:lnTo>
                      <a:pt x="331" y="34"/>
                    </a:lnTo>
                    <a:lnTo>
                      <a:pt x="329" y="46"/>
                    </a:lnTo>
                    <a:lnTo>
                      <a:pt x="325" y="56"/>
                    </a:lnTo>
                    <a:lnTo>
                      <a:pt x="322" y="65"/>
                    </a:lnTo>
                    <a:lnTo>
                      <a:pt x="320" y="74"/>
                    </a:lnTo>
                    <a:lnTo>
                      <a:pt x="321" y="82"/>
                    </a:lnTo>
                    <a:lnTo>
                      <a:pt x="322" y="86"/>
                    </a:lnTo>
                    <a:lnTo>
                      <a:pt x="325" y="90"/>
                    </a:lnTo>
                    <a:lnTo>
                      <a:pt x="328" y="94"/>
                    </a:lnTo>
                    <a:lnTo>
                      <a:pt x="332" y="99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96" name="Freeform 18">
                <a:extLst>
                  <a:ext uri="{FF2B5EF4-FFF2-40B4-BE49-F238E27FC236}">
                    <a16:creationId xmlns="" xmlns:a16="http://schemas.microsoft.com/office/drawing/2014/main" id="{C1A19951-95E2-4DE0-9948-762D5B04B558}"/>
                  </a:ext>
                </a:extLst>
              </p:cNvPr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191000" y="2351088"/>
                <a:ext cx="33338" cy="82550"/>
              </a:xfrm>
              <a:custGeom>
                <a:avLst/>
                <a:gdLst>
                  <a:gd name="T0" fmla="*/ 0 w 79"/>
                  <a:gd name="T1" fmla="*/ 2147483646 h 160"/>
                  <a:gd name="T2" fmla="*/ 2147483646 w 79"/>
                  <a:gd name="T3" fmla="*/ 2147483646 h 160"/>
                  <a:gd name="T4" fmla="*/ 2147483646 w 79"/>
                  <a:gd name="T5" fmla="*/ 2147483646 h 160"/>
                  <a:gd name="T6" fmla="*/ 2147483646 w 79"/>
                  <a:gd name="T7" fmla="*/ 2147483646 h 160"/>
                  <a:gd name="T8" fmla="*/ 2147483646 w 79"/>
                  <a:gd name="T9" fmla="*/ 2147483646 h 160"/>
                  <a:gd name="T10" fmla="*/ 2147483646 w 79"/>
                  <a:gd name="T11" fmla="*/ 2147483646 h 160"/>
                  <a:gd name="T12" fmla="*/ 2147483646 w 79"/>
                  <a:gd name="T13" fmla="*/ 2147483646 h 160"/>
                  <a:gd name="T14" fmla="*/ 2147483646 w 79"/>
                  <a:gd name="T15" fmla="*/ 2147483646 h 160"/>
                  <a:gd name="T16" fmla="*/ 2147483646 w 79"/>
                  <a:gd name="T17" fmla="*/ 2147483646 h 160"/>
                  <a:gd name="T18" fmla="*/ 2147483646 w 79"/>
                  <a:gd name="T19" fmla="*/ 2147483646 h 160"/>
                  <a:gd name="T20" fmla="*/ 2147483646 w 79"/>
                  <a:gd name="T21" fmla="*/ 0 h 160"/>
                  <a:gd name="T22" fmla="*/ 2147483646 w 79"/>
                  <a:gd name="T23" fmla="*/ 2147483646 h 160"/>
                  <a:gd name="T24" fmla="*/ 2147483646 w 79"/>
                  <a:gd name="T25" fmla="*/ 2147483646 h 160"/>
                  <a:gd name="T26" fmla="*/ 2147483646 w 79"/>
                  <a:gd name="T27" fmla="*/ 2147483646 h 160"/>
                  <a:gd name="T28" fmla="*/ 2147483646 w 79"/>
                  <a:gd name="T29" fmla="*/ 2147483646 h 160"/>
                  <a:gd name="T30" fmla="*/ 2147483646 w 79"/>
                  <a:gd name="T31" fmla="*/ 2147483646 h 160"/>
                  <a:gd name="T32" fmla="*/ 2147483646 w 79"/>
                  <a:gd name="T33" fmla="*/ 2147483646 h 160"/>
                  <a:gd name="T34" fmla="*/ 2147483646 w 79"/>
                  <a:gd name="T35" fmla="*/ 2147483646 h 160"/>
                  <a:gd name="T36" fmla="*/ 2147483646 w 79"/>
                  <a:gd name="T37" fmla="*/ 2147483646 h 160"/>
                  <a:gd name="T38" fmla="*/ 2147483646 w 79"/>
                  <a:gd name="T39" fmla="*/ 2147483646 h 160"/>
                  <a:gd name="T40" fmla="*/ 2147483646 w 79"/>
                  <a:gd name="T41" fmla="*/ 2147483646 h 160"/>
                  <a:gd name="T42" fmla="*/ 2147483646 w 79"/>
                  <a:gd name="T43" fmla="*/ 2147483646 h 160"/>
                  <a:gd name="T44" fmla="*/ 2147483646 w 79"/>
                  <a:gd name="T45" fmla="*/ 2147483646 h 160"/>
                  <a:gd name="T46" fmla="*/ 2147483646 w 79"/>
                  <a:gd name="T47" fmla="*/ 2147483646 h 160"/>
                  <a:gd name="T48" fmla="*/ 2147483646 w 79"/>
                  <a:gd name="T49" fmla="*/ 2147483646 h 160"/>
                  <a:gd name="T50" fmla="*/ 2147483646 w 79"/>
                  <a:gd name="T51" fmla="*/ 2147483646 h 160"/>
                  <a:gd name="T52" fmla="*/ 2147483646 w 79"/>
                  <a:gd name="T53" fmla="*/ 2147483646 h 160"/>
                  <a:gd name="T54" fmla="*/ 2147483646 w 79"/>
                  <a:gd name="T55" fmla="*/ 2147483646 h 160"/>
                  <a:gd name="T56" fmla="*/ 2147483646 w 79"/>
                  <a:gd name="T57" fmla="*/ 2147483646 h 160"/>
                  <a:gd name="T58" fmla="*/ 2147483646 w 79"/>
                  <a:gd name="T59" fmla="*/ 2147483646 h 160"/>
                  <a:gd name="T60" fmla="*/ 2147483646 w 79"/>
                  <a:gd name="T61" fmla="*/ 2147483646 h 160"/>
                  <a:gd name="T62" fmla="*/ 2147483646 w 79"/>
                  <a:gd name="T63" fmla="*/ 2147483646 h 160"/>
                  <a:gd name="T64" fmla="*/ 2147483646 w 79"/>
                  <a:gd name="T65" fmla="*/ 2147483646 h 160"/>
                  <a:gd name="T66" fmla="*/ 2147483646 w 79"/>
                  <a:gd name="T67" fmla="*/ 2147483646 h 160"/>
                  <a:gd name="T68" fmla="*/ 2147483646 w 79"/>
                  <a:gd name="T69" fmla="*/ 2147483646 h 160"/>
                  <a:gd name="T70" fmla="*/ 2147483646 w 79"/>
                  <a:gd name="T71" fmla="*/ 2147483646 h 160"/>
                  <a:gd name="T72" fmla="*/ 2147483646 w 79"/>
                  <a:gd name="T73" fmla="*/ 2147483646 h 160"/>
                  <a:gd name="T74" fmla="*/ 2147483646 w 79"/>
                  <a:gd name="T75" fmla="*/ 2147483646 h 160"/>
                  <a:gd name="T76" fmla="*/ 0 w 79"/>
                  <a:gd name="T77" fmla="*/ 2147483646 h 160"/>
                  <a:gd name="T78" fmla="*/ 0 w 79"/>
                  <a:gd name="T79" fmla="*/ 2147483646 h 160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79"/>
                  <a:gd name="T121" fmla="*/ 0 h 160"/>
                  <a:gd name="T122" fmla="*/ 79 w 79"/>
                  <a:gd name="T123" fmla="*/ 160 h 160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79" h="160">
                    <a:moveTo>
                      <a:pt x="0" y="37"/>
                    </a:moveTo>
                    <a:lnTo>
                      <a:pt x="6" y="37"/>
                    </a:lnTo>
                    <a:lnTo>
                      <a:pt x="11" y="36"/>
                    </a:lnTo>
                    <a:lnTo>
                      <a:pt x="16" y="35"/>
                    </a:lnTo>
                    <a:lnTo>
                      <a:pt x="19" y="33"/>
                    </a:lnTo>
                    <a:lnTo>
                      <a:pt x="26" y="28"/>
                    </a:lnTo>
                    <a:lnTo>
                      <a:pt x="31" y="22"/>
                    </a:lnTo>
                    <a:lnTo>
                      <a:pt x="37" y="16"/>
                    </a:lnTo>
                    <a:lnTo>
                      <a:pt x="41" y="10"/>
                    </a:lnTo>
                    <a:lnTo>
                      <a:pt x="46" y="5"/>
                    </a:lnTo>
                    <a:lnTo>
                      <a:pt x="53" y="0"/>
                    </a:lnTo>
                    <a:lnTo>
                      <a:pt x="57" y="3"/>
                    </a:lnTo>
                    <a:lnTo>
                      <a:pt x="62" y="7"/>
                    </a:lnTo>
                    <a:lnTo>
                      <a:pt x="64" y="10"/>
                    </a:lnTo>
                    <a:lnTo>
                      <a:pt x="66" y="14"/>
                    </a:lnTo>
                    <a:lnTo>
                      <a:pt x="69" y="22"/>
                    </a:lnTo>
                    <a:lnTo>
                      <a:pt x="72" y="32"/>
                    </a:lnTo>
                    <a:lnTo>
                      <a:pt x="73" y="40"/>
                    </a:lnTo>
                    <a:lnTo>
                      <a:pt x="74" y="49"/>
                    </a:lnTo>
                    <a:lnTo>
                      <a:pt x="76" y="58"/>
                    </a:lnTo>
                    <a:lnTo>
                      <a:pt x="79" y="67"/>
                    </a:lnTo>
                    <a:lnTo>
                      <a:pt x="79" y="98"/>
                    </a:lnTo>
                    <a:lnTo>
                      <a:pt x="68" y="115"/>
                    </a:lnTo>
                    <a:lnTo>
                      <a:pt x="59" y="129"/>
                    </a:lnTo>
                    <a:lnTo>
                      <a:pt x="53" y="136"/>
                    </a:lnTo>
                    <a:lnTo>
                      <a:pt x="50" y="144"/>
                    </a:lnTo>
                    <a:lnTo>
                      <a:pt x="48" y="151"/>
                    </a:lnTo>
                    <a:lnTo>
                      <a:pt x="46" y="160"/>
                    </a:lnTo>
                    <a:lnTo>
                      <a:pt x="40" y="155"/>
                    </a:lnTo>
                    <a:lnTo>
                      <a:pt x="33" y="150"/>
                    </a:lnTo>
                    <a:lnTo>
                      <a:pt x="28" y="144"/>
                    </a:lnTo>
                    <a:lnTo>
                      <a:pt x="22" y="137"/>
                    </a:lnTo>
                    <a:lnTo>
                      <a:pt x="18" y="130"/>
                    </a:lnTo>
                    <a:lnTo>
                      <a:pt x="15" y="123"/>
                    </a:lnTo>
                    <a:lnTo>
                      <a:pt x="11" y="115"/>
                    </a:lnTo>
                    <a:lnTo>
                      <a:pt x="8" y="108"/>
                    </a:lnTo>
                    <a:lnTo>
                      <a:pt x="4" y="91"/>
                    </a:lnTo>
                    <a:lnTo>
                      <a:pt x="1" y="73"/>
                    </a:lnTo>
                    <a:lnTo>
                      <a:pt x="0" y="55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1697" name="Group 19">
                <a:extLst>
                  <a:ext uri="{FF2B5EF4-FFF2-40B4-BE49-F238E27FC236}">
                    <a16:creationId xmlns="" xmlns:a16="http://schemas.microsoft.com/office/drawing/2014/main" id="{4D72F341-48F4-45DF-A90B-52394AF095D3}"/>
                  </a:ext>
                </a:extLst>
              </p:cNvPr>
              <p:cNvGrpSpPr>
                <a:grpSpLocks/>
              </p:cNvGrpSpPr>
              <p:nvPr>
                <p:custDataLst>
                  <p:tags r:id="rId16"/>
                </p:custDataLst>
              </p:nvPr>
            </p:nvGrpSpPr>
            <p:grpSpPr bwMode="auto">
              <a:xfrm>
                <a:off x="6510338" y="3411538"/>
                <a:ext cx="473075" cy="212725"/>
                <a:chOff x="4488" y="2394"/>
                <a:chExt cx="358" cy="124"/>
              </a:xfrm>
              <a:solidFill>
                <a:srgbClr val="FFFFFF">
                  <a:lumMod val="75000"/>
                </a:srgbClr>
              </a:solidFill>
            </p:grpSpPr>
            <p:sp>
              <p:nvSpPr>
                <p:cNvPr id="1698" name="Freeform 20">
                  <a:extLst>
                    <a:ext uri="{FF2B5EF4-FFF2-40B4-BE49-F238E27FC236}">
                      <a16:creationId xmlns="" xmlns:a16="http://schemas.microsoft.com/office/drawing/2014/main" id="{EEE6AD2F-CABC-4B8C-A39C-90775724EF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75" y="2394"/>
                  <a:ext cx="171" cy="124"/>
                </a:xfrm>
                <a:custGeom>
                  <a:avLst/>
                  <a:gdLst>
                    <a:gd name="T0" fmla="*/ 2 w 512"/>
                    <a:gd name="T1" fmla="*/ 1 h 408"/>
                    <a:gd name="T2" fmla="*/ 2 w 512"/>
                    <a:gd name="T3" fmla="*/ 1 h 408"/>
                    <a:gd name="T4" fmla="*/ 2 w 512"/>
                    <a:gd name="T5" fmla="*/ 1 h 408"/>
                    <a:gd name="T6" fmla="*/ 1 w 512"/>
                    <a:gd name="T7" fmla="*/ 1 h 408"/>
                    <a:gd name="T8" fmla="*/ 1 w 512"/>
                    <a:gd name="T9" fmla="*/ 1 h 408"/>
                    <a:gd name="T10" fmla="*/ 1 w 512"/>
                    <a:gd name="T11" fmla="*/ 1 h 408"/>
                    <a:gd name="T12" fmla="*/ 1 w 512"/>
                    <a:gd name="T13" fmla="*/ 1 h 408"/>
                    <a:gd name="T14" fmla="*/ 1 w 512"/>
                    <a:gd name="T15" fmla="*/ 1 h 408"/>
                    <a:gd name="T16" fmla="*/ 1 w 512"/>
                    <a:gd name="T17" fmla="*/ 1 h 408"/>
                    <a:gd name="T18" fmla="*/ 1 w 512"/>
                    <a:gd name="T19" fmla="*/ 1 h 408"/>
                    <a:gd name="T20" fmla="*/ 1 w 512"/>
                    <a:gd name="T21" fmla="*/ 1 h 408"/>
                    <a:gd name="T22" fmla="*/ 1 w 512"/>
                    <a:gd name="T23" fmla="*/ 1 h 408"/>
                    <a:gd name="T24" fmla="*/ 1 w 512"/>
                    <a:gd name="T25" fmla="*/ 1 h 408"/>
                    <a:gd name="T26" fmla="*/ 1 w 512"/>
                    <a:gd name="T27" fmla="*/ 1 h 408"/>
                    <a:gd name="T28" fmla="*/ 1 w 512"/>
                    <a:gd name="T29" fmla="*/ 1 h 408"/>
                    <a:gd name="T30" fmla="*/ 0 w 512"/>
                    <a:gd name="T31" fmla="*/ 1 h 408"/>
                    <a:gd name="T32" fmla="*/ 0 w 512"/>
                    <a:gd name="T33" fmla="*/ 1 h 408"/>
                    <a:gd name="T34" fmla="*/ 0 w 512"/>
                    <a:gd name="T35" fmla="*/ 1 h 408"/>
                    <a:gd name="T36" fmla="*/ 0 w 512"/>
                    <a:gd name="T37" fmla="*/ 1 h 408"/>
                    <a:gd name="T38" fmla="*/ 0 w 512"/>
                    <a:gd name="T39" fmla="*/ 1 h 408"/>
                    <a:gd name="T40" fmla="*/ 0 w 512"/>
                    <a:gd name="T41" fmla="*/ 1 h 408"/>
                    <a:gd name="T42" fmla="*/ 0 w 512"/>
                    <a:gd name="T43" fmla="*/ 1 h 408"/>
                    <a:gd name="T44" fmla="*/ 0 w 512"/>
                    <a:gd name="T45" fmla="*/ 1 h 408"/>
                    <a:gd name="T46" fmla="*/ 0 w 512"/>
                    <a:gd name="T47" fmla="*/ 1 h 408"/>
                    <a:gd name="T48" fmla="*/ 0 w 512"/>
                    <a:gd name="T49" fmla="*/ 1 h 408"/>
                    <a:gd name="T50" fmla="*/ 0 w 512"/>
                    <a:gd name="T51" fmla="*/ 1 h 408"/>
                    <a:gd name="T52" fmla="*/ 0 w 512"/>
                    <a:gd name="T53" fmla="*/ 1 h 408"/>
                    <a:gd name="T54" fmla="*/ 0 w 512"/>
                    <a:gd name="T55" fmla="*/ 1 h 408"/>
                    <a:gd name="T56" fmla="*/ 1 w 512"/>
                    <a:gd name="T57" fmla="*/ 1 h 408"/>
                    <a:gd name="T58" fmla="*/ 1 w 512"/>
                    <a:gd name="T59" fmla="*/ 1 h 408"/>
                    <a:gd name="T60" fmla="*/ 1 w 512"/>
                    <a:gd name="T61" fmla="*/ 1 h 408"/>
                    <a:gd name="T62" fmla="*/ 1 w 512"/>
                    <a:gd name="T63" fmla="*/ 1 h 408"/>
                    <a:gd name="T64" fmla="*/ 1 w 512"/>
                    <a:gd name="T65" fmla="*/ 1 h 408"/>
                    <a:gd name="T66" fmla="*/ 1 w 512"/>
                    <a:gd name="T67" fmla="*/ 1 h 408"/>
                    <a:gd name="T68" fmla="*/ 1 w 512"/>
                    <a:gd name="T69" fmla="*/ 0 h 408"/>
                    <a:gd name="T70" fmla="*/ 1 w 512"/>
                    <a:gd name="T71" fmla="*/ 0 h 408"/>
                    <a:gd name="T72" fmla="*/ 1 w 512"/>
                    <a:gd name="T73" fmla="*/ 0 h 408"/>
                    <a:gd name="T74" fmla="*/ 1 w 512"/>
                    <a:gd name="T75" fmla="*/ 0 h 408"/>
                    <a:gd name="T76" fmla="*/ 1 w 512"/>
                    <a:gd name="T77" fmla="*/ 1 h 408"/>
                    <a:gd name="T78" fmla="*/ 1 w 512"/>
                    <a:gd name="T79" fmla="*/ 1 h 408"/>
                    <a:gd name="T80" fmla="*/ 1 w 512"/>
                    <a:gd name="T81" fmla="*/ 1 h 408"/>
                    <a:gd name="T82" fmla="*/ 1 w 512"/>
                    <a:gd name="T83" fmla="*/ 1 h 408"/>
                    <a:gd name="T84" fmla="*/ 1 w 512"/>
                    <a:gd name="T85" fmla="*/ 1 h 408"/>
                    <a:gd name="T86" fmla="*/ 1 w 512"/>
                    <a:gd name="T87" fmla="*/ 1 h 408"/>
                    <a:gd name="T88" fmla="*/ 1 w 512"/>
                    <a:gd name="T89" fmla="*/ 1 h 408"/>
                    <a:gd name="T90" fmla="*/ 1 w 512"/>
                    <a:gd name="T91" fmla="*/ 0 h 408"/>
                    <a:gd name="T92" fmla="*/ 1 w 512"/>
                    <a:gd name="T93" fmla="*/ 0 h 408"/>
                    <a:gd name="T94" fmla="*/ 1 w 512"/>
                    <a:gd name="T95" fmla="*/ 0 h 408"/>
                    <a:gd name="T96" fmla="*/ 2 w 512"/>
                    <a:gd name="T97" fmla="*/ 0 h 408"/>
                    <a:gd name="T98" fmla="*/ 2 w 512"/>
                    <a:gd name="T99" fmla="*/ 0 h 408"/>
                    <a:gd name="T100" fmla="*/ 2 w 512"/>
                    <a:gd name="T101" fmla="*/ 0 h 408"/>
                    <a:gd name="T102" fmla="*/ 2 w 512"/>
                    <a:gd name="T103" fmla="*/ 0 h 408"/>
                    <a:gd name="T104" fmla="*/ 2 w 512"/>
                    <a:gd name="T105" fmla="*/ 0 h 408"/>
                    <a:gd name="T106" fmla="*/ 2 w 512"/>
                    <a:gd name="T107" fmla="*/ 0 h 408"/>
                    <a:gd name="T108" fmla="*/ 2 w 512"/>
                    <a:gd name="T109" fmla="*/ 0 h 408"/>
                    <a:gd name="T110" fmla="*/ 2 w 512"/>
                    <a:gd name="T111" fmla="*/ 0 h 408"/>
                    <a:gd name="T112" fmla="*/ 2 w 512"/>
                    <a:gd name="T113" fmla="*/ 0 h 408"/>
                    <a:gd name="T114" fmla="*/ 2 w 512"/>
                    <a:gd name="T115" fmla="*/ 1 h 408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512"/>
                    <a:gd name="T175" fmla="*/ 0 h 408"/>
                    <a:gd name="T176" fmla="*/ 512 w 512"/>
                    <a:gd name="T177" fmla="*/ 408 h 408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512" h="408">
                      <a:moveTo>
                        <a:pt x="452" y="204"/>
                      </a:moveTo>
                      <a:lnTo>
                        <a:pt x="442" y="202"/>
                      </a:lnTo>
                      <a:lnTo>
                        <a:pt x="424" y="198"/>
                      </a:lnTo>
                      <a:lnTo>
                        <a:pt x="407" y="194"/>
                      </a:lnTo>
                      <a:lnTo>
                        <a:pt x="392" y="192"/>
                      </a:lnTo>
                      <a:lnTo>
                        <a:pt x="387" y="193"/>
                      </a:lnTo>
                      <a:lnTo>
                        <a:pt x="380" y="195"/>
                      </a:lnTo>
                      <a:lnTo>
                        <a:pt x="374" y="198"/>
                      </a:lnTo>
                      <a:lnTo>
                        <a:pt x="367" y="203"/>
                      </a:lnTo>
                      <a:lnTo>
                        <a:pt x="362" y="207"/>
                      </a:lnTo>
                      <a:lnTo>
                        <a:pt x="356" y="212"/>
                      </a:lnTo>
                      <a:lnTo>
                        <a:pt x="354" y="217"/>
                      </a:lnTo>
                      <a:lnTo>
                        <a:pt x="353" y="222"/>
                      </a:lnTo>
                      <a:lnTo>
                        <a:pt x="351" y="238"/>
                      </a:lnTo>
                      <a:lnTo>
                        <a:pt x="347" y="254"/>
                      </a:lnTo>
                      <a:lnTo>
                        <a:pt x="342" y="271"/>
                      </a:lnTo>
                      <a:lnTo>
                        <a:pt x="335" y="289"/>
                      </a:lnTo>
                      <a:lnTo>
                        <a:pt x="327" y="306"/>
                      </a:lnTo>
                      <a:lnTo>
                        <a:pt x="316" y="321"/>
                      </a:lnTo>
                      <a:lnTo>
                        <a:pt x="310" y="328"/>
                      </a:lnTo>
                      <a:lnTo>
                        <a:pt x="305" y="335"/>
                      </a:lnTo>
                      <a:lnTo>
                        <a:pt x="299" y="341"/>
                      </a:lnTo>
                      <a:lnTo>
                        <a:pt x="293" y="346"/>
                      </a:lnTo>
                      <a:lnTo>
                        <a:pt x="289" y="350"/>
                      </a:lnTo>
                      <a:lnTo>
                        <a:pt x="284" y="354"/>
                      </a:lnTo>
                      <a:lnTo>
                        <a:pt x="277" y="356"/>
                      </a:lnTo>
                      <a:lnTo>
                        <a:pt x="271" y="359"/>
                      </a:lnTo>
                      <a:lnTo>
                        <a:pt x="264" y="362"/>
                      </a:lnTo>
                      <a:lnTo>
                        <a:pt x="258" y="366"/>
                      </a:lnTo>
                      <a:lnTo>
                        <a:pt x="256" y="368"/>
                      </a:lnTo>
                      <a:lnTo>
                        <a:pt x="254" y="370"/>
                      </a:lnTo>
                      <a:lnTo>
                        <a:pt x="253" y="373"/>
                      </a:lnTo>
                      <a:lnTo>
                        <a:pt x="253" y="376"/>
                      </a:lnTo>
                      <a:lnTo>
                        <a:pt x="227" y="376"/>
                      </a:lnTo>
                      <a:lnTo>
                        <a:pt x="221" y="373"/>
                      </a:lnTo>
                      <a:lnTo>
                        <a:pt x="215" y="370"/>
                      </a:lnTo>
                      <a:lnTo>
                        <a:pt x="208" y="369"/>
                      </a:lnTo>
                      <a:lnTo>
                        <a:pt x="200" y="368"/>
                      </a:lnTo>
                      <a:lnTo>
                        <a:pt x="183" y="367"/>
                      </a:lnTo>
                      <a:lnTo>
                        <a:pt x="160" y="364"/>
                      </a:lnTo>
                      <a:lnTo>
                        <a:pt x="157" y="369"/>
                      </a:lnTo>
                      <a:lnTo>
                        <a:pt x="155" y="373"/>
                      </a:lnTo>
                      <a:lnTo>
                        <a:pt x="152" y="377"/>
                      </a:lnTo>
                      <a:lnTo>
                        <a:pt x="148" y="381"/>
                      </a:lnTo>
                      <a:lnTo>
                        <a:pt x="138" y="388"/>
                      </a:lnTo>
                      <a:lnTo>
                        <a:pt x="126" y="396"/>
                      </a:lnTo>
                      <a:lnTo>
                        <a:pt x="111" y="401"/>
                      </a:lnTo>
                      <a:lnTo>
                        <a:pt x="97" y="405"/>
                      </a:lnTo>
                      <a:lnTo>
                        <a:pt x="82" y="407"/>
                      </a:lnTo>
                      <a:lnTo>
                        <a:pt x="66" y="408"/>
                      </a:lnTo>
                      <a:lnTo>
                        <a:pt x="62" y="407"/>
                      </a:lnTo>
                      <a:lnTo>
                        <a:pt x="56" y="406"/>
                      </a:lnTo>
                      <a:lnTo>
                        <a:pt x="51" y="403"/>
                      </a:lnTo>
                      <a:lnTo>
                        <a:pt x="45" y="400"/>
                      </a:lnTo>
                      <a:lnTo>
                        <a:pt x="34" y="390"/>
                      </a:lnTo>
                      <a:lnTo>
                        <a:pt x="24" y="379"/>
                      </a:lnTo>
                      <a:lnTo>
                        <a:pt x="15" y="368"/>
                      </a:lnTo>
                      <a:lnTo>
                        <a:pt x="7" y="356"/>
                      </a:lnTo>
                      <a:lnTo>
                        <a:pt x="4" y="350"/>
                      </a:lnTo>
                      <a:lnTo>
                        <a:pt x="2" y="344"/>
                      </a:lnTo>
                      <a:lnTo>
                        <a:pt x="0" y="338"/>
                      </a:lnTo>
                      <a:lnTo>
                        <a:pt x="0" y="333"/>
                      </a:lnTo>
                      <a:lnTo>
                        <a:pt x="8" y="335"/>
                      </a:lnTo>
                      <a:lnTo>
                        <a:pt x="19" y="340"/>
                      </a:lnTo>
                      <a:lnTo>
                        <a:pt x="27" y="342"/>
                      </a:lnTo>
                      <a:lnTo>
                        <a:pt x="34" y="344"/>
                      </a:lnTo>
                      <a:lnTo>
                        <a:pt x="43" y="346"/>
                      </a:lnTo>
                      <a:lnTo>
                        <a:pt x="53" y="346"/>
                      </a:lnTo>
                      <a:lnTo>
                        <a:pt x="53" y="336"/>
                      </a:lnTo>
                      <a:lnTo>
                        <a:pt x="54" y="328"/>
                      </a:lnTo>
                      <a:lnTo>
                        <a:pt x="54" y="321"/>
                      </a:lnTo>
                      <a:lnTo>
                        <a:pt x="56" y="314"/>
                      </a:lnTo>
                      <a:lnTo>
                        <a:pt x="60" y="308"/>
                      </a:lnTo>
                      <a:lnTo>
                        <a:pt x="64" y="303"/>
                      </a:lnTo>
                      <a:lnTo>
                        <a:pt x="71" y="300"/>
                      </a:lnTo>
                      <a:lnTo>
                        <a:pt x="80" y="297"/>
                      </a:lnTo>
                      <a:lnTo>
                        <a:pt x="81" y="291"/>
                      </a:lnTo>
                      <a:lnTo>
                        <a:pt x="82" y="286"/>
                      </a:lnTo>
                      <a:lnTo>
                        <a:pt x="84" y="281"/>
                      </a:lnTo>
                      <a:lnTo>
                        <a:pt x="86" y="276"/>
                      </a:lnTo>
                      <a:lnTo>
                        <a:pt x="89" y="272"/>
                      </a:lnTo>
                      <a:lnTo>
                        <a:pt x="93" y="268"/>
                      </a:lnTo>
                      <a:lnTo>
                        <a:pt x="97" y="265"/>
                      </a:lnTo>
                      <a:lnTo>
                        <a:pt x="101" y="262"/>
                      </a:lnTo>
                      <a:lnTo>
                        <a:pt x="112" y="256"/>
                      </a:lnTo>
                      <a:lnTo>
                        <a:pt x="125" y="251"/>
                      </a:lnTo>
                      <a:lnTo>
                        <a:pt x="137" y="246"/>
                      </a:lnTo>
                      <a:lnTo>
                        <a:pt x="150" y="241"/>
                      </a:lnTo>
                      <a:lnTo>
                        <a:pt x="163" y="237"/>
                      </a:lnTo>
                      <a:lnTo>
                        <a:pt x="175" y="232"/>
                      </a:lnTo>
                      <a:lnTo>
                        <a:pt x="187" y="226"/>
                      </a:lnTo>
                      <a:lnTo>
                        <a:pt x="198" y="220"/>
                      </a:lnTo>
                      <a:lnTo>
                        <a:pt x="202" y="217"/>
                      </a:lnTo>
                      <a:lnTo>
                        <a:pt x="207" y="213"/>
                      </a:lnTo>
                      <a:lnTo>
                        <a:pt x="210" y="210"/>
                      </a:lnTo>
                      <a:lnTo>
                        <a:pt x="213" y="205"/>
                      </a:lnTo>
                      <a:lnTo>
                        <a:pt x="216" y="201"/>
                      </a:lnTo>
                      <a:lnTo>
                        <a:pt x="218" y="196"/>
                      </a:lnTo>
                      <a:lnTo>
                        <a:pt x="219" y="191"/>
                      </a:lnTo>
                      <a:lnTo>
                        <a:pt x="219" y="186"/>
                      </a:lnTo>
                      <a:lnTo>
                        <a:pt x="221" y="175"/>
                      </a:lnTo>
                      <a:lnTo>
                        <a:pt x="227" y="161"/>
                      </a:lnTo>
                      <a:lnTo>
                        <a:pt x="231" y="150"/>
                      </a:lnTo>
                      <a:lnTo>
                        <a:pt x="233" y="143"/>
                      </a:lnTo>
                      <a:lnTo>
                        <a:pt x="229" y="149"/>
                      </a:lnTo>
                      <a:lnTo>
                        <a:pt x="228" y="153"/>
                      </a:lnTo>
                      <a:lnTo>
                        <a:pt x="229" y="153"/>
                      </a:lnTo>
                      <a:lnTo>
                        <a:pt x="231" y="152"/>
                      </a:lnTo>
                      <a:lnTo>
                        <a:pt x="237" y="146"/>
                      </a:lnTo>
                      <a:lnTo>
                        <a:pt x="240" y="143"/>
                      </a:lnTo>
                      <a:lnTo>
                        <a:pt x="239" y="143"/>
                      </a:lnTo>
                      <a:lnTo>
                        <a:pt x="238" y="146"/>
                      </a:lnTo>
                      <a:lnTo>
                        <a:pt x="237" y="150"/>
                      </a:lnTo>
                      <a:lnTo>
                        <a:pt x="237" y="155"/>
                      </a:lnTo>
                      <a:lnTo>
                        <a:pt x="238" y="160"/>
                      </a:lnTo>
                      <a:lnTo>
                        <a:pt x="239" y="166"/>
                      </a:lnTo>
                      <a:lnTo>
                        <a:pt x="240" y="174"/>
                      </a:lnTo>
                      <a:lnTo>
                        <a:pt x="243" y="181"/>
                      </a:lnTo>
                      <a:lnTo>
                        <a:pt x="246" y="187"/>
                      </a:lnTo>
                      <a:lnTo>
                        <a:pt x="251" y="193"/>
                      </a:lnTo>
                      <a:lnTo>
                        <a:pt x="256" y="198"/>
                      </a:lnTo>
                      <a:lnTo>
                        <a:pt x="264" y="202"/>
                      </a:lnTo>
                      <a:lnTo>
                        <a:pt x="272" y="205"/>
                      </a:lnTo>
                      <a:lnTo>
                        <a:pt x="282" y="207"/>
                      </a:lnTo>
                      <a:lnTo>
                        <a:pt x="293" y="206"/>
                      </a:lnTo>
                      <a:lnTo>
                        <a:pt x="306" y="204"/>
                      </a:lnTo>
                      <a:lnTo>
                        <a:pt x="311" y="206"/>
                      </a:lnTo>
                      <a:lnTo>
                        <a:pt x="317" y="206"/>
                      </a:lnTo>
                      <a:lnTo>
                        <a:pt x="320" y="205"/>
                      </a:lnTo>
                      <a:lnTo>
                        <a:pt x="323" y="204"/>
                      </a:lnTo>
                      <a:lnTo>
                        <a:pt x="325" y="201"/>
                      </a:lnTo>
                      <a:lnTo>
                        <a:pt x="327" y="198"/>
                      </a:lnTo>
                      <a:lnTo>
                        <a:pt x="328" y="193"/>
                      </a:lnTo>
                      <a:lnTo>
                        <a:pt x="328" y="188"/>
                      </a:lnTo>
                      <a:lnTo>
                        <a:pt x="324" y="176"/>
                      </a:lnTo>
                      <a:lnTo>
                        <a:pt x="319" y="161"/>
                      </a:lnTo>
                      <a:lnTo>
                        <a:pt x="310" y="146"/>
                      </a:lnTo>
                      <a:lnTo>
                        <a:pt x="299" y="130"/>
                      </a:lnTo>
                      <a:lnTo>
                        <a:pt x="307" y="124"/>
                      </a:lnTo>
                      <a:lnTo>
                        <a:pt x="312" y="118"/>
                      </a:lnTo>
                      <a:lnTo>
                        <a:pt x="319" y="109"/>
                      </a:lnTo>
                      <a:lnTo>
                        <a:pt x="324" y="101"/>
                      </a:lnTo>
                      <a:lnTo>
                        <a:pt x="334" y="84"/>
                      </a:lnTo>
                      <a:lnTo>
                        <a:pt x="344" y="66"/>
                      </a:lnTo>
                      <a:lnTo>
                        <a:pt x="354" y="47"/>
                      </a:lnTo>
                      <a:lnTo>
                        <a:pt x="366" y="30"/>
                      </a:lnTo>
                      <a:lnTo>
                        <a:pt x="374" y="22"/>
                      </a:lnTo>
                      <a:lnTo>
                        <a:pt x="381" y="14"/>
                      </a:lnTo>
                      <a:lnTo>
                        <a:pt x="389" y="7"/>
                      </a:lnTo>
                      <a:lnTo>
                        <a:pt x="399" y="0"/>
                      </a:lnTo>
                      <a:lnTo>
                        <a:pt x="399" y="9"/>
                      </a:lnTo>
                      <a:lnTo>
                        <a:pt x="400" y="16"/>
                      </a:lnTo>
                      <a:lnTo>
                        <a:pt x="401" y="23"/>
                      </a:lnTo>
                      <a:lnTo>
                        <a:pt x="403" y="29"/>
                      </a:lnTo>
                      <a:lnTo>
                        <a:pt x="408" y="41"/>
                      </a:lnTo>
                      <a:lnTo>
                        <a:pt x="413" y="50"/>
                      </a:lnTo>
                      <a:lnTo>
                        <a:pt x="421" y="59"/>
                      </a:lnTo>
                      <a:lnTo>
                        <a:pt x="430" y="68"/>
                      </a:lnTo>
                      <a:lnTo>
                        <a:pt x="439" y="75"/>
                      </a:lnTo>
                      <a:lnTo>
                        <a:pt x="447" y="81"/>
                      </a:lnTo>
                      <a:lnTo>
                        <a:pt x="467" y="93"/>
                      </a:lnTo>
                      <a:lnTo>
                        <a:pt x="486" y="106"/>
                      </a:lnTo>
                      <a:lnTo>
                        <a:pt x="493" y="113"/>
                      </a:lnTo>
                      <a:lnTo>
                        <a:pt x="501" y="123"/>
                      </a:lnTo>
                      <a:lnTo>
                        <a:pt x="508" y="132"/>
                      </a:lnTo>
                      <a:lnTo>
                        <a:pt x="512" y="143"/>
                      </a:lnTo>
                      <a:lnTo>
                        <a:pt x="504" y="146"/>
                      </a:lnTo>
                      <a:lnTo>
                        <a:pt x="499" y="149"/>
                      </a:lnTo>
                      <a:lnTo>
                        <a:pt x="493" y="150"/>
                      </a:lnTo>
                      <a:lnTo>
                        <a:pt x="489" y="151"/>
                      </a:lnTo>
                      <a:lnTo>
                        <a:pt x="478" y="152"/>
                      </a:lnTo>
                      <a:lnTo>
                        <a:pt x="465" y="155"/>
                      </a:lnTo>
                      <a:lnTo>
                        <a:pt x="463" y="166"/>
                      </a:lnTo>
                      <a:lnTo>
                        <a:pt x="458" y="180"/>
                      </a:lnTo>
                      <a:lnTo>
                        <a:pt x="454" y="193"/>
                      </a:lnTo>
                      <a:lnTo>
                        <a:pt x="452" y="204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699" name="Freeform 21">
                  <a:extLst>
                    <a:ext uri="{FF2B5EF4-FFF2-40B4-BE49-F238E27FC236}">
                      <a16:creationId xmlns="" xmlns:a16="http://schemas.microsoft.com/office/drawing/2014/main" id="{E6F95FF3-6BD9-43BB-B1DA-24A5D5DD21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88" y="2420"/>
                  <a:ext cx="77" cy="89"/>
                </a:xfrm>
                <a:custGeom>
                  <a:avLst/>
                  <a:gdLst>
                    <a:gd name="T0" fmla="*/ 1 w 232"/>
                    <a:gd name="T1" fmla="*/ 0 h 289"/>
                    <a:gd name="T2" fmla="*/ 1 w 232"/>
                    <a:gd name="T3" fmla="*/ 0 h 289"/>
                    <a:gd name="T4" fmla="*/ 1 w 232"/>
                    <a:gd name="T5" fmla="*/ 0 h 289"/>
                    <a:gd name="T6" fmla="*/ 1 w 232"/>
                    <a:gd name="T7" fmla="*/ 0 h 289"/>
                    <a:gd name="T8" fmla="*/ 1 w 232"/>
                    <a:gd name="T9" fmla="*/ 1 h 289"/>
                    <a:gd name="T10" fmla="*/ 1 w 232"/>
                    <a:gd name="T11" fmla="*/ 1 h 289"/>
                    <a:gd name="T12" fmla="*/ 1 w 232"/>
                    <a:gd name="T13" fmla="*/ 1 h 289"/>
                    <a:gd name="T14" fmla="*/ 1 w 232"/>
                    <a:gd name="T15" fmla="*/ 1 h 289"/>
                    <a:gd name="T16" fmla="*/ 1 w 232"/>
                    <a:gd name="T17" fmla="*/ 1 h 289"/>
                    <a:gd name="T18" fmla="*/ 1 w 232"/>
                    <a:gd name="T19" fmla="*/ 1 h 289"/>
                    <a:gd name="T20" fmla="*/ 1 w 232"/>
                    <a:gd name="T21" fmla="*/ 1 h 289"/>
                    <a:gd name="T22" fmla="*/ 1 w 232"/>
                    <a:gd name="T23" fmla="*/ 1 h 289"/>
                    <a:gd name="T24" fmla="*/ 0 w 232"/>
                    <a:gd name="T25" fmla="*/ 1 h 289"/>
                    <a:gd name="T26" fmla="*/ 0 w 232"/>
                    <a:gd name="T27" fmla="*/ 1 h 289"/>
                    <a:gd name="T28" fmla="*/ 0 w 232"/>
                    <a:gd name="T29" fmla="*/ 1 h 289"/>
                    <a:gd name="T30" fmla="*/ 0 w 232"/>
                    <a:gd name="T31" fmla="*/ 0 h 289"/>
                    <a:gd name="T32" fmla="*/ 0 w 232"/>
                    <a:gd name="T33" fmla="*/ 0 h 289"/>
                    <a:gd name="T34" fmla="*/ 0 w 232"/>
                    <a:gd name="T35" fmla="*/ 0 h 289"/>
                    <a:gd name="T36" fmla="*/ 0 w 232"/>
                    <a:gd name="T37" fmla="*/ 0 h 289"/>
                    <a:gd name="T38" fmla="*/ 0 w 232"/>
                    <a:gd name="T39" fmla="*/ 0 h 289"/>
                    <a:gd name="T40" fmla="*/ 0 w 232"/>
                    <a:gd name="T41" fmla="*/ 0 h 289"/>
                    <a:gd name="T42" fmla="*/ 0 w 232"/>
                    <a:gd name="T43" fmla="*/ 0 h 289"/>
                    <a:gd name="T44" fmla="*/ 0 w 232"/>
                    <a:gd name="T45" fmla="*/ 0 h 289"/>
                    <a:gd name="T46" fmla="*/ 0 w 232"/>
                    <a:gd name="T47" fmla="*/ 0 h 289"/>
                    <a:gd name="T48" fmla="*/ 0 w 232"/>
                    <a:gd name="T49" fmla="*/ 0 h 289"/>
                    <a:gd name="T50" fmla="*/ 0 w 232"/>
                    <a:gd name="T51" fmla="*/ 0 h 289"/>
                    <a:gd name="T52" fmla="*/ 0 w 232"/>
                    <a:gd name="T53" fmla="*/ 0 h 289"/>
                    <a:gd name="T54" fmla="*/ 0 w 232"/>
                    <a:gd name="T55" fmla="*/ 0 h 289"/>
                    <a:gd name="T56" fmla="*/ 0 w 232"/>
                    <a:gd name="T57" fmla="*/ 0 h 289"/>
                    <a:gd name="T58" fmla="*/ 0 w 232"/>
                    <a:gd name="T59" fmla="*/ 0 h 289"/>
                    <a:gd name="T60" fmla="*/ 0 w 232"/>
                    <a:gd name="T61" fmla="*/ 0 h 289"/>
                    <a:gd name="T62" fmla="*/ 0 w 232"/>
                    <a:gd name="T63" fmla="*/ 0 h 289"/>
                    <a:gd name="T64" fmla="*/ 0 w 232"/>
                    <a:gd name="T65" fmla="*/ 0 h 289"/>
                    <a:gd name="T66" fmla="*/ 1 w 232"/>
                    <a:gd name="T67" fmla="*/ 0 h 289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232"/>
                    <a:gd name="T103" fmla="*/ 0 h 289"/>
                    <a:gd name="T104" fmla="*/ 232 w 232"/>
                    <a:gd name="T105" fmla="*/ 289 h 289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232" h="289">
                      <a:moveTo>
                        <a:pt x="140" y="6"/>
                      </a:moveTo>
                      <a:lnTo>
                        <a:pt x="151" y="24"/>
                      </a:lnTo>
                      <a:lnTo>
                        <a:pt x="159" y="41"/>
                      </a:lnTo>
                      <a:lnTo>
                        <a:pt x="165" y="48"/>
                      </a:lnTo>
                      <a:lnTo>
                        <a:pt x="170" y="54"/>
                      </a:lnTo>
                      <a:lnTo>
                        <a:pt x="174" y="56"/>
                      </a:lnTo>
                      <a:lnTo>
                        <a:pt x="177" y="59"/>
                      </a:lnTo>
                      <a:lnTo>
                        <a:pt x="181" y="60"/>
                      </a:lnTo>
                      <a:lnTo>
                        <a:pt x="186" y="62"/>
                      </a:lnTo>
                      <a:lnTo>
                        <a:pt x="186" y="166"/>
                      </a:lnTo>
                      <a:lnTo>
                        <a:pt x="187" y="183"/>
                      </a:lnTo>
                      <a:lnTo>
                        <a:pt x="189" y="196"/>
                      </a:lnTo>
                      <a:lnTo>
                        <a:pt x="191" y="202"/>
                      </a:lnTo>
                      <a:lnTo>
                        <a:pt x="193" y="207"/>
                      </a:lnTo>
                      <a:lnTo>
                        <a:pt x="196" y="212"/>
                      </a:lnTo>
                      <a:lnTo>
                        <a:pt x="199" y="216"/>
                      </a:lnTo>
                      <a:lnTo>
                        <a:pt x="213" y="230"/>
                      </a:lnTo>
                      <a:lnTo>
                        <a:pt x="232" y="246"/>
                      </a:lnTo>
                      <a:lnTo>
                        <a:pt x="232" y="289"/>
                      </a:lnTo>
                      <a:lnTo>
                        <a:pt x="219" y="288"/>
                      </a:lnTo>
                      <a:lnTo>
                        <a:pt x="202" y="286"/>
                      </a:lnTo>
                      <a:lnTo>
                        <a:pt x="186" y="282"/>
                      </a:lnTo>
                      <a:lnTo>
                        <a:pt x="172" y="277"/>
                      </a:lnTo>
                      <a:lnTo>
                        <a:pt x="151" y="264"/>
                      </a:lnTo>
                      <a:lnTo>
                        <a:pt x="131" y="249"/>
                      </a:lnTo>
                      <a:lnTo>
                        <a:pt x="113" y="235"/>
                      </a:lnTo>
                      <a:lnTo>
                        <a:pt x="97" y="221"/>
                      </a:lnTo>
                      <a:lnTo>
                        <a:pt x="81" y="207"/>
                      </a:lnTo>
                      <a:lnTo>
                        <a:pt x="68" y="191"/>
                      </a:lnTo>
                      <a:lnTo>
                        <a:pt x="56" y="176"/>
                      </a:lnTo>
                      <a:lnTo>
                        <a:pt x="46" y="160"/>
                      </a:lnTo>
                      <a:lnTo>
                        <a:pt x="31" y="145"/>
                      </a:lnTo>
                      <a:lnTo>
                        <a:pt x="15" y="132"/>
                      </a:lnTo>
                      <a:lnTo>
                        <a:pt x="9" y="126"/>
                      </a:lnTo>
                      <a:lnTo>
                        <a:pt x="4" y="120"/>
                      </a:lnTo>
                      <a:lnTo>
                        <a:pt x="2" y="117"/>
                      </a:lnTo>
                      <a:lnTo>
                        <a:pt x="1" y="113"/>
                      </a:lnTo>
                      <a:lnTo>
                        <a:pt x="0" y="109"/>
                      </a:lnTo>
                      <a:lnTo>
                        <a:pt x="0" y="105"/>
                      </a:lnTo>
                      <a:lnTo>
                        <a:pt x="0" y="100"/>
                      </a:lnTo>
                      <a:lnTo>
                        <a:pt x="1" y="96"/>
                      </a:lnTo>
                      <a:lnTo>
                        <a:pt x="3" y="92"/>
                      </a:lnTo>
                      <a:lnTo>
                        <a:pt x="7" y="88"/>
                      </a:lnTo>
                      <a:lnTo>
                        <a:pt x="11" y="79"/>
                      </a:lnTo>
                      <a:lnTo>
                        <a:pt x="13" y="74"/>
                      </a:lnTo>
                      <a:lnTo>
                        <a:pt x="12" y="52"/>
                      </a:lnTo>
                      <a:lnTo>
                        <a:pt x="10" y="33"/>
                      </a:lnTo>
                      <a:lnTo>
                        <a:pt x="7" y="15"/>
                      </a:lnTo>
                      <a:lnTo>
                        <a:pt x="7" y="0"/>
                      </a:lnTo>
                      <a:lnTo>
                        <a:pt x="13" y="0"/>
                      </a:lnTo>
                      <a:lnTo>
                        <a:pt x="20" y="1"/>
                      </a:lnTo>
                      <a:lnTo>
                        <a:pt x="26" y="3"/>
                      </a:lnTo>
                      <a:lnTo>
                        <a:pt x="32" y="5"/>
                      </a:lnTo>
                      <a:lnTo>
                        <a:pt x="42" y="10"/>
                      </a:lnTo>
                      <a:lnTo>
                        <a:pt x="51" y="15"/>
                      </a:lnTo>
                      <a:lnTo>
                        <a:pt x="59" y="21"/>
                      </a:lnTo>
                      <a:lnTo>
                        <a:pt x="68" y="26"/>
                      </a:lnTo>
                      <a:lnTo>
                        <a:pt x="73" y="28"/>
                      </a:lnTo>
                      <a:lnTo>
                        <a:pt x="77" y="29"/>
                      </a:lnTo>
                      <a:lnTo>
                        <a:pt x="81" y="31"/>
                      </a:lnTo>
                      <a:lnTo>
                        <a:pt x="86" y="31"/>
                      </a:lnTo>
                      <a:lnTo>
                        <a:pt x="91" y="31"/>
                      </a:lnTo>
                      <a:lnTo>
                        <a:pt x="98" y="28"/>
                      </a:lnTo>
                      <a:lnTo>
                        <a:pt x="105" y="26"/>
                      </a:lnTo>
                      <a:lnTo>
                        <a:pt x="112" y="23"/>
                      </a:lnTo>
                      <a:lnTo>
                        <a:pt x="120" y="19"/>
                      </a:lnTo>
                      <a:lnTo>
                        <a:pt x="127" y="15"/>
                      </a:lnTo>
                      <a:lnTo>
                        <a:pt x="133" y="11"/>
                      </a:lnTo>
                      <a:lnTo>
                        <a:pt x="140" y="6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700" name="Freeform 22">
                <a:extLst>
                  <a:ext uri="{FF2B5EF4-FFF2-40B4-BE49-F238E27FC236}">
                    <a16:creationId xmlns="" xmlns:a16="http://schemas.microsoft.com/office/drawing/2014/main" id="{0390585A-D482-4A3F-AC94-44C69E2F1A73}"/>
                  </a:ext>
                </a:extLst>
              </p:cNvPr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2313" y="1287463"/>
                <a:ext cx="3065462" cy="1074737"/>
              </a:xfrm>
              <a:custGeom>
                <a:avLst/>
                <a:gdLst>
                  <a:gd name="T0" fmla="*/ 2147483646 w 7049"/>
                  <a:gd name="T1" fmla="*/ 2147483646 h 2048"/>
                  <a:gd name="T2" fmla="*/ 2147483646 w 7049"/>
                  <a:gd name="T3" fmla="*/ 2147483646 h 2048"/>
                  <a:gd name="T4" fmla="*/ 2147483646 w 7049"/>
                  <a:gd name="T5" fmla="*/ 2147483646 h 2048"/>
                  <a:gd name="T6" fmla="*/ 2147483646 w 7049"/>
                  <a:gd name="T7" fmla="*/ 2147483646 h 2048"/>
                  <a:gd name="T8" fmla="*/ 2147483646 w 7049"/>
                  <a:gd name="T9" fmla="*/ 2147483646 h 2048"/>
                  <a:gd name="T10" fmla="*/ 2147483646 w 7049"/>
                  <a:gd name="T11" fmla="*/ 2147483646 h 2048"/>
                  <a:gd name="T12" fmla="*/ 2147483646 w 7049"/>
                  <a:gd name="T13" fmla="*/ 2147483646 h 2048"/>
                  <a:gd name="T14" fmla="*/ 2147483646 w 7049"/>
                  <a:gd name="T15" fmla="*/ 2147483646 h 2048"/>
                  <a:gd name="T16" fmla="*/ 2147483646 w 7049"/>
                  <a:gd name="T17" fmla="*/ 2147483646 h 2048"/>
                  <a:gd name="T18" fmla="*/ 2147483646 w 7049"/>
                  <a:gd name="T19" fmla="*/ 2147483646 h 2048"/>
                  <a:gd name="T20" fmla="*/ 2147483646 w 7049"/>
                  <a:gd name="T21" fmla="*/ 2147483646 h 2048"/>
                  <a:gd name="T22" fmla="*/ 2147483646 w 7049"/>
                  <a:gd name="T23" fmla="*/ 2147483646 h 2048"/>
                  <a:gd name="T24" fmla="*/ 2147483646 w 7049"/>
                  <a:gd name="T25" fmla="*/ 2147483646 h 2048"/>
                  <a:gd name="T26" fmla="*/ 2147483646 w 7049"/>
                  <a:gd name="T27" fmla="*/ 2147483646 h 2048"/>
                  <a:gd name="T28" fmla="*/ 2147483646 w 7049"/>
                  <a:gd name="T29" fmla="*/ 2147483646 h 2048"/>
                  <a:gd name="T30" fmla="*/ 2147483646 w 7049"/>
                  <a:gd name="T31" fmla="*/ 2147483646 h 2048"/>
                  <a:gd name="T32" fmla="*/ 2147483646 w 7049"/>
                  <a:gd name="T33" fmla="*/ 2147483646 h 2048"/>
                  <a:gd name="T34" fmla="*/ 2147483646 w 7049"/>
                  <a:gd name="T35" fmla="*/ 2147483646 h 2048"/>
                  <a:gd name="T36" fmla="*/ 2147483646 w 7049"/>
                  <a:gd name="T37" fmla="*/ 2147483646 h 2048"/>
                  <a:gd name="T38" fmla="*/ 2147483646 w 7049"/>
                  <a:gd name="T39" fmla="*/ 2147483646 h 2048"/>
                  <a:gd name="T40" fmla="*/ 2147483646 w 7049"/>
                  <a:gd name="T41" fmla="*/ 2147483646 h 2048"/>
                  <a:gd name="T42" fmla="*/ 2147483646 w 7049"/>
                  <a:gd name="T43" fmla="*/ 2147483646 h 2048"/>
                  <a:gd name="T44" fmla="*/ 2147483646 w 7049"/>
                  <a:gd name="T45" fmla="*/ 2147483646 h 2048"/>
                  <a:gd name="T46" fmla="*/ 2147483646 w 7049"/>
                  <a:gd name="T47" fmla="*/ 2147483646 h 2048"/>
                  <a:gd name="T48" fmla="*/ 2147483646 w 7049"/>
                  <a:gd name="T49" fmla="*/ 2147483646 h 2048"/>
                  <a:gd name="T50" fmla="*/ 2147483646 w 7049"/>
                  <a:gd name="T51" fmla="*/ 2147483646 h 2048"/>
                  <a:gd name="T52" fmla="*/ 2147483646 w 7049"/>
                  <a:gd name="T53" fmla="*/ 2147483646 h 2048"/>
                  <a:gd name="T54" fmla="*/ 2147483646 w 7049"/>
                  <a:gd name="T55" fmla="*/ 2147483646 h 2048"/>
                  <a:gd name="T56" fmla="*/ 2147483646 w 7049"/>
                  <a:gd name="T57" fmla="*/ 2147483646 h 2048"/>
                  <a:gd name="T58" fmla="*/ 2147483646 w 7049"/>
                  <a:gd name="T59" fmla="*/ 2147483646 h 2048"/>
                  <a:gd name="T60" fmla="*/ 2147483646 w 7049"/>
                  <a:gd name="T61" fmla="*/ 2147483646 h 2048"/>
                  <a:gd name="T62" fmla="*/ 2147483646 w 7049"/>
                  <a:gd name="T63" fmla="*/ 2147483646 h 2048"/>
                  <a:gd name="T64" fmla="*/ 2147483646 w 7049"/>
                  <a:gd name="T65" fmla="*/ 2147483646 h 2048"/>
                  <a:gd name="T66" fmla="*/ 2147483646 w 7049"/>
                  <a:gd name="T67" fmla="*/ 2147483646 h 2048"/>
                  <a:gd name="T68" fmla="*/ 2147483646 w 7049"/>
                  <a:gd name="T69" fmla="*/ 2147483646 h 2048"/>
                  <a:gd name="T70" fmla="*/ 2147483646 w 7049"/>
                  <a:gd name="T71" fmla="*/ 2147483646 h 2048"/>
                  <a:gd name="T72" fmla="*/ 2147483646 w 7049"/>
                  <a:gd name="T73" fmla="*/ 2147483646 h 2048"/>
                  <a:gd name="T74" fmla="*/ 2147483646 w 7049"/>
                  <a:gd name="T75" fmla="*/ 2147483646 h 2048"/>
                  <a:gd name="T76" fmla="*/ 2147483646 w 7049"/>
                  <a:gd name="T77" fmla="*/ 2147483646 h 2048"/>
                  <a:gd name="T78" fmla="*/ 2147483646 w 7049"/>
                  <a:gd name="T79" fmla="*/ 2147483646 h 2048"/>
                  <a:gd name="T80" fmla="*/ 2147483646 w 7049"/>
                  <a:gd name="T81" fmla="*/ 2147483646 h 2048"/>
                  <a:gd name="T82" fmla="*/ 2147483646 w 7049"/>
                  <a:gd name="T83" fmla="*/ 2147483646 h 2048"/>
                  <a:gd name="T84" fmla="*/ 2147483646 w 7049"/>
                  <a:gd name="T85" fmla="*/ 2147483646 h 2048"/>
                  <a:gd name="T86" fmla="*/ 2147483646 w 7049"/>
                  <a:gd name="T87" fmla="*/ 2147483646 h 2048"/>
                  <a:gd name="T88" fmla="*/ 2147483646 w 7049"/>
                  <a:gd name="T89" fmla="*/ 2147483646 h 2048"/>
                  <a:gd name="T90" fmla="*/ 2147483646 w 7049"/>
                  <a:gd name="T91" fmla="*/ 2147483646 h 2048"/>
                  <a:gd name="T92" fmla="*/ 2147483646 w 7049"/>
                  <a:gd name="T93" fmla="*/ 2147483646 h 2048"/>
                  <a:gd name="T94" fmla="*/ 2147483646 w 7049"/>
                  <a:gd name="T95" fmla="*/ 2147483646 h 2048"/>
                  <a:gd name="T96" fmla="*/ 2147483646 w 7049"/>
                  <a:gd name="T97" fmla="*/ 2147483646 h 2048"/>
                  <a:gd name="T98" fmla="*/ 2147483646 w 7049"/>
                  <a:gd name="T99" fmla="*/ 2147483646 h 2048"/>
                  <a:gd name="T100" fmla="*/ 2147483646 w 7049"/>
                  <a:gd name="T101" fmla="*/ 2147483646 h 2048"/>
                  <a:gd name="T102" fmla="*/ 2147483646 w 7049"/>
                  <a:gd name="T103" fmla="*/ 2147483646 h 2048"/>
                  <a:gd name="T104" fmla="*/ 2147483646 w 7049"/>
                  <a:gd name="T105" fmla="*/ 2147483646 h 2048"/>
                  <a:gd name="T106" fmla="*/ 2147483646 w 7049"/>
                  <a:gd name="T107" fmla="*/ 2147483646 h 2048"/>
                  <a:gd name="T108" fmla="*/ 2147483646 w 7049"/>
                  <a:gd name="T109" fmla="*/ 2147483646 h 2048"/>
                  <a:gd name="T110" fmla="*/ 2147483646 w 7049"/>
                  <a:gd name="T111" fmla="*/ 2147483646 h 2048"/>
                  <a:gd name="T112" fmla="*/ 2147483646 w 7049"/>
                  <a:gd name="T113" fmla="*/ 2147483646 h 2048"/>
                  <a:gd name="T114" fmla="*/ 2147483646 w 7049"/>
                  <a:gd name="T115" fmla="*/ 2147483646 h 2048"/>
                  <a:gd name="T116" fmla="*/ 2147483646 w 7049"/>
                  <a:gd name="T117" fmla="*/ 2147483646 h 2048"/>
                  <a:gd name="T118" fmla="*/ 2147483646 w 7049"/>
                  <a:gd name="T119" fmla="*/ 2147483646 h 2048"/>
                  <a:gd name="T120" fmla="*/ 2147483646 w 7049"/>
                  <a:gd name="T121" fmla="*/ 2147483646 h 2048"/>
                  <a:gd name="T122" fmla="*/ 2147483646 w 7049"/>
                  <a:gd name="T123" fmla="*/ 2147483646 h 204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7049"/>
                  <a:gd name="T187" fmla="*/ 0 h 2048"/>
                  <a:gd name="T188" fmla="*/ 7049 w 7049"/>
                  <a:gd name="T189" fmla="*/ 2048 h 204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7049" h="2048">
                    <a:moveTo>
                      <a:pt x="365" y="1401"/>
                    </a:moveTo>
                    <a:lnTo>
                      <a:pt x="373" y="1401"/>
                    </a:lnTo>
                    <a:lnTo>
                      <a:pt x="405" y="1401"/>
                    </a:lnTo>
                    <a:lnTo>
                      <a:pt x="425" y="1388"/>
                    </a:lnTo>
                    <a:lnTo>
                      <a:pt x="471" y="1388"/>
                    </a:lnTo>
                    <a:lnTo>
                      <a:pt x="491" y="1401"/>
                    </a:lnTo>
                    <a:lnTo>
                      <a:pt x="519" y="1426"/>
                    </a:lnTo>
                    <a:lnTo>
                      <a:pt x="505" y="1451"/>
                    </a:lnTo>
                    <a:lnTo>
                      <a:pt x="558" y="1451"/>
                    </a:lnTo>
                    <a:lnTo>
                      <a:pt x="578" y="1499"/>
                    </a:lnTo>
                    <a:lnTo>
                      <a:pt x="604" y="1493"/>
                    </a:lnTo>
                    <a:lnTo>
                      <a:pt x="632" y="1512"/>
                    </a:lnTo>
                    <a:lnTo>
                      <a:pt x="665" y="1499"/>
                    </a:lnTo>
                    <a:lnTo>
                      <a:pt x="698" y="1524"/>
                    </a:lnTo>
                    <a:lnTo>
                      <a:pt x="737" y="1524"/>
                    </a:lnTo>
                    <a:lnTo>
                      <a:pt x="778" y="1543"/>
                    </a:lnTo>
                    <a:lnTo>
                      <a:pt x="817" y="1555"/>
                    </a:lnTo>
                    <a:lnTo>
                      <a:pt x="811" y="1586"/>
                    </a:lnTo>
                    <a:lnTo>
                      <a:pt x="804" y="1623"/>
                    </a:lnTo>
                    <a:lnTo>
                      <a:pt x="817" y="1647"/>
                    </a:lnTo>
                    <a:lnTo>
                      <a:pt x="784" y="1647"/>
                    </a:lnTo>
                    <a:lnTo>
                      <a:pt x="744" y="1660"/>
                    </a:lnTo>
                    <a:lnTo>
                      <a:pt x="737" y="1691"/>
                    </a:lnTo>
                    <a:lnTo>
                      <a:pt x="743" y="1690"/>
                    </a:lnTo>
                    <a:lnTo>
                      <a:pt x="757" y="1685"/>
                    </a:lnTo>
                    <a:lnTo>
                      <a:pt x="752" y="1691"/>
                    </a:lnTo>
                    <a:lnTo>
                      <a:pt x="747" y="1696"/>
                    </a:lnTo>
                    <a:lnTo>
                      <a:pt x="743" y="1701"/>
                    </a:lnTo>
                    <a:lnTo>
                      <a:pt x="737" y="1705"/>
                    </a:lnTo>
                    <a:lnTo>
                      <a:pt x="725" y="1713"/>
                    </a:lnTo>
                    <a:lnTo>
                      <a:pt x="711" y="1721"/>
                    </a:lnTo>
                    <a:lnTo>
                      <a:pt x="712" y="1724"/>
                    </a:lnTo>
                    <a:lnTo>
                      <a:pt x="715" y="1728"/>
                    </a:lnTo>
                    <a:lnTo>
                      <a:pt x="719" y="1731"/>
                    </a:lnTo>
                    <a:lnTo>
                      <a:pt x="725" y="1733"/>
                    </a:lnTo>
                    <a:lnTo>
                      <a:pt x="736" y="1738"/>
                    </a:lnTo>
                    <a:lnTo>
                      <a:pt x="744" y="1740"/>
                    </a:lnTo>
                    <a:lnTo>
                      <a:pt x="741" y="1749"/>
                    </a:lnTo>
                    <a:lnTo>
                      <a:pt x="738" y="1756"/>
                    </a:lnTo>
                    <a:lnTo>
                      <a:pt x="734" y="1763"/>
                    </a:lnTo>
                    <a:lnTo>
                      <a:pt x="728" y="1769"/>
                    </a:lnTo>
                    <a:lnTo>
                      <a:pt x="722" y="1774"/>
                    </a:lnTo>
                    <a:lnTo>
                      <a:pt x="715" y="1779"/>
                    </a:lnTo>
                    <a:lnTo>
                      <a:pt x="707" y="1785"/>
                    </a:lnTo>
                    <a:lnTo>
                      <a:pt x="698" y="1790"/>
                    </a:lnTo>
                    <a:lnTo>
                      <a:pt x="696" y="1796"/>
                    </a:lnTo>
                    <a:lnTo>
                      <a:pt x="698" y="1801"/>
                    </a:lnTo>
                    <a:lnTo>
                      <a:pt x="700" y="1806"/>
                    </a:lnTo>
                    <a:lnTo>
                      <a:pt x="702" y="1809"/>
                    </a:lnTo>
                    <a:lnTo>
                      <a:pt x="706" y="1812"/>
                    </a:lnTo>
                    <a:lnTo>
                      <a:pt x="711" y="1815"/>
                    </a:lnTo>
                    <a:lnTo>
                      <a:pt x="716" y="1817"/>
                    </a:lnTo>
                    <a:lnTo>
                      <a:pt x="722" y="1819"/>
                    </a:lnTo>
                    <a:lnTo>
                      <a:pt x="734" y="1823"/>
                    </a:lnTo>
                    <a:lnTo>
                      <a:pt x="747" y="1828"/>
                    </a:lnTo>
                    <a:lnTo>
                      <a:pt x="754" y="1831"/>
                    </a:lnTo>
                    <a:lnTo>
                      <a:pt x="759" y="1835"/>
                    </a:lnTo>
                    <a:lnTo>
                      <a:pt x="766" y="1840"/>
                    </a:lnTo>
                    <a:lnTo>
                      <a:pt x="771" y="1845"/>
                    </a:lnTo>
                    <a:lnTo>
                      <a:pt x="781" y="1854"/>
                    </a:lnTo>
                    <a:lnTo>
                      <a:pt x="794" y="1861"/>
                    </a:lnTo>
                    <a:lnTo>
                      <a:pt x="807" y="1868"/>
                    </a:lnTo>
                    <a:lnTo>
                      <a:pt x="823" y="1875"/>
                    </a:lnTo>
                    <a:lnTo>
                      <a:pt x="856" y="1887"/>
                    </a:lnTo>
                    <a:lnTo>
                      <a:pt x="890" y="1901"/>
                    </a:lnTo>
                    <a:lnTo>
                      <a:pt x="897" y="1901"/>
                    </a:lnTo>
                    <a:lnTo>
                      <a:pt x="950" y="1919"/>
                    </a:lnTo>
                    <a:lnTo>
                      <a:pt x="996" y="1931"/>
                    </a:lnTo>
                    <a:lnTo>
                      <a:pt x="1024" y="1919"/>
                    </a:lnTo>
                    <a:lnTo>
                      <a:pt x="1070" y="1937"/>
                    </a:lnTo>
                    <a:lnTo>
                      <a:pt x="1096" y="1956"/>
                    </a:lnTo>
                    <a:lnTo>
                      <a:pt x="1136" y="1950"/>
                    </a:lnTo>
                    <a:lnTo>
                      <a:pt x="1176" y="1962"/>
                    </a:lnTo>
                    <a:lnTo>
                      <a:pt x="1203" y="1980"/>
                    </a:lnTo>
                    <a:lnTo>
                      <a:pt x="1249" y="2005"/>
                    </a:lnTo>
                    <a:lnTo>
                      <a:pt x="1282" y="2030"/>
                    </a:lnTo>
                    <a:lnTo>
                      <a:pt x="1316" y="2048"/>
                    </a:lnTo>
                    <a:lnTo>
                      <a:pt x="1342" y="2011"/>
                    </a:lnTo>
                    <a:lnTo>
                      <a:pt x="1355" y="2011"/>
                    </a:lnTo>
                    <a:lnTo>
                      <a:pt x="1350" y="2009"/>
                    </a:lnTo>
                    <a:lnTo>
                      <a:pt x="1345" y="2006"/>
                    </a:lnTo>
                    <a:lnTo>
                      <a:pt x="1341" y="2001"/>
                    </a:lnTo>
                    <a:lnTo>
                      <a:pt x="1337" y="1998"/>
                    </a:lnTo>
                    <a:lnTo>
                      <a:pt x="1333" y="1994"/>
                    </a:lnTo>
                    <a:lnTo>
                      <a:pt x="1331" y="1989"/>
                    </a:lnTo>
                    <a:lnTo>
                      <a:pt x="1329" y="1985"/>
                    </a:lnTo>
                    <a:lnTo>
                      <a:pt x="1329" y="1980"/>
                    </a:lnTo>
                    <a:lnTo>
                      <a:pt x="1318" y="1972"/>
                    </a:lnTo>
                    <a:lnTo>
                      <a:pt x="1296" y="1952"/>
                    </a:lnTo>
                    <a:lnTo>
                      <a:pt x="1283" y="1941"/>
                    </a:lnTo>
                    <a:lnTo>
                      <a:pt x="1273" y="1931"/>
                    </a:lnTo>
                    <a:lnTo>
                      <a:pt x="1265" y="1923"/>
                    </a:lnTo>
                    <a:lnTo>
                      <a:pt x="1262" y="1919"/>
                    </a:lnTo>
                    <a:lnTo>
                      <a:pt x="1255" y="1887"/>
                    </a:lnTo>
                    <a:lnTo>
                      <a:pt x="1255" y="1869"/>
                    </a:lnTo>
                    <a:lnTo>
                      <a:pt x="1245" y="1869"/>
                    </a:lnTo>
                    <a:lnTo>
                      <a:pt x="1237" y="1866"/>
                    </a:lnTo>
                    <a:lnTo>
                      <a:pt x="1229" y="1862"/>
                    </a:lnTo>
                    <a:lnTo>
                      <a:pt x="1222" y="1857"/>
                    </a:lnTo>
                    <a:lnTo>
                      <a:pt x="1217" y="1851"/>
                    </a:lnTo>
                    <a:lnTo>
                      <a:pt x="1212" y="1844"/>
                    </a:lnTo>
                    <a:lnTo>
                      <a:pt x="1210" y="1835"/>
                    </a:lnTo>
                    <a:lnTo>
                      <a:pt x="1209" y="1826"/>
                    </a:lnTo>
                    <a:lnTo>
                      <a:pt x="1210" y="1821"/>
                    </a:lnTo>
                    <a:lnTo>
                      <a:pt x="1212" y="1814"/>
                    </a:lnTo>
                    <a:lnTo>
                      <a:pt x="1216" y="1807"/>
                    </a:lnTo>
                    <a:lnTo>
                      <a:pt x="1220" y="1799"/>
                    </a:lnTo>
                    <a:lnTo>
                      <a:pt x="1229" y="1786"/>
                    </a:lnTo>
                    <a:lnTo>
                      <a:pt x="1236" y="1777"/>
                    </a:lnTo>
                    <a:lnTo>
                      <a:pt x="1254" y="1767"/>
                    </a:lnTo>
                    <a:lnTo>
                      <a:pt x="1272" y="1758"/>
                    </a:lnTo>
                    <a:lnTo>
                      <a:pt x="1287" y="1749"/>
                    </a:lnTo>
                    <a:lnTo>
                      <a:pt x="1303" y="1740"/>
                    </a:lnTo>
                    <a:lnTo>
                      <a:pt x="1309" y="1728"/>
                    </a:lnTo>
                    <a:lnTo>
                      <a:pt x="1282" y="1721"/>
                    </a:lnTo>
                    <a:lnTo>
                      <a:pt x="1309" y="1703"/>
                    </a:lnTo>
                    <a:lnTo>
                      <a:pt x="1282" y="1679"/>
                    </a:lnTo>
                    <a:lnTo>
                      <a:pt x="1255" y="1654"/>
                    </a:lnTo>
                    <a:lnTo>
                      <a:pt x="1216" y="1654"/>
                    </a:lnTo>
                    <a:lnTo>
                      <a:pt x="1203" y="1629"/>
                    </a:lnTo>
                    <a:lnTo>
                      <a:pt x="1183" y="1617"/>
                    </a:lnTo>
                    <a:lnTo>
                      <a:pt x="1176" y="1586"/>
                    </a:lnTo>
                    <a:lnTo>
                      <a:pt x="1176" y="1549"/>
                    </a:lnTo>
                    <a:lnTo>
                      <a:pt x="1189" y="1524"/>
                    </a:lnTo>
                    <a:lnTo>
                      <a:pt x="1196" y="1499"/>
                    </a:lnTo>
                    <a:lnTo>
                      <a:pt x="1229" y="1518"/>
                    </a:lnTo>
                    <a:lnTo>
                      <a:pt x="1262" y="1530"/>
                    </a:lnTo>
                    <a:lnTo>
                      <a:pt x="1282" y="1524"/>
                    </a:lnTo>
                    <a:lnTo>
                      <a:pt x="1255" y="1493"/>
                    </a:lnTo>
                    <a:lnTo>
                      <a:pt x="1289" y="1475"/>
                    </a:lnTo>
                    <a:lnTo>
                      <a:pt x="1322" y="1444"/>
                    </a:lnTo>
                    <a:lnTo>
                      <a:pt x="1355" y="1438"/>
                    </a:lnTo>
                    <a:lnTo>
                      <a:pt x="1395" y="1438"/>
                    </a:lnTo>
                    <a:lnTo>
                      <a:pt x="1422" y="1426"/>
                    </a:lnTo>
                    <a:lnTo>
                      <a:pt x="1468" y="1438"/>
                    </a:lnTo>
                    <a:lnTo>
                      <a:pt x="1514" y="1457"/>
                    </a:lnTo>
                    <a:lnTo>
                      <a:pt x="1555" y="1493"/>
                    </a:lnTo>
                    <a:lnTo>
                      <a:pt x="1601" y="1487"/>
                    </a:lnTo>
                    <a:lnTo>
                      <a:pt x="1641" y="1469"/>
                    </a:lnTo>
                    <a:lnTo>
                      <a:pt x="1674" y="1469"/>
                    </a:lnTo>
                    <a:lnTo>
                      <a:pt x="1714" y="1463"/>
                    </a:lnTo>
                    <a:lnTo>
                      <a:pt x="1754" y="1481"/>
                    </a:lnTo>
                    <a:lnTo>
                      <a:pt x="1800" y="1493"/>
                    </a:lnTo>
                    <a:lnTo>
                      <a:pt x="1847" y="1487"/>
                    </a:lnTo>
                    <a:lnTo>
                      <a:pt x="1893" y="1469"/>
                    </a:lnTo>
                    <a:lnTo>
                      <a:pt x="1893" y="1444"/>
                    </a:lnTo>
                    <a:lnTo>
                      <a:pt x="1860" y="1438"/>
                    </a:lnTo>
                    <a:lnTo>
                      <a:pt x="1821" y="1426"/>
                    </a:lnTo>
                    <a:lnTo>
                      <a:pt x="1793" y="1414"/>
                    </a:lnTo>
                    <a:lnTo>
                      <a:pt x="1834" y="1401"/>
                    </a:lnTo>
                    <a:lnTo>
                      <a:pt x="1827" y="1364"/>
                    </a:lnTo>
                    <a:lnTo>
                      <a:pt x="1880" y="1358"/>
                    </a:lnTo>
                    <a:lnTo>
                      <a:pt x="1814" y="1309"/>
                    </a:lnTo>
                    <a:lnTo>
                      <a:pt x="1920" y="1291"/>
                    </a:lnTo>
                    <a:lnTo>
                      <a:pt x="2006" y="1284"/>
                    </a:lnTo>
                    <a:lnTo>
                      <a:pt x="2020" y="1259"/>
                    </a:lnTo>
                    <a:lnTo>
                      <a:pt x="2080" y="1253"/>
                    </a:lnTo>
                    <a:lnTo>
                      <a:pt x="2139" y="1241"/>
                    </a:lnTo>
                    <a:lnTo>
                      <a:pt x="2159" y="1216"/>
                    </a:lnTo>
                    <a:lnTo>
                      <a:pt x="2226" y="1229"/>
                    </a:lnTo>
                    <a:lnTo>
                      <a:pt x="2265" y="1222"/>
                    </a:lnTo>
                    <a:lnTo>
                      <a:pt x="2292" y="1241"/>
                    </a:lnTo>
                    <a:lnTo>
                      <a:pt x="2298" y="1291"/>
                    </a:lnTo>
                    <a:lnTo>
                      <a:pt x="2339" y="1291"/>
                    </a:lnTo>
                    <a:lnTo>
                      <a:pt x="2352" y="1277"/>
                    </a:lnTo>
                    <a:lnTo>
                      <a:pt x="2372" y="1291"/>
                    </a:lnTo>
                    <a:lnTo>
                      <a:pt x="2411" y="1297"/>
                    </a:lnTo>
                    <a:lnTo>
                      <a:pt x="2431" y="1297"/>
                    </a:lnTo>
                    <a:lnTo>
                      <a:pt x="2431" y="1333"/>
                    </a:lnTo>
                    <a:lnTo>
                      <a:pt x="2472" y="1327"/>
                    </a:lnTo>
                    <a:lnTo>
                      <a:pt x="2511" y="1309"/>
                    </a:lnTo>
                    <a:lnTo>
                      <a:pt x="2551" y="1277"/>
                    </a:lnTo>
                    <a:lnTo>
                      <a:pt x="2577" y="1265"/>
                    </a:lnTo>
                    <a:lnTo>
                      <a:pt x="2577" y="1297"/>
                    </a:lnTo>
                    <a:lnTo>
                      <a:pt x="2618" y="1315"/>
                    </a:lnTo>
                    <a:lnTo>
                      <a:pt x="2664" y="1333"/>
                    </a:lnTo>
                    <a:lnTo>
                      <a:pt x="2704" y="1376"/>
                    </a:lnTo>
                    <a:lnTo>
                      <a:pt x="2757" y="1420"/>
                    </a:lnTo>
                    <a:lnTo>
                      <a:pt x="2803" y="1457"/>
                    </a:lnTo>
                    <a:lnTo>
                      <a:pt x="2823" y="1487"/>
                    </a:lnTo>
                    <a:lnTo>
                      <a:pt x="2836" y="1457"/>
                    </a:lnTo>
                    <a:lnTo>
                      <a:pt x="2864" y="1451"/>
                    </a:lnTo>
                    <a:lnTo>
                      <a:pt x="2884" y="1475"/>
                    </a:lnTo>
                    <a:lnTo>
                      <a:pt x="2923" y="1487"/>
                    </a:lnTo>
                    <a:lnTo>
                      <a:pt x="2969" y="1481"/>
                    </a:lnTo>
                    <a:lnTo>
                      <a:pt x="2997" y="1469"/>
                    </a:lnTo>
                    <a:lnTo>
                      <a:pt x="3036" y="1499"/>
                    </a:lnTo>
                    <a:lnTo>
                      <a:pt x="3082" y="1524"/>
                    </a:lnTo>
                    <a:lnTo>
                      <a:pt x="3123" y="1549"/>
                    </a:lnTo>
                    <a:lnTo>
                      <a:pt x="3176" y="1555"/>
                    </a:lnTo>
                    <a:lnTo>
                      <a:pt x="3182" y="1562"/>
                    </a:lnTo>
                    <a:lnTo>
                      <a:pt x="3186" y="1560"/>
                    </a:lnTo>
                    <a:lnTo>
                      <a:pt x="3189" y="1557"/>
                    </a:lnTo>
                    <a:lnTo>
                      <a:pt x="3193" y="1556"/>
                    </a:lnTo>
                    <a:lnTo>
                      <a:pt x="3198" y="1555"/>
                    </a:lnTo>
                    <a:lnTo>
                      <a:pt x="3211" y="1555"/>
                    </a:lnTo>
                    <a:lnTo>
                      <a:pt x="3228" y="1555"/>
                    </a:lnTo>
                    <a:lnTo>
                      <a:pt x="3234" y="1554"/>
                    </a:lnTo>
                    <a:lnTo>
                      <a:pt x="3239" y="1552"/>
                    </a:lnTo>
                    <a:lnTo>
                      <a:pt x="3246" y="1549"/>
                    </a:lnTo>
                    <a:lnTo>
                      <a:pt x="3251" y="1546"/>
                    </a:lnTo>
                    <a:lnTo>
                      <a:pt x="3261" y="1539"/>
                    </a:lnTo>
                    <a:lnTo>
                      <a:pt x="3269" y="1537"/>
                    </a:lnTo>
                    <a:lnTo>
                      <a:pt x="3278" y="1536"/>
                    </a:lnTo>
                    <a:lnTo>
                      <a:pt x="3288" y="1534"/>
                    </a:lnTo>
                    <a:lnTo>
                      <a:pt x="3296" y="1531"/>
                    </a:lnTo>
                    <a:lnTo>
                      <a:pt x="3304" y="1527"/>
                    </a:lnTo>
                    <a:lnTo>
                      <a:pt x="3320" y="1517"/>
                    </a:lnTo>
                    <a:lnTo>
                      <a:pt x="3335" y="1506"/>
                    </a:lnTo>
                    <a:lnTo>
                      <a:pt x="3350" y="1494"/>
                    </a:lnTo>
                    <a:lnTo>
                      <a:pt x="3366" y="1485"/>
                    </a:lnTo>
                    <a:lnTo>
                      <a:pt x="3374" y="1481"/>
                    </a:lnTo>
                    <a:lnTo>
                      <a:pt x="3383" y="1478"/>
                    </a:lnTo>
                    <a:lnTo>
                      <a:pt x="3392" y="1476"/>
                    </a:lnTo>
                    <a:lnTo>
                      <a:pt x="3402" y="1475"/>
                    </a:lnTo>
                    <a:lnTo>
                      <a:pt x="3413" y="1476"/>
                    </a:lnTo>
                    <a:lnTo>
                      <a:pt x="3423" y="1477"/>
                    </a:lnTo>
                    <a:lnTo>
                      <a:pt x="3432" y="1479"/>
                    </a:lnTo>
                    <a:lnTo>
                      <a:pt x="3439" y="1481"/>
                    </a:lnTo>
                    <a:lnTo>
                      <a:pt x="3447" y="1483"/>
                    </a:lnTo>
                    <a:lnTo>
                      <a:pt x="3453" y="1485"/>
                    </a:lnTo>
                    <a:lnTo>
                      <a:pt x="3461" y="1487"/>
                    </a:lnTo>
                    <a:lnTo>
                      <a:pt x="3468" y="1487"/>
                    </a:lnTo>
                    <a:lnTo>
                      <a:pt x="3494" y="1475"/>
                    </a:lnTo>
                    <a:lnTo>
                      <a:pt x="3507" y="1475"/>
                    </a:lnTo>
                    <a:lnTo>
                      <a:pt x="3522" y="1475"/>
                    </a:lnTo>
                    <a:lnTo>
                      <a:pt x="3522" y="1483"/>
                    </a:lnTo>
                    <a:lnTo>
                      <a:pt x="3524" y="1490"/>
                    </a:lnTo>
                    <a:lnTo>
                      <a:pt x="3526" y="1496"/>
                    </a:lnTo>
                    <a:lnTo>
                      <a:pt x="3528" y="1501"/>
                    </a:lnTo>
                    <a:lnTo>
                      <a:pt x="3535" y="1510"/>
                    </a:lnTo>
                    <a:lnTo>
                      <a:pt x="3541" y="1518"/>
                    </a:lnTo>
                    <a:lnTo>
                      <a:pt x="3720" y="1518"/>
                    </a:lnTo>
                    <a:lnTo>
                      <a:pt x="3721" y="1510"/>
                    </a:lnTo>
                    <a:lnTo>
                      <a:pt x="3720" y="1501"/>
                    </a:lnTo>
                    <a:lnTo>
                      <a:pt x="3718" y="1494"/>
                    </a:lnTo>
                    <a:lnTo>
                      <a:pt x="3716" y="1488"/>
                    </a:lnTo>
                    <a:lnTo>
                      <a:pt x="3713" y="1482"/>
                    </a:lnTo>
                    <a:lnTo>
                      <a:pt x="3708" y="1477"/>
                    </a:lnTo>
                    <a:lnTo>
                      <a:pt x="3704" y="1472"/>
                    </a:lnTo>
                    <a:lnTo>
                      <a:pt x="3699" y="1467"/>
                    </a:lnTo>
                    <a:lnTo>
                      <a:pt x="3691" y="1459"/>
                    </a:lnTo>
                    <a:lnTo>
                      <a:pt x="3682" y="1449"/>
                    </a:lnTo>
                    <a:lnTo>
                      <a:pt x="3679" y="1443"/>
                    </a:lnTo>
                    <a:lnTo>
                      <a:pt x="3676" y="1438"/>
                    </a:lnTo>
                    <a:lnTo>
                      <a:pt x="3674" y="1432"/>
                    </a:lnTo>
                    <a:lnTo>
                      <a:pt x="3674" y="1426"/>
                    </a:lnTo>
                    <a:lnTo>
                      <a:pt x="3674" y="1418"/>
                    </a:lnTo>
                    <a:lnTo>
                      <a:pt x="3674" y="1411"/>
                    </a:lnTo>
                    <a:lnTo>
                      <a:pt x="3674" y="1404"/>
                    </a:lnTo>
                    <a:lnTo>
                      <a:pt x="3674" y="1395"/>
                    </a:lnTo>
                    <a:lnTo>
                      <a:pt x="3687" y="1388"/>
                    </a:lnTo>
                    <a:lnTo>
                      <a:pt x="3880" y="1426"/>
                    </a:lnTo>
                    <a:lnTo>
                      <a:pt x="3883" y="1437"/>
                    </a:lnTo>
                    <a:lnTo>
                      <a:pt x="3886" y="1446"/>
                    </a:lnTo>
                    <a:lnTo>
                      <a:pt x="3890" y="1456"/>
                    </a:lnTo>
                    <a:lnTo>
                      <a:pt x="3895" y="1464"/>
                    </a:lnTo>
                    <a:lnTo>
                      <a:pt x="3900" y="1472"/>
                    </a:lnTo>
                    <a:lnTo>
                      <a:pt x="3906" y="1478"/>
                    </a:lnTo>
                    <a:lnTo>
                      <a:pt x="3914" y="1484"/>
                    </a:lnTo>
                    <a:lnTo>
                      <a:pt x="3920" y="1489"/>
                    </a:lnTo>
                    <a:lnTo>
                      <a:pt x="3929" y="1493"/>
                    </a:lnTo>
                    <a:lnTo>
                      <a:pt x="3938" y="1496"/>
                    </a:lnTo>
                    <a:lnTo>
                      <a:pt x="3948" y="1499"/>
                    </a:lnTo>
                    <a:lnTo>
                      <a:pt x="3957" y="1502"/>
                    </a:lnTo>
                    <a:lnTo>
                      <a:pt x="3968" y="1504"/>
                    </a:lnTo>
                    <a:lnTo>
                      <a:pt x="3981" y="1505"/>
                    </a:lnTo>
                    <a:lnTo>
                      <a:pt x="3993" y="1506"/>
                    </a:lnTo>
                    <a:lnTo>
                      <a:pt x="4006" y="1506"/>
                    </a:lnTo>
                    <a:lnTo>
                      <a:pt x="4018" y="1506"/>
                    </a:lnTo>
                    <a:lnTo>
                      <a:pt x="4029" y="1502"/>
                    </a:lnTo>
                    <a:lnTo>
                      <a:pt x="4039" y="1500"/>
                    </a:lnTo>
                    <a:lnTo>
                      <a:pt x="4050" y="1496"/>
                    </a:lnTo>
                    <a:lnTo>
                      <a:pt x="4060" y="1493"/>
                    </a:lnTo>
                    <a:lnTo>
                      <a:pt x="4069" y="1490"/>
                    </a:lnTo>
                    <a:lnTo>
                      <a:pt x="4080" y="1488"/>
                    </a:lnTo>
                    <a:lnTo>
                      <a:pt x="4093" y="1487"/>
                    </a:lnTo>
                    <a:lnTo>
                      <a:pt x="4108" y="1488"/>
                    </a:lnTo>
                    <a:lnTo>
                      <a:pt x="4123" y="1490"/>
                    </a:lnTo>
                    <a:lnTo>
                      <a:pt x="4136" y="1492"/>
                    </a:lnTo>
                    <a:lnTo>
                      <a:pt x="4150" y="1496"/>
                    </a:lnTo>
                    <a:lnTo>
                      <a:pt x="4162" y="1500"/>
                    </a:lnTo>
                    <a:lnTo>
                      <a:pt x="4173" y="1506"/>
                    </a:lnTo>
                    <a:lnTo>
                      <a:pt x="4184" y="1511"/>
                    </a:lnTo>
                    <a:lnTo>
                      <a:pt x="4195" y="1517"/>
                    </a:lnTo>
                    <a:lnTo>
                      <a:pt x="4214" y="1528"/>
                    </a:lnTo>
                    <a:lnTo>
                      <a:pt x="4233" y="1539"/>
                    </a:lnTo>
                    <a:lnTo>
                      <a:pt x="4243" y="1544"/>
                    </a:lnTo>
                    <a:lnTo>
                      <a:pt x="4253" y="1548"/>
                    </a:lnTo>
                    <a:lnTo>
                      <a:pt x="4262" y="1552"/>
                    </a:lnTo>
                    <a:lnTo>
                      <a:pt x="4272" y="1555"/>
                    </a:lnTo>
                    <a:lnTo>
                      <a:pt x="4306" y="1555"/>
                    </a:lnTo>
                    <a:lnTo>
                      <a:pt x="4334" y="1555"/>
                    </a:lnTo>
                    <a:lnTo>
                      <a:pt x="4358" y="1555"/>
                    </a:lnTo>
                    <a:lnTo>
                      <a:pt x="4378" y="1555"/>
                    </a:lnTo>
                    <a:lnTo>
                      <a:pt x="4396" y="1555"/>
                    </a:lnTo>
                    <a:lnTo>
                      <a:pt x="4412" y="1555"/>
                    </a:lnTo>
                    <a:lnTo>
                      <a:pt x="4427" y="1555"/>
                    </a:lnTo>
                    <a:lnTo>
                      <a:pt x="4445" y="1555"/>
                    </a:lnTo>
                    <a:lnTo>
                      <a:pt x="4455" y="1554"/>
                    </a:lnTo>
                    <a:lnTo>
                      <a:pt x="4464" y="1553"/>
                    </a:lnTo>
                    <a:lnTo>
                      <a:pt x="4470" y="1550"/>
                    </a:lnTo>
                    <a:lnTo>
                      <a:pt x="4476" y="1547"/>
                    </a:lnTo>
                    <a:lnTo>
                      <a:pt x="4480" y="1544"/>
                    </a:lnTo>
                    <a:lnTo>
                      <a:pt x="4485" y="1539"/>
                    </a:lnTo>
                    <a:lnTo>
                      <a:pt x="4488" y="1535"/>
                    </a:lnTo>
                    <a:lnTo>
                      <a:pt x="4490" y="1530"/>
                    </a:lnTo>
                    <a:lnTo>
                      <a:pt x="4495" y="1522"/>
                    </a:lnTo>
                    <a:lnTo>
                      <a:pt x="4503" y="1514"/>
                    </a:lnTo>
                    <a:lnTo>
                      <a:pt x="4509" y="1511"/>
                    </a:lnTo>
                    <a:lnTo>
                      <a:pt x="4514" y="1508"/>
                    </a:lnTo>
                    <a:lnTo>
                      <a:pt x="4522" y="1507"/>
                    </a:lnTo>
                    <a:lnTo>
                      <a:pt x="4531" y="1506"/>
                    </a:lnTo>
                    <a:lnTo>
                      <a:pt x="4554" y="1507"/>
                    </a:lnTo>
                    <a:lnTo>
                      <a:pt x="4577" y="1509"/>
                    </a:lnTo>
                    <a:lnTo>
                      <a:pt x="4599" y="1512"/>
                    </a:lnTo>
                    <a:lnTo>
                      <a:pt x="4620" y="1515"/>
                    </a:lnTo>
                    <a:lnTo>
                      <a:pt x="4651" y="1522"/>
                    </a:lnTo>
                    <a:lnTo>
                      <a:pt x="4663" y="1524"/>
                    </a:lnTo>
                    <a:lnTo>
                      <a:pt x="4678" y="1524"/>
                    </a:lnTo>
                    <a:lnTo>
                      <a:pt x="4690" y="1524"/>
                    </a:lnTo>
                    <a:lnTo>
                      <a:pt x="4700" y="1524"/>
                    </a:lnTo>
                    <a:lnTo>
                      <a:pt x="4711" y="1524"/>
                    </a:lnTo>
                    <a:lnTo>
                      <a:pt x="4718" y="1524"/>
                    </a:lnTo>
                    <a:lnTo>
                      <a:pt x="4727" y="1521"/>
                    </a:lnTo>
                    <a:lnTo>
                      <a:pt x="4737" y="1518"/>
                    </a:lnTo>
                    <a:lnTo>
                      <a:pt x="4746" y="1513"/>
                    </a:lnTo>
                    <a:lnTo>
                      <a:pt x="4755" y="1508"/>
                    </a:lnTo>
                    <a:lnTo>
                      <a:pt x="4763" y="1501"/>
                    </a:lnTo>
                    <a:lnTo>
                      <a:pt x="4771" y="1494"/>
                    </a:lnTo>
                    <a:lnTo>
                      <a:pt x="4777" y="1487"/>
                    </a:lnTo>
                    <a:lnTo>
                      <a:pt x="4771" y="1484"/>
                    </a:lnTo>
                    <a:lnTo>
                      <a:pt x="4766" y="1481"/>
                    </a:lnTo>
                    <a:lnTo>
                      <a:pt x="4760" y="1476"/>
                    </a:lnTo>
                    <a:lnTo>
                      <a:pt x="4756" y="1471"/>
                    </a:lnTo>
                    <a:lnTo>
                      <a:pt x="4750" y="1465"/>
                    </a:lnTo>
                    <a:lnTo>
                      <a:pt x="4747" y="1458"/>
                    </a:lnTo>
                    <a:lnTo>
                      <a:pt x="4745" y="1452"/>
                    </a:lnTo>
                    <a:lnTo>
                      <a:pt x="4744" y="1444"/>
                    </a:lnTo>
                    <a:lnTo>
                      <a:pt x="4745" y="1435"/>
                    </a:lnTo>
                    <a:lnTo>
                      <a:pt x="4747" y="1428"/>
                    </a:lnTo>
                    <a:lnTo>
                      <a:pt x="4750" y="1422"/>
                    </a:lnTo>
                    <a:lnTo>
                      <a:pt x="4754" y="1417"/>
                    </a:lnTo>
                    <a:lnTo>
                      <a:pt x="4757" y="1411"/>
                    </a:lnTo>
                    <a:lnTo>
                      <a:pt x="4760" y="1405"/>
                    </a:lnTo>
                    <a:lnTo>
                      <a:pt x="4762" y="1398"/>
                    </a:lnTo>
                    <a:lnTo>
                      <a:pt x="4763" y="1388"/>
                    </a:lnTo>
                    <a:lnTo>
                      <a:pt x="4763" y="1382"/>
                    </a:lnTo>
                    <a:lnTo>
                      <a:pt x="4761" y="1377"/>
                    </a:lnTo>
                    <a:lnTo>
                      <a:pt x="4759" y="1372"/>
                    </a:lnTo>
                    <a:lnTo>
                      <a:pt x="4756" y="1369"/>
                    </a:lnTo>
                    <a:lnTo>
                      <a:pt x="4747" y="1363"/>
                    </a:lnTo>
                    <a:lnTo>
                      <a:pt x="4737" y="1359"/>
                    </a:lnTo>
                    <a:lnTo>
                      <a:pt x="4727" y="1355"/>
                    </a:lnTo>
                    <a:lnTo>
                      <a:pt x="4718" y="1350"/>
                    </a:lnTo>
                    <a:lnTo>
                      <a:pt x="4715" y="1347"/>
                    </a:lnTo>
                    <a:lnTo>
                      <a:pt x="4713" y="1343"/>
                    </a:lnTo>
                    <a:lnTo>
                      <a:pt x="4711" y="1339"/>
                    </a:lnTo>
                    <a:lnTo>
                      <a:pt x="4711" y="1333"/>
                    </a:lnTo>
                    <a:lnTo>
                      <a:pt x="4711" y="1324"/>
                    </a:lnTo>
                    <a:lnTo>
                      <a:pt x="4711" y="1315"/>
                    </a:lnTo>
                    <a:lnTo>
                      <a:pt x="4830" y="1297"/>
                    </a:lnTo>
                    <a:lnTo>
                      <a:pt x="4869" y="1307"/>
                    </a:lnTo>
                    <a:lnTo>
                      <a:pt x="4898" y="1315"/>
                    </a:lnTo>
                    <a:lnTo>
                      <a:pt x="4928" y="1322"/>
                    </a:lnTo>
                    <a:lnTo>
                      <a:pt x="4963" y="1333"/>
                    </a:lnTo>
                    <a:lnTo>
                      <a:pt x="4974" y="1338"/>
                    </a:lnTo>
                    <a:lnTo>
                      <a:pt x="4985" y="1343"/>
                    </a:lnTo>
                    <a:lnTo>
                      <a:pt x="4995" y="1349"/>
                    </a:lnTo>
                    <a:lnTo>
                      <a:pt x="5005" y="1356"/>
                    </a:lnTo>
                    <a:lnTo>
                      <a:pt x="5021" y="1371"/>
                    </a:lnTo>
                    <a:lnTo>
                      <a:pt x="5038" y="1386"/>
                    </a:lnTo>
                    <a:lnTo>
                      <a:pt x="5046" y="1395"/>
                    </a:lnTo>
                    <a:lnTo>
                      <a:pt x="5054" y="1402"/>
                    </a:lnTo>
                    <a:lnTo>
                      <a:pt x="5063" y="1408"/>
                    </a:lnTo>
                    <a:lnTo>
                      <a:pt x="5073" y="1414"/>
                    </a:lnTo>
                    <a:lnTo>
                      <a:pt x="5084" y="1419"/>
                    </a:lnTo>
                    <a:lnTo>
                      <a:pt x="5095" y="1423"/>
                    </a:lnTo>
                    <a:lnTo>
                      <a:pt x="5108" y="1425"/>
                    </a:lnTo>
                    <a:lnTo>
                      <a:pt x="5122" y="1426"/>
                    </a:lnTo>
                    <a:lnTo>
                      <a:pt x="5127" y="1438"/>
                    </a:lnTo>
                    <a:lnTo>
                      <a:pt x="5132" y="1449"/>
                    </a:lnTo>
                    <a:lnTo>
                      <a:pt x="5139" y="1459"/>
                    </a:lnTo>
                    <a:lnTo>
                      <a:pt x="5148" y="1468"/>
                    </a:lnTo>
                    <a:lnTo>
                      <a:pt x="5156" y="1476"/>
                    </a:lnTo>
                    <a:lnTo>
                      <a:pt x="5166" y="1484"/>
                    </a:lnTo>
                    <a:lnTo>
                      <a:pt x="5176" y="1490"/>
                    </a:lnTo>
                    <a:lnTo>
                      <a:pt x="5188" y="1496"/>
                    </a:lnTo>
                    <a:lnTo>
                      <a:pt x="5199" y="1502"/>
                    </a:lnTo>
                    <a:lnTo>
                      <a:pt x="5211" y="1508"/>
                    </a:lnTo>
                    <a:lnTo>
                      <a:pt x="5225" y="1512"/>
                    </a:lnTo>
                    <a:lnTo>
                      <a:pt x="5237" y="1516"/>
                    </a:lnTo>
                    <a:lnTo>
                      <a:pt x="5263" y="1524"/>
                    </a:lnTo>
                    <a:lnTo>
                      <a:pt x="5288" y="1530"/>
                    </a:lnTo>
                    <a:lnTo>
                      <a:pt x="5303" y="1536"/>
                    </a:lnTo>
                    <a:lnTo>
                      <a:pt x="5317" y="1542"/>
                    </a:lnTo>
                    <a:lnTo>
                      <a:pt x="5330" y="1550"/>
                    </a:lnTo>
                    <a:lnTo>
                      <a:pt x="5342" y="1558"/>
                    </a:lnTo>
                    <a:lnTo>
                      <a:pt x="5365" y="1577"/>
                    </a:lnTo>
                    <a:lnTo>
                      <a:pt x="5388" y="1595"/>
                    </a:lnTo>
                    <a:lnTo>
                      <a:pt x="5399" y="1604"/>
                    </a:lnTo>
                    <a:lnTo>
                      <a:pt x="5410" y="1612"/>
                    </a:lnTo>
                    <a:lnTo>
                      <a:pt x="5422" y="1621"/>
                    </a:lnTo>
                    <a:lnTo>
                      <a:pt x="5434" y="1628"/>
                    </a:lnTo>
                    <a:lnTo>
                      <a:pt x="5446" y="1633"/>
                    </a:lnTo>
                    <a:lnTo>
                      <a:pt x="5460" y="1638"/>
                    </a:lnTo>
                    <a:lnTo>
                      <a:pt x="5473" y="1640"/>
                    </a:lnTo>
                    <a:lnTo>
                      <a:pt x="5488" y="1641"/>
                    </a:lnTo>
                    <a:lnTo>
                      <a:pt x="5497" y="1641"/>
                    </a:lnTo>
                    <a:lnTo>
                      <a:pt x="5506" y="1640"/>
                    </a:lnTo>
                    <a:lnTo>
                      <a:pt x="5514" y="1638"/>
                    </a:lnTo>
                    <a:lnTo>
                      <a:pt x="5522" y="1635"/>
                    </a:lnTo>
                    <a:lnTo>
                      <a:pt x="5536" y="1628"/>
                    </a:lnTo>
                    <a:lnTo>
                      <a:pt x="5551" y="1620"/>
                    </a:lnTo>
                    <a:lnTo>
                      <a:pt x="5565" y="1611"/>
                    </a:lnTo>
                    <a:lnTo>
                      <a:pt x="5579" y="1605"/>
                    </a:lnTo>
                    <a:lnTo>
                      <a:pt x="5587" y="1602"/>
                    </a:lnTo>
                    <a:lnTo>
                      <a:pt x="5596" y="1600"/>
                    </a:lnTo>
                    <a:lnTo>
                      <a:pt x="5604" y="1599"/>
                    </a:lnTo>
                    <a:lnTo>
                      <a:pt x="5614" y="1598"/>
                    </a:lnTo>
                    <a:lnTo>
                      <a:pt x="5621" y="1599"/>
                    </a:lnTo>
                    <a:lnTo>
                      <a:pt x="5626" y="1601"/>
                    </a:lnTo>
                    <a:lnTo>
                      <a:pt x="5631" y="1604"/>
                    </a:lnTo>
                    <a:lnTo>
                      <a:pt x="5635" y="1607"/>
                    </a:lnTo>
                    <a:lnTo>
                      <a:pt x="5642" y="1613"/>
                    </a:lnTo>
                    <a:lnTo>
                      <a:pt x="5647" y="1617"/>
                    </a:lnTo>
                    <a:lnTo>
                      <a:pt x="5647" y="1629"/>
                    </a:lnTo>
                    <a:lnTo>
                      <a:pt x="5647" y="1638"/>
                    </a:lnTo>
                    <a:lnTo>
                      <a:pt x="5647" y="1645"/>
                    </a:lnTo>
                    <a:lnTo>
                      <a:pt x="5647" y="1654"/>
                    </a:lnTo>
                    <a:lnTo>
                      <a:pt x="5647" y="1662"/>
                    </a:lnTo>
                    <a:lnTo>
                      <a:pt x="5649" y="1672"/>
                    </a:lnTo>
                    <a:lnTo>
                      <a:pt x="5652" y="1679"/>
                    </a:lnTo>
                    <a:lnTo>
                      <a:pt x="5655" y="1686"/>
                    </a:lnTo>
                    <a:lnTo>
                      <a:pt x="5659" y="1693"/>
                    </a:lnTo>
                    <a:lnTo>
                      <a:pt x="5664" y="1699"/>
                    </a:lnTo>
                    <a:lnTo>
                      <a:pt x="5668" y="1704"/>
                    </a:lnTo>
                    <a:lnTo>
                      <a:pt x="5674" y="1709"/>
                    </a:lnTo>
                    <a:lnTo>
                      <a:pt x="5674" y="1790"/>
                    </a:lnTo>
                    <a:lnTo>
                      <a:pt x="5666" y="1791"/>
                    </a:lnTo>
                    <a:lnTo>
                      <a:pt x="5657" y="1792"/>
                    </a:lnTo>
                    <a:lnTo>
                      <a:pt x="5649" y="1792"/>
                    </a:lnTo>
                    <a:lnTo>
                      <a:pt x="5641" y="1792"/>
                    </a:lnTo>
                    <a:lnTo>
                      <a:pt x="5623" y="1790"/>
                    </a:lnTo>
                    <a:lnTo>
                      <a:pt x="5608" y="1790"/>
                    </a:lnTo>
                    <a:lnTo>
                      <a:pt x="5604" y="1790"/>
                    </a:lnTo>
                    <a:lnTo>
                      <a:pt x="5602" y="1792"/>
                    </a:lnTo>
                    <a:lnTo>
                      <a:pt x="5600" y="1794"/>
                    </a:lnTo>
                    <a:lnTo>
                      <a:pt x="5598" y="1796"/>
                    </a:lnTo>
                    <a:lnTo>
                      <a:pt x="5595" y="1802"/>
                    </a:lnTo>
                    <a:lnTo>
                      <a:pt x="5593" y="1808"/>
                    </a:lnTo>
                    <a:lnTo>
                      <a:pt x="5595" y="1818"/>
                    </a:lnTo>
                    <a:lnTo>
                      <a:pt x="5597" y="1827"/>
                    </a:lnTo>
                    <a:lnTo>
                      <a:pt x="5600" y="1835"/>
                    </a:lnTo>
                    <a:lnTo>
                      <a:pt x="5604" y="1844"/>
                    </a:lnTo>
                    <a:lnTo>
                      <a:pt x="5609" y="1852"/>
                    </a:lnTo>
                    <a:lnTo>
                      <a:pt x="5614" y="1859"/>
                    </a:lnTo>
                    <a:lnTo>
                      <a:pt x="5620" y="1865"/>
                    </a:lnTo>
                    <a:lnTo>
                      <a:pt x="5626" y="1871"/>
                    </a:lnTo>
                    <a:lnTo>
                      <a:pt x="5637" y="1881"/>
                    </a:lnTo>
                    <a:lnTo>
                      <a:pt x="5647" y="1890"/>
                    </a:lnTo>
                    <a:lnTo>
                      <a:pt x="5651" y="1896"/>
                    </a:lnTo>
                    <a:lnTo>
                      <a:pt x="5653" y="1899"/>
                    </a:lnTo>
                    <a:lnTo>
                      <a:pt x="5654" y="1903"/>
                    </a:lnTo>
                    <a:lnTo>
                      <a:pt x="5654" y="1907"/>
                    </a:lnTo>
                    <a:lnTo>
                      <a:pt x="5747" y="1919"/>
                    </a:lnTo>
                    <a:lnTo>
                      <a:pt x="5754" y="1918"/>
                    </a:lnTo>
                    <a:lnTo>
                      <a:pt x="5761" y="1917"/>
                    </a:lnTo>
                    <a:lnTo>
                      <a:pt x="5768" y="1915"/>
                    </a:lnTo>
                    <a:lnTo>
                      <a:pt x="5775" y="1912"/>
                    </a:lnTo>
                    <a:lnTo>
                      <a:pt x="5780" y="1908"/>
                    </a:lnTo>
                    <a:lnTo>
                      <a:pt x="5786" y="1904"/>
                    </a:lnTo>
                    <a:lnTo>
                      <a:pt x="5792" y="1899"/>
                    </a:lnTo>
                    <a:lnTo>
                      <a:pt x="5797" y="1892"/>
                    </a:lnTo>
                    <a:lnTo>
                      <a:pt x="5807" y="1880"/>
                    </a:lnTo>
                    <a:lnTo>
                      <a:pt x="5815" y="1865"/>
                    </a:lnTo>
                    <a:lnTo>
                      <a:pt x="5823" y="1850"/>
                    </a:lnTo>
                    <a:lnTo>
                      <a:pt x="5830" y="1832"/>
                    </a:lnTo>
                    <a:lnTo>
                      <a:pt x="5835" y="1815"/>
                    </a:lnTo>
                    <a:lnTo>
                      <a:pt x="5841" y="1797"/>
                    </a:lnTo>
                    <a:lnTo>
                      <a:pt x="5845" y="1779"/>
                    </a:lnTo>
                    <a:lnTo>
                      <a:pt x="5847" y="1763"/>
                    </a:lnTo>
                    <a:lnTo>
                      <a:pt x="5852" y="1733"/>
                    </a:lnTo>
                    <a:lnTo>
                      <a:pt x="5853" y="1709"/>
                    </a:lnTo>
                    <a:lnTo>
                      <a:pt x="5853" y="1694"/>
                    </a:lnTo>
                    <a:lnTo>
                      <a:pt x="5853" y="1677"/>
                    </a:lnTo>
                    <a:lnTo>
                      <a:pt x="5853" y="1657"/>
                    </a:lnTo>
                    <a:lnTo>
                      <a:pt x="5853" y="1635"/>
                    </a:lnTo>
                    <a:lnTo>
                      <a:pt x="5853" y="1623"/>
                    </a:lnTo>
                    <a:lnTo>
                      <a:pt x="5853" y="1612"/>
                    </a:lnTo>
                    <a:lnTo>
                      <a:pt x="5855" y="1607"/>
                    </a:lnTo>
                    <a:lnTo>
                      <a:pt x="5858" y="1604"/>
                    </a:lnTo>
                    <a:lnTo>
                      <a:pt x="5865" y="1601"/>
                    </a:lnTo>
                    <a:lnTo>
                      <a:pt x="5873" y="1598"/>
                    </a:lnTo>
                    <a:lnTo>
                      <a:pt x="5873" y="1568"/>
                    </a:lnTo>
                    <a:lnTo>
                      <a:pt x="5867" y="1564"/>
                    </a:lnTo>
                    <a:lnTo>
                      <a:pt x="5859" y="1558"/>
                    </a:lnTo>
                    <a:lnTo>
                      <a:pt x="5850" y="1551"/>
                    </a:lnTo>
                    <a:lnTo>
                      <a:pt x="5843" y="1543"/>
                    </a:lnTo>
                    <a:lnTo>
                      <a:pt x="5835" y="1534"/>
                    </a:lnTo>
                    <a:lnTo>
                      <a:pt x="5830" y="1525"/>
                    </a:lnTo>
                    <a:lnTo>
                      <a:pt x="5827" y="1520"/>
                    </a:lnTo>
                    <a:lnTo>
                      <a:pt x="5826" y="1516"/>
                    </a:lnTo>
                    <a:lnTo>
                      <a:pt x="5826" y="1511"/>
                    </a:lnTo>
                    <a:lnTo>
                      <a:pt x="5826" y="1506"/>
                    </a:lnTo>
                    <a:lnTo>
                      <a:pt x="5816" y="1498"/>
                    </a:lnTo>
                    <a:lnTo>
                      <a:pt x="5808" y="1490"/>
                    </a:lnTo>
                    <a:lnTo>
                      <a:pt x="5799" y="1481"/>
                    </a:lnTo>
                    <a:lnTo>
                      <a:pt x="5791" y="1472"/>
                    </a:lnTo>
                    <a:lnTo>
                      <a:pt x="5776" y="1451"/>
                    </a:lnTo>
                    <a:lnTo>
                      <a:pt x="5761" y="1428"/>
                    </a:lnTo>
                    <a:lnTo>
                      <a:pt x="5748" y="1404"/>
                    </a:lnTo>
                    <a:lnTo>
                      <a:pt x="5735" y="1378"/>
                    </a:lnTo>
                    <a:lnTo>
                      <a:pt x="5721" y="1353"/>
                    </a:lnTo>
                    <a:lnTo>
                      <a:pt x="5707" y="1327"/>
                    </a:lnTo>
                    <a:lnTo>
                      <a:pt x="5700" y="1316"/>
                    </a:lnTo>
                    <a:lnTo>
                      <a:pt x="5692" y="1307"/>
                    </a:lnTo>
                    <a:lnTo>
                      <a:pt x="5684" y="1299"/>
                    </a:lnTo>
                    <a:lnTo>
                      <a:pt x="5674" y="1291"/>
                    </a:lnTo>
                    <a:lnTo>
                      <a:pt x="5664" y="1285"/>
                    </a:lnTo>
                    <a:lnTo>
                      <a:pt x="5652" y="1279"/>
                    </a:lnTo>
                    <a:lnTo>
                      <a:pt x="5640" y="1274"/>
                    </a:lnTo>
                    <a:lnTo>
                      <a:pt x="5628" y="1270"/>
                    </a:lnTo>
                    <a:lnTo>
                      <a:pt x="5600" y="1263"/>
                    </a:lnTo>
                    <a:lnTo>
                      <a:pt x="5570" y="1256"/>
                    </a:lnTo>
                    <a:lnTo>
                      <a:pt x="5540" y="1249"/>
                    </a:lnTo>
                    <a:lnTo>
                      <a:pt x="5508" y="1241"/>
                    </a:lnTo>
                    <a:lnTo>
                      <a:pt x="5503" y="1252"/>
                    </a:lnTo>
                    <a:lnTo>
                      <a:pt x="5500" y="1265"/>
                    </a:lnTo>
                    <a:lnTo>
                      <a:pt x="5498" y="1272"/>
                    </a:lnTo>
                    <a:lnTo>
                      <a:pt x="5496" y="1279"/>
                    </a:lnTo>
                    <a:lnTo>
                      <a:pt x="5492" y="1285"/>
                    </a:lnTo>
                    <a:lnTo>
                      <a:pt x="5488" y="1291"/>
                    </a:lnTo>
                    <a:lnTo>
                      <a:pt x="5483" y="1284"/>
                    </a:lnTo>
                    <a:lnTo>
                      <a:pt x="5476" y="1278"/>
                    </a:lnTo>
                    <a:lnTo>
                      <a:pt x="5469" y="1275"/>
                    </a:lnTo>
                    <a:lnTo>
                      <a:pt x="5462" y="1272"/>
                    </a:lnTo>
                    <a:lnTo>
                      <a:pt x="5446" y="1267"/>
                    </a:lnTo>
                    <a:lnTo>
                      <a:pt x="5431" y="1264"/>
                    </a:lnTo>
                    <a:lnTo>
                      <a:pt x="5423" y="1262"/>
                    </a:lnTo>
                    <a:lnTo>
                      <a:pt x="5417" y="1260"/>
                    </a:lnTo>
                    <a:lnTo>
                      <a:pt x="5411" y="1257"/>
                    </a:lnTo>
                    <a:lnTo>
                      <a:pt x="5406" y="1254"/>
                    </a:lnTo>
                    <a:lnTo>
                      <a:pt x="5401" y="1249"/>
                    </a:lnTo>
                    <a:lnTo>
                      <a:pt x="5398" y="1244"/>
                    </a:lnTo>
                    <a:lnTo>
                      <a:pt x="5396" y="1237"/>
                    </a:lnTo>
                    <a:lnTo>
                      <a:pt x="5395" y="1229"/>
                    </a:lnTo>
                    <a:lnTo>
                      <a:pt x="5378" y="1226"/>
                    </a:lnTo>
                    <a:lnTo>
                      <a:pt x="5341" y="1218"/>
                    </a:lnTo>
                    <a:lnTo>
                      <a:pt x="5322" y="1214"/>
                    </a:lnTo>
                    <a:lnTo>
                      <a:pt x="5305" y="1210"/>
                    </a:lnTo>
                    <a:lnTo>
                      <a:pt x="5293" y="1207"/>
                    </a:lnTo>
                    <a:lnTo>
                      <a:pt x="5288" y="1204"/>
                    </a:lnTo>
                    <a:lnTo>
                      <a:pt x="5289" y="1197"/>
                    </a:lnTo>
                    <a:lnTo>
                      <a:pt x="5293" y="1191"/>
                    </a:lnTo>
                    <a:lnTo>
                      <a:pt x="5298" y="1185"/>
                    </a:lnTo>
                    <a:lnTo>
                      <a:pt x="5304" y="1180"/>
                    </a:lnTo>
                    <a:lnTo>
                      <a:pt x="5319" y="1167"/>
                    </a:lnTo>
                    <a:lnTo>
                      <a:pt x="5334" y="1154"/>
                    </a:lnTo>
                    <a:lnTo>
                      <a:pt x="5331" y="1147"/>
                    </a:lnTo>
                    <a:lnTo>
                      <a:pt x="5329" y="1140"/>
                    </a:lnTo>
                    <a:lnTo>
                      <a:pt x="5328" y="1132"/>
                    </a:lnTo>
                    <a:lnTo>
                      <a:pt x="5329" y="1125"/>
                    </a:lnTo>
                    <a:lnTo>
                      <a:pt x="5331" y="1117"/>
                    </a:lnTo>
                    <a:lnTo>
                      <a:pt x="5334" y="1108"/>
                    </a:lnTo>
                    <a:lnTo>
                      <a:pt x="5339" y="1100"/>
                    </a:lnTo>
                    <a:lnTo>
                      <a:pt x="5343" y="1092"/>
                    </a:lnTo>
                    <a:lnTo>
                      <a:pt x="5365" y="1064"/>
                    </a:lnTo>
                    <a:lnTo>
                      <a:pt x="5382" y="1043"/>
                    </a:lnTo>
                    <a:lnTo>
                      <a:pt x="5382" y="964"/>
                    </a:lnTo>
                    <a:lnTo>
                      <a:pt x="5388" y="962"/>
                    </a:lnTo>
                    <a:lnTo>
                      <a:pt x="5396" y="961"/>
                    </a:lnTo>
                    <a:lnTo>
                      <a:pt x="5402" y="961"/>
                    </a:lnTo>
                    <a:lnTo>
                      <a:pt x="5409" y="962"/>
                    </a:lnTo>
                    <a:lnTo>
                      <a:pt x="5423" y="963"/>
                    </a:lnTo>
                    <a:lnTo>
                      <a:pt x="5441" y="964"/>
                    </a:lnTo>
                    <a:lnTo>
                      <a:pt x="5465" y="964"/>
                    </a:lnTo>
                    <a:lnTo>
                      <a:pt x="5492" y="966"/>
                    </a:lnTo>
                    <a:lnTo>
                      <a:pt x="5521" y="968"/>
                    </a:lnTo>
                    <a:lnTo>
                      <a:pt x="5552" y="970"/>
                    </a:lnTo>
                    <a:lnTo>
                      <a:pt x="5583" y="972"/>
                    </a:lnTo>
                    <a:lnTo>
                      <a:pt x="5612" y="974"/>
                    </a:lnTo>
                    <a:lnTo>
                      <a:pt x="5641" y="975"/>
                    </a:lnTo>
                    <a:lnTo>
                      <a:pt x="5667" y="976"/>
                    </a:lnTo>
                    <a:lnTo>
                      <a:pt x="5671" y="975"/>
                    </a:lnTo>
                    <a:lnTo>
                      <a:pt x="5677" y="972"/>
                    </a:lnTo>
                    <a:lnTo>
                      <a:pt x="5682" y="968"/>
                    </a:lnTo>
                    <a:lnTo>
                      <a:pt x="5687" y="964"/>
                    </a:lnTo>
                    <a:lnTo>
                      <a:pt x="5674" y="945"/>
                    </a:lnTo>
                    <a:lnTo>
                      <a:pt x="5807" y="945"/>
                    </a:lnTo>
                    <a:lnTo>
                      <a:pt x="5809" y="949"/>
                    </a:lnTo>
                    <a:lnTo>
                      <a:pt x="5816" y="955"/>
                    </a:lnTo>
                    <a:lnTo>
                      <a:pt x="5825" y="962"/>
                    </a:lnTo>
                    <a:lnTo>
                      <a:pt x="5836" y="969"/>
                    </a:lnTo>
                    <a:lnTo>
                      <a:pt x="5857" y="982"/>
                    </a:lnTo>
                    <a:lnTo>
                      <a:pt x="5867" y="988"/>
                    </a:lnTo>
                    <a:lnTo>
                      <a:pt x="5871" y="988"/>
                    </a:lnTo>
                    <a:lnTo>
                      <a:pt x="5875" y="987"/>
                    </a:lnTo>
                    <a:lnTo>
                      <a:pt x="5878" y="985"/>
                    </a:lnTo>
                    <a:lnTo>
                      <a:pt x="5880" y="983"/>
                    </a:lnTo>
                    <a:lnTo>
                      <a:pt x="5884" y="979"/>
                    </a:lnTo>
                    <a:lnTo>
                      <a:pt x="5888" y="973"/>
                    </a:lnTo>
                    <a:lnTo>
                      <a:pt x="5892" y="967"/>
                    </a:lnTo>
                    <a:lnTo>
                      <a:pt x="5898" y="963"/>
                    </a:lnTo>
                    <a:lnTo>
                      <a:pt x="5902" y="961"/>
                    </a:lnTo>
                    <a:lnTo>
                      <a:pt x="5906" y="959"/>
                    </a:lnTo>
                    <a:lnTo>
                      <a:pt x="5913" y="958"/>
                    </a:lnTo>
                    <a:lnTo>
                      <a:pt x="5920" y="958"/>
                    </a:lnTo>
                    <a:lnTo>
                      <a:pt x="5911" y="954"/>
                    </a:lnTo>
                    <a:lnTo>
                      <a:pt x="5904" y="950"/>
                    </a:lnTo>
                    <a:lnTo>
                      <a:pt x="5900" y="945"/>
                    </a:lnTo>
                    <a:lnTo>
                      <a:pt x="5897" y="941"/>
                    </a:lnTo>
                    <a:lnTo>
                      <a:pt x="5894" y="935"/>
                    </a:lnTo>
                    <a:lnTo>
                      <a:pt x="5893" y="927"/>
                    </a:lnTo>
                    <a:lnTo>
                      <a:pt x="5893" y="916"/>
                    </a:lnTo>
                    <a:lnTo>
                      <a:pt x="5893" y="902"/>
                    </a:lnTo>
                    <a:lnTo>
                      <a:pt x="5893" y="886"/>
                    </a:lnTo>
                    <a:lnTo>
                      <a:pt x="5894" y="871"/>
                    </a:lnTo>
                    <a:lnTo>
                      <a:pt x="5897" y="858"/>
                    </a:lnTo>
                    <a:lnTo>
                      <a:pt x="5900" y="846"/>
                    </a:lnTo>
                    <a:lnTo>
                      <a:pt x="5902" y="841"/>
                    </a:lnTo>
                    <a:lnTo>
                      <a:pt x="5904" y="835"/>
                    </a:lnTo>
                    <a:lnTo>
                      <a:pt x="5906" y="831"/>
                    </a:lnTo>
                    <a:lnTo>
                      <a:pt x="5910" y="828"/>
                    </a:lnTo>
                    <a:lnTo>
                      <a:pt x="5913" y="825"/>
                    </a:lnTo>
                    <a:lnTo>
                      <a:pt x="5917" y="823"/>
                    </a:lnTo>
                    <a:lnTo>
                      <a:pt x="5922" y="822"/>
                    </a:lnTo>
                    <a:lnTo>
                      <a:pt x="5926" y="822"/>
                    </a:lnTo>
                    <a:lnTo>
                      <a:pt x="5945" y="822"/>
                    </a:lnTo>
                    <a:lnTo>
                      <a:pt x="5974" y="822"/>
                    </a:lnTo>
                    <a:lnTo>
                      <a:pt x="6006" y="822"/>
                    </a:lnTo>
                    <a:lnTo>
                      <a:pt x="6033" y="822"/>
                    </a:lnTo>
                    <a:lnTo>
                      <a:pt x="6037" y="828"/>
                    </a:lnTo>
                    <a:lnTo>
                      <a:pt x="6045" y="838"/>
                    </a:lnTo>
                    <a:lnTo>
                      <a:pt x="6055" y="849"/>
                    </a:lnTo>
                    <a:lnTo>
                      <a:pt x="6066" y="860"/>
                    </a:lnTo>
                    <a:lnTo>
                      <a:pt x="6077" y="871"/>
                    </a:lnTo>
                    <a:lnTo>
                      <a:pt x="6086" y="881"/>
                    </a:lnTo>
                    <a:lnTo>
                      <a:pt x="6094" y="887"/>
                    </a:lnTo>
                    <a:lnTo>
                      <a:pt x="6099" y="889"/>
                    </a:lnTo>
                    <a:lnTo>
                      <a:pt x="6102" y="881"/>
                    </a:lnTo>
                    <a:lnTo>
                      <a:pt x="6105" y="874"/>
                    </a:lnTo>
                    <a:lnTo>
                      <a:pt x="6108" y="867"/>
                    </a:lnTo>
                    <a:lnTo>
                      <a:pt x="6112" y="861"/>
                    </a:lnTo>
                    <a:lnTo>
                      <a:pt x="6116" y="855"/>
                    </a:lnTo>
                    <a:lnTo>
                      <a:pt x="6119" y="848"/>
                    </a:lnTo>
                    <a:lnTo>
                      <a:pt x="6123" y="839"/>
                    </a:lnTo>
                    <a:lnTo>
                      <a:pt x="6125" y="828"/>
                    </a:lnTo>
                    <a:lnTo>
                      <a:pt x="6128" y="830"/>
                    </a:lnTo>
                    <a:lnTo>
                      <a:pt x="6132" y="831"/>
                    </a:lnTo>
                    <a:lnTo>
                      <a:pt x="6135" y="832"/>
                    </a:lnTo>
                    <a:lnTo>
                      <a:pt x="6139" y="832"/>
                    </a:lnTo>
                    <a:lnTo>
                      <a:pt x="6144" y="832"/>
                    </a:lnTo>
                    <a:lnTo>
                      <a:pt x="6149" y="831"/>
                    </a:lnTo>
                    <a:lnTo>
                      <a:pt x="6153" y="830"/>
                    </a:lnTo>
                    <a:lnTo>
                      <a:pt x="6159" y="828"/>
                    </a:lnTo>
                    <a:lnTo>
                      <a:pt x="6148" y="815"/>
                    </a:lnTo>
                    <a:lnTo>
                      <a:pt x="6137" y="803"/>
                    </a:lnTo>
                    <a:lnTo>
                      <a:pt x="6133" y="796"/>
                    </a:lnTo>
                    <a:lnTo>
                      <a:pt x="6128" y="789"/>
                    </a:lnTo>
                    <a:lnTo>
                      <a:pt x="6126" y="782"/>
                    </a:lnTo>
                    <a:lnTo>
                      <a:pt x="6125" y="772"/>
                    </a:lnTo>
                    <a:lnTo>
                      <a:pt x="6126" y="767"/>
                    </a:lnTo>
                    <a:lnTo>
                      <a:pt x="6128" y="764"/>
                    </a:lnTo>
                    <a:lnTo>
                      <a:pt x="6132" y="761"/>
                    </a:lnTo>
                    <a:lnTo>
                      <a:pt x="6135" y="760"/>
                    </a:lnTo>
                    <a:lnTo>
                      <a:pt x="6140" y="759"/>
                    </a:lnTo>
                    <a:lnTo>
                      <a:pt x="6146" y="759"/>
                    </a:lnTo>
                    <a:lnTo>
                      <a:pt x="6152" y="760"/>
                    </a:lnTo>
                    <a:lnTo>
                      <a:pt x="6159" y="762"/>
                    </a:lnTo>
                    <a:lnTo>
                      <a:pt x="6188" y="771"/>
                    </a:lnTo>
                    <a:lnTo>
                      <a:pt x="6212" y="778"/>
                    </a:lnTo>
                    <a:lnTo>
                      <a:pt x="6202" y="779"/>
                    </a:lnTo>
                    <a:lnTo>
                      <a:pt x="6193" y="782"/>
                    </a:lnTo>
                    <a:lnTo>
                      <a:pt x="6184" y="784"/>
                    </a:lnTo>
                    <a:lnTo>
                      <a:pt x="6179" y="785"/>
                    </a:lnTo>
                    <a:lnTo>
                      <a:pt x="6180" y="792"/>
                    </a:lnTo>
                    <a:lnTo>
                      <a:pt x="6183" y="797"/>
                    </a:lnTo>
                    <a:lnTo>
                      <a:pt x="6186" y="802"/>
                    </a:lnTo>
                    <a:lnTo>
                      <a:pt x="6191" y="807"/>
                    </a:lnTo>
                    <a:lnTo>
                      <a:pt x="6201" y="815"/>
                    </a:lnTo>
                    <a:lnTo>
                      <a:pt x="6211" y="822"/>
                    </a:lnTo>
                    <a:lnTo>
                      <a:pt x="6222" y="829"/>
                    </a:lnTo>
                    <a:lnTo>
                      <a:pt x="6230" y="837"/>
                    </a:lnTo>
                    <a:lnTo>
                      <a:pt x="6234" y="842"/>
                    </a:lnTo>
                    <a:lnTo>
                      <a:pt x="6236" y="847"/>
                    </a:lnTo>
                    <a:lnTo>
                      <a:pt x="6238" y="853"/>
                    </a:lnTo>
                    <a:lnTo>
                      <a:pt x="6238" y="859"/>
                    </a:lnTo>
                    <a:lnTo>
                      <a:pt x="6237" y="867"/>
                    </a:lnTo>
                    <a:lnTo>
                      <a:pt x="6231" y="878"/>
                    </a:lnTo>
                    <a:lnTo>
                      <a:pt x="6224" y="893"/>
                    </a:lnTo>
                    <a:lnTo>
                      <a:pt x="6215" y="907"/>
                    </a:lnTo>
                    <a:lnTo>
                      <a:pt x="6206" y="922"/>
                    </a:lnTo>
                    <a:lnTo>
                      <a:pt x="6200" y="937"/>
                    </a:lnTo>
                    <a:lnTo>
                      <a:pt x="6196" y="944"/>
                    </a:lnTo>
                    <a:lnTo>
                      <a:pt x="6194" y="952"/>
                    </a:lnTo>
                    <a:lnTo>
                      <a:pt x="6192" y="958"/>
                    </a:lnTo>
                    <a:lnTo>
                      <a:pt x="6192" y="964"/>
                    </a:lnTo>
                    <a:lnTo>
                      <a:pt x="6193" y="970"/>
                    </a:lnTo>
                    <a:lnTo>
                      <a:pt x="6195" y="974"/>
                    </a:lnTo>
                    <a:lnTo>
                      <a:pt x="6198" y="977"/>
                    </a:lnTo>
                    <a:lnTo>
                      <a:pt x="6202" y="979"/>
                    </a:lnTo>
                    <a:lnTo>
                      <a:pt x="6205" y="981"/>
                    </a:lnTo>
                    <a:lnTo>
                      <a:pt x="6208" y="984"/>
                    </a:lnTo>
                    <a:lnTo>
                      <a:pt x="6211" y="988"/>
                    </a:lnTo>
                    <a:lnTo>
                      <a:pt x="6212" y="994"/>
                    </a:lnTo>
                    <a:lnTo>
                      <a:pt x="6212" y="1001"/>
                    </a:lnTo>
                    <a:lnTo>
                      <a:pt x="6211" y="1010"/>
                    </a:lnTo>
                    <a:lnTo>
                      <a:pt x="6208" y="1018"/>
                    </a:lnTo>
                    <a:lnTo>
                      <a:pt x="6204" y="1026"/>
                    </a:lnTo>
                    <a:lnTo>
                      <a:pt x="6202" y="1030"/>
                    </a:lnTo>
                    <a:lnTo>
                      <a:pt x="6200" y="1033"/>
                    </a:lnTo>
                    <a:lnTo>
                      <a:pt x="6196" y="1036"/>
                    </a:lnTo>
                    <a:lnTo>
                      <a:pt x="6192" y="1039"/>
                    </a:lnTo>
                    <a:lnTo>
                      <a:pt x="6188" y="1041"/>
                    </a:lnTo>
                    <a:lnTo>
                      <a:pt x="6183" y="1042"/>
                    </a:lnTo>
                    <a:lnTo>
                      <a:pt x="6178" y="1043"/>
                    </a:lnTo>
                    <a:lnTo>
                      <a:pt x="6172" y="1043"/>
                    </a:lnTo>
                    <a:lnTo>
                      <a:pt x="6173" y="1062"/>
                    </a:lnTo>
                    <a:lnTo>
                      <a:pt x="6175" y="1079"/>
                    </a:lnTo>
                    <a:lnTo>
                      <a:pt x="6181" y="1095"/>
                    </a:lnTo>
                    <a:lnTo>
                      <a:pt x="6186" y="1111"/>
                    </a:lnTo>
                    <a:lnTo>
                      <a:pt x="6194" y="1126"/>
                    </a:lnTo>
                    <a:lnTo>
                      <a:pt x="6204" y="1140"/>
                    </a:lnTo>
                    <a:lnTo>
                      <a:pt x="6214" y="1153"/>
                    </a:lnTo>
                    <a:lnTo>
                      <a:pt x="6226" y="1166"/>
                    </a:lnTo>
                    <a:lnTo>
                      <a:pt x="6238" y="1179"/>
                    </a:lnTo>
                    <a:lnTo>
                      <a:pt x="6252" y="1190"/>
                    </a:lnTo>
                    <a:lnTo>
                      <a:pt x="6267" y="1201"/>
                    </a:lnTo>
                    <a:lnTo>
                      <a:pt x="6281" y="1211"/>
                    </a:lnTo>
                    <a:lnTo>
                      <a:pt x="6296" y="1220"/>
                    </a:lnTo>
                    <a:lnTo>
                      <a:pt x="6313" y="1230"/>
                    </a:lnTo>
                    <a:lnTo>
                      <a:pt x="6328" y="1239"/>
                    </a:lnTo>
                    <a:lnTo>
                      <a:pt x="6345" y="1247"/>
                    </a:lnTo>
                    <a:lnTo>
                      <a:pt x="6352" y="1251"/>
                    </a:lnTo>
                    <a:lnTo>
                      <a:pt x="6360" y="1256"/>
                    </a:lnTo>
                    <a:lnTo>
                      <a:pt x="6365" y="1261"/>
                    </a:lnTo>
                    <a:lnTo>
                      <a:pt x="6371" y="1267"/>
                    </a:lnTo>
                    <a:lnTo>
                      <a:pt x="6379" y="1282"/>
                    </a:lnTo>
                    <a:lnTo>
                      <a:pt x="6387" y="1297"/>
                    </a:lnTo>
                    <a:lnTo>
                      <a:pt x="6392" y="1304"/>
                    </a:lnTo>
                    <a:lnTo>
                      <a:pt x="6396" y="1311"/>
                    </a:lnTo>
                    <a:lnTo>
                      <a:pt x="6402" y="1318"/>
                    </a:lnTo>
                    <a:lnTo>
                      <a:pt x="6407" y="1325"/>
                    </a:lnTo>
                    <a:lnTo>
                      <a:pt x="6415" y="1331"/>
                    </a:lnTo>
                    <a:lnTo>
                      <a:pt x="6422" y="1337"/>
                    </a:lnTo>
                    <a:lnTo>
                      <a:pt x="6432" y="1342"/>
                    </a:lnTo>
                    <a:lnTo>
                      <a:pt x="6444" y="1346"/>
                    </a:lnTo>
                    <a:lnTo>
                      <a:pt x="6452" y="1347"/>
                    </a:lnTo>
                    <a:lnTo>
                      <a:pt x="6464" y="1351"/>
                    </a:lnTo>
                    <a:lnTo>
                      <a:pt x="6471" y="1353"/>
                    </a:lnTo>
                    <a:lnTo>
                      <a:pt x="6476" y="1356"/>
                    </a:lnTo>
                    <a:lnTo>
                      <a:pt x="6481" y="1360"/>
                    </a:lnTo>
                    <a:lnTo>
                      <a:pt x="6484" y="1364"/>
                    </a:lnTo>
                    <a:lnTo>
                      <a:pt x="6491" y="1374"/>
                    </a:lnTo>
                    <a:lnTo>
                      <a:pt x="6497" y="1384"/>
                    </a:lnTo>
                    <a:lnTo>
                      <a:pt x="6506" y="1395"/>
                    </a:lnTo>
                    <a:lnTo>
                      <a:pt x="6515" y="1404"/>
                    </a:lnTo>
                    <a:lnTo>
                      <a:pt x="6525" y="1413"/>
                    </a:lnTo>
                    <a:lnTo>
                      <a:pt x="6533" y="1420"/>
                    </a:lnTo>
                    <a:lnTo>
                      <a:pt x="6538" y="1422"/>
                    </a:lnTo>
                    <a:lnTo>
                      <a:pt x="6542" y="1424"/>
                    </a:lnTo>
                    <a:lnTo>
                      <a:pt x="6547" y="1425"/>
                    </a:lnTo>
                    <a:lnTo>
                      <a:pt x="6551" y="1426"/>
                    </a:lnTo>
                    <a:lnTo>
                      <a:pt x="6554" y="1425"/>
                    </a:lnTo>
                    <a:lnTo>
                      <a:pt x="6558" y="1425"/>
                    </a:lnTo>
                    <a:lnTo>
                      <a:pt x="6561" y="1423"/>
                    </a:lnTo>
                    <a:lnTo>
                      <a:pt x="6564" y="1421"/>
                    </a:lnTo>
                    <a:lnTo>
                      <a:pt x="6570" y="1416"/>
                    </a:lnTo>
                    <a:lnTo>
                      <a:pt x="6575" y="1410"/>
                    </a:lnTo>
                    <a:lnTo>
                      <a:pt x="6578" y="1402"/>
                    </a:lnTo>
                    <a:lnTo>
                      <a:pt x="6582" y="1391"/>
                    </a:lnTo>
                    <a:lnTo>
                      <a:pt x="6583" y="1381"/>
                    </a:lnTo>
                    <a:lnTo>
                      <a:pt x="6584" y="1370"/>
                    </a:lnTo>
                    <a:lnTo>
                      <a:pt x="6583" y="1366"/>
                    </a:lnTo>
                    <a:lnTo>
                      <a:pt x="6582" y="1362"/>
                    </a:lnTo>
                    <a:lnTo>
                      <a:pt x="6579" y="1359"/>
                    </a:lnTo>
                    <a:lnTo>
                      <a:pt x="6576" y="1356"/>
                    </a:lnTo>
                    <a:lnTo>
                      <a:pt x="6570" y="1350"/>
                    </a:lnTo>
                    <a:lnTo>
                      <a:pt x="6561" y="1345"/>
                    </a:lnTo>
                    <a:lnTo>
                      <a:pt x="6552" y="1340"/>
                    </a:lnTo>
                    <a:lnTo>
                      <a:pt x="6544" y="1333"/>
                    </a:lnTo>
                    <a:lnTo>
                      <a:pt x="6542" y="1329"/>
                    </a:lnTo>
                    <a:lnTo>
                      <a:pt x="6539" y="1325"/>
                    </a:lnTo>
                    <a:lnTo>
                      <a:pt x="6538" y="1320"/>
                    </a:lnTo>
                    <a:lnTo>
                      <a:pt x="6538" y="1315"/>
                    </a:lnTo>
                    <a:lnTo>
                      <a:pt x="6539" y="1313"/>
                    </a:lnTo>
                    <a:lnTo>
                      <a:pt x="6542" y="1310"/>
                    </a:lnTo>
                    <a:lnTo>
                      <a:pt x="6547" y="1308"/>
                    </a:lnTo>
                    <a:lnTo>
                      <a:pt x="6552" y="1306"/>
                    </a:lnTo>
                    <a:lnTo>
                      <a:pt x="6565" y="1301"/>
                    </a:lnTo>
                    <a:lnTo>
                      <a:pt x="6577" y="1297"/>
                    </a:lnTo>
                    <a:lnTo>
                      <a:pt x="6569" y="1280"/>
                    </a:lnTo>
                    <a:lnTo>
                      <a:pt x="6560" y="1268"/>
                    </a:lnTo>
                    <a:lnTo>
                      <a:pt x="6550" y="1256"/>
                    </a:lnTo>
                    <a:lnTo>
                      <a:pt x="6538" y="1241"/>
                    </a:lnTo>
                    <a:lnTo>
                      <a:pt x="6540" y="1239"/>
                    </a:lnTo>
                    <a:lnTo>
                      <a:pt x="6544" y="1238"/>
                    </a:lnTo>
                    <a:lnTo>
                      <a:pt x="6550" y="1237"/>
                    </a:lnTo>
                    <a:lnTo>
                      <a:pt x="6556" y="1236"/>
                    </a:lnTo>
                    <a:lnTo>
                      <a:pt x="6572" y="1235"/>
                    </a:lnTo>
                    <a:lnTo>
                      <a:pt x="6590" y="1235"/>
                    </a:lnTo>
                    <a:lnTo>
                      <a:pt x="6583" y="1229"/>
                    </a:lnTo>
                    <a:lnTo>
                      <a:pt x="6572" y="1219"/>
                    </a:lnTo>
                    <a:lnTo>
                      <a:pt x="6566" y="1214"/>
                    </a:lnTo>
                    <a:lnTo>
                      <a:pt x="6562" y="1210"/>
                    </a:lnTo>
                    <a:lnTo>
                      <a:pt x="6559" y="1207"/>
                    </a:lnTo>
                    <a:lnTo>
                      <a:pt x="6558" y="1204"/>
                    </a:lnTo>
                    <a:lnTo>
                      <a:pt x="6550" y="1199"/>
                    </a:lnTo>
                    <a:lnTo>
                      <a:pt x="6544" y="1194"/>
                    </a:lnTo>
                    <a:lnTo>
                      <a:pt x="6540" y="1187"/>
                    </a:lnTo>
                    <a:lnTo>
                      <a:pt x="6537" y="1180"/>
                    </a:lnTo>
                    <a:lnTo>
                      <a:pt x="6533" y="1173"/>
                    </a:lnTo>
                    <a:lnTo>
                      <a:pt x="6532" y="1163"/>
                    </a:lnTo>
                    <a:lnTo>
                      <a:pt x="6531" y="1153"/>
                    </a:lnTo>
                    <a:lnTo>
                      <a:pt x="6531" y="1142"/>
                    </a:lnTo>
                    <a:lnTo>
                      <a:pt x="6536" y="1142"/>
                    </a:lnTo>
                    <a:lnTo>
                      <a:pt x="6540" y="1140"/>
                    </a:lnTo>
                    <a:lnTo>
                      <a:pt x="6545" y="1138"/>
                    </a:lnTo>
                    <a:lnTo>
                      <a:pt x="6549" y="1136"/>
                    </a:lnTo>
                    <a:lnTo>
                      <a:pt x="6552" y="1133"/>
                    </a:lnTo>
                    <a:lnTo>
                      <a:pt x="6555" y="1130"/>
                    </a:lnTo>
                    <a:lnTo>
                      <a:pt x="6556" y="1127"/>
                    </a:lnTo>
                    <a:lnTo>
                      <a:pt x="6558" y="1124"/>
                    </a:lnTo>
                    <a:lnTo>
                      <a:pt x="6539" y="1118"/>
                    </a:lnTo>
                    <a:lnTo>
                      <a:pt x="6522" y="1110"/>
                    </a:lnTo>
                    <a:lnTo>
                      <a:pt x="6508" y="1103"/>
                    </a:lnTo>
                    <a:lnTo>
                      <a:pt x="6496" y="1095"/>
                    </a:lnTo>
                    <a:lnTo>
                      <a:pt x="6476" y="1078"/>
                    </a:lnTo>
                    <a:lnTo>
                      <a:pt x="6460" y="1063"/>
                    </a:lnTo>
                    <a:lnTo>
                      <a:pt x="6452" y="1055"/>
                    </a:lnTo>
                    <a:lnTo>
                      <a:pt x="6444" y="1048"/>
                    </a:lnTo>
                    <a:lnTo>
                      <a:pt x="6437" y="1043"/>
                    </a:lnTo>
                    <a:lnTo>
                      <a:pt x="6427" y="1039"/>
                    </a:lnTo>
                    <a:lnTo>
                      <a:pt x="6417" y="1036"/>
                    </a:lnTo>
                    <a:lnTo>
                      <a:pt x="6406" y="1035"/>
                    </a:lnTo>
                    <a:lnTo>
                      <a:pt x="6393" y="1035"/>
                    </a:lnTo>
                    <a:lnTo>
                      <a:pt x="6377" y="1037"/>
                    </a:lnTo>
                    <a:lnTo>
                      <a:pt x="6375" y="1038"/>
                    </a:lnTo>
                    <a:lnTo>
                      <a:pt x="6373" y="1037"/>
                    </a:lnTo>
                    <a:lnTo>
                      <a:pt x="6372" y="1036"/>
                    </a:lnTo>
                    <a:lnTo>
                      <a:pt x="6370" y="1035"/>
                    </a:lnTo>
                    <a:lnTo>
                      <a:pt x="6368" y="1031"/>
                    </a:lnTo>
                    <a:lnTo>
                      <a:pt x="6365" y="1025"/>
                    </a:lnTo>
                    <a:lnTo>
                      <a:pt x="6363" y="1009"/>
                    </a:lnTo>
                    <a:lnTo>
                      <a:pt x="6360" y="990"/>
                    </a:lnTo>
                    <a:lnTo>
                      <a:pt x="6358" y="981"/>
                    </a:lnTo>
                    <a:lnTo>
                      <a:pt x="6354" y="972"/>
                    </a:lnTo>
                    <a:lnTo>
                      <a:pt x="6351" y="963"/>
                    </a:lnTo>
                    <a:lnTo>
                      <a:pt x="6346" y="956"/>
                    </a:lnTo>
                    <a:lnTo>
                      <a:pt x="6340" y="949"/>
                    </a:lnTo>
                    <a:lnTo>
                      <a:pt x="6332" y="943"/>
                    </a:lnTo>
                    <a:lnTo>
                      <a:pt x="6328" y="941"/>
                    </a:lnTo>
                    <a:lnTo>
                      <a:pt x="6323" y="940"/>
                    </a:lnTo>
                    <a:lnTo>
                      <a:pt x="6317" y="939"/>
                    </a:lnTo>
                    <a:lnTo>
                      <a:pt x="6312" y="939"/>
                    </a:lnTo>
                    <a:lnTo>
                      <a:pt x="6392" y="889"/>
                    </a:lnTo>
                    <a:lnTo>
                      <a:pt x="6396" y="890"/>
                    </a:lnTo>
                    <a:lnTo>
                      <a:pt x="6399" y="894"/>
                    </a:lnTo>
                    <a:lnTo>
                      <a:pt x="6403" y="898"/>
                    </a:lnTo>
                    <a:lnTo>
                      <a:pt x="6405" y="902"/>
                    </a:lnTo>
                    <a:lnTo>
                      <a:pt x="6408" y="907"/>
                    </a:lnTo>
                    <a:lnTo>
                      <a:pt x="6413" y="911"/>
                    </a:lnTo>
                    <a:lnTo>
                      <a:pt x="6415" y="912"/>
                    </a:lnTo>
                    <a:lnTo>
                      <a:pt x="6418" y="913"/>
                    </a:lnTo>
                    <a:lnTo>
                      <a:pt x="6421" y="914"/>
                    </a:lnTo>
                    <a:lnTo>
                      <a:pt x="6425" y="914"/>
                    </a:lnTo>
                    <a:lnTo>
                      <a:pt x="6435" y="913"/>
                    </a:lnTo>
                    <a:lnTo>
                      <a:pt x="6446" y="910"/>
                    </a:lnTo>
                    <a:lnTo>
                      <a:pt x="6458" y="906"/>
                    </a:lnTo>
                    <a:lnTo>
                      <a:pt x="6470" y="901"/>
                    </a:lnTo>
                    <a:lnTo>
                      <a:pt x="6495" y="888"/>
                    </a:lnTo>
                    <a:lnTo>
                      <a:pt x="6525" y="877"/>
                    </a:lnTo>
                    <a:lnTo>
                      <a:pt x="6544" y="877"/>
                    </a:lnTo>
                    <a:lnTo>
                      <a:pt x="6547" y="885"/>
                    </a:lnTo>
                    <a:lnTo>
                      <a:pt x="6551" y="893"/>
                    </a:lnTo>
                    <a:lnTo>
                      <a:pt x="6556" y="899"/>
                    </a:lnTo>
                    <a:lnTo>
                      <a:pt x="6562" y="905"/>
                    </a:lnTo>
                    <a:lnTo>
                      <a:pt x="6576" y="915"/>
                    </a:lnTo>
                    <a:lnTo>
                      <a:pt x="6590" y="927"/>
                    </a:lnTo>
                    <a:lnTo>
                      <a:pt x="6596" y="906"/>
                    </a:lnTo>
                    <a:lnTo>
                      <a:pt x="6601" y="884"/>
                    </a:lnTo>
                    <a:lnTo>
                      <a:pt x="6605" y="873"/>
                    </a:lnTo>
                    <a:lnTo>
                      <a:pt x="6609" y="863"/>
                    </a:lnTo>
                    <a:lnTo>
                      <a:pt x="6614" y="854"/>
                    </a:lnTo>
                    <a:lnTo>
                      <a:pt x="6619" y="845"/>
                    </a:lnTo>
                    <a:lnTo>
                      <a:pt x="6626" y="835"/>
                    </a:lnTo>
                    <a:lnTo>
                      <a:pt x="6633" y="827"/>
                    </a:lnTo>
                    <a:lnTo>
                      <a:pt x="6642" y="821"/>
                    </a:lnTo>
                    <a:lnTo>
                      <a:pt x="6651" y="815"/>
                    </a:lnTo>
                    <a:lnTo>
                      <a:pt x="6662" y="810"/>
                    </a:lnTo>
                    <a:lnTo>
                      <a:pt x="6674" y="806"/>
                    </a:lnTo>
                    <a:lnTo>
                      <a:pt x="6688" y="804"/>
                    </a:lnTo>
                    <a:lnTo>
                      <a:pt x="6704" y="803"/>
                    </a:lnTo>
                    <a:lnTo>
                      <a:pt x="6701" y="799"/>
                    </a:lnTo>
                    <a:lnTo>
                      <a:pt x="6700" y="794"/>
                    </a:lnTo>
                    <a:lnTo>
                      <a:pt x="6700" y="790"/>
                    </a:lnTo>
                    <a:lnTo>
                      <a:pt x="6701" y="785"/>
                    </a:lnTo>
                    <a:lnTo>
                      <a:pt x="6702" y="775"/>
                    </a:lnTo>
                    <a:lnTo>
                      <a:pt x="6704" y="766"/>
                    </a:lnTo>
                    <a:lnTo>
                      <a:pt x="6709" y="770"/>
                    </a:lnTo>
                    <a:lnTo>
                      <a:pt x="6715" y="773"/>
                    </a:lnTo>
                    <a:lnTo>
                      <a:pt x="6721" y="775"/>
                    </a:lnTo>
                    <a:lnTo>
                      <a:pt x="6729" y="777"/>
                    </a:lnTo>
                    <a:lnTo>
                      <a:pt x="6744" y="778"/>
                    </a:lnTo>
                    <a:lnTo>
                      <a:pt x="6763" y="778"/>
                    </a:lnTo>
                    <a:lnTo>
                      <a:pt x="6774" y="781"/>
                    </a:lnTo>
                    <a:lnTo>
                      <a:pt x="6787" y="784"/>
                    </a:lnTo>
                    <a:lnTo>
                      <a:pt x="6795" y="785"/>
                    </a:lnTo>
                    <a:lnTo>
                      <a:pt x="6801" y="784"/>
                    </a:lnTo>
                    <a:lnTo>
                      <a:pt x="6809" y="783"/>
                    </a:lnTo>
                    <a:lnTo>
                      <a:pt x="6817" y="778"/>
                    </a:lnTo>
                    <a:lnTo>
                      <a:pt x="6813" y="767"/>
                    </a:lnTo>
                    <a:lnTo>
                      <a:pt x="6813" y="762"/>
                    </a:lnTo>
                    <a:lnTo>
                      <a:pt x="6816" y="757"/>
                    </a:lnTo>
                    <a:lnTo>
                      <a:pt x="6817" y="742"/>
                    </a:lnTo>
                    <a:lnTo>
                      <a:pt x="6790" y="738"/>
                    </a:lnTo>
                    <a:lnTo>
                      <a:pt x="6766" y="733"/>
                    </a:lnTo>
                    <a:lnTo>
                      <a:pt x="6743" y="727"/>
                    </a:lnTo>
                    <a:lnTo>
                      <a:pt x="6722" y="720"/>
                    </a:lnTo>
                    <a:lnTo>
                      <a:pt x="6685" y="706"/>
                    </a:lnTo>
                    <a:lnTo>
                      <a:pt x="6650" y="692"/>
                    </a:lnTo>
                    <a:lnTo>
                      <a:pt x="6632" y="685"/>
                    </a:lnTo>
                    <a:lnTo>
                      <a:pt x="6616" y="678"/>
                    </a:lnTo>
                    <a:lnTo>
                      <a:pt x="6598" y="672"/>
                    </a:lnTo>
                    <a:lnTo>
                      <a:pt x="6579" y="666"/>
                    </a:lnTo>
                    <a:lnTo>
                      <a:pt x="6561" y="662"/>
                    </a:lnTo>
                    <a:lnTo>
                      <a:pt x="6541" y="658"/>
                    </a:lnTo>
                    <a:lnTo>
                      <a:pt x="6520" y="656"/>
                    </a:lnTo>
                    <a:lnTo>
                      <a:pt x="6497" y="655"/>
                    </a:lnTo>
                    <a:lnTo>
                      <a:pt x="6543" y="659"/>
                    </a:lnTo>
                    <a:lnTo>
                      <a:pt x="6582" y="663"/>
                    </a:lnTo>
                    <a:lnTo>
                      <a:pt x="6592" y="663"/>
                    </a:lnTo>
                    <a:lnTo>
                      <a:pt x="6600" y="663"/>
                    </a:lnTo>
                    <a:lnTo>
                      <a:pt x="6610" y="662"/>
                    </a:lnTo>
                    <a:lnTo>
                      <a:pt x="6619" y="660"/>
                    </a:lnTo>
                    <a:lnTo>
                      <a:pt x="6628" y="658"/>
                    </a:lnTo>
                    <a:lnTo>
                      <a:pt x="6638" y="654"/>
                    </a:lnTo>
                    <a:lnTo>
                      <a:pt x="6648" y="649"/>
                    </a:lnTo>
                    <a:lnTo>
                      <a:pt x="6657" y="643"/>
                    </a:lnTo>
                    <a:lnTo>
                      <a:pt x="6653" y="637"/>
                    </a:lnTo>
                    <a:lnTo>
                      <a:pt x="6649" y="632"/>
                    </a:lnTo>
                    <a:lnTo>
                      <a:pt x="6644" y="627"/>
                    </a:lnTo>
                    <a:lnTo>
                      <a:pt x="6639" y="624"/>
                    </a:lnTo>
                    <a:lnTo>
                      <a:pt x="6628" y="618"/>
                    </a:lnTo>
                    <a:lnTo>
                      <a:pt x="6616" y="612"/>
                    </a:lnTo>
                    <a:lnTo>
                      <a:pt x="6605" y="607"/>
                    </a:lnTo>
                    <a:lnTo>
                      <a:pt x="6593" y="601"/>
                    </a:lnTo>
                    <a:lnTo>
                      <a:pt x="6587" y="598"/>
                    </a:lnTo>
                    <a:lnTo>
                      <a:pt x="6581" y="593"/>
                    </a:lnTo>
                    <a:lnTo>
                      <a:pt x="6576" y="588"/>
                    </a:lnTo>
                    <a:lnTo>
                      <a:pt x="6571" y="582"/>
                    </a:lnTo>
                    <a:lnTo>
                      <a:pt x="6597" y="582"/>
                    </a:lnTo>
                    <a:lnTo>
                      <a:pt x="6600" y="587"/>
                    </a:lnTo>
                    <a:lnTo>
                      <a:pt x="6605" y="592"/>
                    </a:lnTo>
                    <a:lnTo>
                      <a:pt x="6610" y="599"/>
                    </a:lnTo>
                    <a:lnTo>
                      <a:pt x="6617" y="604"/>
                    </a:lnTo>
                    <a:lnTo>
                      <a:pt x="6626" y="610"/>
                    </a:lnTo>
                    <a:lnTo>
                      <a:pt x="6634" y="615"/>
                    </a:lnTo>
                    <a:lnTo>
                      <a:pt x="6640" y="617"/>
                    </a:lnTo>
                    <a:lnTo>
                      <a:pt x="6645" y="618"/>
                    </a:lnTo>
                    <a:lnTo>
                      <a:pt x="6651" y="619"/>
                    </a:lnTo>
                    <a:lnTo>
                      <a:pt x="6657" y="619"/>
                    </a:lnTo>
                    <a:lnTo>
                      <a:pt x="6665" y="618"/>
                    </a:lnTo>
                    <a:lnTo>
                      <a:pt x="6670" y="617"/>
                    </a:lnTo>
                    <a:lnTo>
                      <a:pt x="6673" y="615"/>
                    </a:lnTo>
                    <a:lnTo>
                      <a:pt x="6675" y="612"/>
                    </a:lnTo>
                    <a:lnTo>
                      <a:pt x="6678" y="610"/>
                    </a:lnTo>
                    <a:lnTo>
                      <a:pt x="6683" y="608"/>
                    </a:lnTo>
                    <a:lnTo>
                      <a:pt x="6691" y="606"/>
                    </a:lnTo>
                    <a:lnTo>
                      <a:pt x="6704" y="606"/>
                    </a:lnTo>
                    <a:lnTo>
                      <a:pt x="6718" y="606"/>
                    </a:lnTo>
                    <a:lnTo>
                      <a:pt x="6730" y="607"/>
                    </a:lnTo>
                    <a:lnTo>
                      <a:pt x="6742" y="609"/>
                    </a:lnTo>
                    <a:lnTo>
                      <a:pt x="6752" y="612"/>
                    </a:lnTo>
                    <a:lnTo>
                      <a:pt x="6762" y="616"/>
                    </a:lnTo>
                    <a:lnTo>
                      <a:pt x="6771" y="619"/>
                    </a:lnTo>
                    <a:lnTo>
                      <a:pt x="6778" y="623"/>
                    </a:lnTo>
                    <a:lnTo>
                      <a:pt x="6786" y="627"/>
                    </a:lnTo>
                    <a:lnTo>
                      <a:pt x="6799" y="636"/>
                    </a:lnTo>
                    <a:lnTo>
                      <a:pt x="6812" y="645"/>
                    </a:lnTo>
                    <a:lnTo>
                      <a:pt x="6827" y="654"/>
                    </a:lnTo>
                    <a:lnTo>
                      <a:pt x="6843" y="661"/>
                    </a:lnTo>
                    <a:lnTo>
                      <a:pt x="6943" y="661"/>
                    </a:lnTo>
                    <a:lnTo>
                      <a:pt x="6945" y="667"/>
                    </a:lnTo>
                    <a:lnTo>
                      <a:pt x="6950" y="673"/>
                    </a:lnTo>
                    <a:lnTo>
                      <a:pt x="6955" y="676"/>
                    </a:lnTo>
                    <a:lnTo>
                      <a:pt x="6961" y="678"/>
                    </a:lnTo>
                    <a:lnTo>
                      <a:pt x="6971" y="680"/>
                    </a:lnTo>
                    <a:lnTo>
                      <a:pt x="6982" y="680"/>
                    </a:lnTo>
                    <a:lnTo>
                      <a:pt x="6989" y="680"/>
                    </a:lnTo>
                    <a:lnTo>
                      <a:pt x="7006" y="680"/>
                    </a:lnTo>
                    <a:lnTo>
                      <a:pt x="7027" y="678"/>
                    </a:lnTo>
                    <a:lnTo>
                      <a:pt x="7049" y="674"/>
                    </a:lnTo>
                    <a:lnTo>
                      <a:pt x="7031" y="668"/>
                    </a:lnTo>
                    <a:lnTo>
                      <a:pt x="7011" y="659"/>
                    </a:lnTo>
                    <a:lnTo>
                      <a:pt x="7002" y="654"/>
                    </a:lnTo>
                    <a:lnTo>
                      <a:pt x="6996" y="647"/>
                    </a:lnTo>
                    <a:lnTo>
                      <a:pt x="6993" y="644"/>
                    </a:lnTo>
                    <a:lnTo>
                      <a:pt x="6991" y="640"/>
                    </a:lnTo>
                    <a:lnTo>
                      <a:pt x="6989" y="636"/>
                    </a:lnTo>
                    <a:lnTo>
                      <a:pt x="6989" y="631"/>
                    </a:lnTo>
                    <a:lnTo>
                      <a:pt x="6990" y="621"/>
                    </a:lnTo>
                    <a:lnTo>
                      <a:pt x="6991" y="614"/>
                    </a:lnTo>
                    <a:lnTo>
                      <a:pt x="6992" y="608"/>
                    </a:lnTo>
                    <a:lnTo>
                      <a:pt x="6992" y="602"/>
                    </a:lnTo>
                    <a:lnTo>
                      <a:pt x="6991" y="593"/>
                    </a:lnTo>
                    <a:lnTo>
                      <a:pt x="6989" y="582"/>
                    </a:lnTo>
                    <a:lnTo>
                      <a:pt x="6975" y="581"/>
                    </a:lnTo>
                    <a:lnTo>
                      <a:pt x="6961" y="579"/>
                    </a:lnTo>
                    <a:lnTo>
                      <a:pt x="6947" y="577"/>
                    </a:lnTo>
                    <a:lnTo>
                      <a:pt x="6934" y="573"/>
                    </a:lnTo>
                    <a:lnTo>
                      <a:pt x="6910" y="564"/>
                    </a:lnTo>
                    <a:lnTo>
                      <a:pt x="6886" y="553"/>
                    </a:lnTo>
                    <a:lnTo>
                      <a:pt x="6861" y="543"/>
                    </a:lnTo>
                    <a:lnTo>
                      <a:pt x="6835" y="535"/>
                    </a:lnTo>
                    <a:lnTo>
                      <a:pt x="6821" y="531"/>
                    </a:lnTo>
                    <a:lnTo>
                      <a:pt x="6807" y="529"/>
                    </a:lnTo>
                    <a:lnTo>
                      <a:pt x="6793" y="527"/>
                    </a:lnTo>
                    <a:lnTo>
                      <a:pt x="6776" y="526"/>
                    </a:lnTo>
                    <a:lnTo>
                      <a:pt x="6769" y="527"/>
                    </a:lnTo>
                    <a:lnTo>
                      <a:pt x="6761" y="531"/>
                    </a:lnTo>
                    <a:lnTo>
                      <a:pt x="6756" y="533"/>
                    </a:lnTo>
                    <a:lnTo>
                      <a:pt x="6753" y="536"/>
                    </a:lnTo>
                    <a:lnTo>
                      <a:pt x="6751" y="540"/>
                    </a:lnTo>
                    <a:lnTo>
                      <a:pt x="6750" y="544"/>
                    </a:lnTo>
                    <a:lnTo>
                      <a:pt x="6751" y="547"/>
                    </a:lnTo>
                    <a:lnTo>
                      <a:pt x="6752" y="548"/>
                    </a:lnTo>
                    <a:lnTo>
                      <a:pt x="6754" y="550"/>
                    </a:lnTo>
                    <a:lnTo>
                      <a:pt x="6757" y="552"/>
                    </a:lnTo>
                    <a:lnTo>
                      <a:pt x="6765" y="555"/>
                    </a:lnTo>
                    <a:lnTo>
                      <a:pt x="6775" y="559"/>
                    </a:lnTo>
                    <a:lnTo>
                      <a:pt x="6785" y="563"/>
                    </a:lnTo>
                    <a:lnTo>
                      <a:pt x="6795" y="567"/>
                    </a:lnTo>
                    <a:lnTo>
                      <a:pt x="6799" y="570"/>
                    </a:lnTo>
                    <a:lnTo>
                      <a:pt x="6803" y="574"/>
                    </a:lnTo>
                    <a:lnTo>
                      <a:pt x="6807" y="577"/>
                    </a:lnTo>
                    <a:lnTo>
                      <a:pt x="6810" y="582"/>
                    </a:lnTo>
                    <a:lnTo>
                      <a:pt x="6778" y="567"/>
                    </a:lnTo>
                    <a:lnTo>
                      <a:pt x="6751" y="552"/>
                    </a:lnTo>
                    <a:lnTo>
                      <a:pt x="6728" y="539"/>
                    </a:lnTo>
                    <a:lnTo>
                      <a:pt x="6706" y="528"/>
                    </a:lnTo>
                    <a:lnTo>
                      <a:pt x="6684" y="517"/>
                    </a:lnTo>
                    <a:lnTo>
                      <a:pt x="6660" y="506"/>
                    </a:lnTo>
                    <a:lnTo>
                      <a:pt x="6631" y="494"/>
                    </a:lnTo>
                    <a:lnTo>
                      <a:pt x="6597" y="483"/>
                    </a:lnTo>
                    <a:lnTo>
                      <a:pt x="6573" y="477"/>
                    </a:lnTo>
                    <a:lnTo>
                      <a:pt x="6548" y="471"/>
                    </a:lnTo>
                    <a:lnTo>
                      <a:pt x="6525" y="466"/>
                    </a:lnTo>
                    <a:lnTo>
                      <a:pt x="6500" y="462"/>
                    </a:lnTo>
                    <a:lnTo>
                      <a:pt x="6454" y="455"/>
                    </a:lnTo>
                    <a:lnTo>
                      <a:pt x="6408" y="450"/>
                    </a:lnTo>
                    <a:lnTo>
                      <a:pt x="6363" y="443"/>
                    </a:lnTo>
                    <a:lnTo>
                      <a:pt x="6318" y="436"/>
                    </a:lnTo>
                    <a:lnTo>
                      <a:pt x="6295" y="432"/>
                    </a:lnTo>
                    <a:lnTo>
                      <a:pt x="6272" y="427"/>
                    </a:lnTo>
                    <a:lnTo>
                      <a:pt x="6249" y="422"/>
                    </a:lnTo>
                    <a:lnTo>
                      <a:pt x="6225" y="415"/>
                    </a:lnTo>
                    <a:lnTo>
                      <a:pt x="6146" y="415"/>
                    </a:lnTo>
                    <a:lnTo>
                      <a:pt x="6133" y="407"/>
                    </a:lnTo>
                    <a:lnTo>
                      <a:pt x="6121" y="402"/>
                    </a:lnTo>
                    <a:lnTo>
                      <a:pt x="6114" y="400"/>
                    </a:lnTo>
                    <a:lnTo>
                      <a:pt x="6106" y="398"/>
                    </a:lnTo>
                    <a:lnTo>
                      <a:pt x="6096" y="397"/>
                    </a:lnTo>
                    <a:lnTo>
                      <a:pt x="6085" y="397"/>
                    </a:lnTo>
                    <a:lnTo>
                      <a:pt x="6071" y="398"/>
                    </a:lnTo>
                    <a:lnTo>
                      <a:pt x="6058" y="400"/>
                    </a:lnTo>
                    <a:lnTo>
                      <a:pt x="6045" y="403"/>
                    </a:lnTo>
                    <a:lnTo>
                      <a:pt x="6033" y="406"/>
                    </a:lnTo>
                    <a:lnTo>
                      <a:pt x="6020" y="410"/>
                    </a:lnTo>
                    <a:lnTo>
                      <a:pt x="6007" y="412"/>
                    </a:lnTo>
                    <a:lnTo>
                      <a:pt x="5993" y="415"/>
                    </a:lnTo>
                    <a:lnTo>
                      <a:pt x="5979" y="415"/>
                    </a:lnTo>
                    <a:lnTo>
                      <a:pt x="5971" y="415"/>
                    </a:lnTo>
                    <a:lnTo>
                      <a:pt x="5960" y="412"/>
                    </a:lnTo>
                    <a:lnTo>
                      <a:pt x="5945" y="409"/>
                    </a:lnTo>
                    <a:lnTo>
                      <a:pt x="5929" y="405"/>
                    </a:lnTo>
                    <a:lnTo>
                      <a:pt x="5913" y="400"/>
                    </a:lnTo>
                    <a:lnTo>
                      <a:pt x="5899" y="395"/>
                    </a:lnTo>
                    <a:lnTo>
                      <a:pt x="5887" y="389"/>
                    </a:lnTo>
                    <a:lnTo>
                      <a:pt x="5880" y="384"/>
                    </a:lnTo>
                    <a:lnTo>
                      <a:pt x="5833" y="384"/>
                    </a:lnTo>
                    <a:lnTo>
                      <a:pt x="5835" y="394"/>
                    </a:lnTo>
                    <a:lnTo>
                      <a:pt x="5838" y="402"/>
                    </a:lnTo>
                    <a:lnTo>
                      <a:pt x="5843" y="410"/>
                    </a:lnTo>
                    <a:lnTo>
                      <a:pt x="5847" y="417"/>
                    </a:lnTo>
                    <a:lnTo>
                      <a:pt x="5853" y="423"/>
                    </a:lnTo>
                    <a:lnTo>
                      <a:pt x="5859" y="429"/>
                    </a:lnTo>
                    <a:lnTo>
                      <a:pt x="5866" y="435"/>
                    </a:lnTo>
                    <a:lnTo>
                      <a:pt x="5872" y="439"/>
                    </a:lnTo>
                    <a:lnTo>
                      <a:pt x="5895" y="454"/>
                    </a:lnTo>
                    <a:lnTo>
                      <a:pt x="5906" y="459"/>
                    </a:lnTo>
                    <a:lnTo>
                      <a:pt x="5883" y="448"/>
                    </a:lnTo>
                    <a:lnTo>
                      <a:pt x="5860" y="435"/>
                    </a:lnTo>
                    <a:lnTo>
                      <a:pt x="5848" y="430"/>
                    </a:lnTo>
                    <a:lnTo>
                      <a:pt x="5834" y="425"/>
                    </a:lnTo>
                    <a:lnTo>
                      <a:pt x="5826" y="424"/>
                    </a:lnTo>
                    <a:lnTo>
                      <a:pt x="5819" y="422"/>
                    </a:lnTo>
                    <a:lnTo>
                      <a:pt x="5810" y="422"/>
                    </a:lnTo>
                    <a:lnTo>
                      <a:pt x="5800" y="421"/>
                    </a:lnTo>
                    <a:lnTo>
                      <a:pt x="5804" y="417"/>
                    </a:lnTo>
                    <a:lnTo>
                      <a:pt x="5807" y="412"/>
                    </a:lnTo>
                    <a:lnTo>
                      <a:pt x="5809" y="405"/>
                    </a:lnTo>
                    <a:lnTo>
                      <a:pt x="5813" y="397"/>
                    </a:lnTo>
                    <a:lnTo>
                      <a:pt x="5796" y="397"/>
                    </a:lnTo>
                    <a:lnTo>
                      <a:pt x="5781" y="396"/>
                    </a:lnTo>
                    <a:lnTo>
                      <a:pt x="5767" y="395"/>
                    </a:lnTo>
                    <a:lnTo>
                      <a:pt x="5754" y="390"/>
                    </a:lnTo>
                    <a:lnTo>
                      <a:pt x="5753" y="395"/>
                    </a:lnTo>
                    <a:lnTo>
                      <a:pt x="5752" y="399"/>
                    </a:lnTo>
                    <a:lnTo>
                      <a:pt x="5751" y="402"/>
                    </a:lnTo>
                    <a:lnTo>
                      <a:pt x="5748" y="405"/>
                    </a:lnTo>
                    <a:lnTo>
                      <a:pt x="5745" y="407"/>
                    </a:lnTo>
                    <a:lnTo>
                      <a:pt x="5742" y="409"/>
                    </a:lnTo>
                    <a:lnTo>
                      <a:pt x="5737" y="411"/>
                    </a:lnTo>
                    <a:lnTo>
                      <a:pt x="5733" y="412"/>
                    </a:lnTo>
                    <a:lnTo>
                      <a:pt x="5724" y="414"/>
                    </a:lnTo>
                    <a:lnTo>
                      <a:pt x="5714" y="415"/>
                    </a:lnTo>
                    <a:lnTo>
                      <a:pt x="5703" y="415"/>
                    </a:lnTo>
                    <a:lnTo>
                      <a:pt x="5693" y="415"/>
                    </a:lnTo>
                    <a:lnTo>
                      <a:pt x="5667" y="415"/>
                    </a:lnTo>
                    <a:lnTo>
                      <a:pt x="5643" y="413"/>
                    </a:lnTo>
                    <a:lnTo>
                      <a:pt x="5621" y="411"/>
                    </a:lnTo>
                    <a:lnTo>
                      <a:pt x="5599" y="409"/>
                    </a:lnTo>
                    <a:lnTo>
                      <a:pt x="5578" y="407"/>
                    </a:lnTo>
                    <a:lnTo>
                      <a:pt x="5557" y="408"/>
                    </a:lnTo>
                    <a:lnTo>
                      <a:pt x="5546" y="409"/>
                    </a:lnTo>
                    <a:lnTo>
                      <a:pt x="5536" y="410"/>
                    </a:lnTo>
                    <a:lnTo>
                      <a:pt x="5525" y="412"/>
                    </a:lnTo>
                    <a:lnTo>
                      <a:pt x="5514" y="415"/>
                    </a:lnTo>
                    <a:lnTo>
                      <a:pt x="5528" y="430"/>
                    </a:lnTo>
                    <a:lnTo>
                      <a:pt x="5539" y="439"/>
                    </a:lnTo>
                    <a:lnTo>
                      <a:pt x="5551" y="450"/>
                    </a:lnTo>
                    <a:lnTo>
                      <a:pt x="5567" y="465"/>
                    </a:lnTo>
                    <a:lnTo>
                      <a:pt x="5531" y="450"/>
                    </a:lnTo>
                    <a:lnTo>
                      <a:pt x="5497" y="437"/>
                    </a:lnTo>
                    <a:lnTo>
                      <a:pt x="5465" y="426"/>
                    </a:lnTo>
                    <a:lnTo>
                      <a:pt x="5433" y="414"/>
                    </a:lnTo>
                    <a:lnTo>
                      <a:pt x="5419" y="407"/>
                    </a:lnTo>
                    <a:lnTo>
                      <a:pt x="5404" y="400"/>
                    </a:lnTo>
                    <a:lnTo>
                      <a:pt x="5388" y="392"/>
                    </a:lnTo>
                    <a:lnTo>
                      <a:pt x="5374" y="383"/>
                    </a:lnTo>
                    <a:lnTo>
                      <a:pt x="5360" y="373"/>
                    </a:lnTo>
                    <a:lnTo>
                      <a:pt x="5344" y="362"/>
                    </a:lnTo>
                    <a:lnTo>
                      <a:pt x="5330" y="350"/>
                    </a:lnTo>
                    <a:lnTo>
                      <a:pt x="5315" y="336"/>
                    </a:lnTo>
                    <a:lnTo>
                      <a:pt x="5109" y="336"/>
                    </a:lnTo>
                    <a:lnTo>
                      <a:pt x="5104" y="337"/>
                    </a:lnTo>
                    <a:lnTo>
                      <a:pt x="5099" y="339"/>
                    </a:lnTo>
                    <a:lnTo>
                      <a:pt x="5094" y="343"/>
                    </a:lnTo>
                    <a:lnTo>
                      <a:pt x="5090" y="348"/>
                    </a:lnTo>
                    <a:lnTo>
                      <a:pt x="5009" y="354"/>
                    </a:lnTo>
                    <a:lnTo>
                      <a:pt x="5003" y="353"/>
                    </a:lnTo>
                    <a:lnTo>
                      <a:pt x="4996" y="353"/>
                    </a:lnTo>
                    <a:lnTo>
                      <a:pt x="4991" y="351"/>
                    </a:lnTo>
                    <a:lnTo>
                      <a:pt x="4986" y="349"/>
                    </a:lnTo>
                    <a:lnTo>
                      <a:pt x="4979" y="344"/>
                    </a:lnTo>
                    <a:lnTo>
                      <a:pt x="4972" y="339"/>
                    </a:lnTo>
                    <a:lnTo>
                      <a:pt x="4964" y="332"/>
                    </a:lnTo>
                    <a:lnTo>
                      <a:pt x="4956" y="327"/>
                    </a:lnTo>
                    <a:lnTo>
                      <a:pt x="4951" y="325"/>
                    </a:lnTo>
                    <a:lnTo>
                      <a:pt x="4945" y="324"/>
                    </a:lnTo>
                    <a:lnTo>
                      <a:pt x="4938" y="323"/>
                    </a:lnTo>
                    <a:lnTo>
                      <a:pt x="4929" y="323"/>
                    </a:lnTo>
                    <a:lnTo>
                      <a:pt x="4924" y="323"/>
                    </a:lnTo>
                    <a:lnTo>
                      <a:pt x="4918" y="324"/>
                    </a:lnTo>
                    <a:lnTo>
                      <a:pt x="4916" y="326"/>
                    </a:lnTo>
                    <a:lnTo>
                      <a:pt x="4913" y="329"/>
                    </a:lnTo>
                    <a:lnTo>
                      <a:pt x="4911" y="331"/>
                    </a:lnTo>
                    <a:lnTo>
                      <a:pt x="4907" y="333"/>
                    </a:lnTo>
                    <a:lnTo>
                      <a:pt x="4903" y="334"/>
                    </a:lnTo>
                    <a:lnTo>
                      <a:pt x="4896" y="336"/>
                    </a:lnTo>
                    <a:lnTo>
                      <a:pt x="4884" y="334"/>
                    </a:lnTo>
                    <a:lnTo>
                      <a:pt x="4873" y="332"/>
                    </a:lnTo>
                    <a:lnTo>
                      <a:pt x="4863" y="328"/>
                    </a:lnTo>
                    <a:lnTo>
                      <a:pt x="4853" y="324"/>
                    </a:lnTo>
                    <a:lnTo>
                      <a:pt x="4836" y="314"/>
                    </a:lnTo>
                    <a:lnTo>
                      <a:pt x="4816" y="304"/>
                    </a:lnTo>
                    <a:lnTo>
                      <a:pt x="4830" y="292"/>
                    </a:lnTo>
                    <a:lnTo>
                      <a:pt x="4826" y="290"/>
                    </a:lnTo>
                    <a:lnTo>
                      <a:pt x="4816" y="286"/>
                    </a:lnTo>
                    <a:lnTo>
                      <a:pt x="4808" y="284"/>
                    </a:lnTo>
                    <a:lnTo>
                      <a:pt x="4799" y="282"/>
                    </a:lnTo>
                    <a:lnTo>
                      <a:pt x="4789" y="281"/>
                    </a:lnTo>
                    <a:lnTo>
                      <a:pt x="4777" y="279"/>
                    </a:lnTo>
                    <a:lnTo>
                      <a:pt x="4766" y="281"/>
                    </a:lnTo>
                    <a:lnTo>
                      <a:pt x="4757" y="281"/>
                    </a:lnTo>
                    <a:lnTo>
                      <a:pt x="4748" y="283"/>
                    </a:lnTo>
                    <a:lnTo>
                      <a:pt x="4740" y="285"/>
                    </a:lnTo>
                    <a:lnTo>
                      <a:pt x="4728" y="290"/>
                    </a:lnTo>
                    <a:lnTo>
                      <a:pt x="4717" y="295"/>
                    </a:lnTo>
                    <a:lnTo>
                      <a:pt x="4710" y="301"/>
                    </a:lnTo>
                    <a:lnTo>
                      <a:pt x="4701" y="306"/>
                    </a:lnTo>
                    <a:lnTo>
                      <a:pt x="4698" y="308"/>
                    </a:lnTo>
                    <a:lnTo>
                      <a:pt x="4693" y="309"/>
                    </a:lnTo>
                    <a:lnTo>
                      <a:pt x="4689" y="310"/>
                    </a:lnTo>
                    <a:lnTo>
                      <a:pt x="4683" y="310"/>
                    </a:lnTo>
                    <a:lnTo>
                      <a:pt x="4670" y="310"/>
                    </a:lnTo>
                    <a:lnTo>
                      <a:pt x="4657" y="310"/>
                    </a:lnTo>
                    <a:lnTo>
                      <a:pt x="4657" y="279"/>
                    </a:lnTo>
                    <a:lnTo>
                      <a:pt x="4650" y="275"/>
                    </a:lnTo>
                    <a:lnTo>
                      <a:pt x="4644" y="272"/>
                    </a:lnTo>
                    <a:lnTo>
                      <a:pt x="4638" y="271"/>
                    </a:lnTo>
                    <a:lnTo>
                      <a:pt x="4633" y="270"/>
                    </a:lnTo>
                    <a:lnTo>
                      <a:pt x="4627" y="271"/>
                    </a:lnTo>
                    <a:lnTo>
                      <a:pt x="4621" y="272"/>
                    </a:lnTo>
                    <a:lnTo>
                      <a:pt x="4613" y="275"/>
                    </a:lnTo>
                    <a:lnTo>
                      <a:pt x="4604" y="279"/>
                    </a:lnTo>
                    <a:lnTo>
                      <a:pt x="4603" y="277"/>
                    </a:lnTo>
                    <a:lnTo>
                      <a:pt x="4601" y="275"/>
                    </a:lnTo>
                    <a:lnTo>
                      <a:pt x="4599" y="273"/>
                    </a:lnTo>
                    <a:lnTo>
                      <a:pt x="4597" y="272"/>
                    </a:lnTo>
                    <a:lnTo>
                      <a:pt x="4589" y="270"/>
                    </a:lnTo>
                    <a:lnTo>
                      <a:pt x="4579" y="268"/>
                    </a:lnTo>
                    <a:lnTo>
                      <a:pt x="4557" y="267"/>
                    </a:lnTo>
                    <a:lnTo>
                      <a:pt x="4532" y="267"/>
                    </a:lnTo>
                    <a:lnTo>
                      <a:pt x="4486" y="271"/>
                    </a:lnTo>
                    <a:lnTo>
                      <a:pt x="4465" y="273"/>
                    </a:lnTo>
                    <a:lnTo>
                      <a:pt x="4398" y="273"/>
                    </a:lnTo>
                    <a:lnTo>
                      <a:pt x="4399" y="276"/>
                    </a:lnTo>
                    <a:lnTo>
                      <a:pt x="4400" y="279"/>
                    </a:lnTo>
                    <a:lnTo>
                      <a:pt x="4402" y="283"/>
                    </a:lnTo>
                    <a:lnTo>
                      <a:pt x="4405" y="285"/>
                    </a:lnTo>
                    <a:lnTo>
                      <a:pt x="4409" y="288"/>
                    </a:lnTo>
                    <a:lnTo>
                      <a:pt x="4412" y="290"/>
                    </a:lnTo>
                    <a:lnTo>
                      <a:pt x="4415" y="292"/>
                    </a:lnTo>
                    <a:lnTo>
                      <a:pt x="4418" y="292"/>
                    </a:lnTo>
                    <a:lnTo>
                      <a:pt x="4420" y="299"/>
                    </a:lnTo>
                    <a:lnTo>
                      <a:pt x="4425" y="307"/>
                    </a:lnTo>
                    <a:lnTo>
                      <a:pt x="4432" y="316"/>
                    </a:lnTo>
                    <a:lnTo>
                      <a:pt x="4438" y="323"/>
                    </a:lnTo>
                    <a:lnTo>
                      <a:pt x="4429" y="323"/>
                    </a:lnTo>
                    <a:lnTo>
                      <a:pt x="4420" y="324"/>
                    </a:lnTo>
                    <a:lnTo>
                      <a:pt x="4412" y="326"/>
                    </a:lnTo>
                    <a:lnTo>
                      <a:pt x="4403" y="329"/>
                    </a:lnTo>
                    <a:lnTo>
                      <a:pt x="4394" y="331"/>
                    </a:lnTo>
                    <a:lnTo>
                      <a:pt x="4383" y="333"/>
                    </a:lnTo>
                    <a:lnTo>
                      <a:pt x="4373" y="334"/>
                    </a:lnTo>
                    <a:lnTo>
                      <a:pt x="4358" y="336"/>
                    </a:lnTo>
                    <a:lnTo>
                      <a:pt x="4337" y="334"/>
                    </a:lnTo>
                    <a:lnTo>
                      <a:pt x="4317" y="331"/>
                    </a:lnTo>
                    <a:lnTo>
                      <a:pt x="4295" y="327"/>
                    </a:lnTo>
                    <a:lnTo>
                      <a:pt x="4272" y="323"/>
                    </a:lnTo>
                    <a:lnTo>
                      <a:pt x="4250" y="318"/>
                    </a:lnTo>
                    <a:lnTo>
                      <a:pt x="4228" y="314"/>
                    </a:lnTo>
                    <a:lnTo>
                      <a:pt x="4206" y="311"/>
                    </a:lnTo>
                    <a:lnTo>
                      <a:pt x="4186" y="310"/>
                    </a:lnTo>
                    <a:lnTo>
                      <a:pt x="4176" y="310"/>
                    </a:lnTo>
                    <a:lnTo>
                      <a:pt x="4166" y="310"/>
                    </a:lnTo>
                    <a:lnTo>
                      <a:pt x="4166" y="348"/>
                    </a:lnTo>
                    <a:lnTo>
                      <a:pt x="4139" y="348"/>
                    </a:lnTo>
                    <a:lnTo>
                      <a:pt x="4131" y="345"/>
                    </a:lnTo>
                    <a:lnTo>
                      <a:pt x="4122" y="342"/>
                    </a:lnTo>
                    <a:lnTo>
                      <a:pt x="4113" y="340"/>
                    </a:lnTo>
                    <a:lnTo>
                      <a:pt x="4102" y="338"/>
                    </a:lnTo>
                    <a:lnTo>
                      <a:pt x="4082" y="333"/>
                    </a:lnTo>
                    <a:lnTo>
                      <a:pt x="4060" y="330"/>
                    </a:lnTo>
                    <a:lnTo>
                      <a:pt x="4039" y="326"/>
                    </a:lnTo>
                    <a:lnTo>
                      <a:pt x="4019" y="321"/>
                    </a:lnTo>
                    <a:lnTo>
                      <a:pt x="4009" y="318"/>
                    </a:lnTo>
                    <a:lnTo>
                      <a:pt x="4000" y="314"/>
                    </a:lnTo>
                    <a:lnTo>
                      <a:pt x="3993" y="310"/>
                    </a:lnTo>
                    <a:lnTo>
                      <a:pt x="3986" y="304"/>
                    </a:lnTo>
                    <a:lnTo>
                      <a:pt x="3946" y="304"/>
                    </a:lnTo>
                    <a:lnTo>
                      <a:pt x="3953" y="317"/>
                    </a:lnTo>
                    <a:lnTo>
                      <a:pt x="3960" y="329"/>
                    </a:lnTo>
                    <a:lnTo>
                      <a:pt x="3941" y="318"/>
                    </a:lnTo>
                    <a:lnTo>
                      <a:pt x="3920" y="305"/>
                    </a:lnTo>
                    <a:lnTo>
                      <a:pt x="3898" y="294"/>
                    </a:lnTo>
                    <a:lnTo>
                      <a:pt x="3880" y="286"/>
                    </a:lnTo>
                    <a:lnTo>
                      <a:pt x="3820" y="286"/>
                    </a:lnTo>
                    <a:lnTo>
                      <a:pt x="3820" y="287"/>
                    </a:lnTo>
                    <a:lnTo>
                      <a:pt x="3819" y="288"/>
                    </a:lnTo>
                    <a:lnTo>
                      <a:pt x="3818" y="288"/>
                    </a:lnTo>
                    <a:lnTo>
                      <a:pt x="3816" y="287"/>
                    </a:lnTo>
                    <a:lnTo>
                      <a:pt x="3809" y="286"/>
                    </a:lnTo>
                    <a:lnTo>
                      <a:pt x="3800" y="283"/>
                    </a:lnTo>
                    <a:lnTo>
                      <a:pt x="3777" y="274"/>
                    </a:lnTo>
                    <a:lnTo>
                      <a:pt x="3752" y="265"/>
                    </a:lnTo>
                    <a:lnTo>
                      <a:pt x="3727" y="256"/>
                    </a:lnTo>
                    <a:lnTo>
                      <a:pt x="3706" y="249"/>
                    </a:lnTo>
                    <a:lnTo>
                      <a:pt x="3698" y="247"/>
                    </a:lnTo>
                    <a:lnTo>
                      <a:pt x="3694" y="246"/>
                    </a:lnTo>
                    <a:lnTo>
                      <a:pt x="3693" y="246"/>
                    </a:lnTo>
                    <a:lnTo>
                      <a:pt x="3692" y="247"/>
                    </a:lnTo>
                    <a:lnTo>
                      <a:pt x="3693" y="248"/>
                    </a:lnTo>
                    <a:lnTo>
                      <a:pt x="3694" y="249"/>
                    </a:lnTo>
                    <a:lnTo>
                      <a:pt x="3677" y="249"/>
                    </a:lnTo>
                    <a:lnTo>
                      <a:pt x="3663" y="251"/>
                    </a:lnTo>
                    <a:lnTo>
                      <a:pt x="3650" y="253"/>
                    </a:lnTo>
                    <a:lnTo>
                      <a:pt x="3637" y="255"/>
                    </a:lnTo>
                    <a:lnTo>
                      <a:pt x="3624" y="257"/>
                    </a:lnTo>
                    <a:lnTo>
                      <a:pt x="3608" y="259"/>
                    </a:lnTo>
                    <a:lnTo>
                      <a:pt x="3593" y="261"/>
                    </a:lnTo>
                    <a:lnTo>
                      <a:pt x="3574" y="261"/>
                    </a:lnTo>
                    <a:lnTo>
                      <a:pt x="3559" y="261"/>
                    </a:lnTo>
                    <a:lnTo>
                      <a:pt x="3544" y="260"/>
                    </a:lnTo>
                    <a:lnTo>
                      <a:pt x="3528" y="258"/>
                    </a:lnTo>
                    <a:lnTo>
                      <a:pt x="3515" y="256"/>
                    </a:lnTo>
                    <a:lnTo>
                      <a:pt x="3488" y="252"/>
                    </a:lnTo>
                    <a:lnTo>
                      <a:pt x="3461" y="246"/>
                    </a:lnTo>
                    <a:lnTo>
                      <a:pt x="3435" y="240"/>
                    </a:lnTo>
                    <a:lnTo>
                      <a:pt x="3408" y="236"/>
                    </a:lnTo>
                    <a:lnTo>
                      <a:pt x="3394" y="234"/>
                    </a:lnTo>
                    <a:lnTo>
                      <a:pt x="3379" y="232"/>
                    </a:lnTo>
                    <a:lnTo>
                      <a:pt x="3365" y="231"/>
                    </a:lnTo>
                    <a:lnTo>
                      <a:pt x="3348" y="231"/>
                    </a:lnTo>
                    <a:lnTo>
                      <a:pt x="3334" y="227"/>
                    </a:lnTo>
                    <a:lnTo>
                      <a:pt x="3313" y="219"/>
                    </a:lnTo>
                    <a:lnTo>
                      <a:pt x="3304" y="216"/>
                    </a:lnTo>
                    <a:lnTo>
                      <a:pt x="3296" y="214"/>
                    </a:lnTo>
                    <a:lnTo>
                      <a:pt x="3293" y="214"/>
                    </a:lnTo>
                    <a:lnTo>
                      <a:pt x="3291" y="215"/>
                    </a:lnTo>
                    <a:lnTo>
                      <a:pt x="3289" y="216"/>
                    </a:lnTo>
                    <a:lnTo>
                      <a:pt x="3289" y="218"/>
                    </a:lnTo>
                    <a:lnTo>
                      <a:pt x="3289" y="221"/>
                    </a:lnTo>
                    <a:lnTo>
                      <a:pt x="3290" y="226"/>
                    </a:lnTo>
                    <a:lnTo>
                      <a:pt x="3292" y="229"/>
                    </a:lnTo>
                    <a:lnTo>
                      <a:pt x="3295" y="233"/>
                    </a:lnTo>
                    <a:lnTo>
                      <a:pt x="3302" y="240"/>
                    </a:lnTo>
                    <a:lnTo>
                      <a:pt x="3310" y="247"/>
                    </a:lnTo>
                    <a:lnTo>
                      <a:pt x="3320" y="252"/>
                    </a:lnTo>
                    <a:lnTo>
                      <a:pt x="3328" y="257"/>
                    </a:lnTo>
                    <a:lnTo>
                      <a:pt x="3336" y="260"/>
                    </a:lnTo>
                    <a:lnTo>
                      <a:pt x="3341" y="261"/>
                    </a:lnTo>
                    <a:lnTo>
                      <a:pt x="3332" y="260"/>
                    </a:lnTo>
                    <a:lnTo>
                      <a:pt x="3323" y="257"/>
                    </a:lnTo>
                    <a:lnTo>
                      <a:pt x="3314" y="255"/>
                    </a:lnTo>
                    <a:lnTo>
                      <a:pt x="3305" y="251"/>
                    </a:lnTo>
                    <a:lnTo>
                      <a:pt x="3290" y="244"/>
                    </a:lnTo>
                    <a:lnTo>
                      <a:pt x="3273" y="235"/>
                    </a:lnTo>
                    <a:lnTo>
                      <a:pt x="3257" y="225"/>
                    </a:lnTo>
                    <a:lnTo>
                      <a:pt x="3239" y="213"/>
                    </a:lnTo>
                    <a:lnTo>
                      <a:pt x="3219" y="203"/>
                    </a:lnTo>
                    <a:lnTo>
                      <a:pt x="3195" y="193"/>
                    </a:lnTo>
                    <a:lnTo>
                      <a:pt x="3198" y="192"/>
                    </a:lnTo>
                    <a:lnTo>
                      <a:pt x="3200" y="190"/>
                    </a:lnTo>
                    <a:lnTo>
                      <a:pt x="3201" y="186"/>
                    </a:lnTo>
                    <a:lnTo>
                      <a:pt x="3201" y="181"/>
                    </a:lnTo>
                    <a:lnTo>
                      <a:pt x="3202" y="173"/>
                    </a:lnTo>
                    <a:lnTo>
                      <a:pt x="3202" y="169"/>
                    </a:lnTo>
                    <a:lnTo>
                      <a:pt x="3169" y="169"/>
                    </a:lnTo>
                    <a:lnTo>
                      <a:pt x="3164" y="170"/>
                    </a:lnTo>
                    <a:lnTo>
                      <a:pt x="3159" y="173"/>
                    </a:lnTo>
                    <a:lnTo>
                      <a:pt x="3154" y="177"/>
                    </a:lnTo>
                    <a:lnTo>
                      <a:pt x="3149" y="181"/>
                    </a:lnTo>
                    <a:lnTo>
                      <a:pt x="3153" y="187"/>
                    </a:lnTo>
                    <a:lnTo>
                      <a:pt x="3156" y="193"/>
                    </a:lnTo>
                    <a:lnTo>
                      <a:pt x="3144" y="196"/>
                    </a:lnTo>
                    <a:lnTo>
                      <a:pt x="3133" y="199"/>
                    </a:lnTo>
                    <a:lnTo>
                      <a:pt x="3122" y="203"/>
                    </a:lnTo>
                    <a:lnTo>
                      <a:pt x="3112" y="206"/>
                    </a:lnTo>
                    <a:lnTo>
                      <a:pt x="3093" y="215"/>
                    </a:lnTo>
                    <a:lnTo>
                      <a:pt x="3076" y="225"/>
                    </a:lnTo>
                    <a:lnTo>
                      <a:pt x="3058" y="235"/>
                    </a:lnTo>
                    <a:lnTo>
                      <a:pt x="3040" y="245"/>
                    </a:lnTo>
                    <a:lnTo>
                      <a:pt x="3030" y="249"/>
                    </a:lnTo>
                    <a:lnTo>
                      <a:pt x="3020" y="253"/>
                    </a:lnTo>
                    <a:lnTo>
                      <a:pt x="3008" y="257"/>
                    </a:lnTo>
                    <a:lnTo>
                      <a:pt x="2997" y="261"/>
                    </a:lnTo>
                    <a:lnTo>
                      <a:pt x="2997" y="257"/>
                    </a:lnTo>
                    <a:lnTo>
                      <a:pt x="2998" y="252"/>
                    </a:lnTo>
                    <a:lnTo>
                      <a:pt x="2999" y="248"/>
                    </a:lnTo>
                    <a:lnTo>
                      <a:pt x="3002" y="243"/>
                    </a:lnTo>
                    <a:lnTo>
                      <a:pt x="3008" y="235"/>
                    </a:lnTo>
                    <a:lnTo>
                      <a:pt x="3016" y="226"/>
                    </a:lnTo>
                    <a:lnTo>
                      <a:pt x="3026" y="217"/>
                    </a:lnTo>
                    <a:lnTo>
                      <a:pt x="3038" y="209"/>
                    </a:lnTo>
                    <a:lnTo>
                      <a:pt x="3052" y="201"/>
                    </a:lnTo>
                    <a:lnTo>
                      <a:pt x="3065" y="193"/>
                    </a:lnTo>
                    <a:lnTo>
                      <a:pt x="3093" y="179"/>
                    </a:lnTo>
                    <a:lnTo>
                      <a:pt x="3122" y="165"/>
                    </a:lnTo>
                    <a:lnTo>
                      <a:pt x="3148" y="154"/>
                    </a:lnTo>
                    <a:lnTo>
                      <a:pt x="3169" y="144"/>
                    </a:lnTo>
                    <a:lnTo>
                      <a:pt x="3157" y="136"/>
                    </a:lnTo>
                    <a:lnTo>
                      <a:pt x="3144" y="129"/>
                    </a:lnTo>
                    <a:lnTo>
                      <a:pt x="3130" y="122"/>
                    </a:lnTo>
                    <a:lnTo>
                      <a:pt x="3114" y="115"/>
                    </a:lnTo>
                    <a:lnTo>
                      <a:pt x="3098" y="107"/>
                    </a:lnTo>
                    <a:lnTo>
                      <a:pt x="3080" y="102"/>
                    </a:lnTo>
                    <a:lnTo>
                      <a:pt x="3063" y="96"/>
                    </a:lnTo>
                    <a:lnTo>
                      <a:pt x="3044" y="91"/>
                    </a:lnTo>
                    <a:lnTo>
                      <a:pt x="3024" y="86"/>
                    </a:lnTo>
                    <a:lnTo>
                      <a:pt x="3004" y="82"/>
                    </a:lnTo>
                    <a:lnTo>
                      <a:pt x="2985" y="79"/>
                    </a:lnTo>
                    <a:lnTo>
                      <a:pt x="2965" y="76"/>
                    </a:lnTo>
                    <a:lnTo>
                      <a:pt x="2944" y="74"/>
                    </a:lnTo>
                    <a:lnTo>
                      <a:pt x="2923" y="72"/>
                    </a:lnTo>
                    <a:lnTo>
                      <a:pt x="2903" y="71"/>
                    </a:lnTo>
                    <a:lnTo>
                      <a:pt x="2884" y="70"/>
                    </a:lnTo>
                    <a:lnTo>
                      <a:pt x="2875" y="71"/>
                    </a:lnTo>
                    <a:lnTo>
                      <a:pt x="2867" y="72"/>
                    </a:lnTo>
                    <a:lnTo>
                      <a:pt x="2862" y="74"/>
                    </a:lnTo>
                    <a:lnTo>
                      <a:pt x="2856" y="76"/>
                    </a:lnTo>
                    <a:lnTo>
                      <a:pt x="2850" y="79"/>
                    </a:lnTo>
                    <a:lnTo>
                      <a:pt x="2843" y="81"/>
                    </a:lnTo>
                    <a:lnTo>
                      <a:pt x="2834" y="82"/>
                    </a:lnTo>
                    <a:lnTo>
                      <a:pt x="2823" y="83"/>
                    </a:lnTo>
                    <a:lnTo>
                      <a:pt x="2723" y="64"/>
                    </a:lnTo>
                    <a:lnTo>
                      <a:pt x="2724" y="58"/>
                    </a:lnTo>
                    <a:lnTo>
                      <a:pt x="2726" y="52"/>
                    </a:lnTo>
                    <a:lnTo>
                      <a:pt x="2729" y="47"/>
                    </a:lnTo>
                    <a:lnTo>
                      <a:pt x="2731" y="42"/>
                    </a:lnTo>
                    <a:lnTo>
                      <a:pt x="2738" y="33"/>
                    </a:lnTo>
                    <a:lnTo>
                      <a:pt x="2744" y="21"/>
                    </a:lnTo>
                    <a:lnTo>
                      <a:pt x="2743" y="19"/>
                    </a:lnTo>
                    <a:lnTo>
                      <a:pt x="2742" y="17"/>
                    </a:lnTo>
                    <a:lnTo>
                      <a:pt x="2739" y="15"/>
                    </a:lnTo>
                    <a:lnTo>
                      <a:pt x="2735" y="13"/>
                    </a:lnTo>
                    <a:lnTo>
                      <a:pt x="2727" y="10"/>
                    </a:lnTo>
                    <a:lnTo>
                      <a:pt x="2717" y="9"/>
                    </a:lnTo>
                    <a:lnTo>
                      <a:pt x="2712" y="5"/>
                    </a:lnTo>
                    <a:lnTo>
                      <a:pt x="2707" y="1"/>
                    </a:lnTo>
                    <a:lnTo>
                      <a:pt x="2701" y="0"/>
                    </a:lnTo>
                    <a:lnTo>
                      <a:pt x="2696" y="0"/>
                    </a:lnTo>
                    <a:lnTo>
                      <a:pt x="2691" y="3"/>
                    </a:lnTo>
                    <a:lnTo>
                      <a:pt x="2687" y="7"/>
                    </a:lnTo>
                    <a:lnTo>
                      <a:pt x="2685" y="13"/>
                    </a:lnTo>
                    <a:lnTo>
                      <a:pt x="2684" y="21"/>
                    </a:lnTo>
                    <a:lnTo>
                      <a:pt x="2667" y="24"/>
                    </a:lnTo>
                    <a:lnTo>
                      <a:pt x="2653" y="29"/>
                    </a:lnTo>
                    <a:lnTo>
                      <a:pt x="2641" y="34"/>
                    </a:lnTo>
                    <a:lnTo>
                      <a:pt x="2630" y="40"/>
                    </a:lnTo>
                    <a:lnTo>
                      <a:pt x="2610" y="53"/>
                    </a:lnTo>
                    <a:lnTo>
                      <a:pt x="2590" y="64"/>
                    </a:lnTo>
                    <a:lnTo>
                      <a:pt x="2618" y="83"/>
                    </a:lnTo>
                    <a:lnTo>
                      <a:pt x="2611" y="83"/>
                    </a:lnTo>
                    <a:lnTo>
                      <a:pt x="2597" y="83"/>
                    </a:lnTo>
                    <a:lnTo>
                      <a:pt x="2575" y="83"/>
                    </a:lnTo>
                    <a:lnTo>
                      <a:pt x="2551" y="83"/>
                    </a:lnTo>
                    <a:lnTo>
                      <a:pt x="2567" y="97"/>
                    </a:lnTo>
                    <a:lnTo>
                      <a:pt x="2587" y="118"/>
                    </a:lnTo>
                    <a:lnTo>
                      <a:pt x="2598" y="128"/>
                    </a:lnTo>
                    <a:lnTo>
                      <a:pt x="2610" y="136"/>
                    </a:lnTo>
                    <a:lnTo>
                      <a:pt x="2617" y="140"/>
                    </a:lnTo>
                    <a:lnTo>
                      <a:pt x="2623" y="142"/>
                    </a:lnTo>
                    <a:lnTo>
                      <a:pt x="2630" y="144"/>
                    </a:lnTo>
                    <a:lnTo>
                      <a:pt x="2638" y="144"/>
                    </a:lnTo>
                    <a:lnTo>
                      <a:pt x="2630" y="144"/>
                    </a:lnTo>
                    <a:lnTo>
                      <a:pt x="2623" y="142"/>
                    </a:lnTo>
                    <a:lnTo>
                      <a:pt x="2618" y="140"/>
                    </a:lnTo>
                    <a:lnTo>
                      <a:pt x="2611" y="137"/>
                    </a:lnTo>
                    <a:lnTo>
                      <a:pt x="2600" y="130"/>
                    </a:lnTo>
                    <a:lnTo>
                      <a:pt x="2590" y="121"/>
                    </a:lnTo>
                    <a:lnTo>
                      <a:pt x="2579" y="110"/>
                    </a:lnTo>
                    <a:lnTo>
                      <a:pt x="2567" y="100"/>
                    </a:lnTo>
                    <a:lnTo>
                      <a:pt x="2561" y="95"/>
                    </a:lnTo>
                    <a:lnTo>
                      <a:pt x="2554" y="90"/>
                    </a:lnTo>
                    <a:lnTo>
                      <a:pt x="2547" y="86"/>
                    </a:lnTo>
                    <a:lnTo>
                      <a:pt x="2538" y="83"/>
                    </a:lnTo>
                    <a:lnTo>
                      <a:pt x="2465" y="114"/>
                    </a:lnTo>
                    <a:lnTo>
                      <a:pt x="2462" y="110"/>
                    </a:lnTo>
                    <a:lnTo>
                      <a:pt x="2455" y="104"/>
                    </a:lnTo>
                    <a:lnTo>
                      <a:pt x="2451" y="100"/>
                    </a:lnTo>
                    <a:lnTo>
                      <a:pt x="2446" y="98"/>
                    </a:lnTo>
                    <a:lnTo>
                      <a:pt x="2439" y="95"/>
                    </a:lnTo>
                    <a:lnTo>
                      <a:pt x="2431" y="95"/>
                    </a:lnTo>
                    <a:lnTo>
                      <a:pt x="2410" y="95"/>
                    </a:lnTo>
                    <a:lnTo>
                      <a:pt x="2391" y="98"/>
                    </a:lnTo>
                    <a:lnTo>
                      <a:pt x="2372" y="101"/>
                    </a:lnTo>
                    <a:lnTo>
                      <a:pt x="2354" y="105"/>
                    </a:lnTo>
                    <a:lnTo>
                      <a:pt x="2319" y="117"/>
                    </a:lnTo>
                    <a:lnTo>
                      <a:pt x="2284" y="129"/>
                    </a:lnTo>
                    <a:lnTo>
                      <a:pt x="2250" y="141"/>
                    </a:lnTo>
                    <a:lnTo>
                      <a:pt x="2214" y="152"/>
                    </a:lnTo>
                    <a:lnTo>
                      <a:pt x="2195" y="156"/>
                    </a:lnTo>
                    <a:lnTo>
                      <a:pt x="2175" y="159"/>
                    </a:lnTo>
                    <a:lnTo>
                      <a:pt x="2155" y="161"/>
                    </a:lnTo>
                    <a:lnTo>
                      <a:pt x="2133" y="162"/>
                    </a:lnTo>
                    <a:lnTo>
                      <a:pt x="2134" y="167"/>
                    </a:lnTo>
                    <a:lnTo>
                      <a:pt x="2137" y="173"/>
                    </a:lnTo>
                    <a:lnTo>
                      <a:pt x="2142" y="178"/>
                    </a:lnTo>
                    <a:lnTo>
                      <a:pt x="2149" y="183"/>
                    </a:lnTo>
                    <a:lnTo>
                      <a:pt x="2157" y="187"/>
                    </a:lnTo>
                    <a:lnTo>
                      <a:pt x="2167" y="190"/>
                    </a:lnTo>
                    <a:lnTo>
                      <a:pt x="2175" y="193"/>
                    </a:lnTo>
                    <a:lnTo>
                      <a:pt x="2185" y="193"/>
                    </a:lnTo>
                    <a:lnTo>
                      <a:pt x="2186" y="198"/>
                    </a:lnTo>
                    <a:lnTo>
                      <a:pt x="2187" y="203"/>
                    </a:lnTo>
                    <a:lnTo>
                      <a:pt x="2190" y="208"/>
                    </a:lnTo>
                    <a:lnTo>
                      <a:pt x="2192" y="213"/>
                    </a:lnTo>
                    <a:lnTo>
                      <a:pt x="2198" y="225"/>
                    </a:lnTo>
                    <a:lnTo>
                      <a:pt x="2207" y="235"/>
                    </a:lnTo>
                    <a:lnTo>
                      <a:pt x="2216" y="244"/>
                    </a:lnTo>
                    <a:lnTo>
                      <a:pt x="2225" y="251"/>
                    </a:lnTo>
                    <a:lnTo>
                      <a:pt x="2233" y="257"/>
                    </a:lnTo>
                    <a:lnTo>
                      <a:pt x="2239" y="261"/>
                    </a:lnTo>
                    <a:lnTo>
                      <a:pt x="2233" y="261"/>
                    </a:lnTo>
                    <a:lnTo>
                      <a:pt x="2227" y="260"/>
                    </a:lnTo>
                    <a:lnTo>
                      <a:pt x="2223" y="259"/>
                    </a:lnTo>
                    <a:lnTo>
                      <a:pt x="2217" y="257"/>
                    </a:lnTo>
                    <a:lnTo>
                      <a:pt x="2214" y="254"/>
                    </a:lnTo>
                    <a:lnTo>
                      <a:pt x="2209" y="251"/>
                    </a:lnTo>
                    <a:lnTo>
                      <a:pt x="2206" y="248"/>
                    </a:lnTo>
                    <a:lnTo>
                      <a:pt x="2203" y="244"/>
                    </a:lnTo>
                    <a:lnTo>
                      <a:pt x="2198" y="236"/>
                    </a:lnTo>
                    <a:lnTo>
                      <a:pt x="2195" y="225"/>
                    </a:lnTo>
                    <a:lnTo>
                      <a:pt x="2193" y="213"/>
                    </a:lnTo>
                    <a:lnTo>
                      <a:pt x="2192" y="200"/>
                    </a:lnTo>
                    <a:lnTo>
                      <a:pt x="2190" y="201"/>
                    </a:lnTo>
                    <a:lnTo>
                      <a:pt x="2186" y="202"/>
                    </a:lnTo>
                    <a:lnTo>
                      <a:pt x="2182" y="202"/>
                    </a:lnTo>
                    <a:lnTo>
                      <a:pt x="2179" y="202"/>
                    </a:lnTo>
                    <a:lnTo>
                      <a:pt x="2169" y="200"/>
                    </a:lnTo>
                    <a:lnTo>
                      <a:pt x="2159" y="200"/>
                    </a:lnTo>
                    <a:lnTo>
                      <a:pt x="2150" y="200"/>
                    </a:lnTo>
                    <a:lnTo>
                      <a:pt x="2141" y="202"/>
                    </a:lnTo>
                    <a:lnTo>
                      <a:pt x="2134" y="205"/>
                    </a:lnTo>
                    <a:lnTo>
                      <a:pt x="2126" y="209"/>
                    </a:lnTo>
                    <a:lnTo>
                      <a:pt x="2118" y="212"/>
                    </a:lnTo>
                    <a:lnTo>
                      <a:pt x="2111" y="215"/>
                    </a:lnTo>
                    <a:lnTo>
                      <a:pt x="2102" y="217"/>
                    </a:lnTo>
                    <a:lnTo>
                      <a:pt x="2093" y="218"/>
                    </a:lnTo>
                    <a:lnTo>
                      <a:pt x="2083" y="217"/>
                    </a:lnTo>
                    <a:lnTo>
                      <a:pt x="2073" y="214"/>
                    </a:lnTo>
                    <a:lnTo>
                      <a:pt x="2066" y="210"/>
                    </a:lnTo>
                    <a:lnTo>
                      <a:pt x="2059" y="206"/>
                    </a:lnTo>
                    <a:lnTo>
                      <a:pt x="2020" y="218"/>
                    </a:lnTo>
                    <a:lnTo>
                      <a:pt x="2013" y="218"/>
                    </a:lnTo>
                    <a:lnTo>
                      <a:pt x="2000" y="219"/>
                    </a:lnTo>
                    <a:lnTo>
                      <a:pt x="1992" y="221"/>
                    </a:lnTo>
                    <a:lnTo>
                      <a:pt x="1985" y="223"/>
                    </a:lnTo>
                    <a:lnTo>
                      <a:pt x="1983" y="225"/>
                    </a:lnTo>
                    <a:lnTo>
                      <a:pt x="1981" y="227"/>
                    </a:lnTo>
                    <a:lnTo>
                      <a:pt x="1980" y="229"/>
                    </a:lnTo>
                    <a:lnTo>
                      <a:pt x="1980" y="231"/>
                    </a:lnTo>
                    <a:lnTo>
                      <a:pt x="1980" y="234"/>
                    </a:lnTo>
                    <a:lnTo>
                      <a:pt x="1982" y="238"/>
                    </a:lnTo>
                    <a:lnTo>
                      <a:pt x="1984" y="242"/>
                    </a:lnTo>
                    <a:lnTo>
                      <a:pt x="1988" y="245"/>
                    </a:lnTo>
                    <a:lnTo>
                      <a:pt x="1996" y="253"/>
                    </a:lnTo>
                    <a:lnTo>
                      <a:pt x="2009" y="261"/>
                    </a:lnTo>
                    <a:lnTo>
                      <a:pt x="2023" y="270"/>
                    </a:lnTo>
                    <a:lnTo>
                      <a:pt x="2038" y="278"/>
                    </a:lnTo>
                    <a:lnTo>
                      <a:pt x="2056" y="287"/>
                    </a:lnTo>
                    <a:lnTo>
                      <a:pt x="2074" y="295"/>
                    </a:lnTo>
                    <a:lnTo>
                      <a:pt x="2112" y="311"/>
                    </a:lnTo>
                    <a:lnTo>
                      <a:pt x="2148" y="324"/>
                    </a:lnTo>
                    <a:lnTo>
                      <a:pt x="2178" y="334"/>
                    </a:lnTo>
                    <a:lnTo>
                      <a:pt x="2198" y="342"/>
                    </a:lnTo>
                    <a:lnTo>
                      <a:pt x="2200" y="352"/>
                    </a:lnTo>
                    <a:lnTo>
                      <a:pt x="2202" y="361"/>
                    </a:lnTo>
                    <a:lnTo>
                      <a:pt x="2204" y="369"/>
                    </a:lnTo>
                    <a:lnTo>
                      <a:pt x="2207" y="376"/>
                    </a:lnTo>
                    <a:lnTo>
                      <a:pt x="2216" y="389"/>
                    </a:lnTo>
                    <a:lnTo>
                      <a:pt x="2226" y="403"/>
                    </a:lnTo>
                    <a:lnTo>
                      <a:pt x="2214" y="405"/>
                    </a:lnTo>
                    <a:lnTo>
                      <a:pt x="2203" y="404"/>
                    </a:lnTo>
                    <a:lnTo>
                      <a:pt x="2193" y="402"/>
                    </a:lnTo>
                    <a:lnTo>
                      <a:pt x="2184" y="399"/>
                    </a:lnTo>
                    <a:lnTo>
                      <a:pt x="2177" y="394"/>
                    </a:lnTo>
                    <a:lnTo>
                      <a:pt x="2169" y="387"/>
                    </a:lnTo>
                    <a:lnTo>
                      <a:pt x="2161" y="381"/>
                    </a:lnTo>
                    <a:lnTo>
                      <a:pt x="2155" y="374"/>
                    </a:lnTo>
                    <a:lnTo>
                      <a:pt x="2142" y="360"/>
                    </a:lnTo>
                    <a:lnTo>
                      <a:pt x="2129" y="345"/>
                    </a:lnTo>
                    <a:lnTo>
                      <a:pt x="2123" y="339"/>
                    </a:lnTo>
                    <a:lnTo>
                      <a:pt x="2115" y="332"/>
                    </a:lnTo>
                    <a:lnTo>
                      <a:pt x="2107" y="327"/>
                    </a:lnTo>
                    <a:lnTo>
                      <a:pt x="2100" y="323"/>
                    </a:lnTo>
                    <a:lnTo>
                      <a:pt x="2065" y="315"/>
                    </a:lnTo>
                    <a:lnTo>
                      <a:pt x="2020" y="305"/>
                    </a:lnTo>
                    <a:lnTo>
                      <a:pt x="2009" y="302"/>
                    </a:lnTo>
                    <a:lnTo>
                      <a:pt x="1999" y="298"/>
                    </a:lnTo>
                    <a:lnTo>
                      <a:pt x="1989" y="293"/>
                    </a:lnTo>
                    <a:lnTo>
                      <a:pt x="1980" y="288"/>
                    </a:lnTo>
                    <a:lnTo>
                      <a:pt x="1972" y="281"/>
                    </a:lnTo>
                    <a:lnTo>
                      <a:pt x="1967" y="273"/>
                    </a:lnTo>
                    <a:lnTo>
                      <a:pt x="1964" y="269"/>
                    </a:lnTo>
                    <a:lnTo>
                      <a:pt x="1962" y="265"/>
                    </a:lnTo>
                    <a:lnTo>
                      <a:pt x="1960" y="260"/>
                    </a:lnTo>
                    <a:lnTo>
                      <a:pt x="1960" y="255"/>
                    </a:lnTo>
                    <a:lnTo>
                      <a:pt x="1947" y="255"/>
                    </a:lnTo>
                    <a:lnTo>
                      <a:pt x="1940" y="255"/>
                    </a:lnTo>
                    <a:lnTo>
                      <a:pt x="1933" y="256"/>
                    </a:lnTo>
                    <a:lnTo>
                      <a:pt x="1927" y="258"/>
                    </a:lnTo>
                    <a:lnTo>
                      <a:pt x="1922" y="261"/>
                    </a:lnTo>
                    <a:lnTo>
                      <a:pt x="1916" y="264"/>
                    </a:lnTo>
                    <a:lnTo>
                      <a:pt x="1910" y="267"/>
                    </a:lnTo>
                    <a:lnTo>
                      <a:pt x="1903" y="270"/>
                    </a:lnTo>
                    <a:lnTo>
                      <a:pt x="1895" y="272"/>
                    </a:lnTo>
                    <a:lnTo>
                      <a:pt x="1887" y="273"/>
                    </a:lnTo>
                    <a:lnTo>
                      <a:pt x="1882" y="287"/>
                    </a:lnTo>
                    <a:lnTo>
                      <a:pt x="1879" y="297"/>
                    </a:lnTo>
                    <a:lnTo>
                      <a:pt x="1877" y="301"/>
                    </a:lnTo>
                    <a:lnTo>
                      <a:pt x="1875" y="305"/>
                    </a:lnTo>
                    <a:lnTo>
                      <a:pt x="1871" y="308"/>
                    </a:lnTo>
                    <a:lnTo>
                      <a:pt x="1867" y="310"/>
                    </a:lnTo>
                    <a:lnTo>
                      <a:pt x="1871" y="316"/>
                    </a:lnTo>
                    <a:lnTo>
                      <a:pt x="1876" y="320"/>
                    </a:lnTo>
                    <a:lnTo>
                      <a:pt x="1882" y="325"/>
                    </a:lnTo>
                    <a:lnTo>
                      <a:pt x="1889" y="328"/>
                    </a:lnTo>
                    <a:lnTo>
                      <a:pt x="1903" y="334"/>
                    </a:lnTo>
                    <a:lnTo>
                      <a:pt x="1921" y="340"/>
                    </a:lnTo>
                    <a:lnTo>
                      <a:pt x="1959" y="349"/>
                    </a:lnTo>
                    <a:lnTo>
                      <a:pt x="2000" y="360"/>
                    </a:lnTo>
                    <a:lnTo>
                      <a:pt x="1954" y="360"/>
                    </a:lnTo>
                    <a:lnTo>
                      <a:pt x="1929" y="354"/>
                    </a:lnTo>
                    <a:lnTo>
                      <a:pt x="1906" y="349"/>
                    </a:lnTo>
                    <a:lnTo>
                      <a:pt x="1886" y="344"/>
                    </a:lnTo>
                    <a:lnTo>
                      <a:pt x="1866" y="338"/>
                    </a:lnTo>
                    <a:lnTo>
                      <a:pt x="1857" y="333"/>
                    </a:lnTo>
                    <a:lnTo>
                      <a:pt x="1849" y="328"/>
                    </a:lnTo>
                    <a:lnTo>
                      <a:pt x="1842" y="322"/>
                    </a:lnTo>
                    <a:lnTo>
                      <a:pt x="1835" y="315"/>
                    </a:lnTo>
                    <a:lnTo>
                      <a:pt x="1828" y="307"/>
                    </a:lnTo>
                    <a:lnTo>
                      <a:pt x="1823" y="298"/>
                    </a:lnTo>
                    <a:lnTo>
                      <a:pt x="1817" y="287"/>
                    </a:lnTo>
                    <a:lnTo>
                      <a:pt x="1814" y="273"/>
                    </a:lnTo>
                    <a:lnTo>
                      <a:pt x="1787" y="273"/>
                    </a:lnTo>
                    <a:lnTo>
                      <a:pt x="1787" y="282"/>
                    </a:lnTo>
                    <a:lnTo>
                      <a:pt x="1786" y="288"/>
                    </a:lnTo>
                    <a:lnTo>
                      <a:pt x="1785" y="293"/>
                    </a:lnTo>
                    <a:lnTo>
                      <a:pt x="1782" y="298"/>
                    </a:lnTo>
                    <a:lnTo>
                      <a:pt x="1776" y="306"/>
                    </a:lnTo>
                    <a:lnTo>
                      <a:pt x="1767" y="316"/>
                    </a:lnTo>
                    <a:lnTo>
                      <a:pt x="1771" y="323"/>
                    </a:lnTo>
                    <a:lnTo>
                      <a:pt x="1775" y="328"/>
                    </a:lnTo>
                    <a:lnTo>
                      <a:pt x="1779" y="332"/>
                    </a:lnTo>
                    <a:lnTo>
                      <a:pt x="1785" y="336"/>
                    </a:lnTo>
                    <a:lnTo>
                      <a:pt x="1793" y="342"/>
                    </a:lnTo>
                    <a:lnTo>
                      <a:pt x="1803" y="346"/>
                    </a:lnTo>
                    <a:lnTo>
                      <a:pt x="1813" y="351"/>
                    </a:lnTo>
                    <a:lnTo>
                      <a:pt x="1823" y="358"/>
                    </a:lnTo>
                    <a:lnTo>
                      <a:pt x="1827" y="363"/>
                    </a:lnTo>
                    <a:lnTo>
                      <a:pt x="1832" y="369"/>
                    </a:lnTo>
                    <a:lnTo>
                      <a:pt x="1836" y="376"/>
                    </a:lnTo>
                    <a:lnTo>
                      <a:pt x="1841" y="384"/>
                    </a:lnTo>
                    <a:lnTo>
                      <a:pt x="1842" y="389"/>
                    </a:lnTo>
                    <a:lnTo>
                      <a:pt x="1843" y="396"/>
                    </a:lnTo>
                    <a:lnTo>
                      <a:pt x="1844" y="402"/>
                    </a:lnTo>
                    <a:lnTo>
                      <a:pt x="1844" y="409"/>
                    </a:lnTo>
                    <a:lnTo>
                      <a:pt x="1844" y="415"/>
                    </a:lnTo>
                    <a:lnTo>
                      <a:pt x="1844" y="420"/>
                    </a:lnTo>
                    <a:lnTo>
                      <a:pt x="1845" y="424"/>
                    </a:lnTo>
                    <a:lnTo>
                      <a:pt x="1847" y="427"/>
                    </a:lnTo>
                    <a:lnTo>
                      <a:pt x="1859" y="436"/>
                    </a:lnTo>
                    <a:lnTo>
                      <a:pt x="1868" y="444"/>
                    </a:lnTo>
                    <a:lnTo>
                      <a:pt x="1872" y="448"/>
                    </a:lnTo>
                    <a:lnTo>
                      <a:pt x="1878" y="451"/>
                    </a:lnTo>
                    <a:lnTo>
                      <a:pt x="1884" y="452"/>
                    </a:lnTo>
                    <a:lnTo>
                      <a:pt x="1893" y="453"/>
                    </a:lnTo>
                    <a:lnTo>
                      <a:pt x="1902" y="452"/>
                    </a:lnTo>
                    <a:lnTo>
                      <a:pt x="1910" y="450"/>
                    </a:lnTo>
                    <a:lnTo>
                      <a:pt x="1917" y="446"/>
                    </a:lnTo>
                    <a:lnTo>
                      <a:pt x="1923" y="443"/>
                    </a:lnTo>
                    <a:lnTo>
                      <a:pt x="1929" y="439"/>
                    </a:lnTo>
                    <a:lnTo>
                      <a:pt x="1936" y="436"/>
                    </a:lnTo>
                    <a:lnTo>
                      <a:pt x="1944" y="434"/>
                    </a:lnTo>
                    <a:lnTo>
                      <a:pt x="1954" y="433"/>
                    </a:lnTo>
                    <a:lnTo>
                      <a:pt x="1961" y="434"/>
                    </a:lnTo>
                    <a:lnTo>
                      <a:pt x="1970" y="435"/>
                    </a:lnTo>
                    <a:lnTo>
                      <a:pt x="1978" y="437"/>
                    </a:lnTo>
                    <a:lnTo>
                      <a:pt x="1985" y="439"/>
                    </a:lnTo>
                    <a:lnTo>
                      <a:pt x="1999" y="445"/>
                    </a:lnTo>
                    <a:lnTo>
                      <a:pt x="2013" y="453"/>
                    </a:lnTo>
                    <a:lnTo>
                      <a:pt x="2027" y="459"/>
                    </a:lnTo>
                    <a:lnTo>
                      <a:pt x="2041" y="465"/>
                    </a:lnTo>
                    <a:lnTo>
                      <a:pt x="2048" y="467"/>
                    </a:lnTo>
                    <a:lnTo>
                      <a:pt x="2056" y="469"/>
                    </a:lnTo>
                    <a:lnTo>
                      <a:pt x="2065" y="470"/>
                    </a:lnTo>
                    <a:lnTo>
                      <a:pt x="2073" y="471"/>
                    </a:lnTo>
                    <a:lnTo>
                      <a:pt x="2076" y="482"/>
                    </a:lnTo>
                    <a:lnTo>
                      <a:pt x="2078" y="492"/>
                    </a:lnTo>
                    <a:lnTo>
                      <a:pt x="2082" y="503"/>
                    </a:lnTo>
                    <a:lnTo>
                      <a:pt x="2086" y="511"/>
                    </a:lnTo>
                    <a:lnTo>
                      <a:pt x="2090" y="515"/>
                    </a:lnTo>
                    <a:lnTo>
                      <a:pt x="2093" y="518"/>
                    </a:lnTo>
                    <a:lnTo>
                      <a:pt x="2097" y="522"/>
                    </a:lnTo>
                    <a:lnTo>
                      <a:pt x="2102" y="525"/>
                    </a:lnTo>
                    <a:lnTo>
                      <a:pt x="2106" y="527"/>
                    </a:lnTo>
                    <a:lnTo>
                      <a:pt x="2113" y="529"/>
                    </a:lnTo>
                    <a:lnTo>
                      <a:pt x="2118" y="531"/>
                    </a:lnTo>
                    <a:lnTo>
                      <a:pt x="2126" y="532"/>
                    </a:lnTo>
                    <a:lnTo>
                      <a:pt x="2111" y="532"/>
                    </a:lnTo>
                    <a:lnTo>
                      <a:pt x="2100" y="532"/>
                    </a:lnTo>
                    <a:lnTo>
                      <a:pt x="2093" y="532"/>
                    </a:lnTo>
                    <a:lnTo>
                      <a:pt x="2086" y="531"/>
                    </a:lnTo>
                    <a:lnTo>
                      <a:pt x="2081" y="530"/>
                    </a:lnTo>
                    <a:lnTo>
                      <a:pt x="2076" y="529"/>
                    </a:lnTo>
                    <a:lnTo>
                      <a:pt x="2067" y="524"/>
                    </a:lnTo>
                    <a:lnTo>
                      <a:pt x="2059" y="519"/>
                    </a:lnTo>
                    <a:lnTo>
                      <a:pt x="2052" y="513"/>
                    </a:lnTo>
                    <a:lnTo>
                      <a:pt x="2046" y="506"/>
                    </a:lnTo>
                    <a:lnTo>
                      <a:pt x="2040" y="497"/>
                    </a:lnTo>
                    <a:lnTo>
                      <a:pt x="2035" y="489"/>
                    </a:lnTo>
                    <a:lnTo>
                      <a:pt x="2030" y="481"/>
                    </a:lnTo>
                    <a:lnTo>
                      <a:pt x="2024" y="473"/>
                    </a:lnTo>
                    <a:lnTo>
                      <a:pt x="2017" y="466"/>
                    </a:lnTo>
                    <a:lnTo>
                      <a:pt x="2011" y="460"/>
                    </a:lnTo>
                    <a:lnTo>
                      <a:pt x="2002" y="454"/>
                    </a:lnTo>
                    <a:lnTo>
                      <a:pt x="1992" y="450"/>
                    </a:lnTo>
                    <a:lnTo>
                      <a:pt x="1980" y="448"/>
                    </a:lnTo>
                    <a:lnTo>
                      <a:pt x="1967" y="446"/>
                    </a:lnTo>
                    <a:lnTo>
                      <a:pt x="1959" y="446"/>
                    </a:lnTo>
                    <a:lnTo>
                      <a:pt x="1953" y="449"/>
                    </a:lnTo>
                    <a:lnTo>
                      <a:pt x="1946" y="451"/>
                    </a:lnTo>
                    <a:lnTo>
                      <a:pt x="1939" y="453"/>
                    </a:lnTo>
                    <a:lnTo>
                      <a:pt x="1927" y="459"/>
                    </a:lnTo>
                    <a:lnTo>
                      <a:pt x="1913" y="465"/>
                    </a:lnTo>
                    <a:lnTo>
                      <a:pt x="1918" y="477"/>
                    </a:lnTo>
                    <a:lnTo>
                      <a:pt x="1932" y="499"/>
                    </a:lnTo>
                    <a:lnTo>
                      <a:pt x="1939" y="512"/>
                    </a:lnTo>
                    <a:lnTo>
                      <a:pt x="1947" y="523"/>
                    </a:lnTo>
                    <a:lnTo>
                      <a:pt x="1954" y="532"/>
                    </a:lnTo>
                    <a:lnTo>
                      <a:pt x="1960" y="538"/>
                    </a:lnTo>
                    <a:lnTo>
                      <a:pt x="1945" y="554"/>
                    </a:lnTo>
                    <a:lnTo>
                      <a:pt x="1929" y="573"/>
                    </a:lnTo>
                    <a:lnTo>
                      <a:pt x="1924" y="578"/>
                    </a:lnTo>
                    <a:lnTo>
                      <a:pt x="1918" y="581"/>
                    </a:lnTo>
                    <a:lnTo>
                      <a:pt x="1913" y="585"/>
                    </a:lnTo>
                    <a:lnTo>
                      <a:pt x="1906" y="588"/>
                    </a:lnTo>
                    <a:lnTo>
                      <a:pt x="1900" y="590"/>
                    </a:lnTo>
                    <a:lnTo>
                      <a:pt x="1892" y="592"/>
                    </a:lnTo>
                    <a:lnTo>
                      <a:pt x="1883" y="593"/>
                    </a:lnTo>
                    <a:lnTo>
                      <a:pt x="1873" y="594"/>
                    </a:lnTo>
                    <a:lnTo>
                      <a:pt x="1855" y="595"/>
                    </a:lnTo>
                    <a:lnTo>
                      <a:pt x="1838" y="597"/>
                    </a:lnTo>
                    <a:lnTo>
                      <a:pt x="1823" y="600"/>
                    </a:lnTo>
                    <a:lnTo>
                      <a:pt x="1810" y="603"/>
                    </a:lnTo>
                    <a:lnTo>
                      <a:pt x="1797" y="604"/>
                    </a:lnTo>
                    <a:lnTo>
                      <a:pt x="1785" y="604"/>
                    </a:lnTo>
                    <a:lnTo>
                      <a:pt x="1779" y="603"/>
                    </a:lnTo>
                    <a:lnTo>
                      <a:pt x="1772" y="601"/>
                    </a:lnTo>
                    <a:lnTo>
                      <a:pt x="1767" y="598"/>
                    </a:lnTo>
                    <a:lnTo>
                      <a:pt x="1760" y="594"/>
                    </a:lnTo>
                    <a:lnTo>
                      <a:pt x="1778" y="593"/>
                    </a:lnTo>
                    <a:lnTo>
                      <a:pt x="1793" y="591"/>
                    </a:lnTo>
                    <a:lnTo>
                      <a:pt x="1806" y="589"/>
                    </a:lnTo>
                    <a:lnTo>
                      <a:pt x="1821" y="588"/>
                    </a:lnTo>
                    <a:lnTo>
                      <a:pt x="1826" y="587"/>
                    </a:lnTo>
                    <a:lnTo>
                      <a:pt x="1832" y="586"/>
                    </a:lnTo>
                    <a:lnTo>
                      <a:pt x="1837" y="585"/>
                    </a:lnTo>
                    <a:lnTo>
                      <a:pt x="1843" y="583"/>
                    </a:lnTo>
                    <a:lnTo>
                      <a:pt x="1847" y="580"/>
                    </a:lnTo>
                    <a:lnTo>
                      <a:pt x="1852" y="577"/>
                    </a:lnTo>
                    <a:lnTo>
                      <a:pt x="1856" y="573"/>
                    </a:lnTo>
                    <a:lnTo>
                      <a:pt x="1859" y="569"/>
                    </a:lnTo>
                    <a:lnTo>
                      <a:pt x="1866" y="560"/>
                    </a:lnTo>
                    <a:lnTo>
                      <a:pt x="1870" y="548"/>
                    </a:lnTo>
                    <a:lnTo>
                      <a:pt x="1872" y="538"/>
                    </a:lnTo>
                    <a:lnTo>
                      <a:pt x="1873" y="526"/>
                    </a:lnTo>
                    <a:lnTo>
                      <a:pt x="1873" y="520"/>
                    </a:lnTo>
                    <a:lnTo>
                      <a:pt x="1873" y="512"/>
                    </a:lnTo>
                    <a:lnTo>
                      <a:pt x="1873" y="499"/>
                    </a:lnTo>
                    <a:lnTo>
                      <a:pt x="1873" y="483"/>
                    </a:lnTo>
                    <a:lnTo>
                      <a:pt x="1860" y="480"/>
                    </a:lnTo>
                    <a:lnTo>
                      <a:pt x="1849" y="476"/>
                    </a:lnTo>
                    <a:lnTo>
                      <a:pt x="1839" y="470"/>
                    </a:lnTo>
                    <a:lnTo>
                      <a:pt x="1832" y="464"/>
                    </a:lnTo>
                    <a:lnTo>
                      <a:pt x="1824" y="457"/>
                    </a:lnTo>
                    <a:lnTo>
                      <a:pt x="1817" y="449"/>
                    </a:lnTo>
                    <a:lnTo>
                      <a:pt x="1812" y="440"/>
                    </a:lnTo>
                    <a:lnTo>
                      <a:pt x="1806" y="431"/>
                    </a:lnTo>
                    <a:lnTo>
                      <a:pt x="1796" y="413"/>
                    </a:lnTo>
                    <a:lnTo>
                      <a:pt x="1785" y="396"/>
                    </a:lnTo>
                    <a:lnTo>
                      <a:pt x="1778" y="387"/>
                    </a:lnTo>
                    <a:lnTo>
                      <a:pt x="1771" y="379"/>
                    </a:lnTo>
                    <a:lnTo>
                      <a:pt x="1764" y="372"/>
                    </a:lnTo>
                    <a:lnTo>
                      <a:pt x="1754" y="366"/>
                    </a:lnTo>
                    <a:lnTo>
                      <a:pt x="1708" y="348"/>
                    </a:lnTo>
                    <a:lnTo>
                      <a:pt x="1705" y="342"/>
                    </a:lnTo>
                    <a:lnTo>
                      <a:pt x="1707" y="333"/>
                    </a:lnTo>
                    <a:lnTo>
                      <a:pt x="1708" y="324"/>
                    </a:lnTo>
                    <a:lnTo>
                      <a:pt x="1709" y="313"/>
                    </a:lnTo>
                    <a:lnTo>
                      <a:pt x="1710" y="303"/>
                    </a:lnTo>
                    <a:lnTo>
                      <a:pt x="1709" y="294"/>
                    </a:lnTo>
                    <a:lnTo>
                      <a:pt x="1708" y="290"/>
                    </a:lnTo>
                    <a:lnTo>
                      <a:pt x="1707" y="286"/>
                    </a:lnTo>
                    <a:lnTo>
                      <a:pt x="1704" y="283"/>
                    </a:lnTo>
                    <a:lnTo>
                      <a:pt x="1701" y="279"/>
                    </a:lnTo>
                    <a:lnTo>
                      <a:pt x="1698" y="276"/>
                    </a:lnTo>
                    <a:lnTo>
                      <a:pt x="1693" y="273"/>
                    </a:lnTo>
                    <a:lnTo>
                      <a:pt x="1689" y="271"/>
                    </a:lnTo>
                    <a:lnTo>
                      <a:pt x="1682" y="269"/>
                    </a:lnTo>
                    <a:lnTo>
                      <a:pt x="1669" y="266"/>
                    </a:lnTo>
                    <a:lnTo>
                      <a:pt x="1654" y="263"/>
                    </a:lnTo>
                    <a:lnTo>
                      <a:pt x="1618" y="261"/>
                    </a:lnTo>
                    <a:lnTo>
                      <a:pt x="1581" y="261"/>
                    </a:lnTo>
                    <a:lnTo>
                      <a:pt x="1596" y="257"/>
                    </a:lnTo>
                    <a:lnTo>
                      <a:pt x="1609" y="253"/>
                    </a:lnTo>
                    <a:lnTo>
                      <a:pt x="1613" y="249"/>
                    </a:lnTo>
                    <a:lnTo>
                      <a:pt x="1618" y="245"/>
                    </a:lnTo>
                    <a:lnTo>
                      <a:pt x="1620" y="239"/>
                    </a:lnTo>
                    <a:lnTo>
                      <a:pt x="1621" y="231"/>
                    </a:lnTo>
                    <a:lnTo>
                      <a:pt x="1608" y="231"/>
                    </a:lnTo>
                    <a:lnTo>
                      <a:pt x="1596" y="231"/>
                    </a:lnTo>
                    <a:lnTo>
                      <a:pt x="1581" y="231"/>
                    </a:lnTo>
                    <a:lnTo>
                      <a:pt x="1562" y="231"/>
                    </a:lnTo>
                    <a:lnTo>
                      <a:pt x="1559" y="246"/>
                    </a:lnTo>
                    <a:lnTo>
                      <a:pt x="1555" y="263"/>
                    </a:lnTo>
                    <a:lnTo>
                      <a:pt x="1550" y="279"/>
                    </a:lnTo>
                    <a:lnTo>
                      <a:pt x="1548" y="292"/>
                    </a:lnTo>
                    <a:lnTo>
                      <a:pt x="1548" y="294"/>
                    </a:lnTo>
                    <a:lnTo>
                      <a:pt x="1550" y="295"/>
                    </a:lnTo>
                    <a:lnTo>
                      <a:pt x="1552" y="295"/>
                    </a:lnTo>
                    <a:lnTo>
                      <a:pt x="1555" y="295"/>
                    </a:lnTo>
                    <a:lnTo>
                      <a:pt x="1559" y="293"/>
                    </a:lnTo>
                    <a:lnTo>
                      <a:pt x="1562" y="292"/>
                    </a:lnTo>
                    <a:lnTo>
                      <a:pt x="1562" y="323"/>
                    </a:lnTo>
                    <a:lnTo>
                      <a:pt x="1552" y="327"/>
                    </a:lnTo>
                    <a:lnTo>
                      <a:pt x="1543" y="331"/>
                    </a:lnTo>
                    <a:lnTo>
                      <a:pt x="1537" y="332"/>
                    </a:lnTo>
                    <a:lnTo>
                      <a:pt x="1531" y="334"/>
                    </a:lnTo>
                    <a:lnTo>
                      <a:pt x="1524" y="334"/>
                    </a:lnTo>
                    <a:lnTo>
                      <a:pt x="1514" y="336"/>
                    </a:lnTo>
                    <a:lnTo>
                      <a:pt x="1514" y="345"/>
                    </a:lnTo>
                    <a:lnTo>
                      <a:pt x="1514" y="354"/>
                    </a:lnTo>
                    <a:lnTo>
                      <a:pt x="1532" y="375"/>
                    </a:lnTo>
                    <a:lnTo>
                      <a:pt x="1555" y="404"/>
                    </a:lnTo>
                    <a:lnTo>
                      <a:pt x="1562" y="411"/>
                    </a:lnTo>
                    <a:lnTo>
                      <a:pt x="1569" y="418"/>
                    </a:lnTo>
                    <a:lnTo>
                      <a:pt x="1577" y="424"/>
                    </a:lnTo>
                    <a:lnTo>
                      <a:pt x="1585" y="429"/>
                    </a:lnTo>
                    <a:lnTo>
                      <a:pt x="1593" y="433"/>
                    </a:lnTo>
                    <a:lnTo>
                      <a:pt x="1602" y="437"/>
                    </a:lnTo>
                    <a:lnTo>
                      <a:pt x="1611" y="439"/>
                    </a:lnTo>
                    <a:lnTo>
                      <a:pt x="1621" y="439"/>
                    </a:lnTo>
                    <a:lnTo>
                      <a:pt x="1622" y="445"/>
                    </a:lnTo>
                    <a:lnTo>
                      <a:pt x="1623" y="451"/>
                    </a:lnTo>
                    <a:lnTo>
                      <a:pt x="1625" y="455"/>
                    </a:lnTo>
                    <a:lnTo>
                      <a:pt x="1629" y="458"/>
                    </a:lnTo>
                    <a:lnTo>
                      <a:pt x="1636" y="465"/>
                    </a:lnTo>
                    <a:lnTo>
                      <a:pt x="1645" y="471"/>
                    </a:lnTo>
                    <a:lnTo>
                      <a:pt x="1654" y="477"/>
                    </a:lnTo>
                    <a:lnTo>
                      <a:pt x="1663" y="483"/>
                    </a:lnTo>
                    <a:lnTo>
                      <a:pt x="1667" y="487"/>
                    </a:lnTo>
                    <a:lnTo>
                      <a:pt x="1670" y="491"/>
                    </a:lnTo>
                    <a:lnTo>
                      <a:pt x="1673" y="496"/>
                    </a:lnTo>
                    <a:lnTo>
                      <a:pt x="1674" y="501"/>
                    </a:lnTo>
                    <a:lnTo>
                      <a:pt x="1667" y="501"/>
                    </a:lnTo>
                    <a:lnTo>
                      <a:pt x="1654" y="501"/>
                    </a:lnTo>
                    <a:lnTo>
                      <a:pt x="1645" y="499"/>
                    </a:lnTo>
                    <a:lnTo>
                      <a:pt x="1625" y="494"/>
                    </a:lnTo>
                    <a:lnTo>
                      <a:pt x="1599" y="487"/>
                    </a:lnTo>
                    <a:lnTo>
                      <a:pt x="1568" y="478"/>
                    </a:lnTo>
                    <a:lnTo>
                      <a:pt x="1539" y="468"/>
                    </a:lnTo>
                    <a:lnTo>
                      <a:pt x="1513" y="458"/>
                    </a:lnTo>
                    <a:lnTo>
                      <a:pt x="1502" y="453"/>
                    </a:lnTo>
                    <a:lnTo>
                      <a:pt x="1495" y="448"/>
                    </a:lnTo>
                    <a:lnTo>
                      <a:pt x="1492" y="445"/>
                    </a:lnTo>
                    <a:lnTo>
                      <a:pt x="1490" y="443"/>
                    </a:lnTo>
                    <a:lnTo>
                      <a:pt x="1488" y="441"/>
                    </a:lnTo>
                    <a:lnTo>
                      <a:pt x="1488" y="439"/>
                    </a:lnTo>
                    <a:lnTo>
                      <a:pt x="1467" y="439"/>
                    </a:lnTo>
                    <a:lnTo>
                      <a:pt x="1432" y="436"/>
                    </a:lnTo>
                    <a:lnTo>
                      <a:pt x="1389" y="432"/>
                    </a:lnTo>
                    <a:lnTo>
                      <a:pt x="1343" y="425"/>
                    </a:lnTo>
                    <a:lnTo>
                      <a:pt x="1320" y="421"/>
                    </a:lnTo>
                    <a:lnTo>
                      <a:pt x="1298" y="417"/>
                    </a:lnTo>
                    <a:lnTo>
                      <a:pt x="1277" y="412"/>
                    </a:lnTo>
                    <a:lnTo>
                      <a:pt x="1260" y="406"/>
                    </a:lnTo>
                    <a:lnTo>
                      <a:pt x="1251" y="403"/>
                    </a:lnTo>
                    <a:lnTo>
                      <a:pt x="1244" y="400"/>
                    </a:lnTo>
                    <a:lnTo>
                      <a:pt x="1238" y="397"/>
                    </a:lnTo>
                    <a:lnTo>
                      <a:pt x="1232" y="394"/>
                    </a:lnTo>
                    <a:lnTo>
                      <a:pt x="1228" y="389"/>
                    </a:lnTo>
                    <a:lnTo>
                      <a:pt x="1225" y="386"/>
                    </a:lnTo>
                    <a:lnTo>
                      <a:pt x="1223" y="382"/>
                    </a:lnTo>
                    <a:lnTo>
                      <a:pt x="1222" y="378"/>
                    </a:lnTo>
                    <a:lnTo>
                      <a:pt x="1210" y="381"/>
                    </a:lnTo>
                    <a:lnTo>
                      <a:pt x="1203" y="384"/>
                    </a:lnTo>
                    <a:lnTo>
                      <a:pt x="1203" y="389"/>
                    </a:lnTo>
                    <a:lnTo>
                      <a:pt x="1204" y="395"/>
                    </a:lnTo>
                    <a:lnTo>
                      <a:pt x="1205" y="399"/>
                    </a:lnTo>
                    <a:lnTo>
                      <a:pt x="1207" y="403"/>
                    </a:lnTo>
                    <a:lnTo>
                      <a:pt x="1211" y="410"/>
                    </a:lnTo>
                    <a:lnTo>
                      <a:pt x="1218" y="416"/>
                    </a:lnTo>
                    <a:lnTo>
                      <a:pt x="1225" y="421"/>
                    </a:lnTo>
                    <a:lnTo>
                      <a:pt x="1233" y="425"/>
                    </a:lnTo>
                    <a:lnTo>
                      <a:pt x="1243" y="429"/>
                    </a:lnTo>
                    <a:lnTo>
                      <a:pt x="1253" y="433"/>
                    </a:lnTo>
                    <a:lnTo>
                      <a:pt x="1274" y="442"/>
                    </a:lnTo>
                    <a:lnTo>
                      <a:pt x="1295" y="452"/>
                    </a:lnTo>
                    <a:lnTo>
                      <a:pt x="1305" y="458"/>
                    </a:lnTo>
                    <a:lnTo>
                      <a:pt x="1313" y="465"/>
                    </a:lnTo>
                    <a:lnTo>
                      <a:pt x="1322" y="473"/>
                    </a:lnTo>
                    <a:lnTo>
                      <a:pt x="1329" y="483"/>
                    </a:lnTo>
                    <a:lnTo>
                      <a:pt x="1319" y="483"/>
                    </a:lnTo>
                    <a:lnTo>
                      <a:pt x="1309" y="483"/>
                    </a:lnTo>
                    <a:lnTo>
                      <a:pt x="1297" y="481"/>
                    </a:lnTo>
                    <a:lnTo>
                      <a:pt x="1281" y="477"/>
                    </a:lnTo>
                    <a:lnTo>
                      <a:pt x="1272" y="475"/>
                    </a:lnTo>
                    <a:lnTo>
                      <a:pt x="1262" y="473"/>
                    </a:lnTo>
                    <a:lnTo>
                      <a:pt x="1252" y="471"/>
                    </a:lnTo>
                    <a:lnTo>
                      <a:pt x="1242" y="471"/>
                    </a:lnTo>
                    <a:lnTo>
                      <a:pt x="1232" y="471"/>
                    </a:lnTo>
                    <a:lnTo>
                      <a:pt x="1221" y="473"/>
                    </a:lnTo>
                    <a:lnTo>
                      <a:pt x="1210" y="475"/>
                    </a:lnTo>
                    <a:lnTo>
                      <a:pt x="1198" y="477"/>
                    </a:lnTo>
                    <a:lnTo>
                      <a:pt x="1174" y="484"/>
                    </a:lnTo>
                    <a:lnTo>
                      <a:pt x="1149" y="492"/>
                    </a:lnTo>
                    <a:lnTo>
                      <a:pt x="1122" y="500"/>
                    </a:lnTo>
                    <a:lnTo>
                      <a:pt x="1097" y="508"/>
                    </a:lnTo>
                    <a:lnTo>
                      <a:pt x="1085" y="510"/>
                    </a:lnTo>
                    <a:lnTo>
                      <a:pt x="1073" y="512"/>
                    </a:lnTo>
                    <a:lnTo>
                      <a:pt x="1061" y="514"/>
                    </a:lnTo>
                    <a:lnTo>
                      <a:pt x="1050" y="514"/>
                    </a:lnTo>
                    <a:lnTo>
                      <a:pt x="1046" y="513"/>
                    </a:lnTo>
                    <a:lnTo>
                      <a:pt x="1042" y="511"/>
                    </a:lnTo>
                    <a:lnTo>
                      <a:pt x="1040" y="507"/>
                    </a:lnTo>
                    <a:lnTo>
                      <a:pt x="1040" y="503"/>
                    </a:lnTo>
                    <a:lnTo>
                      <a:pt x="1040" y="496"/>
                    </a:lnTo>
                    <a:lnTo>
                      <a:pt x="1042" y="490"/>
                    </a:lnTo>
                    <a:lnTo>
                      <a:pt x="1046" y="484"/>
                    </a:lnTo>
                    <a:lnTo>
                      <a:pt x="1050" y="477"/>
                    </a:lnTo>
                    <a:lnTo>
                      <a:pt x="1040" y="473"/>
                    </a:lnTo>
                    <a:lnTo>
                      <a:pt x="1030" y="472"/>
                    </a:lnTo>
                    <a:lnTo>
                      <a:pt x="1019" y="471"/>
                    </a:lnTo>
                    <a:lnTo>
                      <a:pt x="1009" y="471"/>
                    </a:lnTo>
                    <a:lnTo>
                      <a:pt x="1007" y="475"/>
                    </a:lnTo>
                    <a:lnTo>
                      <a:pt x="1004" y="477"/>
                    </a:lnTo>
                    <a:lnTo>
                      <a:pt x="999" y="479"/>
                    </a:lnTo>
                    <a:lnTo>
                      <a:pt x="994" y="480"/>
                    </a:lnTo>
                    <a:lnTo>
                      <a:pt x="984" y="480"/>
                    </a:lnTo>
                    <a:lnTo>
                      <a:pt x="972" y="479"/>
                    </a:lnTo>
                    <a:lnTo>
                      <a:pt x="961" y="477"/>
                    </a:lnTo>
                    <a:lnTo>
                      <a:pt x="949" y="477"/>
                    </a:lnTo>
                    <a:lnTo>
                      <a:pt x="943" y="477"/>
                    </a:lnTo>
                    <a:lnTo>
                      <a:pt x="939" y="478"/>
                    </a:lnTo>
                    <a:lnTo>
                      <a:pt x="934" y="480"/>
                    </a:lnTo>
                    <a:lnTo>
                      <a:pt x="930" y="483"/>
                    </a:lnTo>
                    <a:lnTo>
                      <a:pt x="924" y="489"/>
                    </a:lnTo>
                    <a:lnTo>
                      <a:pt x="916" y="495"/>
                    </a:lnTo>
                    <a:lnTo>
                      <a:pt x="908" y="500"/>
                    </a:lnTo>
                    <a:lnTo>
                      <a:pt x="900" y="505"/>
                    </a:lnTo>
                    <a:lnTo>
                      <a:pt x="882" y="513"/>
                    </a:lnTo>
                    <a:lnTo>
                      <a:pt x="864" y="522"/>
                    </a:lnTo>
                    <a:lnTo>
                      <a:pt x="857" y="526"/>
                    </a:lnTo>
                    <a:lnTo>
                      <a:pt x="849" y="532"/>
                    </a:lnTo>
                    <a:lnTo>
                      <a:pt x="841" y="538"/>
                    </a:lnTo>
                    <a:lnTo>
                      <a:pt x="836" y="545"/>
                    </a:lnTo>
                    <a:lnTo>
                      <a:pt x="830" y="553"/>
                    </a:lnTo>
                    <a:lnTo>
                      <a:pt x="827" y="564"/>
                    </a:lnTo>
                    <a:lnTo>
                      <a:pt x="825" y="575"/>
                    </a:lnTo>
                    <a:lnTo>
                      <a:pt x="824" y="588"/>
                    </a:lnTo>
                    <a:lnTo>
                      <a:pt x="810" y="584"/>
                    </a:lnTo>
                    <a:lnTo>
                      <a:pt x="797" y="581"/>
                    </a:lnTo>
                    <a:lnTo>
                      <a:pt x="791" y="581"/>
                    </a:lnTo>
                    <a:lnTo>
                      <a:pt x="784" y="582"/>
                    </a:lnTo>
                    <a:lnTo>
                      <a:pt x="778" y="584"/>
                    </a:lnTo>
                    <a:lnTo>
                      <a:pt x="771" y="588"/>
                    </a:lnTo>
                    <a:lnTo>
                      <a:pt x="758" y="582"/>
                    </a:lnTo>
                    <a:lnTo>
                      <a:pt x="740" y="575"/>
                    </a:lnTo>
                    <a:lnTo>
                      <a:pt x="732" y="571"/>
                    </a:lnTo>
                    <a:lnTo>
                      <a:pt x="724" y="566"/>
                    </a:lnTo>
                    <a:lnTo>
                      <a:pt x="716" y="562"/>
                    </a:lnTo>
                    <a:lnTo>
                      <a:pt x="711" y="556"/>
                    </a:lnTo>
                    <a:lnTo>
                      <a:pt x="711" y="526"/>
                    </a:lnTo>
                    <a:lnTo>
                      <a:pt x="721" y="526"/>
                    </a:lnTo>
                    <a:lnTo>
                      <a:pt x="730" y="526"/>
                    </a:lnTo>
                    <a:lnTo>
                      <a:pt x="738" y="526"/>
                    </a:lnTo>
                    <a:lnTo>
                      <a:pt x="744" y="526"/>
                    </a:lnTo>
                    <a:lnTo>
                      <a:pt x="740" y="516"/>
                    </a:lnTo>
                    <a:lnTo>
                      <a:pt x="736" y="507"/>
                    </a:lnTo>
                    <a:lnTo>
                      <a:pt x="730" y="499"/>
                    </a:lnTo>
                    <a:lnTo>
                      <a:pt x="723" y="493"/>
                    </a:lnTo>
                    <a:lnTo>
                      <a:pt x="714" y="488"/>
                    </a:lnTo>
                    <a:lnTo>
                      <a:pt x="704" y="485"/>
                    </a:lnTo>
                    <a:lnTo>
                      <a:pt x="692" y="483"/>
                    </a:lnTo>
                    <a:lnTo>
                      <a:pt x="678" y="483"/>
                    </a:lnTo>
                    <a:lnTo>
                      <a:pt x="668" y="483"/>
                    </a:lnTo>
                    <a:lnTo>
                      <a:pt x="656" y="483"/>
                    </a:lnTo>
                    <a:lnTo>
                      <a:pt x="643" y="483"/>
                    </a:lnTo>
                    <a:lnTo>
                      <a:pt x="624" y="483"/>
                    </a:lnTo>
                    <a:lnTo>
                      <a:pt x="627" y="487"/>
                    </a:lnTo>
                    <a:lnTo>
                      <a:pt x="632" y="491"/>
                    </a:lnTo>
                    <a:lnTo>
                      <a:pt x="636" y="495"/>
                    </a:lnTo>
                    <a:lnTo>
                      <a:pt x="640" y="498"/>
                    </a:lnTo>
                    <a:lnTo>
                      <a:pt x="645" y="501"/>
                    </a:lnTo>
                    <a:lnTo>
                      <a:pt x="648" y="506"/>
                    </a:lnTo>
                    <a:lnTo>
                      <a:pt x="650" y="510"/>
                    </a:lnTo>
                    <a:lnTo>
                      <a:pt x="651" y="514"/>
                    </a:lnTo>
                    <a:lnTo>
                      <a:pt x="650" y="519"/>
                    </a:lnTo>
                    <a:lnTo>
                      <a:pt x="649" y="523"/>
                    </a:lnTo>
                    <a:lnTo>
                      <a:pt x="648" y="525"/>
                    </a:lnTo>
                    <a:lnTo>
                      <a:pt x="646" y="528"/>
                    </a:lnTo>
                    <a:lnTo>
                      <a:pt x="643" y="530"/>
                    </a:lnTo>
                    <a:lnTo>
                      <a:pt x="638" y="532"/>
                    </a:lnTo>
                    <a:lnTo>
                      <a:pt x="647" y="541"/>
                    </a:lnTo>
                    <a:lnTo>
                      <a:pt x="656" y="550"/>
                    </a:lnTo>
                    <a:lnTo>
                      <a:pt x="661" y="554"/>
                    </a:lnTo>
                    <a:lnTo>
                      <a:pt x="668" y="557"/>
                    </a:lnTo>
                    <a:lnTo>
                      <a:pt x="676" y="561"/>
                    </a:lnTo>
                    <a:lnTo>
                      <a:pt x="684" y="564"/>
                    </a:lnTo>
                    <a:lnTo>
                      <a:pt x="684" y="619"/>
                    </a:lnTo>
                    <a:lnTo>
                      <a:pt x="677" y="619"/>
                    </a:lnTo>
                    <a:lnTo>
                      <a:pt x="665" y="619"/>
                    </a:lnTo>
                    <a:lnTo>
                      <a:pt x="659" y="610"/>
                    </a:lnTo>
                    <a:lnTo>
                      <a:pt x="654" y="604"/>
                    </a:lnTo>
                    <a:lnTo>
                      <a:pt x="647" y="599"/>
                    </a:lnTo>
                    <a:lnTo>
                      <a:pt x="639" y="595"/>
                    </a:lnTo>
                    <a:lnTo>
                      <a:pt x="623" y="589"/>
                    </a:lnTo>
                    <a:lnTo>
                      <a:pt x="604" y="582"/>
                    </a:lnTo>
                    <a:lnTo>
                      <a:pt x="602" y="585"/>
                    </a:lnTo>
                    <a:lnTo>
                      <a:pt x="599" y="589"/>
                    </a:lnTo>
                    <a:lnTo>
                      <a:pt x="594" y="593"/>
                    </a:lnTo>
                    <a:lnTo>
                      <a:pt x="588" y="597"/>
                    </a:lnTo>
                    <a:lnTo>
                      <a:pt x="575" y="606"/>
                    </a:lnTo>
                    <a:lnTo>
                      <a:pt x="559" y="615"/>
                    </a:lnTo>
                    <a:lnTo>
                      <a:pt x="544" y="624"/>
                    </a:lnTo>
                    <a:lnTo>
                      <a:pt x="531" y="631"/>
                    </a:lnTo>
                    <a:lnTo>
                      <a:pt x="525" y="635"/>
                    </a:lnTo>
                    <a:lnTo>
                      <a:pt x="522" y="638"/>
                    </a:lnTo>
                    <a:lnTo>
                      <a:pt x="519" y="641"/>
                    </a:lnTo>
                    <a:lnTo>
                      <a:pt x="519" y="643"/>
                    </a:lnTo>
                    <a:lnTo>
                      <a:pt x="519" y="647"/>
                    </a:lnTo>
                    <a:lnTo>
                      <a:pt x="520" y="651"/>
                    </a:lnTo>
                    <a:lnTo>
                      <a:pt x="521" y="655"/>
                    </a:lnTo>
                    <a:lnTo>
                      <a:pt x="523" y="658"/>
                    </a:lnTo>
                    <a:lnTo>
                      <a:pt x="528" y="663"/>
                    </a:lnTo>
                    <a:lnTo>
                      <a:pt x="536" y="667"/>
                    </a:lnTo>
                    <a:lnTo>
                      <a:pt x="543" y="673"/>
                    </a:lnTo>
                    <a:lnTo>
                      <a:pt x="549" y="678"/>
                    </a:lnTo>
                    <a:lnTo>
                      <a:pt x="551" y="681"/>
                    </a:lnTo>
                    <a:lnTo>
                      <a:pt x="555" y="685"/>
                    </a:lnTo>
                    <a:lnTo>
                      <a:pt x="557" y="688"/>
                    </a:lnTo>
                    <a:lnTo>
                      <a:pt x="558" y="693"/>
                    </a:lnTo>
                    <a:lnTo>
                      <a:pt x="471" y="693"/>
                    </a:lnTo>
                    <a:lnTo>
                      <a:pt x="467" y="705"/>
                    </a:lnTo>
                    <a:lnTo>
                      <a:pt x="464" y="721"/>
                    </a:lnTo>
                    <a:lnTo>
                      <a:pt x="460" y="730"/>
                    </a:lnTo>
                    <a:lnTo>
                      <a:pt x="457" y="736"/>
                    </a:lnTo>
                    <a:lnTo>
                      <a:pt x="454" y="739"/>
                    </a:lnTo>
                    <a:lnTo>
                      <a:pt x="452" y="740"/>
                    </a:lnTo>
                    <a:lnTo>
                      <a:pt x="448" y="742"/>
                    </a:lnTo>
                    <a:lnTo>
                      <a:pt x="445" y="742"/>
                    </a:lnTo>
                    <a:lnTo>
                      <a:pt x="433" y="742"/>
                    </a:lnTo>
                    <a:lnTo>
                      <a:pt x="420" y="741"/>
                    </a:lnTo>
                    <a:lnTo>
                      <a:pt x="407" y="739"/>
                    </a:lnTo>
                    <a:lnTo>
                      <a:pt x="393" y="736"/>
                    </a:lnTo>
                    <a:lnTo>
                      <a:pt x="380" y="733"/>
                    </a:lnTo>
                    <a:lnTo>
                      <a:pt x="367" y="729"/>
                    </a:lnTo>
                    <a:lnTo>
                      <a:pt x="355" y="723"/>
                    </a:lnTo>
                    <a:lnTo>
                      <a:pt x="344" y="718"/>
                    </a:lnTo>
                    <a:lnTo>
                      <a:pt x="333" y="711"/>
                    </a:lnTo>
                    <a:lnTo>
                      <a:pt x="323" y="704"/>
                    </a:lnTo>
                    <a:lnTo>
                      <a:pt x="314" y="696"/>
                    </a:lnTo>
                    <a:lnTo>
                      <a:pt x="307" y="687"/>
                    </a:lnTo>
                    <a:lnTo>
                      <a:pt x="301" y="678"/>
                    </a:lnTo>
                    <a:lnTo>
                      <a:pt x="296" y="666"/>
                    </a:lnTo>
                    <a:lnTo>
                      <a:pt x="293" y="655"/>
                    </a:lnTo>
                    <a:lnTo>
                      <a:pt x="292" y="643"/>
                    </a:lnTo>
                    <a:lnTo>
                      <a:pt x="289" y="636"/>
                    </a:lnTo>
                    <a:lnTo>
                      <a:pt x="286" y="625"/>
                    </a:lnTo>
                    <a:lnTo>
                      <a:pt x="273" y="622"/>
                    </a:lnTo>
                    <a:lnTo>
                      <a:pt x="254" y="616"/>
                    </a:lnTo>
                    <a:lnTo>
                      <a:pt x="232" y="609"/>
                    </a:lnTo>
                    <a:lnTo>
                      <a:pt x="209" y="601"/>
                    </a:lnTo>
                    <a:lnTo>
                      <a:pt x="188" y="592"/>
                    </a:lnTo>
                    <a:lnTo>
                      <a:pt x="169" y="582"/>
                    </a:lnTo>
                    <a:lnTo>
                      <a:pt x="163" y="578"/>
                    </a:lnTo>
                    <a:lnTo>
                      <a:pt x="157" y="573"/>
                    </a:lnTo>
                    <a:lnTo>
                      <a:pt x="154" y="568"/>
                    </a:lnTo>
                    <a:lnTo>
                      <a:pt x="153" y="564"/>
                    </a:lnTo>
                    <a:lnTo>
                      <a:pt x="162" y="567"/>
                    </a:lnTo>
                    <a:lnTo>
                      <a:pt x="183" y="574"/>
                    </a:lnTo>
                    <a:lnTo>
                      <a:pt x="211" y="582"/>
                    </a:lnTo>
                    <a:lnTo>
                      <a:pt x="244" y="590"/>
                    </a:lnTo>
                    <a:lnTo>
                      <a:pt x="277" y="598"/>
                    </a:lnTo>
                    <a:lnTo>
                      <a:pt x="308" y="605"/>
                    </a:lnTo>
                    <a:lnTo>
                      <a:pt x="332" y="610"/>
                    </a:lnTo>
                    <a:lnTo>
                      <a:pt x="345" y="612"/>
                    </a:lnTo>
                    <a:lnTo>
                      <a:pt x="368" y="612"/>
                    </a:lnTo>
                    <a:lnTo>
                      <a:pt x="390" y="612"/>
                    </a:lnTo>
                    <a:lnTo>
                      <a:pt x="414" y="612"/>
                    </a:lnTo>
                    <a:lnTo>
                      <a:pt x="445" y="612"/>
                    </a:lnTo>
                    <a:lnTo>
                      <a:pt x="454" y="612"/>
                    </a:lnTo>
                    <a:lnTo>
                      <a:pt x="461" y="611"/>
                    </a:lnTo>
                    <a:lnTo>
                      <a:pt x="469" y="609"/>
                    </a:lnTo>
                    <a:lnTo>
                      <a:pt x="477" y="607"/>
                    </a:lnTo>
                    <a:lnTo>
                      <a:pt x="490" y="601"/>
                    </a:lnTo>
                    <a:lnTo>
                      <a:pt x="502" y="594"/>
                    </a:lnTo>
                    <a:lnTo>
                      <a:pt x="514" y="585"/>
                    </a:lnTo>
                    <a:lnTo>
                      <a:pt x="524" y="576"/>
                    </a:lnTo>
                    <a:lnTo>
                      <a:pt x="535" y="567"/>
                    </a:lnTo>
                    <a:lnTo>
                      <a:pt x="545" y="556"/>
                    </a:lnTo>
                    <a:lnTo>
                      <a:pt x="536" y="547"/>
                    </a:lnTo>
                    <a:lnTo>
                      <a:pt x="527" y="536"/>
                    </a:lnTo>
                    <a:lnTo>
                      <a:pt x="523" y="531"/>
                    </a:lnTo>
                    <a:lnTo>
                      <a:pt x="517" y="527"/>
                    </a:lnTo>
                    <a:lnTo>
                      <a:pt x="512" y="523"/>
                    </a:lnTo>
                    <a:lnTo>
                      <a:pt x="505" y="520"/>
                    </a:lnTo>
                    <a:lnTo>
                      <a:pt x="500" y="518"/>
                    </a:lnTo>
                    <a:lnTo>
                      <a:pt x="484" y="511"/>
                    </a:lnTo>
                    <a:lnTo>
                      <a:pt x="459" y="499"/>
                    </a:lnTo>
                    <a:lnTo>
                      <a:pt x="424" y="487"/>
                    </a:lnTo>
                    <a:lnTo>
                      <a:pt x="403" y="481"/>
                    </a:lnTo>
                    <a:lnTo>
                      <a:pt x="379" y="475"/>
                    </a:lnTo>
                    <a:lnTo>
                      <a:pt x="352" y="469"/>
                    </a:lnTo>
                    <a:lnTo>
                      <a:pt x="323" y="463"/>
                    </a:lnTo>
                    <a:lnTo>
                      <a:pt x="291" y="458"/>
                    </a:lnTo>
                    <a:lnTo>
                      <a:pt x="256" y="453"/>
                    </a:lnTo>
                    <a:lnTo>
                      <a:pt x="219" y="449"/>
                    </a:lnTo>
                    <a:lnTo>
                      <a:pt x="179" y="446"/>
                    </a:lnTo>
                    <a:lnTo>
                      <a:pt x="172" y="446"/>
                    </a:lnTo>
                    <a:lnTo>
                      <a:pt x="165" y="445"/>
                    </a:lnTo>
                    <a:lnTo>
                      <a:pt x="158" y="444"/>
                    </a:lnTo>
                    <a:lnTo>
                      <a:pt x="152" y="442"/>
                    </a:lnTo>
                    <a:lnTo>
                      <a:pt x="150" y="440"/>
                    </a:lnTo>
                    <a:lnTo>
                      <a:pt x="146" y="438"/>
                    </a:lnTo>
                    <a:lnTo>
                      <a:pt x="144" y="436"/>
                    </a:lnTo>
                    <a:lnTo>
                      <a:pt x="143" y="433"/>
                    </a:lnTo>
                    <a:lnTo>
                      <a:pt x="141" y="425"/>
                    </a:lnTo>
                    <a:lnTo>
                      <a:pt x="140" y="415"/>
                    </a:lnTo>
                    <a:lnTo>
                      <a:pt x="120" y="420"/>
                    </a:lnTo>
                    <a:lnTo>
                      <a:pt x="99" y="425"/>
                    </a:lnTo>
                    <a:lnTo>
                      <a:pt x="77" y="431"/>
                    </a:lnTo>
                    <a:lnTo>
                      <a:pt x="53" y="439"/>
                    </a:lnTo>
                    <a:lnTo>
                      <a:pt x="50" y="441"/>
                    </a:lnTo>
                    <a:lnTo>
                      <a:pt x="43" y="445"/>
                    </a:lnTo>
                    <a:lnTo>
                      <a:pt x="40" y="446"/>
                    </a:lnTo>
                    <a:lnTo>
                      <a:pt x="37" y="448"/>
                    </a:lnTo>
                    <a:lnTo>
                      <a:pt x="34" y="448"/>
                    </a:lnTo>
                    <a:lnTo>
                      <a:pt x="33" y="446"/>
                    </a:lnTo>
                    <a:lnTo>
                      <a:pt x="0" y="483"/>
                    </a:lnTo>
                    <a:lnTo>
                      <a:pt x="4" y="488"/>
                    </a:lnTo>
                    <a:lnTo>
                      <a:pt x="8" y="493"/>
                    </a:lnTo>
                    <a:lnTo>
                      <a:pt x="13" y="498"/>
                    </a:lnTo>
                    <a:lnTo>
                      <a:pt x="18" y="503"/>
                    </a:lnTo>
                    <a:lnTo>
                      <a:pt x="29" y="509"/>
                    </a:lnTo>
                    <a:lnTo>
                      <a:pt x="40" y="515"/>
                    </a:lnTo>
                    <a:lnTo>
                      <a:pt x="62" y="524"/>
                    </a:lnTo>
                    <a:lnTo>
                      <a:pt x="79" y="532"/>
                    </a:lnTo>
                    <a:lnTo>
                      <a:pt x="77" y="540"/>
                    </a:lnTo>
                    <a:lnTo>
                      <a:pt x="74" y="547"/>
                    </a:lnTo>
                    <a:lnTo>
                      <a:pt x="71" y="552"/>
                    </a:lnTo>
                    <a:lnTo>
                      <a:pt x="67" y="556"/>
                    </a:lnTo>
                    <a:lnTo>
                      <a:pt x="64" y="562"/>
                    </a:lnTo>
                    <a:lnTo>
                      <a:pt x="62" y="567"/>
                    </a:lnTo>
                    <a:lnTo>
                      <a:pt x="61" y="574"/>
                    </a:lnTo>
                    <a:lnTo>
                      <a:pt x="60" y="582"/>
                    </a:lnTo>
                    <a:lnTo>
                      <a:pt x="61" y="589"/>
                    </a:lnTo>
                    <a:lnTo>
                      <a:pt x="65" y="597"/>
                    </a:lnTo>
                    <a:lnTo>
                      <a:pt x="71" y="605"/>
                    </a:lnTo>
                    <a:lnTo>
                      <a:pt x="77" y="614"/>
                    </a:lnTo>
                    <a:lnTo>
                      <a:pt x="84" y="621"/>
                    </a:lnTo>
                    <a:lnTo>
                      <a:pt x="90" y="626"/>
                    </a:lnTo>
                    <a:lnTo>
                      <a:pt x="96" y="630"/>
                    </a:lnTo>
                    <a:lnTo>
                      <a:pt x="99" y="631"/>
                    </a:lnTo>
                    <a:lnTo>
                      <a:pt x="100" y="647"/>
                    </a:lnTo>
                    <a:lnTo>
                      <a:pt x="102" y="662"/>
                    </a:lnTo>
                    <a:lnTo>
                      <a:pt x="106" y="677"/>
                    </a:lnTo>
                    <a:lnTo>
                      <a:pt x="111" y="689"/>
                    </a:lnTo>
                    <a:lnTo>
                      <a:pt x="117" y="700"/>
                    </a:lnTo>
                    <a:lnTo>
                      <a:pt x="123" y="710"/>
                    </a:lnTo>
                    <a:lnTo>
                      <a:pt x="131" y="719"/>
                    </a:lnTo>
                    <a:lnTo>
                      <a:pt x="140" y="728"/>
                    </a:lnTo>
                    <a:lnTo>
                      <a:pt x="149" y="736"/>
                    </a:lnTo>
                    <a:lnTo>
                      <a:pt x="158" y="743"/>
                    </a:lnTo>
                    <a:lnTo>
                      <a:pt x="168" y="750"/>
                    </a:lnTo>
                    <a:lnTo>
                      <a:pt x="178" y="756"/>
                    </a:lnTo>
                    <a:lnTo>
                      <a:pt x="199" y="767"/>
                    </a:lnTo>
                    <a:lnTo>
                      <a:pt x="219" y="778"/>
                    </a:lnTo>
                    <a:lnTo>
                      <a:pt x="184" y="815"/>
                    </a:lnTo>
                    <a:lnTo>
                      <a:pt x="146" y="856"/>
                    </a:lnTo>
                    <a:lnTo>
                      <a:pt x="128" y="875"/>
                    </a:lnTo>
                    <a:lnTo>
                      <a:pt x="109" y="892"/>
                    </a:lnTo>
                    <a:lnTo>
                      <a:pt x="100" y="899"/>
                    </a:lnTo>
                    <a:lnTo>
                      <a:pt x="90" y="905"/>
                    </a:lnTo>
                    <a:lnTo>
                      <a:pt x="82" y="910"/>
                    </a:lnTo>
                    <a:lnTo>
                      <a:pt x="73" y="914"/>
                    </a:lnTo>
                    <a:lnTo>
                      <a:pt x="74" y="917"/>
                    </a:lnTo>
                    <a:lnTo>
                      <a:pt x="75" y="920"/>
                    </a:lnTo>
                    <a:lnTo>
                      <a:pt x="77" y="923"/>
                    </a:lnTo>
                    <a:lnTo>
                      <a:pt x="80" y="926"/>
                    </a:lnTo>
                    <a:lnTo>
                      <a:pt x="88" y="934"/>
                    </a:lnTo>
                    <a:lnTo>
                      <a:pt x="96" y="942"/>
                    </a:lnTo>
                    <a:lnTo>
                      <a:pt x="105" y="951"/>
                    </a:lnTo>
                    <a:lnTo>
                      <a:pt x="112" y="958"/>
                    </a:lnTo>
                    <a:lnTo>
                      <a:pt x="118" y="965"/>
                    </a:lnTo>
                    <a:lnTo>
                      <a:pt x="120" y="970"/>
                    </a:lnTo>
                    <a:lnTo>
                      <a:pt x="116" y="976"/>
                    </a:lnTo>
                    <a:lnTo>
                      <a:pt x="112" y="981"/>
                    </a:lnTo>
                    <a:lnTo>
                      <a:pt x="110" y="987"/>
                    </a:lnTo>
                    <a:lnTo>
                      <a:pt x="109" y="993"/>
                    </a:lnTo>
                    <a:lnTo>
                      <a:pt x="109" y="1005"/>
                    </a:lnTo>
                    <a:lnTo>
                      <a:pt x="111" y="1017"/>
                    </a:lnTo>
                    <a:lnTo>
                      <a:pt x="113" y="1029"/>
                    </a:lnTo>
                    <a:lnTo>
                      <a:pt x="116" y="1042"/>
                    </a:lnTo>
                    <a:lnTo>
                      <a:pt x="117" y="1048"/>
                    </a:lnTo>
                    <a:lnTo>
                      <a:pt x="116" y="1054"/>
                    </a:lnTo>
                    <a:lnTo>
                      <a:pt x="114" y="1062"/>
                    </a:lnTo>
                    <a:lnTo>
                      <a:pt x="113" y="1069"/>
                    </a:lnTo>
                    <a:lnTo>
                      <a:pt x="120" y="1090"/>
                    </a:lnTo>
                    <a:lnTo>
                      <a:pt x="130" y="1115"/>
                    </a:lnTo>
                    <a:lnTo>
                      <a:pt x="142" y="1139"/>
                    </a:lnTo>
                    <a:lnTo>
                      <a:pt x="153" y="1160"/>
                    </a:lnTo>
                    <a:lnTo>
                      <a:pt x="192" y="1180"/>
                    </a:lnTo>
                    <a:lnTo>
                      <a:pt x="232" y="1180"/>
                    </a:lnTo>
                    <a:lnTo>
                      <a:pt x="240" y="1204"/>
                    </a:lnTo>
                    <a:lnTo>
                      <a:pt x="279" y="1192"/>
                    </a:lnTo>
                    <a:lnTo>
                      <a:pt x="312" y="1204"/>
                    </a:lnTo>
                    <a:lnTo>
                      <a:pt x="319" y="1253"/>
                    </a:lnTo>
                    <a:lnTo>
                      <a:pt x="365" y="1291"/>
                    </a:lnTo>
                    <a:lnTo>
                      <a:pt x="399" y="1309"/>
                    </a:lnTo>
                    <a:lnTo>
                      <a:pt x="425" y="1327"/>
                    </a:lnTo>
                    <a:lnTo>
                      <a:pt x="399" y="1346"/>
                    </a:lnTo>
                    <a:lnTo>
                      <a:pt x="352" y="1333"/>
                    </a:lnTo>
                    <a:lnTo>
                      <a:pt x="358" y="1358"/>
                    </a:lnTo>
                    <a:lnTo>
                      <a:pt x="373" y="1370"/>
                    </a:lnTo>
                    <a:lnTo>
                      <a:pt x="373" y="1401"/>
                    </a:lnTo>
                    <a:lnTo>
                      <a:pt x="365" y="1401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01" name="Freeform 23">
                <a:extLst>
                  <a:ext uri="{FF2B5EF4-FFF2-40B4-BE49-F238E27FC236}">
                    <a16:creationId xmlns="" xmlns:a16="http://schemas.microsoft.com/office/drawing/2014/main" id="{8352C836-1851-43C5-8F70-E44CDFA7D887}"/>
                  </a:ext>
                </a:extLst>
              </p:cNvPr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3795713" y="2274888"/>
                <a:ext cx="280987" cy="247650"/>
              </a:xfrm>
              <a:custGeom>
                <a:avLst/>
                <a:gdLst>
                  <a:gd name="T0" fmla="*/ 2147483646 w 647"/>
                  <a:gd name="T1" fmla="*/ 2147483646 h 470"/>
                  <a:gd name="T2" fmla="*/ 2147483646 w 647"/>
                  <a:gd name="T3" fmla="*/ 2147483646 h 470"/>
                  <a:gd name="T4" fmla="*/ 2147483646 w 647"/>
                  <a:gd name="T5" fmla="*/ 2147483646 h 470"/>
                  <a:gd name="T6" fmla="*/ 2147483646 w 647"/>
                  <a:gd name="T7" fmla="*/ 2147483646 h 470"/>
                  <a:gd name="T8" fmla="*/ 2147483646 w 647"/>
                  <a:gd name="T9" fmla="*/ 2147483646 h 470"/>
                  <a:gd name="T10" fmla="*/ 2147483646 w 647"/>
                  <a:gd name="T11" fmla="*/ 2147483646 h 470"/>
                  <a:gd name="T12" fmla="*/ 2147483646 w 647"/>
                  <a:gd name="T13" fmla="*/ 2147483646 h 470"/>
                  <a:gd name="T14" fmla="*/ 2147483646 w 647"/>
                  <a:gd name="T15" fmla="*/ 2147483646 h 470"/>
                  <a:gd name="T16" fmla="*/ 2147483646 w 647"/>
                  <a:gd name="T17" fmla="*/ 2147483646 h 470"/>
                  <a:gd name="T18" fmla="*/ 2147483646 w 647"/>
                  <a:gd name="T19" fmla="*/ 2147483646 h 470"/>
                  <a:gd name="T20" fmla="*/ 2147483646 w 647"/>
                  <a:gd name="T21" fmla="*/ 2147483646 h 470"/>
                  <a:gd name="T22" fmla="*/ 2147483646 w 647"/>
                  <a:gd name="T23" fmla="*/ 2147483646 h 470"/>
                  <a:gd name="T24" fmla="*/ 2147483646 w 647"/>
                  <a:gd name="T25" fmla="*/ 2147483646 h 470"/>
                  <a:gd name="T26" fmla="*/ 2147483646 w 647"/>
                  <a:gd name="T27" fmla="*/ 2147483646 h 470"/>
                  <a:gd name="T28" fmla="*/ 2147483646 w 647"/>
                  <a:gd name="T29" fmla="*/ 2147483646 h 470"/>
                  <a:gd name="T30" fmla="*/ 2147483646 w 647"/>
                  <a:gd name="T31" fmla="*/ 2147483646 h 470"/>
                  <a:gd name="T32" fmla="*/ 2147483646 w 647"/>
                  <a:gd name="T33" fmla="*/ 2147483646 h 470"/>
                  <a:gd name="T34" fmla="*/ 2147483646 w 647"/>
                  <a:gd name="T35" fmla="*/ 2147483646 h 470"/>
                  <a:gd name="T36" fmla="*/ 2147483646 w 647"/>
                  <a:gd name="T37" fmla="*/ 2147483646 h 470"/>
                  <a:gd name="T38" fmla="*/ 2147483646 w 647"/>
                  <a:gd name="T39" fmla="*/ 2147483646 h 470"/>
                  <a:gd name="T40" fmla="*/ 2147483646 w 647"/>
                  <a:gd name="T41" fmla="*/ 2147483646 h 470"/>
                  <a:gd name="T42" fmla="*/ 2147483646 w 647"/>
                  <a:gd name="T43" fmla="*/ 2147483646 h 470"/>
                  <a:gd name="T44" fmla="*/ 2147483646 w 647"/>
                  <a:gd name="T45" fmla="*/ 2147483646 h 470"/>
                  <a:gd name="T46" fmla="*/ 2147483646 w 647"/>
                  <a:gd name="T47" fmla="*/ 2147483646 h 470"/>
                  <a:gd name="T48" fmla="*/ 2147483646 w 647"/>
                  <a:gd name="T49" fmla="*/ 2147483646 h 470"/>
                  <a:gd name="T50" fmla="*/ 2147483646 w 647"/>
                  <a:gd name="T51" fmla="*/ 2147483646 h 470"/>
                  <a:gd name="T52" fmla="*/ 2147483646 w 647"/>
                  <a:gd name="T53" fmla="*/ 2147483646 h 470"/>
                  <a:gd name="T54" fmla="*/ 2147483646 w 647"/>
                  <a:gd name="T55" fmla="*/ 2147483646 h 470"/>
                  <a:gd name="T56" fmla="*/ 2147483646 w 647"/>
                  <a:gd name="T57" fmla="*/ 2147483646 h 470"/>
                  <a:gd name="T58" fmla="*/ 2147483646 w 647"/>
                  <a:gd name="T59" fmla="*/ 2147483646 h 470"/>
                  <a:gd name="T60" fmla="*/ 2147483646 w 647"/>
                  <a:gd name="T61" fmla="*/ 2147483646 h 470"/>
                  <a:gd name="T62" fmla="*/ 2147483646 w 647"/>
                  <a:gd name="T63" fmla="*/ 2147483646 h 470"/>
                  <a:gd name="T64" fmla="*/ 2147483646 w 647"/>
                  <a:gd name="T65" fmla="*/ 2147483646 h 470"/>
                  <a:gd name="T66" fmla="*/ 2147483646 w 647"/>
                  <a:gd name="T67" fmla="*/ 2147483646 h 470"/>
                  <a:gd name="T68" fmla="*/ 2147483646 w 647"/>
                  <a:gd name="T69" fmla="*/ 2147483646 h 470"/>
                  <a:gd name="T70" fmla="*/ 2147483646 w 647"/>
                  <a:gd name="T71" fmla="*/ 2147483646 h 470"/>
                  <a:gd name="T72" fmla="*/ 2147483646 w 647"/>
                  <a:gd name="T73" fmla="*/ 2147483646 h 470"/>
                  <a:gd name="T74" fmla="*/ 2147483646 w 647"/>
                  <a:gd name="T75" fmla="*/ 2147483646 h 470"/>
                  <a:gd name="T76" fmla="*/ 2147483646 w 647"/>
                  <a:gd name="T77" fmla="*/ 2147483646 h 470"/>
                  <a:gd name="T78" fmla="*/ 2147483646 w 647"/>
                  <a:gd name="T79" fmla="*/ 2147483646 h 470"/>
                  <a:gd name="T80" fmla="*/ 2147483646 w 647"/>
                  <a:gd name="T81" fmla="*/ 2147483646 h 470"/>
                  <a:gd name="T82" fmla="*/ 2147483646 w 647"/>
                  <a:gd name="T83" fmla="*/ 2147483646 h 470"/>
                  <a:gd name="T84" fmla="*/ 2147483646 w 647"/>
                  <a:gd name="T85" fmla="*/ 2147483646 h 470"/>
                  <a:gd name="T86" fmla="*/ 2147483646 w 647"/>
                  <a:gd name="T87" fmla="*/ 2147483646 h 470"/>
                  <a:gd name="T88" fmla="*/ 2147483646 w 647"/>
                  <a:gd name="T89" fmla="*/ 2147483646 h 470"/>
                  <a:gd name="T90" fmla="*/ 2147483646 w 647"/>
                  <a:gd name="T91" fmla="*/ 2147483646 h 470"/>
                  <a:gd name="T92" fmla="*/ 0 w 647"/>
                  <a:gd name="T93" fmla="*/ 2147483646 h 470"/>
                  <a:gd name="T94" fmla="*/ 2147483646 w 647"/>
                  <a:gd name="T95" fmla="*/ 2147483646 h 470"/>
                  <a:gd name="T96" fmla="*/ 2147483646 w 647"/>
                  <a:gd name="T97" fmla="*/ 2147483646 h 470"/>
                  <a:gd name="T98" fmla="*/ 2147483646 w 647"/>
                  <a:gd name="T99" fmla="*/ 2147483646 h 470"/>
                  <a:gd name="T100" fmla="*/ 2147483646 w 647"/>
                  <a:gd name="T101" fmla="*/ 0 h 470"/>
                  <a:gd name="T102" fmla="*/ 2147483646 w 647"/>
                  <a:gd name="T103" fmla="*/ 2147483646 h 470"/>
                  <a:gd name="T104" fmla="*/ 2147483646 w 647"/>
                  <a:gd name="T105" fmla="*/ 2147483646 h 470"/>
                  <a:gd name="T106" fmla="*/ 2147483646 w 647"/>
                  <a:gd name="T107" fmla="*/ 2147483646 h 470"/>
                  <a:gd name="T108" fmla="*/ 2147483646 w 647"/>
                  <a:gd name="T109" fmla="*/ 2147483646 h 470"/>
                  <a:gd name="T110" fmla="*/ 2147483646 w 647"/>
                  <a:gd name="T111" fmla="*/ 2147483646 h 470"/>
                  <a:gd name="T112" fmla="*/ 2147483646 w 647"/>
                  <a:gd name="T113" fmla="*/ 2147483646 h 470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647"/>
                  <a:gd name="T172" fmla="*/ 0 h 470"/>
                  <a:gd name="T173" fmla="*/ 647 w 647"/>
                  <a:gd name="T174" fmla="*/ 470 h 470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647" h="470">
                    <a:moveTo>
                      <a:pt x="399" y="14"/>
                    </a:moveTo>
                    <a:lnTo>
                      <a:pt x="402" y="20"/>
                    </a:lnTo>
                    <a:lnTo>
                      <a:pt x="406" y="27"/>
                    </a:lnTo>
                    <a:lnTo>
                      <a:pt x="413" y="33"/>
                    </a:lnTo>
                    <a:lnTo>
                      <a:pt x="421" y="39"/>
                    </a:lnTo>
                    <a:lnTo>
                      <a:pt x="428" y="45"/>
                    </a:lnTo>
                    <a:lnTo>
                      <a:pt x="438" y="51"/>
                    </a:lnTo>
                    <a:lnTo>
                      <a:pt x="448" y="56"/>
                    </a:lnTo>
                    <a:lnTo>
                      <a:pt x="458" y="60"/>
                    </a:lnTo>
                    <a:lnTo>
                      <a:pt x="480" y="70"/>
                    </a:lnTo>
                    <a:lnTo>
                      <a:pt x="501" y="76"/>
                    </a:lnTo>
                    <a:lnTo>
                      <a:pt x="512" y="78"/>
                    </a:lnTo>
                    <a:lnTo>
                      <a:pt x="521" y="80"/>
                    </a:lnTo>
                    <a:lnTo>
                      <a:pt x="530" y="81"/>
                    </a:lnTo>
                    <a:lnTo>
                      <a:pt x="538" y="81"/>
                    </a:lnTo>
                    <a:lnTo>
                      <a:pt x="548" y="88"/>
                    </a:lnTo>
                    <a:lnTo>
                      <a:pt x="561" y="99"/>
                    </a:lnTo>
                    <a:lnTo>
                      <a:pt x="562" y="99"/>
                    </a:lnTo>
                    <a:lnTo>
                      <a:pt x="564" y="99"/>
                    </a:lnTo>
                    <a:lnTo>
                      <a:pt x="566" y="98"/>
                    </a:lnTo>
                    <a:lnTo>
                      <a:pt x="567" y="97"/>
                    </a:lnTo>
                    <a:lnTo>
                      <a:pt x="570" y="93"/>
                    </a:lnTo>
                    <a:lnTo>
                      <a:pt x="572" y="89"/>
                    </a:lnTo>
                    <a:lnTo>
                      <a:pt x="575" y="85"/>
                    </a:lnTo>
                    <a:lnTo>
                      <a:pt x="578" y="81"/>
                    </a:lnTo>
                    <a:lnTo>
                      <a:pt x="580" y="79"/>
                    </a:lnTo>
                    <a:lnTo>
                      <a:pt x="583" y="78"/>
                    </a:lnTo>
                    <a:lnTo>
                      <a:pt x="590" y="80"/>
                    </a:lnTo>
                    <a:lnTo>
                      <a:pt x="596" y="80"/>
                    </a:lnTo>
                    <a:lnTo>
                      <a:pt x="603" y="80"/>
                    </a:lnTo>
                    <a:lnTo>
                      <a:pt x="609" y="80"/>
                    </a:lnTo>
                    <a:lnTo>
                      <a:pt x="617" y="79"/>
                    </a:lnTo>
                    <a:lnTo>
                      <a:pt x="624" y="79"/>
                    </a:lnTo>
                    <a:lnTo>
                      <a:pt x="631" y="80"/>
                    </a:lnTo>
                    <a:lnTo>
                      <a:pt x="638" y="81"/>
                    </a:lnTo>
                    <a:lnTo>
                      <a:pt x="640" y="84"/>
                    </a:lnTo>
                    <a:lnTo>
                      <a:pt x="642" y="89"/>
                    </a:lnTo>
                    <a:lnTo>
                      <a:pt x="645" y="95"/>
                    </a:lnTo>
                    <a:lnTo>
                      <a:pt x="646" y="103"/>
                    </a:lnTo>
                    <a:lnTo>
                      <a:pt x="647" y="111"/>
                    </a:lnTo>
                    <a:lnTo>
                      <a:pt x="647" y="118"/>
                    </a:lnTo>
                    <a:lnTo>
                      <a:pt x="646" y="123"/>
                    </a:lnTo>
                    <a:lnTo>
                      <a:pt x="645" y="124"/>
                    </a:lnTo>
                    <a:lnTo>
                      <a:pt x="631" y="127"/>
                    </a:lnTo>
                    <a:lnTo>
                      <a:pt x="618" y="131"/>
                    </a:lnTo>
                    <a:lnTo>
                      <a:pt x="607" y="135"/>
                    </a:lnTo>
                    <a:lnTo>
                      <a:pt x="596" y="140"/>
                    </a:lnTo>
                    <a:lnTo>
                      <a:pt x="586" y="146"/>
                    </a:lnTo>
                    <a:lnTo>
                      <a:pt x="577" y="152"/>
                    </a:lnTo>
                    <a:lnTo>
                      <a:pt x="569" y="158"/>
                    </a:lnTo>
                    <a:lnTo>
                      <a:pt x="560" y="165"/>
                    </a:lnTo>
                    <a:lnTo>
                      <a:pt x="533" y="191"/>
                    </a:lnTo>
                    <a:lnTo>
                      <a:pt x="512" y="210"/>
                    </a:lnTo>
                    <a:lnTo>
                      <a:pt x="504" y="214"/>
                    </a:lnTo>
                    <a:lnTo>
                      <a:pt x="499" y="218"/>
                    </a:lnTo>
                    <a:lnTo>
                      <a:pt x="493" y="222"/>
                    </a:lnTo>
                    <a:lnTo>
                      <a:pt x="489" y="227"/>
                    </a:lnTo>
                    <a:lnTo>
                      <a:pt x="481" y="236"/>
                    </a:lnTo>
                    <a:lnTo>
                      <a:pt x="477" y="245"/>
                    </a:lnTo>
                    <a:lnTo>
                      <a:pt x="474" y="254"/>
                    </a:lnTo>
                    <a:lnTo>
                      <a:pt x="473" y="263"/>
                    </a:lnTo>
                    <a:lnTo>
                      <a:pt x="472" y="272"/>
                    </a:lnTo>
                    <a:lnTo>
                      <a:pt x="473" y="282"/>
                    </a:lnTo>
                    <a:lnTo>
                      <a:pt x="473" y="292"/>
                    </a:lnTo>
                    <a:lnTo>
                      <a:pt x="474" y="301"/>
                    </a:lnTo>
                    <a:lnTo>
                      <a:pt x="473" y="311"/>
                    </a:lnTo>
                    <a:lnTo>
                      <a:pt x="472" y="320"/>
                    </a:lnTo>
                    <a:lnTo>
                      <a:pt x="469" y="330"/>
                    </a:lnTo>
                    <a:lnTo>
                      <a:pt x="463" y="340"/>
                    </a:lnTo>
                    <a:lnTo>
                      <a:pt x="460" y="345"/>
                    </a:lnTo>
                    <a:lnTo>
                      <a:pt x="456" y="349"/>
                    </a:lnTo>
                    <a:lnTo>
                      <a:pt x="450" y="354"/>
                    </a:lnTo>
                    <a:lnTo>
                      <a:pt x="445" y="358"/>
                    </a:lnTo>
                    <a:lnTo>
                      <a:pt x="426" y="372"/>
                    </a:lnTo>
                    <a:lnTo>
                      <a:pt x="411" y="384"/>
                    </a:lnTo>
                    <a:lnTo>
                      <a:pt x="399" y="394"/>
                    </a:lnTo>
                    <a:lnTo>
                      <a:pt x="390" y="404"/>
                    </a:lnTo>
                    <a:lnTo>
                      <a:pt x="383" y="411"/>
                    </a:lnTo>
                    <a:lnTo>
                      <a:pt x="379" y="417"/>
                    </a:lnTo>
                    <a:lnTo>
                      <a:pt x="376" y="422"/>
                    </a:lnTo>
                    <a:lnTo>
                      <a:pt x="374" y="425"/>
                    </a:lnTo>
                    <a:lnTo>
                      <a:pt x="373" y="430"/>
                    </a:lnTo>
                    <a:lnTo>
                      <a:pt x="373" y="432"/>
                    </a:lnTo>
                    <a:lnTo>
                      <a:pt x="369" y="432"/>
                    </a:lnTo>
                    <a:lnTo>
                      <a:pt x="358" y="432"/>
                    </a:lnTo>
                    <a:lnTo>
                      <a:pt x="333" y="430"/>
                    </a:lnTo>
                    <a:lnTo>
                      <a:pt x="310" y="429"/>
                    </a:lnTo>
                    <a:lnTo>
                      <a:pt x="290" y="429"/>
                    </a:lnTo>
                    <a:lnTo>
                      <a:pt x="272" y="431"/>
                    </a:lnTo>
                    <a:lnTo>
                      <a:pt x="257" y="434"/>
                    </a:lnTo>
                    <a:lnTo>
                      <a:pt x="245" y="437"/>
                    </a:lnTo>
                    <a:lnTo>
                      <a:pt x="234" y="441"/>
                    </a:lnTo>
                    <a:lnTo>
                      <a:pt x="224" y="446"/>
                    </a:lnTo>
                    <a:lnTo>
                      <a:pt x="209" y="456"/>
                    </a:lnTo>
                    <a:lnTo>
                      <a:pt x="198" y="464"/>
                    </a:lnTo>
                    <a:lnTo>
                      <a:pt x="193" y="467"/>
                    </a:lnTo>
                    <a:lnTo>
                      <a:pt x="189" y="469"/>
                    </a:lnTo>
                    <a:lnTo>
                      <a:pt x="183" y="470"/>
                    </a:lnTo>
                    <a:lnTo>
                      <a:pt x="179" y="469"/>
                    </a:lnTo>
                    <a:lnTo>
                      <a:pt x="176" y="468"/>
                    </a:lnTo>
                    <a:lnTo>
                      <a:pt x="172" y="465"/>
                    </a:lnTo>
                    <a:lnTo>
                      <a:pt x="169" y="461"/>
                    </a:lnTo>
                    <a:lnTo>
                      <a:pt x="166" y="456"/>
                    </a:lnTo>
                    <a:lnTo>
                      <a:pt x="159" y="444"/>
                    </a:lnTo>
                    <a:lnTo>
                      <a:pt x="153" y="432"/>
                    </a:lnTo>
                    <a:lnTo>
                      <a:pt x="148" y="426"/>
                    </a:lnTo>
                    <a:lnTo>
                      <a:pt x="144" y="420"/>
                    </a:lnTo>
                    <a:lnTo>
                      <a:pt x="140" y="414"/>
                    </a:lnTo>
                    <a:lnTo>
                      <a:pt x="134" y="409"/>
                    </a:lnTo>
                    <a:lnTo>
                      <a:pt x="129" y="404"/>
                    </a:lnTo>
                    <a:lnTo>
                      <a:pt x="122" y="400"/>
                    </a:lnTo>
                    <a:lnTo>
                      <a:pt x="114" y="397"/>
                    </a:lnTo>
                    <a:lnTo>
                      <a:pt x="107" y="396"/>
                    </a:lnTo>
                    <a:lnTo>
                      <a:pt x="114" y="379"/>
                    </a:lnTo>
                    <a:lnTo>
                      <a:pt x="121" y="365"/>
                    </a:lnTo>
                    <a:lnTo>
                      <a:pt x="124" y="351"/>
                    </a:lnTo>
                    <a:lnTo>
                      <a:pt x="126" y="336"/>
                    </a:lnTo>
                    <a:lnTo>
                      <a:pt x="126" y="309"/>
                    </a:lnTo>
                    <a:lnTo>
                      <a:pt x="126" y="278"/>
                    </a:lnTo>
                    <a:lnTo>
                      <a:pt x="127" y="267"/>
                    </a:lnTo>
                    <a:lnTo>
                      <a:pt x="132" y="250"/>
                    </a:lnTo>
                    <a:lnTo>
                      <a:pt x="138" y="229"/>
                    </a:lnTo>
                    <a:lnTo>
                      <a:pt x="147" y="206"/>
                    </a:lnTo>
                    <a:lnTo>
                      <a:pt x="155" y="184"/>
                    </a:lnTo>
                    <a:lnTo>
                      <a:pt x="163" y="163"/>
                    </a:lnTo>
                    <a:lnTo>
                      <a:pt x="168" y="149"/>
                    </a:lnTo>
                    <a:lnTo>
                      <a:pt x="172" y="143"/>
                    </a:lnTo>
                    <a:lnTo>
                      <a:pt x="172" y="137"/>
                    </a:lnTo>
                    <a:lnTo>
                      <a:pt x="172" y="131"/>
                    </a:lnTo>
                    <a:lnTo>
                      <a:pt x="153" y="130"/>
                    </a:lnTo>
                    <a:lnTo>
                      <a:pt x="135" y="127"/>
                    </a:lnTo>
                    <a:lnTo>
                      <a:pt x="116" y="123"/>
                    </a:lnTo>
                    <a:lnTo>
                      <a:pt x="99" y="118"/>
                    </a:lnTo>
                    <a:lnTo>
                      <a:pt x="80" y="113"/>
                    </a:lnTo>
                    <a:lnTo>
                      <a:pt x="62" y="109"/>
                    </a:lnTo>
                    <a:lnTo>
                      <a:pt x="42" y="106"/>
                    </a:lnTo>
                    <a:lnTo>
                      <a:pt x="20" y="105"/>
                    </a:lnTo>
                    <a:lnTo>
                      <a:pt x="17" y="93"/>
                    </a:lnTo>
                    <a:lnTo>
                      <a:pt x="10" y="72"/>
                    </a:lnTo>
                    <a:lnTo>
                      <a:pt x="3" y="50"/>
                    </a:lnTo>
                    <a:lnTo>
                      <a:pt x="0" y="38"/>
                    </a:lnTo>
                    <a:lnTo>
                      <a:pt x="8" y="37"/>
                    </a:lnTo>
                    <a:lnTo>
                      <a:pt x="15" y="36"/>
                    </a:lnTo>
                    <a:lnTo>
                      <a:pt x="23" y="34"/>
                    </a:lnTo>
                    <a:lnTo>
                      <a:pt x="29" y="32"/>
                    </a:lnTo>
                    <a:lnTo>
                      <a:pt x="41" y="26"/>
                    </a:lnTo>
                    <a:lnTo>
                      <a:pt x="51" y="20"/>
                    </a:lnTo>
                    <a:lnTo>
                      <a:pt x="59" y="13"/>
                    </a:lnTo>
                    <a:lnTo>
                      <a:pt x="68" y="7"/>
                    </a:lnTo>
                    <a:lnTo>
                      <a:pt x="73" y="4"/>
                    </a:lnTo>
                    <a:lnTo>
                      <a:pt x="77" y="2"/>
                    </a:lnTo>
                    <a:lnTo>
                      <a:pt x="81" y="1"/>
                    </a:lnTo>
                    <a:lnTo>
                      <a:pt x="86" y="0"/>
                    </a:lnTo>
                    <a:lnTo>
                      <a:pt x="102" y="1"/>
                    </a:lnTo>
                    <a:lnTo>
                      <a:pt x="118" y="3"/>
                    </a:lnTo>
                    <a:lnTo>
                      <a:pt x="132" y="7"/>
                    </a:lnTo>
                    <a:lnTo>
                      <a:pt x="145" y="11"/>
                    </a:lnTo>
                    <a:lnTo>
                      <a:pt x="158" y="14"/>
                    </a:lnTo>
                    <a:lnTo>
                      <a:pt x="171" y="17"/>
                    </a:lnTo>
                    <a:lnTo>
                      <a:pt x="185" y="19"/>
                    </a:lnTo>
                    <a:lnTo>
                      <a:pt x="199" y="20"/>
                    </a:lnTo>
                    <a:lnTo>
                      <a:pt x="209" y="20"/>
                    </a:lnTo>
                    <a:lnTo>
                      <a:pt x="217" y="22"/>
                    </a:lnTo>
                    <a:lnTo>
                      <a:pt x="226" y="25"/>
                    </a:lnTo>
                    <a:lnTo>
                      <a:pt x="235" y="29"/>
                    </a:lnTo>
                    <a:lnTo>
                      <a:pt x="243" y="32"/>
                    </a:lnTo>
                    <a:lnTo>
                      <a:pt x="250" y="35"/>
                    </a:lnTo>
                    <a:lnTo>
                      <a:pt x="258" y="37"/>
                    </a:lnTo>
                    <a:lnTo>
                      <a:pt x="266" y="38"/>
                    </a:lnTo>
                    <a:lnTo>
                      <a:pt x="372" y="38"/>
                    </a:lnTo>
                    <a:lnTo>
                      <a:pt x="385" y="26"/>
                    </a:lnTo>
                    <a:lnTo>
                      <a:pt x="399" y="14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02" name="Freeform 24">
                <a:extLst>
                  <a:ext uri="{FF2B5EF4-FFF2-40B4-BE49-F238E27FC236}">
                    <a16:creationId xmlns="" xmlns:a16="http://schemas.microsoft.com/office/drawing/2014/main" id="{57462EF6-00D0-43F1-968F-F774559914D5}"/>
                  </a:ext>
                </a:extLst>
              </p:cNvPr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6427788" y="3013075"/>
                <a:ext cx="207962" cy="455613"/>
              </a:xfrm>
              <a:custGeom>
                <a:avLst/>
                <a:gdLst>
                  <a:gd name="T0" fmla="*/ 2147483646 w 479"/>
                  <a:gd name="T1" fmla="*/ 2147483646 h 868"/>
                  <a:gd name="T2" fmla="*/ 2147483646 w 479"/>
                  <a:gd name="T3" fmla="*/ 2147483646 h 868"/>
                  <a:gd name="T4" fmla="*/ 2147483646 w 479"/>
                  <a:gd name="T5" fmla="*/ 2147483646 h 868"/>
                  <a:gd name="T6" fmla="*/ 2147483646 w 479"/>
                  <a:gd name="T7" fmla="*/ 2147483646 h 868"/>
                  <a:gd name="T8" fmla="*/ 2147483646 w 479"/>
                  <a:gd name="T9" fmla="*/ 2147483646 h 868"/>
                  <a:gd name="T10" fmla="*/ 2147483646 w 479"/>
                  <a:gd name="T11" fmla="*/ 2147483646 h 868"/>
                  <a:gd name="T12" fmla="*/ 2147483646 w 479"/>
                  <a:gd name="T13" fmla="*/ 2147483646 h 868"/>
                  <a:gd name="T14" fmla="*/ 2147483646 w 479"/>
                  <a:gd name="T15" fmla="*/ 2147483646 h 868"/>
                  <a:gd name="T16" fmla="*/ 2147483646 w 479"/>
                  <a:gd name="T17" fmla="*/ 2147483646 h 868"/>
                  <a:gd name="T18" fmla="*/ 2147483646 w 479"/>
                  <a:gd name="T19" fmla="*/ 2147483646 h 868"/>
                  <a:gd name="T20" fmla="*/ 2147483646 w 479"/>
                  <a:gd name="T21" fmla="*/ 2147483646 h 868"/>
                  <a:gd name="T22" fmla="*/ 2147483646 w 479"/>
                  <a:gd name="T23" fmla="*/ 2147483646 h 868"/>
                  <a:gd name="T24" fmla="*/ 2147483646 w 479"/>
                  <a:gd name="T25" fmla="*/ 2147483646 h 868"/>
                  <a:gd name="T26" fmla="*/ 2147483646 w 479"/>
                  <a:gd name="T27" fmla="*/ 2147483646 h 868"/>
                  <a:gd name="T28" fmla="*/ 2147483646 w 479"/>
                  <a:gd name="T29" fmla="*/ 2147483646 h 868"/>
                  <a:gd name="T30" fmla="*/ 2147483646 w 479"/>
                  <a:gd name="T31" fmla="*/ 2147483646 h 868"/>
                  <a:gd name="T32" fmla="*/ 2147483646 w 479"/>
                  <a:gd name="T33" fmla="*/ 2147483646 h 868"/>
                  <a:gd name="T34" fmla="*/ 2147483646 w 479"/>
                  <a:gd name="T35" fmla="*/ 2147483646 h 868"/>
                  <a:gd name="T36" fmla="*/ 2147483646 w 479"/>
                  <a:gd name="T37" fmla="*/ 2147483646 h 868"/>
                  <a:gd name="T38" fmla="*/ 2147483646 w 479"/>
                  <a:gd name="T39" fmla="*/ 2147483646 h 868"/>
                  <a:gd name="T40" fmla="*/ 2147483646 w 479"/>
                  <a:gd name="T41" fmla="*/ 2147483646 h 868"/>
                  <a:gd name="T42" fmla="*/ 2147483646 w 479"/>
                  <a:gd name="T43" fmla="*/ 2147483646 h 868"/>
                  <a:gd name="T44" fmla="*/ 2147483646 w 479"/>
                  <a:gd name="T45" fmla="*/ 2147483646 h 868"/>
                  <a:gd name="T46" fmla="*/ 2147483646 w 479"/>
                  <a:gd name="T47" fmla="*/ 2147483646 h 868"/>
                  <a:gd name="T48" fmla="*/ 2147483646 w 479"/>
                  <a:gd name="T49" fmla="*/ 2147483646 h 868"/>
                  <a:gd name="T50" fmla="*/ 2147483646 w 479"/>
                  <a:gd name="T51" fmla="*/ 2147483646 h 868"/>
                  <a:gd name="T52" fmla="*/ 2147483646 w 479"/>
                  <a:gd name="T53" fmla="*/ 2147483646 h 868"/>
                  <a:gd name="T54" fmla="*/ 2147483646 w 479"/>
                  <a:gd name="T55" fmla="*/ 2147483646 h 868"/>
                  <a:gd name="T56" fmla="*/ 2147483646 w 479"/>
                  <a:gd name="T57" fmla="*/ 2147483646 h 868"/>
                  <a:gd name="T58" fmla="*/ 2147483646 w 479"/>
                  <a:gd name="T59" fmla="*/ 2147483646 h 868"/>
                  <a:gd name="T60" fmla="*/ 2147483646 w 479"/>
                  <a:gd name="T61" fmla="*/ 2147483646 h 868"/>
                  <a:gd name="T62" fmla="*/ 2147483646 w 479"/>
                  <a:gd name="T63" fmla="*/ 2147483646 h 868"/>
                  <a:gd name="T64" fmla="*/ 2147483646 w 479"/>
                  <a:gd name="T65" fmla="*/ 2147483646 h 868"/>
                  <a:gd name="T66" fmla="*/ 2147483646 w 479"/>
                  <a:gd name="T67" fmla="*/ 2147483646 h 868"/>
                  <a:gd name="T68" fmla="*/ 2147483646 w 479"/>
                  <a:gd name="T69" fmla="*/ 2147483646 h 868"/>
                  <a:gd name="T70" fmla="*/ 2147483646 w 479"/>
                  <a:gd name="T71" fmla="*/ 2147483646 h 868"/>
                  <a:gd name="T72" fmla="*/ 2147483646 w 479"/>
                  <a:gd name="T73" fmla="*/ 2147483646 h 868"/>
                  <a:gd name="T74" fmla="*/ 2147483646 w 479"/>
                  <a:gd name="T75" fmla="*/ 2147483646 h 868"/>
                  <a:gd name="T76" fmla="*/ 2147483646 w 479"/>
                  <a:gd name="T77" fmla="*/ 2147483646 h 868"/>
                  <a:gd name="T78" fmla="*/ 2147483646 w 479"/>
                  <a:gd name="T79" fmla="*/ 2147483646 h 868"/>
                  <a:gd name="T80" fmla="*/ 2147483646 w 479"/>
                  <a:gd name="T81" fmla="*/ 2147483646 h 868"/>
                  <a:gd name="T82" fmla="*/ 2147483646 w 479"/>
                  <a:gd name="T83" fmla="*/ 0 h 868"/>
                  <a:gd name="T84" fmla="*/ 2147483646 w 479"/>
                  <a:gd name="T85" fmla="*/ 2147483646 h 868"/>
                  <a:gd name="T86" fmla="*/ 2147483646 w 479"/>
                  <a:gd name="T87" fmla="*/ 2147483646 h 868"/>
                  <a:gd name="T88" fmla="*/ 2147483646 w 479"/>
                  <a:gd name="T89" fmla="*/ 2147483646 h 868"/>
                  <a:gd name="T90" fmla="*/ 2147483646 w 479"/>
                  <a:gd name="T91" fmla="*/ 2147483646 h 868"/>
                  <a:gd name="T92" fmla="*/ 2147483646 w 479"/>
                  <a:gd name="T93" fmla="*/ 2147483646 h 868"/>
                  <a:gd name="T94" fmla="*/ 2147483646 w 479"/>
                  <a:gd name="T95" fmla="*/ 2147483646 h 868"/>
                  <a:gd name="T96" fmla="*/ 2147483646 w 479"/>
                  <a:gd name="T97" fmla="*/ 2147483646 h 868"/>
                  <a:gd name="T98" fmla="*/ 2147483646 w 479"/>
                  <a:gd name="T99" fmla="*/ 2147483646 h 868"/>
                  <a:gd name="T100" fmla="*/ 2147483646 w 479"/>
                  <a:gd name="T101" fmla="*/ 2147483646 h 868"/>
                  <a:gd name="T102" fmla="*/ 2147483646 w 479"/>
                  <a:gd name="T103" fmla="*/ 2147483646 h 868"/>
                  <a:gd name="T104" fmla="*/ 2147483646 w 479"/>
                  <a:gd name="T105" fmla="*/ 2147483646 h 868"/>
                  <a:gd name="T106" fmla="*/ 2147483646 w 479"/>
                  <a:gd name="T107" fmla="*/ 2147483646 h 868"/>
                  <a:gd name="T108" fmla="*/ 2147483646 w 479"/>
                  <a:gd name="T109" fmla="*/ 2147483646 h 868"/>
                  <a:gd name="T110" fmla="*/ 2147483646 w 479"/>
                  <a:gd name="T111" fmla="*/ 2147483646 h 868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479"/>
                  <a:gd name="T169" fmla="*/ 0 h 868"/>
                  <a:gd name="T170" fmla="*/ 479 w 479"/>
                  <a:gd name="T171" fmla="*/ 868 h 868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479" h="868">
                    <a:moveTo>
                      <a:pt x="445" y="357"/>
                    </a:moveTo>
                    <a:lnTo>
                      <a:pt x="425" y="357"/>
                    </a:lnTo>
                    <a:lnTo>
                      <a:pt x="408" y="357"/>
                    </a:lnTo>
                    <a:lnTo>
                      <a:pt x="391" y="357"/>
                    </a:lnTo>
                    <a:lnTo>
                      <a:pt x="379" y="357"/>
                    </a:lnTo>
                    <a:lnTo>
                      <a:pt x="370" y="358"/>
                    </a:lnTo>
                    <a:lnTo>
                      <a:pt x="360" y="359"/>
                    </a:lnTo>
                    <a:lnTo>
                      <a:pt x="349" y="362"/>
                    </a:lnTo>
                    <a:lnTo>
                      <a:pt x="338" y="367"/>
                    </a:lnTo>
                    <a:lnTo>
                      <a:pt x="333" y="370"/>
                    </a:lnTo>
                    <a:lnTo>
                      <a:pt x="329" y="374"/>
                    </a:lnTo>
                    <a:lnTo>
                      <a:pt x="324" y="377"/>
                    </a:lnTo>
                    <a:lnTo>
                      <a:pt x="320" y="381"/>
                    </a:lnTo>
                    <a:lnTo>
                      <a:pt x="316" y="385"/>
                    </a:lnTo>
                    <a:lnTo>
                      <a:pt x="314" y="390"/>
                    </a:lnTo>
                    <a:lnTo>
                      <a:pt x="313" y="395"/>
                    </a:lnTo>
                    <a:lnTo>
                      <a:pt x="312" y="400"/>
                    </a:lnTo>
                    <a:lnTo>
                      <a:pt x="313" y="410"/>
                    </a:lnTo>
                    <a:lnTo>
                      <a:pt x="314" y="419"/>
                    </a:lnTo>
                    <a:lnTo>
                      <a:pt x="316" y="428"/>
                    </a:lnTo>
                    <a:lnTo>
                      <a:pt x="320" y="436"/>
                    </a:lnTo>
                    <a:lnTo>
                      <a:pt x="327" y="451"/>
                    </a:lnTo>
                    <a:lnTo>
                      <a:pt x="336" y="464"/>
                    </a:lnTo>
                    <a:lnTo>
                      <a:pt x="344" y="477"/>
                    </a:lnTo>
                    <a:lnTo>
                      <a:pt x="352" y="492"/>
                    </a:lnTo>
                    <a:lnTo>
                      <a:pt x="355" y="499"/>
                    </a:lnTo>
                    <a:lnTo>
                      <a:pt x="357" y="507"/>
                    </a:lnTo>
                    <a:lnTo>
                      <a:pt x="358" y="515"/>
                    </a:lnTo>
                    <a:lnTo>
                      <a:pt x="359" y="523"/>
                    </a:lnTo>
                    <a:lnTo>
                      <a:pt x="359" y="530"/>
                    </a:lnTo>
                    <a:lnTo>
                      <a:pt x="359" y="539"/>
                    </a:lnTo>
                    <a:lnTo>
                      <a:pt x="360" y="544"/>
                    </a:lnTo>
                    <a:lnTo>
                      <a:pt x="361" y="548"/>
                    </a:lnTo>
                    <a:lnTo>
                      <a:pt x="364" y="552"/>
                    </a:lnTo>
                    <a:lnTo>
                      <a:pt x="366" y="555"/>
                    </a:lnTo>
                    <a:lnTo>
                      <a:pt x="354" y="552"/>
                    </a:lnTo>
                    <a:lnTo>
                      <a:pt x="344" y="547"/>
                    </a:lnTo>
                    <a:lnTo>
                      <a:pt x="336" y="541"/>
                    </a:lnTo>
                    <a:lnTo>
                      <a:pt x="329" y="533"/>
                    </a:lnTo>
                    <a:lnTo>
                      <a:pt x="323" y="526"/>
                    </a:lnTo>
                    <a:lnTo>
                      <a:pt x="319" y="517"/>
                    </a:lnTo>
                    <a:lnTo>
                      <a:pt x="315" y="508"/>
                    </a:lnTo>
                    <a:lnTo>
                      <a:pt x="312" y="499"/>
                    </a:lnTo>
                    <a:lnTo>
                      <a:pt x="311" y="495"/>
                    </a:lnTo>
                    <a:lnTo>
                      <a:pt x="309" y="492"/>
                    </a:lnTo>
                    <a:lnTo>
                      <a:pt x="307" y="489"/>
                    </a:lnTo>
                    <a:lnTo>
                      <a:pt x="303" y="486"/>
                    </a:lnTo>
                    <a:lnTo>
                      <a:pt x="297" y="479"/>
                    </a:lnTo>
                    <a:lnTo>
                      <a:pt x="288" y="475"/>
                    </a:lnTo>
                    <a:lnTo>
                      <a:pt x="269" y="467"/>
                    </a:lnTo>
                    <a:lnTo>
                      <a:pt x="247" y="459"/>
                    </a:lnTo>
                    <a:lnTo>
                      <a:pt x="237" y="455"/>
                    </a:lnTo>
                    <a:lnTo>
                      <a:pt x="228" y="450"/>
                    </a:lnTo>
                    <a:lnTo>
                      <a:pt x="218" y="445"/>
                    </a:lnTo>
                    <a:lnTo>
                      <a:pt x="210" y="439"/>
                    </a:lnTo>
                    <a:lnTo>
                      <a:pt x="202" y="431"/>
                    </a:lnTo>
                    <a:lnTo>
                      <a:pt x="198" y="422"/>
                    </a:lnTo>
                    <a:lnTo>
                      <a:pt x="196" y="417"/>
                    </a:lnTo>
                    <a:lnTo>
                      <a:pt x="195" y="412"/>
                    </a:lnTo>
                    <a:lnTo>
                      <a:pt x="193" y="406"/>
                    </a:lnTo>
                    <a:lnTo>
                      <a:pt x="192" y="400"/>
                    </a:lnTo>
                    <a:lnTo>
                      <a:pt x="153" y="394"/>
                    </a:lnTo>
                    <a:lnTo>
                      <a:pt x="153" y="450"/>
                    </a:lnTo>
                    <a:lnTo>
                      <a:pt x="154" y="463"/>
                    </a:lnTo>
                    <a:lnTo>
                      <a:pt x="156" y="477"/>
                    </a:lnTo>
                    <a:lnTo>
                      <a:pt x="158" y="492"/>
                    </a:lnTo>
                    <a:lnTo>
                      <a:pt x="159" y="505"/>
                    </a:lnTo>
                    <a:lnTo>
                      <a:pt x="159" y="512"/>
                    </a:lnTo>
                    <a:lnTo>
                      <a:pt x="158" y="518"/>
                    </a:lnTo>
                    <a:lnTo>
                      <a:pt x="156" y="524"/>
                    </a:lnTo>
                    <a:lnTo>
                      <a:pt x="154" y="529"/>
                    </a:lnTo>
                    <a:lnTo>
                      <a:pt x="150" y="539"/>
                    </a:lnTo>
                    <a:lnTo>
                      <a:pt x="143" y="551"/>
                    </a:lnTo>
                    <a:lnTo>
                      <a:pt x="136" y="562"/>
                    </a:lnTo>
                    <a:lnTo>
                      <a:pt x="132" y="575"/>
                    </a:lnTo>
                    <a:lnTo>
                      <a:pt x="130" y="583"/>
                    </a:lnTo>
                    <a:lnTo>
                      <a:pt x="128" y="591"/>
                    </a:lnTo>
                    <a:lnTo>
                      <a:pt x="127" y="600"/>
                    </a:lnTo>
                    <a:lnTo>
                      <a:pt x="127" y="610"/>
                    </a:lnTo>
                    <a:lnTo>
                      <a:pt x="128" y="621"/>
                    </a:lnTo>
                    <a:lnTo>
                      <a:pt x="130" y="630"/>
                    </a:lnTo>
                    <a:lnTo>
                      <a:pt x="134" y="637"/>
                    </a:lnTo>
                    <a:lnTo>
                      <a:pt x="140" y="643"/>
                    </a:lnTo>
                    <a:lnTo>
                      <a:pt x="146" y="647"/>
                    </a:lnTo>
                    <a:lnTo>
                      <a:pt x="154" y="650"/>
                    </a:lnTo>
                    <a:lnTo>
                      <a:pt x="163" y="653"/>
                    </a:lnTo>
                    <a:lnTo>
                      <a:pt x="173" y="653"/>
                    </a:lnTo>
                    <a:lnTo>
                      <a:pt x="173" y="667"/>
                    </a:lnTo>
                    <a:lnTo>
                      <a:pt x="174" y="679"/>
                    </a:lnTo>
                    <a:lnTo>
                      <a:pt x="175" y="685"/>
                    </a:lnTo>
                    <a:lnTo>
                      <a:pt x="176" y="689"/>
                    </a:lnTo>
                    <a:lnTo>
                      <a:pt x="177" y="693"/>
                    </a:lnTo>
                    <a:lnTo>
                      <a:pt x="179" y="696"/>
                    </a:lnTo>
                    <a:lnTo>
                      <a:pt x="179" y="721"/>
                    </a:lnTo>
                    <a:lnTo>
                      <a:pt x="185" y="730"/>
                    </a:lnTo>
                    <a:lnTo>
                      <a:pt x="191" y="740"/>
                    </a:lnTo>
                    <a:lnTo>
                      <a:pt x="199" y="750"/>
                    </a:lnTo>
                    <a:lnTo>
                      <a:pt x="208" y="760"/>
                    </a:lnTo>
                    <a:lnTo>
                      <a:pt x="217" y="771"/>
                    </a:lnTo>
                    <a:lnTo>
                      <a:pt x="226" y="780"/>
                    </a:lnTo>
                    <a:lnTo>
                      <a:pt x="236" y="790"/>
                    </a:lnTo>
                    <a:lnTo>
                      <a:pt x="247" y="799"/>
                    </a:lnTo>
                    <a:lnTo>
                      <a:pt x="258" y="808"/>
                    </a:lnTo>
                    <a:lnTo>
                      <a:pt x="269" y="816"/>
                    </a:lnTo>
                    <a:lnTo>
                      <a:pt x="281" y="825"/>
                    </a:lnTo>
                    <a:lnTo>
                      <a:pt x="292" y="832"/>
                    </a:lnTo>
                    <a:lnTo>
                      <a:pt x="304" y="838"/>
                    </a:lnTo>
                    <a:lnTo>
                      <a:pt x="316" y="843"/>
                    </a:lnTo>
                    <a:lnTo>
                      <a:pt x="327" y="847"/>
                    </a:lnTo>
                    <a:lnTo>
                      <a:pt x="340" y="850"/>
                    </a:lnTo>
                    <a:lnTo>
                      <a:pt x="333" y="854"/>
                    </a:lnTo>
                    <a:lnTo>
                      <a:pt x="327" y="858"/>
                    </a:lnTo>
                    <a:lnTo>
                      <a:pt x="320" y="861"/>
                    </a:lnTo>
                    <a:lnTo>
                      <a:pt x="312" y="864"/>
                    </a:lnTo>
                    <a:lnTo>
                      <a:pt x="298" y="867"/>
                    </a:lnTo>
                    <a:lnTo>
                      <a:pt x="286" y="868"/>
                    </a:lnTo>
                    <a:lnTo>
                      <a:pt x="281" y="868"/>
                    </a:lnTo>
                    <a:lnTo>
                      <a:pt x="277" y="867"/>
                    </a:lnTo>
                    <a:lnTo>
                      <a:pt x="273" y="866"/>
                    </a:lnTo>
                    <a:lnTo>
                      <a:pt x="269" y="864"/>
                    </a:lnTo>
                    <a:lnTo>
                      <a:pt x="262" y="859"/>
                    </a:lnTo>
                    <a:lnTo>
                      <a:pt x="254" y="853"/>
                    </a:lnTo>
                    <a:lnTo>
                      <a:pt x="245" y="848"/>
                    </a:lnTo>
                    <a:lnTo>
                      <a:pt x="234" y="843"/>
                    </a:lnTo>
                    <a:lnTo>
                      <a:pt x="229" y="841"/>
                    </a:lnTo>
                    <a:lnTo>
                      <a:pt x="222" y="839"/>
                    </a:lnTo>
                    <a:lnTo>
                      <a:pt x="214" y="838"/>
                    </a:lnTo>
                    <a:lnTo>
                      <a:pt x="207" y="838"/>
                    </a:lnTo>
                    <a:lnTo>
                      <a:pt x="203" y="830"/>
                    </a:lnTo>
                    <a:lnTo>
                      <a:pt x="200" y="823"/>
                    </a:lnTo>
                    <a:lnTo>
                      <a:pt x="196" y="815"/>
                    </a:lnTo>
                    <a:lnTo>
                      <a:pt x="191" y="809"/>
                    </a:lnTo>
                    <a:lnTo>
                      <a:pt x="180" y="797"/>
                    </a:lnTo>
                    <a:lnTo>
                      <a:pt x="168" y="785"/>
                    </a:lnTo>
                    <a:lnTo>
                      <a:pt x="137" y="759"/>
                    </a:lnTo>
                    <a:lnTo>
                      <a:pt x="100" y="727"/>
                    </a:lnTo>
                    <a:lnTo>
                      <a:pt x="95" y="728"/>
                    </a:lnTo>
                    <a:lnTo>
                      <a:pt x="89" y="729"/>
                    </a:lnTo>
                    <a:lnTo>
                      <a:pt x="86" y="730"/>
                    </a:lnTo>
                    <a:lnTo>
                      <a:pt x="83" y="730"/>
                    </a:lnTo>
                    <a:lnTo>
                      <a:pt x="78" y="729"/>
                    </a:lnTo>
                    <a:lnTo>
                      <a:pt x="74" y="727"/>
                    </a:lnTo>
                    <a:lnTo>
                      <a:pt x="74" y="714"/>
                    </a:lnTo>
                    <a:lnTo>
                      <a:pt x="74" y="700"/>
                    </a:lnTo>
                    <a:lnTo>
                      <a:pt x="74" y="688"/>
                    </a:lnTo>
                    <a:lnTo>
                      <a:pt x="74" y="678"/>
                    </a:lnTo>
                    <a:lnTo>
                      <a:pt x="74" y="671"/>
                    </a:lnTo>
                    <a:lnTo>
                      <a:pt x="75" y="665"/>
                    </a:lnTo>
                    <a:lnTo>
                      <a:pt x="77" y="659"/>
                    </a:lnTo>
                    <a:lnTo>
                      <a:pt x="80" y="653"/>
                    </a:lnTo>
                    <a:lnTo>
                      <a:pt x="83" y="645"/>
                    </a:lnTo>
                    <a:lnTo>
                      <a:pt x="85" y="638"/>
                    </a:lnTo>
                    <a:lnTo>
                      <a:pt x="86" y="631"/>
                    </a:lnTo>
                    <a:lnTo>
                      <a:pt x="87" y="622"/>
                    </a:lnTo>
                    <a:lnTo>
                      <a:pt x="88" y="617"/>
                    </a:lnTo>
                    <a:lnTo>
                      <a:pt x="92" y="604"/>
                    </a:lnTo>
                    <a:lnTo>
                      <a:pt x="99" y="583"/>
                    </a:lnTo>
                    <a:lnTo>
                      <a:pt x="107" y="558"/>
                    </a:lnTo>
                    <a:lnTo>
                      <a:pt x="113" y="528"/>
                    </a:lnTo>
                    <a:lnTo>
                      <a:pt x="120" y="498"/>
                    </a:lnTo>
                    <a:lnTo>
                      <a:pt x="123" y="481"/>
                    </a:lnTo>
                    <a:lnTo>
                      <a:pt x="124" y="466"/>
                    </a:lnTo>
                    <a:lnTo>
                      <a:pt x="127" y="452"/>
                    </a:lnTo>
                    <a:lnTo>
                      <a:pt x="127" y="438"/>
                    </a:lnTo>
                    <a:lnTo>
                      <a:pt x="108" y="404"/>
                    </a:lnTo>
                    <a:lnTo>
                      <a:pt x="86" y="369"/>
                    </a:lnTo>
                    <a:lnTo>
                      <a:pt x="76" y="352"/>
                    </a:lnTo>
                    <a:lnTo>
                      <a:pt x="67" y="335"/>
                    </a:lnTo>
                    <a:lnTo>
                      <a:pt x="64" y="327"/>
                    </a:lnTo>
                    <a:lnTo>
                      <a:pt x="62" y="319"/>
                    </a:lnTo>
                    <a:lnTo>
                      <a:pt x="61" y="310"/>
                    </a:lnTo>
                    <a:lnTo>
                      <a:pt x="60" y="302"/>
                    </a:lnTo>
                    <a:lnTo>
                      <a:pt x="61" y="295"/>
                    </a:lnTo>
                    <a:lnTo>
                      <a:pt x="62" y="290"/>
                    </a:lnTo>
                    <a:lnTo>
                      <a:pt x="64" y="285"/>
                    </a:lnTo>
                    <a:lnTo>
                      <a:pt x="66" y="281"/>
                    </a:lnTo>
                    <a:lnTo>
                      <a:pt x="69" y="277"/>
                    </a:lnTo>
                    <a:lnTo>
                      <a:pt x="72" y="274"/>
                    </a:lnTo>
                    <a:lnTo>
                      <a:pt x="73" y="270"/>
                    </a:lnTo>
                    <a:lnTo>
                      <a:pt x="74" y="265"/>
                    </a:lnTo>
                    <a:lnTo>
                      <a:pt x="73" y="249"/>
                    </a:lnTo>
                    <a:lnTo>
                      <a:pt x="71" y="236"/>
                    </a:lnTo>
                    <a:lnTo>
                      <a:pt x="66" y="224"/>
                    </a:lnTo>
                    <a:lnTo>
                      <a:pt x="62" y="213"/>
                    </a:lnTo>
                    <a:lnTo>
                      <a:pt x="56" y="202"/>
                    </a:lnTo>
                    <a:lnTo>
                      <a:pt x="50" y="193"/>
                    </a:lnTo>
                    <a:lnTo>
                      <a:pt x="43" y="184"/>
                    </a:lnTo>
                    <a:lnTo>
                      <a:pt x="36" y="176"/>
                    </a:lnTo>
                    <a:lnTo>
                      <a:pt x="30" y="167"/>
                    </a:lnTo>
                    <a:lnTo>
                      <a:pt x="23" y="158"/>
                    </a:lnTo>
                    <a:lnTo>
                      <a:pt x="17" y="148"/>
                    </a:lnTo>
                    <a:lnTo>
                      <a:pt x="11" y="138"/>
                    </a:lnTo>
                    <a:lnTo>
                      <a:pt x="7" y="127"/>
                    </a:lnTo>
                    <a:lnTo>
                      <a:pt x="4" y="115"/>
                    </a:lnTo>
                    <a:lnTo>
                      <a:pt x="1" y="102"/>
                    </a:lnTo>
                    <a:lnTo>
                      <a:pt x="0" y="86"/>
                    </a:lnTo>
                    <a:lnTo>
                      <a:pt x="1" y="73"/>
                    </a:lnTo>
                    <a:lnTo>
                      <a:pt x="4" y="62"/>
                    </a:lnTo>
                    <a:lnTo>
                      <a:pt x="7" y="52"/>
                    </a:lnTo>
                    <a:lnTo>
                      <a:pt x="11" y="44"/>
                    </a:lnTo>
                    <a:lnTo>
                      <a:pt x="17" y="35"/>
                    </a:lnTo>
                    <a:lnTo>
                      <a:pt x="24" y="29"/>
                    </a:lnTo>
                    <a:lnTo>
                      <a:pt x="32" y="24"/>
                    </a:lnTo>
                    <a:lnTo>
                      <a:pt x="40" y="20"/>
                    </a:lnTo>
                    <a:lnTo>
                      <a:pt x="49" y="16"/>
                    </a:lnTo>
                    <a:lnTo>
                      <a:pt x="58" y="13"/>
                    </a:lnTo>
                    <a:lnTo>
                      <a:pt x="68" y="11"/>
                    </a:lnTo>
                    <a:lnTo>
                      <a:pt x="78" y="8"/>
                    </a:lnTo>
                    <a:lnTo>
                      <a:pt x="99" y="4"/>
                    </a:lnTo>
                    <a:lnTo>
                      <a:pt x="120" y="0"/>
                    </a:lnTo>
                    <a:lnTo>
                      <a:pt x="129" y="5"/>
                    </a:lnTo>
                    <a:lnTo>
                      <a:pt x="136" y="11"/>
                    </a:lnTo>
                    <a:lnTo>
                      <a:pt x="143" y="17"/>
                    </a:lnTo>
                    <a:lnTo>
                      <a:pt x="150" y="23"/>
                    </a:lnTo>
                    <a:lnTo>
                      <a:pt x="156" y="28"/>
                    </a:lnTo>
                    <a:lnTo>
                      <a:pt x="163" y="32"/>
                    </a:lnTo>
                    <a:lnTo>
                      <a:pt x="166" y="34"/>
                    </a:lnTo>
                    <a:lnTo>
                      <a:pt x="170" y="35"/>
                    </a:lnTo>
                    <a:lnTo>
                      <a:pt x="175" y="36"/>
                    </a:lnTo>
                    <a:lnTo>
                      <a:pt x="179" y="36"/>
                    </a:lnTo>
                    <a:lnTo>
                      <a:pt x="184" y="55"/>
                    </a:lnTo>
                    <a:lnTo>
                      <a:pt x="188" y="75"/>
                    </a:lnTo>
                    <a:lnTo>
                      <a:pt x="190" y="97"/>
                    </a:lnTo>
                    <a:lnTo>
                      <a:pt x="193" y="118"/>
                    </a:lnTo>
                    <a:lnTo>
                      <a:pt x="197" y="136"/>
                    </a:lnTo>
                    <a:lnTo>
                      <a:pt x="201" y="153"/>
                    </a:lnTo>
                    <a:lnTo>
                      <a:pt x="203" y="158"/>
                    </a:lnTo>
                    <a:lnTo>
                      <a:pt x="207" y="163"/>
                    </a:lnTo>
                    <a:lnTo>
                      <a:pt x="209" y="166"/>
                    </a:lnTo>
                    <a:lnTo>
                      <a:pt x="213" y="166"/>
                    </a:lnTo>
                    <a:lnTo>
                      <a:pt x="217" y="166"/>
                    </a:lnTo>
                    <a:lnTo>
                      <a:pt x="220" y="165"/>
                    </a:lnTo>
                    <a:lnTo>
                      <a:pt x="223" y="163"/>
                    </a:lnTo>
                    <a:lnTo>
                      <a:pt x="225" y="161"/>
                    </a:lnTo>
                    <a:lnTo>
                      <a:pt x="231" y="155"/>
                    </a:lnTo>
                    <a:lnTo>
                      <a:pt x="234" y="147"/>
                    </a:lnTo>
                    <a:lnTo>
                      <a:pt x="241" y="132"/>
                    </a:lnTo>
                    <a:lnTo>
                      <a:pt x="246" y="123"/>
                    </a:lnTo>
                    <a:lnTo>
                      <a:pt x="253" y="124"/>
                    </a:lnTo>
                    <a:lnTo>
                      <a:pt x="258" y="126"/>
                    </a:lnTo>
                    <a:lnTo>
                      <a:pt x="264" y="129"/>
                    </a:lnTo>
                    <a:lnTo>
                      <a:pt x="268" y="132"/>
                    </a:lnTo>
                    <a:lnTo>
                      <a:pt x="273" y="136"/>
                    </a:lnTo>
                    <a:lnTo>
                      <a:pt x="277" y="138"/>
                    </a:lnTo>
                    <a:lnTo>
                      <a:pt x="281" y="141"/>
                    </a:lnTo>
                    <a:lnTo>
                      <a:pt x="286" y="141"/>
                    </a:lnTo>
                    <a:lnTo>
                      <a:pt x="289" y="141"/>
                    </a:lnTo>
                    <a:lnTo>
                      <a:pt x="292" y="140"/>
                    </a:lnTo>
                    <a:lnTo>
                      <a:pt x="296" y="138"/>
                    </a:lnTo>
                    <a:lnTo>
                      <a:pt x="298" y="136"/>
                    </a:lnTo>
                    <a:lnTo>
                      <a:pt x="302" y="130"/>
                    </a:lnTo>
                    <a:lnTo>
                      <a:pt x="305" y="123"/>
                    </a:lnTo>
                    <a:lnTo>
                      <a:pt x="310" y="116"/>
                    </a:lnTo>
                    <a:lnTo>
                      <a:pt x="314" y="111"/>
                    </a:lnTo>
                    <a:lnTo>
                      <a:pt x="316" y="108"/>
                    </a:lnTo>
                    <a:lnTo>
                      <a:pt x="319" y="107"/>
                    </a:lnTo>
                    <a:lnTo>
                      <a:pt x="322" y="105"/>
                    </a:lnTo>
                    <a:lnTo>
                      <a:pt x="325" y="105"/>
                    </a:lnTo>
                    <a:lnTo>
                      <a:pt x="337" y="106"/>
                    </a:lnTo>
                    <a:lnTo>
                      <a:pt x="346" y="108"/>
                    </a:lnTo>
                    <a:lnTo>
                      <a:pt x="354" y="111"/>
                    </a:lnTo>
                    <a:lnTo>
                      <a:pt x="359" y="116"/>
                    </a:lnTo>
                    <a:lnTo>
                      <a:pt x="367" y="125"/>
                    </a:lnTo>
                    <a:lnTo>
                      <a:pt x="372" y="135"/>
                    </a:lnTo>
                    <a:lnTo>
                      <a:pt x="387" y="157"/>
                    </a:lnTo>
                    <a:lnTo>
                      <a:pt x="403" y="178"/>
                    </a:lnTo>
                    <a:lnTo>
                      <a:pt x="421" y="200"/>
                    </a:lnTo>
                    <a:lnTo>
                      <a:pt x="438" y="223"/>
                    </a:lnTo>
                    <a:lnTo>
                      <a:pt x="446" y="235"/>
                    </a:lnTo>
                    <a:lnTo>
                      <a:pt x="454" y="246"/>
                    </a:lnTo>
                    <a:lnTo>
                      <a:pt x="460" y="258"/>
                    </a:lnTo>
                    <a:lnTo>
                      <a:pt x="467" y="271"/>
                    </a:lnTo>
                    <a:lnTo>
                      <a:pt x="471" y="283"/>
                    </a:lnTo>
                    <a:lnTo>
                      <a:pt x="476" y="295"/>
                    </a:lnTo>
                    <a:lnTo>
                      <a:pt x="478" y="307"/>
                    </a:lnTo>
                    <a:lnTo>
                      <a:pt x="479" y="321"/>
                    </a:lnTo>
                    <a:lnTo>
                      <a:pt x="478" y="325"/>
                    </a:lnTo>
                    <a:lnTo>
                      <a:pt x="476" y="330"/>
                    </a:lnTo>
                    <a:lnTo>
                      <a:pt x="472" y="334"/>
                    </a:lnTo>
                    <a:lnTo>
                      <a:pt x="468" y="338"/>
                    </a:lnTo>
                    <a:lnTo>
                      <a:pt x="459" y="345"/>
                    </a:lnTo>
                    <a:lnTo>
                      <a:pt x="452" y="351"/>
                    </a:lnTo>
                    <a:lnTo>
                      <a:pt x="445" y="357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03" name="Freeform 25">
                <a:extLst>
                  <a:ext uri="{FF2B5EF4-FFF2-40B4-BE49-F238E27FC236}">
                    <a16:creationId xmlns="" xmlns:a16="http://schemas.microsoft.com/office/drawing/2014/main" id="{6A72948B-F898-48B3-A8F4-B523EFA6C943}"/>
                  </a:ext>
                </a:extLst>
              </p:cNvPr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2536825" y="5400675"/>
                <a:ext cx="23813" cy="57150"/>
              </a:xfrm>
              <a:custGeom>
                <a:avLst/>
                <a:gdLst>
                  <a:gd name="T0" fmla="*/ 0 w 53"/>
                  <a:gd name="T1" fmla="*/ 2147483646 h 19"/>
                  <a:gd name="T2" fmla="*/ 2147483646 w 53"/>
                  <a:gd name="T3" fmla="*/ 2147483646 h 19"/>
                  <a:gd name="T4" fmla="*/ 2147483646 w 53"/>
                  <a:gd name="T5" fmla="*/ 2147483646 h 19"/>
                  <a:gd name="T6" fmla="*/ 2147483646 w 53"/>
                  <a:gd name="T7" fmla="*/ 2147483646 h 19"/>
                  <a:gd name="T8" fmla="*/ 2147483646 w 53"/>
                  <a:gd name="T9" fmla="*/ 2147483646 h 19"/>
                  <a:gd name="T10" fmla="*/ 2147483646 w 53"/>
                  <a:gd name="T11" fmla="*/ 2147483646 h 19"/>
                  <a:gd name="T12" fmla="*/ 2147483646 w 53"/>
                  <a:gd name="T13" fmla="*/ 2147483646 h 19"/>
                  <a:gd name="T14" fmla="*/ 2147483646 w 53"/>
                  <a:gd name="T15" fmla="*/ 2147483646 h 19"/>
                  <a:gd name="T16" fmla="*/ 2147483646 w 53"/>
                  <a:gd name="T17" fmla="*/ 2147483646 h 19"/>
                  <a:gd name="T18" fmla="*/ 2147483646 w 53"/>
                  <a:gd name="T19" fmla="*/ 2147483646 h 19"/>
                  <a:gd name="T20" fmla="*/ 2147483646 w 53"/>
                  <a:gd name="T21" fmla="*/ 2147483646 h 19"/>
                  <a:gd name="T22" fmla="*/ 2147483646 w 53"/>
                  <a:gd name="T23" fmla="*/ 2147483646 h 19"/>
                  <a:gd name="T24" fmla="*/ 2147483646 w 53"/>
                  <a:gd name="T25" fmla="*/ 0 h 19"/>
                  <a:gd name="T26" fmla="*/ 2147483646 w 53"/>
                  <a:gd name="T27" fmla="*/ 0 h 19"/>
                  <a:gd name="T28" fmla="*/ 2147483646 w 53"/>
                  <a:gd name="T29" fmla="*/ 2147483646 h 19"/>
                  <a:gd name="T30" fmla="*/ 2147483646 w 53"/>
                  <a:gd name="T31" fmla="*/ 2147483646 h 19"/>
                  <a:gd name="T32" fmla="*/ 0 w 53"/>
                  <a:gd name="T33" fmla="*/ 2147483646 h 1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3"/>
                  <a:gd name="T52" fmla="*/ 0 h 19"/>
                  <a:gd name="T53" fmla="*/ 53 w 53"/>
                  <a:gd name="T54" fmla="*/ 19 h 1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3" h="19">
                    <a:moveTo>
                      <a:pt x="0" y="8"/>
                    </a:moveTo>
                    <a:lnTo>
                      <a:pt x="7" y="13"/>
                    </a:lnTo>
                    <a:lnTo>
                      <a:pt x="14" y="17"/>
                    </a:lnTo>
                    <a:lnTo>
                      <a:pt x="22" y="19"/>
                    </a:lnTo>
                    <a:lnTo>
                      <a:pt x="29" y="19"/>
                    </a:lnTo>
                    <a:lnTo>
                      <a:pt x="35" y="18"/>
                    </a:lnTo>
                    <a:lnTo>
                      <a:pt x="42" y="15"/>
                    </a:lnTo>
                    <a:lnTo>
                      <a:pt x="47" y="12"/>
                    </a:lnTo>
                    <a:lnTo>
                      <a:pt x="53" y="8"/>
                    </a:lnTo>
                    <a:lnTo>
                      <a:pt x="47" y="5"/>
                    </a:lnTo>
                    <a:lnTo>
                      <a:pt x="42" y="2"/>
                    </a:lnTo>
                    <a:lnTo>
                      <a:pt x="35" y="1"/>
                    </a:lnTo>
                    <a:lnTo>
                      <a:pt x="29" y="0"/>
                    </a:lnTo>
                    <a:lnTo>
                      <a:pt x="22" y="0"/>
                    </a:lnTo>
                    <a:lnTo>
                      <a:pt x="14" y="1"/>
                    </a:lnTo>
                    <a:lnTo>
                      <a:pt x="7" y="3"/>
                    </a:lnTo>
                    <a:lnTo>
                      <a:pt x="0" y="8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04" name="Line 26" descr="Horizontal dunkel">
                <a:extLst>
                  <a:ext uri="{FF2B5EF4-FFF2-40B4-BE49-F238E27FC236}">
                    <a16:creationId xmlns="" xmlns:a16="http://schemas.microsoft.com/office/drawing/2014/main" id="{5A568A21-B6A9-42FF-9F7A-A3056D471574}"/>
                  </a:ext>
                </a:extLst>
              </p:cNvPr>
              <p:cNvSpPr>
                <a:spLocks noChangeShapeType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998538" y="2322513"/>
                <a:ext cx="3175" cy="9525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s-ES" sz="1800" kern="1200"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05" name="Freeform 27">
                <a:extLst>
                  <a:ext uri="{FF2B5EF4-FFF2-40B4-BE49-F238E27FC236}">
                    <a16:creationId xmlns="" xmlns:a16="http://schemas.microsoft.com/office/drawing/2014/main" id="{E7EAFDDE-5394-4238-B9E9-1108A53258E0}"/>
                  </a:ext>
                </a:extLst>
              </p:cNvPr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001713" y="2319338"/>
                <a:ext cx="3175" cy="55562"/>
              </a:xfrm>
              <a:custGeom>
                <a:avLst/>
                <a:gdLst>
                  <a:gd name="T0" fmla="*/ 0 w 6"/>
                  <a:gd name="T1" fmla="*/ 2147483646 h 24"/>
                  <a:gd name="T2" fmla="*/ 0 w 6"/>
                  <a:gd name="T3" fmla="*/ 2147483646 h 24"/>
                  <a:gd name="T4" fmla="*/ 2147483646 w 6"/>
                  <a:gd name="T5" fmla="*/ 2147483646 h 24"/>
                  <a:gd name="T6" fmla="*/ 2147483646 w 6"/>
                  <a:gd name="T7" fmla="*/ 2147483646 h 24"/>
                  <a:gd name="T8" fmla="*/ 2147483646 w 6"/>
                  <a:gd name="T9" fmla="*/ 0 h 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24"/>
                  <a:gd name="T17" fmla="*/ 6 w 6"/>
                  <a:gd name="T18" fmla="*/ 24 h 2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24">
                    <a:moveTo>
                      <a:pt x="0" y="24"/>
                    </a:moveTo>
                    <a:lnTo>
                      <a:pt x="0" y="19"/>
                    </a:lnTo>
                    <a:lnTo>
                      <a:pt x="1" y="14"/>
                    </a:lnTo>
                    <a:lnTo>
                      <a:pt x="3" y="8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06" name="Freeform 28">
                <a:extLst>
                  <a:ext uri="{FF2B5EF4-FFF2-40B4-BE49-F238E27FC236}">
                    <a16:creationId xmlns="" xmlns:a16="http://schemas.microsoft.com/office/drawing/2014/main" id="{B7299BF0-61D3-48A7-AD91-C063051E5501}"/>
                  </a:ext>
                </a:extLst>
              </p:cNvPr>
              <p:cNvSpPr>
                <a:spLocks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977900" y="2373313"/>
                <a:ext cx="23813" cy="57150"/>
              </a:xfrm>
              <a:custGeom>
                <a:avLst/>
                <a:gdLst>
                  <a:gd name="T0" fmla="*/ 0 w 47"/>
                  <a:gd name="T1" fmla="*/ 2147483646 h 67"/>
                  <a:gd name="T2" fmla="*/ 0 w 47"/>
                  <a:gd name="T3" fmla="*/ 2147483646 h 67"/>
                  <a:gd name="T4" fmla="*/ 2147483646 w 47"/>
                  <a:gd name="T5" fmla="*/ 2147483646 h 67"/>
                  <a:gd name="T6" fmla="*/ 2147483646 w 47"/>
                  <a:gd name="T7" fmla="*/ 2147483646 h 67"/>
                  <a:gd name="T8" fmla="*/ 2147483646 w 47"/>
                  <a:gd name="T9" fmla="*/ 2147483646 h 67"/>
                  <a:gd name="T10" fmla="*/ 2147483646 w 47"/>
                  <a:gd name="T11" fmla="*/ 2147483646 h 67"/>
                  <a:gd name="T12" fmla="*/ 2147483646 w 47"/>
                  <a:gd name="T13" fmla="*/ 2147483646 h 67"/>
                  <a:gd name="T14" fmla="*/ 2147483646 w 47"/>
                  <a:gd name="T15" fmla="*/ 2147483646 h 67"/>
                  <a:gd name="T16" fmla="*/ 2147483646 w 47"/>
                  <a:gd name="T17" fmla="*/ 0 h 67"/>
                  <a:gd name="T18" fmla="*/ 2147483646 w 47"/>
                  <a:gd name="T19" fmla="*/ 2147483646 h 67"/>
                  <a:gd name="T20" fmla="*/ 2147483646 w 47"/>
                  <a:gd name="T21" fmla="*/ 2147483646 h 67"/>
                  <a:gd name="T22" fmla="*/ 2147483646 w 47"/>
                  <a:gd name="T23" fmla="*/ 2147483646 h 67"/>
                  <a:gd name="T24" fmla="*/ 2147483646 w 47"/>
                  <a:gd name="T25" fmla="*/ 2147483646 h 67"/>
                  <a:gd name="T26" fmla="*/ 2147483646 w 47"/>
                  <a:gd name="T27" fmla="*/ 2147483646 h 67"/>
                  <a:gd name="T28" fmla="*/ 2147483646 w 47"/>
                  <a:gd name="T29" fmla="*/ 2147483646 h 67"/>
                  <a:gd name="T30" fmla="*/ 0 w 47"/>
                  <a:gd name="T31" fmla="*/ 2147483646 h 67"/>
                  <a:gd name="T32" fmla="*/ 0 w 47"/>
                  <a:gd name="T33" fmla="*/ 2147483646 h 6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7"/>
                  <a:gd name="T52" fmla="*/ 0 h 67"/>
                  <a:gd name="T53" fmla="*/ 47 w 47"/>
                  <a:gd name="T54" fmla="*/ 67 h 67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7" h="67">
                    <a:moveTo>
                      <a:pt x="0" y="24"/>
                    </a:moveTo>
                    <a:lnTo>
                      <a:pt x="0" y="30"/>
                    </a:lnTo>
                    <a:lnTo>
                      <a:pt x="2" y="36"/>
                    </a:lnTo>
                    <a:lnTo>
                      <a:pt x="3" y="42"/>
                    </a:lnTo>
                    <a:lnTo>
                      <a:pt x="5" y="47"/>
                    </a:lnTo>
                    <a:lnTo>
                      <a:pt x="9" y="58"/>
                    </a:lnTo>
                    <a:lnTo>
                      <a:pt x="14" y="67"/>
                    </a:lnTo>
                    <a:lnTo>
                      <a:pt x="47" y="67"/>
                    </a:lnTo>
                    <a:lnTo>
                      <a:pt x="47" y="0"/>
                    </a:lnTo>
                    <a:lnTo>
                      <a:pt x="36" y="2"/>
                    </a:lnTo>
                    <a:lnTo>
                      <a:pt x="26" y="4"/>
                    </a:lnTo>
                    <a:lnTo>
                      <a:pt x="18" y="7"/>
                    </a:lnTo>
                    <a:lnTo>
                      <a:pt x="11" y="9"/>
                    </a:lnTo>
                    <a:lnTo>
                      <a:pt x="6" y="12"/>
                    </a:lnTo>
                    <a:lnTo>
                      <a:pt x="3" y="16"/>
                    </a:lnTo>
                    <a:lnTo>
                      <a:pt x="0" y="2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07" name="Freeform 29">
                <a:extLst>
                  <a:ext uri="{FF2B5EF4-FFF2-40B4-BE49-F238E27FC236}">
                    <a16:creationId xmlns="" xmlns:a16="http://schemas.microsoft.com/office/drawing/2014/main" id="{E48C73B5-29DC-4FAA-9A4D-63261EC9DF5A}"/>
                  </a:ext>
                </a:extLst>
              </p:cNvPr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2303463" y="2368550"/>
                <a:ext cx="49212" cy="57150"/>
              </a:xfrm>
              <a:custGeom>
                <a:avLst/>
                <a:gdLst>
                  <a:gd name="T0" fmla="*/ 0 w 112"/>
                  <a:gd name="T1" fmla="*/ 2147483646 h 36"/>
                  <a:gd name="T2" fmla="*/ 2147483646 w 112"/>
                  <a:gd name="T3" fmla="*/ 2147483646 h 36"/>
                  <a:gd name="T4" fmla="*/ 2147483646 w 112"/>
                  <a:gd name="T5" fmla="*/ 2147483646 h 36"/>
                  <a:gd name="T6" fmla="*/ 2147483646 w 112"/>
                  <a:gd name="T7" fmla="*/ 2147483646 h 36"/>
                  <a:gd name="T8" fmla="*/ 2147483646 w 112"/>
                  <a:gd name="T9" fmla="*/ 2147483646 h 36"/>
                  <a:gd name="T10" fmla="*/ 2147483646 w 112"/>
                  <a:gd name="T11" fmla="*/ 2147483646 h 36"/>
                  <a:gd name="T12" fmla="*/ 2147483646 w 112"/>
                  <a:gd name="T13" fmla="*/ 2147483646 h 36"/>
                  <a:gd name="T14" fmla="*/ 2147483646 w 112"/>
                  <a:gd name="T15" fmla="*/ 2147483646 h 36"/>
                  <a:gd name="T16" fmla="*/ 2147483646 w 112"/>
                  <a:gd name="T17" fmla="*/ 2147483646 h 36"/>
                  <a:gd name="T18" fmla="*/ 2147483646 w 112"/>
                  <a:gd name="T19" fmla="*/ 2147483646 h 36"/>
                  <a:gd name="T20" fmla="*/ 2147483646 w 112"/>
                  <a:gd name="T21" fmla="*/ 2147483646 h 36"/>
                  <a:gd name="T22" fmla="*/ 2147483646 w 112"/>
                  <a:gd name="T23" fmla="*/ 0 h 36"/>
                  <a:gd name="T24" fmla="*/ 2147483646 w 112"/>
                  <a:gd name="T25" fmla="*/ 0 h 36"/>
                  <a:gd name="T26" fmla="*/ 2147483646 w 112"/>
                  <a:gd name="T27" fmla="*/ 2147483646 h 36"/>
                  <a:gd name="T28" fmla="*/ 2147483646 w 112"/>
                  <a:gd name="T29" fmla="*/ 2147483646 h 36"/>
                  <a:gd name="T30" fmla="*/ 2147483646 w 112"/>
                  <a:gd name="T31" fmla="*/ 2147483646 h 36"/>
                  <a:gd name="T32" fmla="*/ 2147483646 w 112"/>
                  <a:gd name="T33" fmla="*/ 2147483646 h 36"/>
                  <a:gd name="T34" fmla="*/ 2147483646 w 112"/>
                  <a:gd name="T35" fmla="*/ 2147483646 h 36"/>
                  <a:gd name="T36" fmla="*/ 2147483646 w 112"/>
                  <a:gd name="T37" fmla="*/ 2147483646 h 36"/>
                  <a:gd name="T38" fmla="*/ 2147483646 w 112"/>
                  <a:gd name="T39" fmla="*/ 2147483646 h 36"/>
                  <a:gd name="T40" fmla="*/ 2147483646 w 112"/>
                  <a:gd name="T41" fmla="*/ 2147483646 h 36"/>
                  <a:gd name="T42" fmla="*/ 2147483646 w 112"/>
                  <a:gd name="T43" fmla="*/ 2147483646 h 36"/>
                  <a:gd name="T44" fmla="*/ 2147483646 w 112"/>
                  <a:gd name="T45" fmla="*/ 2147483646 h 36"/>
                  <a:gd name="T46" fmla="*/ 0 w 112"/>
                  <a:gd name="T47" fmla="*/ 2147483646 h 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12"/>
                  <a:gd name="T73" fmla="*/ 0 h 36"/>
                  <a:gd name="T74" fmla="*/ 112 w 112"/>
                  <a:gd name="T75" fmla="*/ 36 h 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12" h="36">
                    <a:moveTo>
                      <a:pt x="0" y="36"/>
                    </a:moveTo>
                    <a:lnTo>
                      <a:pt x="59" y="36"/>
                    </a:lnTo>
                    <a:lnTo>
                      <a:pt x="67" y="30"/>
                    </a:lnTo>
                    <a:lnTo>
                      <a:pt x="75" y="26"/>
                    </a:lnTo>
                    <a:lnTo>
                      <a:pt x="84" y="23"/>
                    </a:lnTo>
                    <a:lnTo>
                      <a:pt x="91" y="20"/>
                    </a:lnTo>
                    <a:lnTo>
                      <a:pt x="98" y="17"/>
                    </a:lnTo>
                    <a:lnTo>
                      <a:pt x="104" y="13"/>
                    </a:lnTo>
                    <a:lnTo>
                      <a:pt x="107" y="11"/>
                    </a:lnTo>
                    <a:lnTo>
                      <a:pt x="109" y="8"/>
                    </a:lnTo>
                    <a:lnTo>
                      <a:pt x="111" y="4"/>
                    </a:lnTo>
                    <a:lnTo>
                      <a:pt x="112" y="0"/>
                    </a:lnTo>
                    <a:lnTo>
                      <a:pt x="100" y="0"/>
                    </a:lnTo>
                    <a:lnTo>
                      <a:pt x="85" y="1"/>
                    </a:lnTo>
                    <a:lnTo>
                      <a:pt x="67" y="3"/>
                    </a:lnTo>
                    <a:lnTo>
                      <a:pt x="48" y="7"/>
                    </a:lnTo>
                    <a:lnTo>
                      <a:pt x="40" y="9"/>
                    </a:lnTo>
                    <a:lnTo>
                      <a:pt x="31" y="11"/>
                    </a:lnTo>
                    <a:lnTo>
                      <a:pt x="23" y="14"/>
                    </a:lnTo>
                    <a:lnTo>
                      <a:pt x="17" y="18"/>
                    </a:lnTo>
                    <a:lnTo>
                      <a:pt x="10" y="22"/>
                    </a:lnTo>
                    <a:lnTo>
                      <a:pt x="6" y="26"/>
                    </a:lnTo>
                    <a:lnTo>
                      <a:pt x="1" y="31"/>
                    </a:lnTo>
                    <a:lnTo>
                      <a:pt x="0" y="36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08" name="Freeform 30">
                <a:extLst>
                  <a:ext uri="{FF2B5EF4-FFF2-40B4-BE49-F238E27FC236}">
                    <a16:creationId xmlns="" xmlns:a16="http://schemas.microsoft.com/office/drawing/2014/main" id="{7ACE6AC1-2B45-4AF2-80B8-BDFFF03673F0}"/>
                  </a:ext>
                </a:extLst>
              </p:cNvPr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5041900" y="1925638"/>
                <a:ext cx="874713" cy="452437"/>
              </a:xfrm>
              <a:custGeom>
                <a:avLst/>
                <a:gdLst>
                  <a:gd name="T0" fmla="*/ 2147483646 w 2006"/>
                  <a:gd name="T1" fmla="*/ 2147483646 h 863"/>
                  <a:gd name="T2" fmla="*/ 2147483646 w 2006"/>
                  <a:gd name="T3" fmla="*/ 2147483646 h 863"/>
                  <a:gd name="T4" fmla="*/ 2147483646 w 2006"/>
                  <a:gd name="T5" fmla="*/ 2147483646 h 863"/>
                  <a:gd name="T6" fmla="*/ 2147483646 w 2006"/>
                  <a:gd name="T7" fmla="*/ 2147483646 h 863"/>
                  <a:gd name="T8" fmla="*/ 2147483646 w 2006"/>
                  <a:gd name="T9" fmla="*/ 2147483646 h 863"/>
                  <a:gd name="T10" fmla="*/ 2147483646 w 2006"/>
                  <a:gd name="T11" fmla="*/ 2147483646 h 863"/>
                  <a:gd name="T12" fmla="*/ 2147483646 w 2006"/>
                  <a:gd name="T13" fmla="*/ 2147483646 h 863"/>
                  <a:gd name="T14" fmla="*/ 2147483646 w 2006"/>
                  <a:gd name="T15" fmla="*/ 2147483646 h 863"/>
                  <a:gd name="T16" fmla="*/ 2147483646 w 2006"/>
                  <a:gd name="T17" fmla="*/ 2147483646 h 863"/>
                  <a:gd name="T18" fmla="*/ 2147483646 w 2006"/>
                  <a:gd name="T19" fmla="*/ 2147483646 h 863"/>
                  <a:gd name="T20" fmla="*/ 2147483646 w 2006"/>
                  <a:gd name="T21" fmla="*/ 2147483646 h 863"/>
                  <a:gd name="T22" fmla="*/ 2147483646 w 2006"/>
                  <a:gd name="T23" fmla="*/ 2147483646 h 863"/>
                  <a:gd name="T24" fmla="*/ 2147483646 w 2006"/>
                  <a:gd name="T25" fmla="*/ 2147483646 h 863"/>
                  <a:gd name="T26" fmla="*/ 2147483646 w 2006"/>
                  <a:gd name="T27" fmla="*/ 2147483646 h 863"/>
                  <a:gd name="T28" fmla="*/ 2147483646 w 2006"/>
                  <a:gd name="T29" fmla="*/ 2147483646 h 863"/>
                  <a:gd name="T30" fmla="*/ 2147483646 w 2006"/>
                  <a:gd name="T31" fmla="*/ 2147483646 h 863"/>
                  <a:gd name="T32" fmla="*/ 2147483646 w 2006"/>
                  <a:gd name="T33" fmla="*/ 2147483646 h 863"/>
                  <a:gd name="T34" fmla="*/ 2147483646 w 2006"/>
                  <a:gd name="T35" fmla="*/ 2147483646 h 863"/>
                  <a:gd name="T36" fmla="*/ 2147483646 w 2006"/>
                  <a:gd name="T37" fmla="*/ 2147483646 h 863"/>
                  <a:gd name="T38" fmla="*/ 2147483646 w 2006"/>
                  <a:gd name="T39" fmla="*/ 2147483646 h 863"/>
                  <a:gd name="T40" fmla="*/ 2147483646 w 2006"/>
                  <a:gd name="T41" fmla="*/ 2147483646 h 863"/>
                  <a:gd name="T42" fmla="*/ 2147483646 w 2006"/>
                  <a:gd name="T43" fmla="*/ 2147483646 h 863"/>
                  <a:gd name="T44" fmla="*/ 2147483646 w 2006"/>
                  <a:gd name="T45" fmla="*/ 2147483646 h 863"/>
                  <a:gd name="T46" fmla="*/ 2147483646 w 2006"/>
                  <a:gd name="T47" fmla="*/ 2147483646 h 863"/>
                  <a:gd name="T48" fmla="*/ 2147483646 w 2006"/>
                  <a:gd name="T49" fmla="*/ 2147483646 h 863"/>
                  <a:gd name="T50" fmla="*/ 2147483646 w 2006"/>
                  <a:gd name="T51" fmla="*/ 2147483646 h 863"/>
                  <a:gd name="T52" fmla="*/ 2147483646 w 2006"/>
                  <a:gd name="T53" fmla="*/ 2147483646 h 863"/>
                  <a:gd name="T54" fmla="*/ 2147483646 w 2006"/>
                  <a:gd name="T55" fmla="*/ 2147483646 h 863"/>
                  <a:gd name="T56" fmla="*/ 2147483646 w 2006"/>
                  <a:gd name="T57" fmla="*/ 2147483646 h 863"/>
                  <a:gd name="T58" fmla="*/ 2147483646 w 2006"/>
                  <a:gd name="T59" fmla="*/ 2147483646 h 863"/>
                  <a:gd name="T60" fmla="*/ 2147483646 w 2006"/>
                  <a:gd name="T61" fmla="*/ 2147483646 h 863"/>
                  <a:gd name="T62" fmla="*/ 2147483646 w 2006"/>
                  <a:gd name="T63" fmla="*/ 2147483646 h 863"/>
                  <a:gd name="T64" fmla="*/ 2147483646 w 2006"/>
                  <a:gd name="T65" fmla="*/ 2147483646 h 863"/>
                  <a:gd name="T66" fmla="*/ 2147483646 w 2006"/>
                  <a:gd name="T67" fmla="*/ 2147483646 h 863"/>
                  <a:gd name="T68" fmla="*/ 2147483646 w 2006"/>
                  <a:gd name="T69" fmla="*/ 2147483646 h 863"/>
                  <a:gd name="T70" fmla="*/ 2147483646 w 2006"/>
                  <a:gd name="T71" fmla="*/ 2147483646 h 863"/>
                  <a:gd name="T72" fmla="*/ 2147483646 w 2006"/>
                  <a:gd name="T73" fmla="*/ 2147483646 h 863"/>
                  <a:gd name="T74" fmla="*/ 2147483646 w 2006"/>
                  <a:gd name="T75" fmla="*/ 2147483646 h 863"/>
                  <a:gd name="T76" fmla="*/ 2147483646 w 2006"/>
                  <a:gd name="T77" fmla="*/ 2147483646 h 863"/>
                  <a:gd name="T78" fmla="*/ 2147483646 w 2006"/>
                  <a:gd name="T79" fmla="*/ 2147483646 h 863"/>
                  <a:gd name="T80" fmla="*/ 2147483646 w 2006"/>
                  <a:gd name="T81" fmla="*/ 2147483646 h 863"/>
                  <a:gd name="T82" fmla="*/ 2147483646 w 2006"/>
                  <a:gd name="T83" fmla="*/ 2147483646 h 863"/>
                  <a:gd name="T84" fmla="*/ 2147483646 w 2006"/>
                  <a:gd name="T85" fmla="*/ 2147483646 h 863"/>
                  <a:gd name="T86" fmla="*/ 2147483646 w 2006"/>
                  <a:gd name="T87" fmla="*/ 2147483646 h 863"/>
                  <a:gd name="T88" fmla="*/ 2147483646 w 2006"/>
                  <a:gd name="T89" fmla="*/ 2147483646 h 863"/>
                  <a:gd name="T90" fmla="*/ 2147483646 w 2006"/>
                  <a:gd name="T91" fmla="*/ 2147483646 h 863"/>
                  <a:gd name="T92" fmla="*/ 2147483646 w 2006"/>
                  <a:gd name="T93" fmla="*/ 2147483646 h 863"/>
                  <a:gd name="T94" fmla="*/ 2147483646 w 2006"/>
                  <a:gd name="T95" fmla="*/ 2147483646 h 863"/>
                  <a:gd name="T96" fmla="*/ 2147483646 w 2006"/>
                  <a:gd name="T97" fmla="*/ 2147483646 h 863"/>
                  <a:gd name="T98" fmla="*/ 2147483646 w 2006"/>
                  <a:gd name="T99" fmla="*/ 2147483646 h 863"/>
                  <a:gd name="T100" fmla="*/ 2147483646 w 2006"/>
                  <a:gd name="T101" fmla="*/ 2147483646 h 863"/>
                  <a:gd name="T102" fmla="*/ 2147483646 w 2006"/>
                  <a:gd name="T103" fmla="*/ 2147483646 h 863"/>
                  <a:gd name="T104" fmla="*/ 2147483646 w 2006"/>
                  <a:gd name="T105" fmla="*/ 2147483646 h 863"/>
                  <a:gd name="T106" fmla="*/ 2147483646 w 2006"/>
                  <a:gd name="T107" fmla="*/ 2147483646 h 863"/>
                  <a:gd name="T108" fmla="*/ 2147483646 w 2006"/>
                  <a:gd name="T109" fmla="*/ 2147483646 h 863"/>
                  <a:gd name="T110" fmla="*/ 2147483646 w 2006"/>
                  <a:gd name="T111" fmla="*/ 2147483646 h 863"/>
                  <a:gd name="T112" fmla="*/ 2147483646 w 2006"/>
                  <a:gd name="T113" fmla="*/ 2147483646 h 863"/>
                  <a:gd name="T114" fmla="*/ 2147483646 w 2006"/>
                  <a:gd name="T115" fmla="*/ 2147483646 h 863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2006"/>
                  <a:gd name="T175" fmla="*/ 0 h 863"/>
                  <a:gd name="T176" fmla="*/ 2006 w 2006"/>
                  <a:gd name="T177" fmla="*/ 863 h 863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2006" h="863">
                    <a:moveTo>
                      <a:pt x="571" y="826"/>
                    </a:moveTo>
                    <a:lnTo>
                      <a:pt x="538" y="826"/>
                    </a:lnTo>
                    <a:lnTo>
                      <a:pt x="512" y="789"/>
                    </a:lnTo>
                    <a:lnTo>
                      <a:pt x="438" y="764"/>
                    </a:lnTo>
                    <a:lnTo>
                      <a:pt x="433" y="765"/>
                    </a:lnTo>
                    <a:lnTo>
                      <a:pt x="427" y="766"/>
                    </a:lnTo>
                    <a:lnTo>
                      <a:pt x="424" y="767"/>
                    </a:lnTo>
                    <a:lnTo>
                      <a:pt x="421" y="767"/>
                    </a:lnTo>
                    <a:lnTo>
                      <a:pt x="416" y="766"/>
                    </a:lnTo>
                    <a:lnTo>
                      <a:pt x="412" y="764"/>
                    </a:lnTo>
                    <a:lnTo>
                      <a:pt x="405" y="772"/>
                    </a:lnTo>
                    <a:lnTo>
                      <a:pt x="397" y="778"/>
                    </a:lnTo>
                    <a:lnTo>
                      <a:pt x="393" y="782"/>
                    </a:lnTo>
                    <a:lnTo>
                      <a:pt x="391" y="786"/>
                    </a:lnTo>
                    <a:lnTo>
                      <a:pt x="390" y="794"/>
                    </a:lnTo>
                    <a:lnTo>
                      <a:pt x="392" y="802"/>
                    </a:lnTo>
                    <a:lnTo>
                      <a:pt x="386" y="800"/>
                    </a:lnTo>
                    <a:lnTo>
                      <a:pt x="381" y="798"/>
                    </a:lnTo>
                    <a:lnTo>
                      <a:pt x="378" y="795"/>
                    </a:lnTo>
                    <a:lnTo>
                      <a:pt x="375" y="792"/>
                    </a:lnTo>
                    <a:lnTo>
                      <a:pt x="372" y="787"/>
                    </a:lnTo>
                    <a:lnTo>
                      <a:pt x="371" y="783"/>
                    </a:lnTo>
                    <a:lnTo>
                      <a:pt x="370" y="778"/>
                    </a:lnTo>
                    <a:lnTo>
                      <a:pt x="369" y="773"/>
                    </a:lnTo>
                    <a:lnTo>
                      <a:pt x="370" y="751"/>
                    </a:lnTo>
                    <a:lnTo>
                      <a:pt x="372" y="727"/>
                    </a:lnTo>
                    <a:lnTo>
                      <a:pt x="352" y="727"/>
                    </a:lnTo>
                    <a:lnTo>
                      <a:pt x="332" y="726"/>
                    </a:lnTo>
                    <a:lnTo>
                      <a:pt x="327" y="725"/>
                    </a:lnTo>
                    <a:lnTo>
                      <a:pt x="324" y="724"/>
                    </a:lnTo>
                    <a:lnTo>
                      <a:pt x="321" y="722"/>
                    </a:lnTo>
                    <a:lnTo>
                      <a:pt x="318" y="719"/>
                    </a:lnTo>
                    <a:lnTo>
                      <a:pt x="315" y="716"/>
                    </a:lnTo>
                    <a:lnTo>
                      <a:pt x="313" y="712"/>
                    </a:lnTo>
                    <a:lnTo>
                      <a:pt x="312" y="708"/>
                    </a:lnTo>
                    <a:lnTo>
                      <a:pt x="312" y="703"/>
                    </a:lnTo>
                    <a:lnTo>
                      <a:pt x="305" y="702"/>
                    </a:lnTo>
                    <a:lnTo>
                      <a:pt x="299" y="700"/>
                    </a:lnTo>
                    <a:lnTo>
                      <a:pt x="293" y="697"/>
                    </a:lnTo>
                    <a:lnTo>
                      <a:pt x="288" y="692"/>
                    </a:lnTo>
                    <a:lnTo>
                      <a:pt x="280" y="682"/>
                    </a:lnTo>
                    <a:lnTo>
                      <a:pt x="273" y="668"/>
                    </a:lnTo>
                    <a:lnTo>
                      <a:pt x="265" y="656"/>
                    </a:lnTo>
                    <a:lnTo>
                      <a:pt x="256" y="646"/>
                    </a:lnTo>
                    <a:lnTo>
                      <a:pt x="251" y="641"/>
                    </a:lnTo>
                    <a:lnTo>
                      <a:pt x="245" y="638"/>
                    </a:lnTo>
                    <a:lnTo>
                      <a:pt x="240" y="636"/>
                    </a:lnTo>
                    <a:lnTo>
                      <a:pt x="232" y="635"/>
                    </a:lnTo>
                    <a:lnTo>
                      <a:pt x="232" y="623"/>
                    </a:lnTo>
                    <a:lnTo>
                      <a:pt x="232" y="610"/>
                    </a:lnTo>
                    <a:lnTo>
                      <a:pt x="239" y="608"/>
                    </a:lnTo>
                    <a:lnTo>
                      <a:pt x="245" y="604"/>
                    </a:lnTo>
                    <a:lnTo>
                      <a:pt x="251" y="600"/>
                    </a:lnTo>
                    <a:lnTo>
                      <a:pt x="253" y="598"/>
                    </a:lnTo>
                    <a:lnTo>
                      <a:pt x="253" y="594"/>
                    </a:lnTo>
                    <a:lnTo>
                      <a:pt x="254" y="591"/>
                    </a:lnTo>
                    <a:lnTo>
                      <a:pt x="256" y="588"/>
                    </a:lnTo>
                    <a:lnTo>
                      <a:pt x="259" y="585"/>
                    </a:lnTo>
                    <a:lnTo>
                      <a:pt x="268" y="578"/>
                    </a:lnTo>
                    <a:lnTo>
                      <a:pt x="279" y="573"/>
                    </a:lnTo>
                    <a:lnTo>
                      <a:pt x="292" y="568"/>
                    </a:lnTo>
                    <a:lnTo>
                      <a:pt x="309" y="564"/>
                    </a:lnTo>
                    <a:lnTo>
                      <a:pt x="326" y="561"/>
                    </a:lnTo>
                    <a:lnTo>
                      <a:pt x="345" y="561"/>
                    </a:lnTo>
                    <a:lnTo>
                      <a:pt x="338" y="544"/>
                    </a:lnTo>
                    <a:lnTo>
                      <a:pt x="330" y="529"/>
                    </a:lnTo>
                    <a:lnTo>
                      <a:pt x="325" y="520"/>
                    </a:lnTo>
                    <a:lnTo>
                      <a:pt x="322" y="511"/>
                    </a:lnTo>
                    <a:lnTo>
                      <a:pt x="320" y="499"/>
                    </a:lnTo>
                    <a:lnTo>
                      <a:pt x="319" y="487"/>
                    </a:lnTo>
                    <a:lnTo>
                      <a:pt x="307" y="486"/>
                    </a:lnTo>
                    <a:lnTo>
                      <a:pt x="293" y="484"/>
                    </a:lnTo>
                    <a:lnTo>
                      <a:pt x="281" y="481"/>
                    </a:lnTo>
                    <a:lnTo>
                      <a:pt x="269" y="478"/>
                    </a:lnTo>
                    <a:lnTo>
                      <a:pt x="258" y="475"/>
                    </a:lnTo>
                    <a:lnTo>
                      <a:pt x="247" y="472"/>
                    </a:lnTo>
                    <a:lnTo>
                      <a:pt x="236" y="470"/>
                    </a:lnTo>
                    <a:lnTo>
                      <a:pt x="225" y="469"/>
                    </a:lnTo>
                    <a:lnTo>
                      <a:pt x="218" y="469"/>
                    </a:lnTo>
                    <a:lnTo>
                      <a:pt x="209" y="470"/>
                    </a:lnTo>
                    <a:lnTo>
                      <a:pt x="201" y="472"/>
                    </a:lnTo>
                    <a:lnTo>
                      <a:pt x="195" y="474"/>
                    </a:lnTo>
                    <a:lnTo>
                      <a:pt x="180" y="480"/>
                    </a:lnTo>
                    <a:lnTo>
                      <a:pt x="168" y="487"/>
                    </a:lnTo>
                    <a:lnTo>
                      <a:pt x="157" y="495"/>
                    </a:lnTo>
                    <a:lnTo>
                      <a:pt x="146" y="505"/>
                    </a:lnTo>
                    <a:lnTo>
                      <a:pt x="136" y="515"/>
                    </a:lnTo>
                    <a:lnTo>
                      <a:pt x="127" y="524"/>
                    </a:lnTo>
                    <a:lnTo>
                      <a:pt x="133" y="512"/>
                    </a:lnTo>
                    <a:lnTo>
                      <a:pt x="106" y="505"/>
                    </a:lnTo>
                    <a:lnTo>
                      <a:pt x="133" y="487"/>
                    </a:lnTo>
                    <a:lnTo>
                      <a:pt x="106" y="463"/>
                    </a:lnTo>
                    <a:lnTo>
                      <a:pt x="79" y="438"/>
                    </a:lnTo>
                    <a:lnTo>
                      <a:pt x="40" y="438"/>
                    </a:lnTo>
                    <a:lnTo>
                      <a:pt x="27" y="413"/>
                    </a:lnTo>
                    <a:lnTo>
                      <a:pt x="7" y="401"/>
                    </a:lnTo>
                    <a:lnTo>
                      <a:pt x="0" y="370"/>
                    </a:lnTo>
                    <a:lnTo>
                      <a:pt x="0" y="333"/>
                    </a:lnTo>
                    <a:lnTo>
                      <a:pt x="13" y="308"/>
                    </a:lnTo>
                    <a:lnTo>
                      <a:pt x="20" y="283"/>
                    </a:lnTo>
                    <a:lnTo>
                      <a:pt x="53" y="302"/>
                    </a:lnTo>
                    <a:lnTo>
                      <a:pt x="86" y="314"/>
                    </a:lnTo>
                    <a:lnTo>
                      <a:pt x="106" y="308"/>
                    </a:lnTo>
                    <a:lnTo>
                      <a:pt x="79" y="277"/>
                    </a:lnTo>
                    <a:lnTo>
                      <a:pt x="113" y="259"/>
                    </a:lnTo>
                    <a:lnTo>
                      <a:pt x="146" y="228"/>
                    </a:lnTo>
                    <a:lnTo>
                      <a:pt x="179" y="222"/>
                    </a:lnTo>
                    <a:lnTo>
                      <a:pt x="219" y="222"/>
                    </a:lnTo>
                    <a:lnTo>
                      <a:pt x="246" y="210"/>
                    </a:lnTo>
                    <a:lnTo>
                      <a:pt x="292" y="222"/>
                    </a:lnTo>
                    <a:lnTo>
                      <a:pt x="338" y="241"/>
                    </a:lnTo>
                    <a:lnTo>
                      <a:pt x="379" y="277"/>
                    </a:lnTo>
                    <a:lnTo>
                      <a:pt x="425" y="271"/>
                    </a:lnTo>
                    <a:lnTo>
                      <a:pt x="465" y="253"/>
                    </a:lnTo>
                    <a:lnTo>
                      <a:pt x="498" y="253"/>
                    </a:lnTo>
                    <a:lnTo>
                      <a:pt x="538" y="247"/>
                    </a:lnTo>
                    <a:lnTo>
                      <a:pt x="578" y="265"/>
                    </a:lnTo>
                    <a:lnTo>
                      <a:pt x="624" y="277"/>
                    </a:lnTo>
                    <a:lnTo>
                      <a:pt x="671" y="271"/>
                    </a:lnTo>
                    <a:lnTo>
                      <a:pt x="717" y="253"/>
                    </a:lnTo>
                    <a:lnTo>
                      <a:pt x="717" y="228"/>
                    </a:lnTo>
                    <a:lnTo>
                      <a:pt x="684" y="222"/>
                    </a:lnTo>
                    <a:lnTo>
                      <a:pt x="645" y="210"/>
                    </a:lnTo>
                    <a:lnTo>
                      <a:pt x="617" y="198"/>
                    </a:lnTo>
                    <a:lnTo>
                      <a:pt x="658" y="185"/>
                    </a:lnTo>
                    <a:lnTo>
                      <a:pt x="651" y="148"/>
                    </a:lnTo>
                    <a:lnTo>
                      <a:pt x="704" y="142"/>
                    </a:lnTo>
                    <a:lnTo>
                      <a:pt x="638" y="93"/>
                    </a:lnTo>
                    <a:lnTo>
                      <a:pt x="744" y="75"/>
                    </a:lnTo>
                    <a:lnTo>
                      <a:pt x="830" y="68"/>
                    </a:lnTo>
                    <a:lnTo>
                      <a:pt x="844" y="43"/>
                    </a:lnTo>
                    <a:lnTo>
                      <a:pt x="904" y="37"/>
                    </a:lnTo>
                    <a:lnTo>
                      <a:pt x="963" y="25"/>
                    </a:lnTo>
                    <a:lnTo>
                      <a:pt x="983" y="0"/>
                    </a:lnTo>
                    <a:lnTo>
                      <a:pt x="1050" y="13"/>
                    </a:lnTo>
                    <a:lnTo>
                      <a:pt x="1089" y="6"/>
                    </a:lnTo>
                    <a:lnTo>
                      <a:pt x="1116" y="25"/>
                    </a:lnTo>
                    <a:lnTo>
                      <a:pt x="1122" y="75"/>
                    </a:lnTo>
                    <a:lnTo>
                      <a:pt x="1163" y="75"/>
                    </a:lnTo>
                    <a:lnTo>
                      <a:pt x="1176" y="61"/>
                    </a:lnTo>
                    <a:lnTo>
                      <a:pt x="1196" y="75"/>
                    </a:lnTo>
                    <a:lnTo>
                      <a:pt x="1235" y="81"/>
                    </a:lnTo>
                    <a:lnTo>
                      <a:pt x="1255" y="81"/>
                    </a:lnTo>
                    <a:lnTo>
                      <a:pt x="1255" y="117"/>
                    </a:lnTo>
                    <a:lnTo>
                      <a:pt x="1296" y="111"/>
                    </a:lnTo>
                    <a:lnTo>
                      <a:pt x="1335" y="93"/>
                    </a:lnTo>
                    <a:lnTo>
                      <a:pt x="1375" y="61"/>
                    </a:lnTo>
                    <a:lnTo>
                      <a:pt x="1401" y="49"/>
                    </a:lnTo>
                    <a:lnTo>
                      <a:pt x="1401" y="81"/>
                    </a:lnTo>
                    <a:lnTo>
                      <a:pt x="1442" y="99"/>
                    </a:lnTo>
                    <a:lnTo>
                      <a:pt x="1488" y="117"/>
                    </a:lnTo>
                    <a:lnTo>
                      <a:pt x="1528" y="160"/>
                    </a:lnTo>
                    <a:lnTo>
                      <a:pt x="1581" y="204"/>
                    </a:lnTo>
                    <a:lnTo>
                      <a:pt x="1627" y="241"/>
                    </a:lnTo>
                    <a:lnTo>
                      <a:pt x="1647" y="271"/>
                    </a:lnTo>
                    <a:lnTo>
                      <a:pt x="1660" y="241"/>
                    </a:lnTo>
                    <a:lnTo>
                      <a:pt x="1688" y="235"/>
                    </a:lnTo>
                    <a:lnTo>
                      <a:pt x="1708" y="259"/>
                    </a:lnTo>
                    <a:lnTo>
                      <a:pt x="1747" y="271"/>
                    </a:lnTo>
                    <a:lnTo>
                      <a:pt x="1793" y="265"/>
                    </a:lnTo>
                    <a:lnTo>
                      <a:pt x="1821" y="253"/>
                    </a:lnTo>
                    <a:lnTo>
                      <a:pt x="1860" y="283"/>
                    </a:lnTo>
                    <a:lnTo>
                      <a:pt x="1906" y="308"/>
                    </a:lnTo>
                    <a:lnTo>
                      <a:pt x="1947" y="333"/>
                    </a:lnTo>
                    <a:lnTo>
                      <a:pt x="2000" y="339"/>
                    </a:lnTo>
                    <a:lnTo>
                      <a:pt x="2006" y="346"/>
                    </a:lnTo>
                    <a:lnTo>
                      <a:pt x="2005" y="358"/>
                    </a:lnTo>
                    <a:lnTo>
                      <a:pt x="2004" y="373"/>
                    </a:lnTo>
                    <a:lnTo>
                      <a:pt x="2004" y="377"/>
                    </a:lnTo>
                    <a:lnTo>
                      <a:pt x="2002" y="381"/>
                    </a:lnTo>
                    <a:lnTo>
                      <a:pt x="2000" y="385"/>
                    </a:lnTo>
                    <a:lnTo>
                      <a:pt x="1996" y="388"/>
                    </a:lnTo>
                    <a:lnTo>
                      <a:pt x="1993" y="392"/>
                    </a:lnTo>
                    <a:lnTo>
                      <a:pt x="1988" y="395"/>
                    </a:lnTo>
                    <a:lnTo>
                      <a:pt x="1981" y="399"/>
                    </a:lnTo>
                    <a:lnTo>
                      <a:pt x="1973" y="401"/>
                    </a:lnTo>
                    <a:lnTo>
                      <a:pt x="1969" y="401"/>
                    </a:lnTo>
                    <a:lnTo>
                      <a:pt x="1965" y="402"/>
                    </a:lnTo>
                    <a:lnTo>
                      <a:pt x="1962" y="403"/>
                    </a:lnTo>
                    <a:lnTo>
                      <a:pt x="1960" y="404"/>
                    </a:lnTo>
                    <a:lnTo>
                      <a:pt x="1959" y="406"/>
                    </a:lnTo>
                    <a:lnTo>
                      <a:pt x="1958" y="408"/>
                    </a:lnTo>
                    <a:lnTo>
                      <a:pt x="1958" y="410"/>
                    </a:lnTo>
                    <a:lnTo>
                      <a:pt x="1958" y="413"/>
                    </a:lnTo>
                    <a:lnTo>
                      <a:pt x="1963" y="425"/>
                    </a:lnTo>
                    <a:lnTo>
                      <a:pt x="1972" y="438"/>
                    </a:lnTo>
                    <a:lnTo>
                      <a:pt x="1977" y="445"/>
                    </a:lnTo>
                    <a:lnTo>
                      <a:pt x="1981" y="452"/>
                    </a:lnTo>
                    <a:lnTo>
                      <a:pt x="1983" y="460"/>
                    </a:lnTo>
                    <a:lnTo>
                      <a:pt x="1985" y="466"/>
                    </a:lnTo>
                    <a:lnTo>
                      <a:pt x="1985" y="469"/>
                    </a:lnTo>
                    <a:lnTo>
                      <a:pt x="1984" y="471"/>
                    </a:lnTo>
                    <a:lnTo>
                      <a:pt x="1983" y="474"/>
                    </a:lnTo>
                    <a:lnTo>
                      <a:pt x="1982" y="476"/>
                    </a:lnTo>
                    <a:lnTo>
                      <a:pt x="1979" y="478"/>
                    </a:lnTo>
                    <a:lnTo>
                      <a:pt x="1976" y="479"/>
                    </a:lnTo>
                    <a:lnTo>
                      <a:pt x="1971" y="480"/>
                    </a:lnTo>
                    <a:lnTo>
                      <a:pt x="1967" y="481"/>
                    </a:lnTo>
                    <a:lnTo>
                      <a:pt x="1954" y="481"/>
                    </a:lnTo>
                    <a:lnTo>
                      <a:pt x="1939" y="481"/>
                    </a:lnTo>
                    <a:lnTo>
                      <a:pt x="1932" y="481"/>
                    </a:lnTo>
                    <a:lnTo>
                      <a:pt x="1923" y="480"/>
                    </a:lnTo>
                    <a:lnTo>
                      <a:pt x="1913" y="478"/>
                    </a:lnTo>
                    <a:lnTo>
                      <a:pt x="1903" y="476"/>
                    </a:lnTo>
                    <a:lnTo>
                      <a:pt x="1893" y="474"/>
                    </a:lnTo>
                    <a:lnTo>
                      <a:pt x="1883" y="471"/>
                    </a:lnTo>
                    <a:lnTo>
                      <a:pt x="1875" y="467"/>
                    </a:lnTo>
                    <a:lnTo>
                      <a:pt x="1867" y="463"/>
                    </a:lnTo>
                    <a:lnTo>
                      <a:pt x="1865" y="468"/>
                    </a:lnTo>
                    <a:lnTo>
                      <a:pt x="1864" y="474"/>
                    </a:lnTo>
                    <a:lnTo>
                      <a:pt x="1865" y="482"/>
                    </a:lnTo>
                    <a:lnTo>
                      <a:pt x="1865" y="490"/>
                    </a:lnTo>
                    <a:lnTo>
                      <a:pt x="1869" y="508"/>
                    </a:lnTo>
                    <a:lnTo>
                      <a:pt x="1873" y="529"/>
                    </a:lnTo>
                    <a:lnTo>
                      <a:pt x="1878" y="548"/>
                    </a:lnTo>
                    <a:lnTo>
                      <a:pt x="1882" y="564"/>
                    </a:lnTo>
                    <a:lnTo>
                      <a:pt x="1882" y="572"/>
                    </a:lnTo>
                    <a:lnTo>
                      <a:pt x="1882" y="578"/>
                    </a:lnTo>
                    <a:lnTo>
                      <a:pt x="1882" y="583"/>
                    </a:lnTo>
                    <a:lnTo>
                      <a:pt x="1880" y="586"/>
                    </a:lnTo>
                    <a:lnTo>
                      <a:pt x="1854" y="584"/>
                    </a:lnTo>
                    <a:lnTo>
                      <a:pt x="1816" y="584"/>
                    </a:lnTo>
                    <a:lnTo>
                      <a:pt x="1806" y="585"/>
                    </a:lnTo>
                    <a:lnTo>
                      <a:pt x="1798" y="586"/>
                    </a:lnTo>
                    <a:lnTo>
                      <a:pt x="1789" y="588"/>
                    </a:lnTo>
                    <a:lnTo>
                      <a:pt x="1782" y="591"/>
                    </a:lnTo>
                    <a:lnTo>
                      <a:pt x="1776" y="594"/>
                    </a:lnTo>
                    <a:lnTo>
                      <a:pt x="1771" y="598"/>
                    </a:lnTo>
                    <a:lnTo>
                      <a:pt x="1769" y="601"/>
                    </a:lnTo>
                    <a:lnTo>
                      <a:pt x="1768" y="604"/>
                    </a:lnTo>
                    <a:lnTo>
                      <a:pt x="1767" y="607"/>
                    </a:lnTo>
                    <a:lnTo>
                      <a:pt x="1767" y="610"/>
                    </a:lnTo>
                    <a:lnTo>
                      <a:pt x="1778" y="612"/>
                    </a:lnTo>
                    <a:lnTo>
                      <a:pt x="1788" y="615"/>
                    </a:lnTo>
                    <a:lnTo>
                      <a:pt x="1795" y="619"/>
                    </a:lnTo>
                    <a:lnTo>
                      <a:pt x="1801" y="625"/>
                    </a:lnTo>
                    <a:lnTo>
                      <a:pt x="1805" y="631"/>
                    </a:lnTo>
                    <a:lnTo>
                      <a:pt x="1809" y="637"/>
                    </a:lnTo>
                    <a:lnTo>
                      <a:pt x="1812" y="644"/>
                    </a:lnTo>
                    <a:lnTo>
                      <a:pt x="1814" y="650"/>
                    </a:lnTo>
                    <a:lnTo>
                      <a:pt x="1817" y="664"/>
                    </a:lnTo>
                    <a:lnTo>
                      <a:pt x="1822" y="676"/>
                    </a:lnTo>
                    <a:lnTo>
                      <a:pt x="1824" y="682"/>
                    </a:lnTo>
                    <a:lnTo>
                      <a:pt x="1828" y="686"/>
                    </a:lnTo>
                    <a:lnTo>
                      <a:pt x="1834" y="689"/>
                    </a:lnTo>
                    <a:lnTo>
                      <a:pt x="1840" y="691"/>
                    </a:lnTo>
                    <a:lnTo>
                      <a:pt x="1838" y="695"/>
                    </a:lnTo>
                    <a:lnTo>
                      <a:pt x="1837" y="699"/>
                    </a:lnTo>
                    <a:lnTo>
                      <a:pt x="1837" y="702"/>
                    </a:lnTo>
                    <a:lnTo>
                      <a:pt x="1837" y="706"/>
                    </a:lnTo>
                    <a:lnTo>
                      <a:pt x="1839" y="713"/>
                    </a:lnTo>
                    <a:lnTo>
                      <a:pt x="1840" y="721"/>
                    </a:lnTo>
                    <a:lnTo>
                      <a:pt x="1840" y="735"/>
                    </a:lnTo>
                    <a:lnTo>
                      <a:pt x="1838" y="748"/>
                    </a:lnTo>
                    <a:lnTo>
                      <a:pt x="1837" y="754"/>
                    </a:lnTo>
                    <a:lnTo>
                      <a:pt x="1835" y="760"/>
                    </a:lnTo>
                    <a:lnTo>
                      <a:pt x="1832" y="765"/>
                    </a:lnTo>
                    <a:lnTo>
                      <a:pt x="1827" y="770"/>
                    </a:lnTo>
                    <a:lnTo>
                      <a:pt x="1814" y="764"/>
                    </a:lnTo>
                    <a:lnTo>
                      <a:pt x="1741" y="740"/>
                    </a:lnTo>
                    <a:lnTo>
                      <a:pt x="1674" y="740"/>
                    </a:lnTo>
                    <a:lnTo>
                      <a:pt x="1614" y="734"/>
                    </a:lnTo>
                    <a:lnTo>
                      <a:pt x="1534" y="727"/>
                    </a:lnTo>
                    <a:lnTo>
                      <a:pt x="1488" y="715"/>
                    </a:lnTo>
                    <a:lnTo>
                      <a:pt x="1475" y="764"/>
                    </a:lnTo>
                    <a:lnTo>
                      <a:pt x="1414" y="740"/>
                    </a:lnTo>
                    <a:lnTo>
                      <a:pt x="1368" y="734"/>
                    </a:lnTo>
                    <a:lnTo>
                      <a:pt x="1342" y="758"/>
                    </a:lnTo>
                    <a:lnTo>
                      <a:pt x="1342" y="770"/>
                    </a:lnTo>
                    <a:lnTo>
                      <a:pt x="1316" y="795"/>
                    </a:lnTo>
                    <a:lnTo>
                      <a:pt x="1282" y="808"/>
                    </a:lnTo>
                    <a:lnTo>
                      <a:pt x="1255" y="838"/>
                    </a:lnTo>
                    <a:lnTo>
                      <a:pt x="1235" y="863"/>
                    </a:lnTo>
                    <a:lnTo>
                      <a:pt x="1196" y="832"/>
                    </a:lnTo>
                    <a:lnTo>
                      <a:pt x="1142" y="838"/>
                    </a:lnTo>
                    <a:lnTo>
                      <a:pt x="1122" y="808"/>
                    </a:lnTo>
                    <a:lnTo>
                      <a:pt x="1083" y="746"/>
                    </a:lnTo>
                    <a:lnTo>
                      <a:pt x="1050" y="715"/>
                    </a:lnTo>
                    <a:lnTo>
                      <a:pt x="1003" y="685"/>
                    </a:lnTo>
                    <a:lnTo>
                      <a:pt x="963" y="697"/>
                    </a:lnTo>
                    <a:lnTo>
                      <a:pt x="917" y="691"/>
                    </a:lnTo>
                    <a:lnTo>
                      <a:pt x="857" y="697"/>
                    </a:lnTo>
                    <a:lnTo>
                      <a:pt x="730" y="616"/>
                    </a:lnTo>
                    <a:lnTo>
                      <a:pt x="682" y="595"/>
                    </a:lnTo>
                    <a:lnTo>
                      <a:pt x="684" y="586"/>
                    </a:lnTo>
                    <a:lnTo>
                      <a:pt x="638" y="548"/>
                    </a:lnTo>
                    <a:lnTo>
                      <a:pt x="610" y="580"/>
                    </a:lnTo>
                    <a:lnTo>
                      <a:pt x="525" y="604"/>
                    </a:lnTo>
                    <a:lnTo>
                      <a:pt x="565" y="826"/>
                    </a:lnTo>
                    <a:lnTo>
                      <a:pt x="584" y="832"/>
                    </a:lnTo>
                    <a:lnTo>
                      <a:pt x="571" y="826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09" name="Freeform 31">
                <a:extLst>
                  <a:ext uri="{FF2B5EF4-FFF2-40B4-BE49-F238E27FC236}">
                    <a16:creationId xmlns="" xmlns:a16="http://schemas.microsoft.com/office/drawing/2014/main" id="{EE683640-CBFB-4051-B679-820A385490C4}"/>
                  </a:ext>
                </a:extLst>
              </p:cNvPr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5272088" y="2228850"/>
                <a:ext cx="409575" cy="249238"/>
              </a:xfrm>
              <a:custGeom>
                <a:avLst/>
                <a:gdLst>
                  <a:gd name="T0" fmla="*/ 2147483646 w 950"/>
                  <a:gd name="T1" fmla="*/ 2147483646 h 468"/>
                  <a:gd name="T2" fmla="*/ 2147483646 w 950"/>
                  <a:gd name="T3" fmla="*/ 2147483646 h 468"/>
                  <a:gd name="T4" fmla="*/ 2147483646 w 950"/>
                  <a:gd name="T5" fmla="*/ 2147483646 h 468"/>
                  <a:gd name="T6" fmla="*/ 2147483646 w 950"/>
                  <a:gd name="T7" fmla="*/ 2147483646 h 468"/>
                  <a:gd name="T8" fmla="*/ 2147483646 w 950"/>
                  <a:gd name="T9" fmla="*/ 2147483646 h 468"/>
                  <a:gd name="T10" fmla="*/ 2147483646 w 950"/>
                  <a:gd name="T11" fmla="*/ 2147483646 h 468"/>
                  <a:gd name="T12" fmla="*/ 2147483646 w 950"/>
                  <a:gd name="T13" fmla="*/ 2147483646 h 468"/>
                  <a:gd name="T14" fmla="*/ 2147483646 w 950"/>
                  <a:gd name="T15" fmla="*/ 2147483646 h 468"/>
                  <a:gd name="T16" fmla="*/ 2147483646 w 950"/>
                  <a:gd name="T17" fmla="*/ 2147483646 h 468"/>
                  <a:gd name="T18" fmla="*/ 2147483646 w 950"/>
                  <a:gd name="T19" fmla="*/ 2147483646 h 468"/>
                  <a:gd name="T20" fmla="*/ 0 w 950"/>
                  <a:gd name="T21" fmla="*/ 2147483646 h 468"/>
                  <a:gd name="T22" fmla="*/ 2147483646 w 950"/>
                  <a:gd name="T23" fmla="*/ 2147483646 h 468"/>
                  <a:gd name="T24" fmla="*/ 2147483646 w 950"/>
                  <a:gd name="T25" fmla="*/ 2147483646 h 468"/>
                  <a:gd name="T26" fmla="*/ 2147483646 w 950"/>
                  <a:gd name="T27" fmla="*/ 2147483646 h 468"/>
                  <a:gd name="T28" fmla="*/ 2147483646 w 950"/>
                  <a:gd name="T29" fmla="*/ 2147483646 h 468"/>
                  <a:gd name="T30" fmla="*/ 2147483646 w 950"/>
                  <a:gd name="T31" fmla="*/ 2147483646 h 468"/>
                  <a:gd name="T32" fmla="*/ 2147483646 w 950"/>
                  <a:gd name="T33" fmla="*/ 2147483646 h 468"/>
                  <a:gd name="T34" fmla="*/ 2147483646 w 950"/>
                  <a:gd name="T35" fmla="*/ 2147483646 h 468"/>
                  <a:gd name="T36" fmla="*/ 2147483646 w 950"/>
                  <a:gd name="T37" fmla="*/ 2147483646 h 468"/>
                  <a:gd name="T38" fmla="*/ 2147483646 w 950"/>
                  <a:gd name="T39" fmla="*/ 2147483646 h 468"/>
                  <a:gd name="T40" fmla="*/ 2147483646 w 950"/>
                  <a:gd name="T41" fmla="*/ 2147483646 h 468"/>
                  <a:gd name="T42" fmla="*/ 2147483646 w 950"/>
                  <a:gd name="T43" fmla="*/ 2147483646 h 468"/>
                  <a:gd name="T44" fmla="*/ 2147483646 w 950"/>
                  <a:gd name="T45" fmla="*/ 2147483646 h 468"/>
                  <a:gd name="T46" fmla="*/ 2147483646 w 950"/>
                  <a:gd name="T47" fmla="*/ 2147483646 h 468"/>
                  <a:gd name="T48" fmla="*/ 2147483646 w 950"/>
                  <a:gd name="T49" fmla="*/ 2147483646 h 468"/>
                  <a:gd name="T50" fmla="*/ 2147483646 w 950"/>
                  <a:gd name="T51" fmla="*/ 2147483646 h 468"/>
                  <a:gd name="T52" fmla="*/ 2147483646 w 950"/>
                  <a:gd name="T53" fmla="*/ 2147483646 h 468"/>
                  <a:gd name="T54" fmla="*/ 2147483646 w 950"/>
                  <a:gd name="T55" fmla="*/ 2147483646 h 468"/>
                  <a:gd name="T56" fmla="*/ 2147483646 w 950"/>
                  <a:gd name="T57" fmla="*/ 2147483646 h 468"/>
                  <a:gd name="T58" fmla="*/ 2147483646 w 950"/>
                  <a:gd name="T59" fmla="*/ 2147483646 h 468"/>
                  <a:gd name="T60" fmla="*/ 2147483646 w 950"/>
                  <a:gd name="T61" fmla="*/ 2147483646 h 468"/>
                  <a:gd name="T62" fmla="*/ 2147483646 w 950"/>
                  <a:gd name="T63" fmla="*/ 2147483646 h 468"/>
                  <a:gd name="T64" fmla="*/ 2147483646 w 950"/>
                  <a:gd name="T65" fmla="*/ 2147483646 h 468"/>
                  <a:gd name="T66" fmla="*/ 2147483646 w 950"/>
                  <a:gd name="T67" fmla="*/ 2147483646 h 468"/>
                  <a:gd name="T68" fmla="*/ 2147483646 w 950"/>
                  <a:gd name="T69" fmla="*/ 2147483646 h 468"/>
                  <a:gd name="T70" fmla="*/ 2147483646 w 950"/>
                  <a:gd name="T71" fmla="*/ 2147483646 h 46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950"/>
                  <a:gd name="T109" fmla="*/ 0 h 468"/>
                  <a:gd name="T110" fmla="*/ 950 w 950"/>
                  <a:gd name="T111" fmla="*/ 468 h 46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950" h="468">
                    <a:moveTo>
                      <a:pt x="664" y="455"/>
                    </a:moveTo>
                    <a:lnTo>
                      <a:pt x="638" y="443"/>
                    </a:lnTo>
                    <a:lnTo>
                      <a:pt x="604" y="431"/>
                    </a:lnTo>
                    <a:lnTo>
                      <a:pt x="558" y="418"/>
                    </a:lnTo>
                    <a:lnTo>
                      <a:pt x="512" y="388"/>
                    </a:lnTo>
                    <a:lnTo>
                      <a:pt x="471" y="376"/>
                    </a:lnTo>
                    <a:lnTo>
                      <a:pt x="425" y="345"/>
                    </a:lnTo>
                    <a:lnTo>
                      <a:pt x="392" y="307"/>
                    </a:lnTo>
                    <a:lnTo>
                      <a:pt x="345" y="258"/>
                    </a:lnTo>
                    <a:lnTo>
                      <a:pt x="305" y="258"/>
                    </a:lnTo>
                    <a:lnTo>
                      <a:pt x="266" y="246"/>
                    </a:lnTo>
                    <a:lnTo>
                      <a:pt x="253" y="209"/>
                    </a:lnTo>
                    <a:lnTo>
                      <a:pt x="219" y="190"/>
                    </a:lnTo>
                    <a:lnTo>
                      <a:pt x="186" y="172"/>
                    </a:lnTo>
                    <a:lnTo>
                      <a:pt x="153" y="166"/>
                    </a:lnTo>
                    <a:lnTo>
                      <a:pt x="133" y="190"/>
                    </a:lnTo>
                    <a:lnTo>
                      <a:pt x="92" y="209"/>
                    </a:lnTo>
                    <a:lnTo>
                      <a:pt x="99" y="240"/>
                    </a:lnTo>
                    <a:lnTo>
                      <a:pt x="59" y="252"/>
                    </a:lnTo>
                    <a:lnTo>
                      <a:pt x="40" y="246"/>
                    </a:lnTo>
                    <a:lnTo>
                      <a:pt x="46" y="240"/>
                    </a:lnTo>
                    <a:lnTo>
                      <a:pt x="0" y="24"/>
                    </a:lnTo>
                    <a:lnTo>
                      <a:pt x="85" y="0"/>
                    </a:lnTo>
                    <a:lnTo>
                      <a:pt x="79" y="6"/>
                    </a:lnTo>
                    <a:lnTo>
                      <a:pt x="86" y="55"/>
                    </a:lnTo>
                    <a:lnTo>
                      <a:pt x="133" y="55"/>
                    </a:lnTo>
                    <a:lnTo>
                      <a:pt x="153" y="30"/>
                    </a:lnTo>
                    <a:lnTo>
                      <a:pt x="157" y="15"/>
                    </a:lnTo>
                    <a:lnTo>
                      <a:pt x="205" y="36"/>
                    </a:lnTo>
                    <a:lnTo>
                      <a:pt x="332" y="117"/>
                    </a:lnTo>
                    <a:lnTo>
                      <a:pt x="392" y="111"/>
                    </a:lnTo>
                    <a:lnTo>
                      <a:pt x="438" y="117"/>
                    </a:lnTo>
                    <a:lnTo>
                      <a:pt x="478" y="105"/>
                    </a:lnTo>
                    <a:lnTo>
                      <a:pt x="525" y="135"/>
                    </a:lnTo>
                    <a:lnTo>
                      <a:pt x="558" y="166"/>
                    </a:lnTo>
                    <a:lnTo>
                      <a:pt x="597" y="228"/>
                    </a:lnTo>
                    <a:lnTo>
                      <a:pt x="617" y="258"/>
                    </a:lnTo>
                    <a:lnTo>
                      <a:pt x="671" y="252"/>
                    </a:lnTo>
                    <a:lnTo>
                      <a:pt x="710" y="283"/>
                    </a:lnTo>
                    <a:lnTo>
                      <a:pt x="730" y="258"/>
                    </a:lnTo>
                    <a:lnTo>
                      <a:pt x="757" y="228"/>
                    </a:lnTo>
                    <a:lnTo>
                      <a:pt x="791" y="215"/>
                    </a:lnTo>
                    <a:lnTo>
                      <a:pt x="817" y="190"/>
                    </a:lnTo>
                    <a:lnTo>
                      <a:pt x="843" y="196"/>
                    </a:lnTo>
                    <a:lnTo>
                      <a:pt x="810" y="228"/>
                    </a:lnTo>
                    <a:lnTo>
                      <a:pt x="824" y="252"/>
                    </a:lnTo>
                    <a:lnTo>
                      <a:pt x="850" y="258"/>
                    </a:lnTo>
                    <a:lnTo>
                      <a:pt x="870" y="240"/>
                    </a:lnTo>
                    <a:lnTo>
                      <a:pt x="910" y="258"/>
                    </a:lnTo>
                    <a:lnTo>
                      <a:pt x="950" y="283"/>
                    </a:lnTo>
                    <a:lnTo>
                      <a:pt x="917" y="313"/>
                    </a:lnTo>
                    <a:lnTo>
                      <a:pt x="883" y="320"/>
                    </a:lnTo>
                    <a:lnTo>
                      <a:pt x="837" y="313"/>
                    </a:lnTo>
                    <a:lnTo>
                      <a:pt x="824" y="283"/>
                    </a:lnTo>
                    <a:lnTo>
                      <a:pt x="804" y="271"/>
                    </a:lnTo>
                    <a:lnTo>
                      <a:pt x="764" y="277"/>
                    </a:lnTo>
                    <a:lnTo>
                      <a:pt x="757" y="301"/>
                    </a:lnTo>
                    <a:lnTo>
                      <a:pt x="737" y="320"/>
                    </a:lnTo>
                    <a:lnTo>
                      <a:pt x="724" y="351"/>
                    </a:lnTo>
                    <a:lnTo>
                      <a:pt x="684" y="357"/>
                    </a:lnTo>
                    <a:lnTo>
                      <a:pt x="671" y="369"/>
                    </a:lnTo>
                    <a:lnTo>
                      <a:pt x="710" y="388"/>
                    </a:lnTo>
                    <a:lnTo>
                      <a:pt x="730" y="406"/>
                    </a:lnTo>
                    <a:lnTo>
                      <a:pt x="743" y="437"/>
                    </a:lnTo>
                    <a:lnTo>
                      <a:pt x="730" y="468"/>
                    </a:lnTo>
                    <a:lnTo>
                      <a:pt x="717" y="468"/>
                    </a:lnTo>
                    <a:lnTo>
                      <a:pt x="712" y="467"/>
                    </a:lnTo>
                    <a:lnTo>
                      <a:pt x="703" y="465"/>
                    </a:lnTo>
                    <a:lnTo>
                      <a:pt x="694" y="462"/>
                    </a:lnTo>
                    <a:lnTo>
                      <a:pt x="684" y="461"/>
                    </a:lnTo>
                    <a:lnTo>
                      <a:pt x="669" y="461"/>
                    </a:lnTo>
                    <a:lnTo>
                      <a:pt x="658" y="461"/>
                    </a:lnTo>
                    <a:lnTo>
                      <a:pt x="664" y="455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10" name="Freeform 32">
                <a:extLst>
                  <a:ext uri="{FF2B5EF4-FFF2-40B4-BE49-F238E27FC236}">
                    <a16:creationId xmlns="" xmlns:a16="http://schemas.microsoft.com/office/drawing/2014/main" id="{46B055A7-1431-4781-89D0-52567549CF1A}"/>
                  </a:ext>
                </a:extLst>
              </p:cNvPr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079875" y="3232150"/>
                <a:ext cx="296863" cy="288925"/>
              </a:xfrm>
              <a:custGeom>
                <a:avLst/>
                <a:gdLst>
                  <a:gd name="T0" fmla="*/ 2147483646 w 671"/>
                  <a:gd name="T1" fmla="*/ 2147483646 h 549"/>
                  <a:gd name="T2" fmla="*/ 2147483646 w 671"/>
                  <a:gd name="T3" fmla="*/ 2147483646 h 549"/>
                  <a:gd name="T4" fmla="*/ 2147483646 w 671"/>
                  <a:gd name="T5" fmla="*/ 2147483646 h 549"/>
                  <a:gd name="T6" fmla="*/ 2147483646 w 671"/>
                  <a:gd name="T7" fmla="*/ 2147483646 h 549"/>
                  <a:gd name="T8" fmla="*/ 2147483646 w 671"/>
                  <a:gd name="T9" fmla="*/ 2147483646 h 549"/>
                  <a:gd name="T10" fmla="*/ 2147483646 w 671"/>
                  <a:gd name="T11" fmla="*/ 2147483646 h 549"/>
                  <a:gd name="T12" fmla="*/ 2147483646 w 671"/>
                  <a:gd name="T13" fmla="*/ 2147483646 h 549"/>
                  <a:gd name="T14" fmla="*/ 2147483646 w 671"/>
                  <a:gd name="T15" fmla="*/ 2147483646 h 549"/>
                  <a:gd name="T16" fmla="*/ 2147483646 w 671"/>
                  <a:gd name="T17" fmla="*/ 2147483646 h 549"/>
                  <a:gd name="T18" fmla="*/ 2147483646 w 671"/>
                  <a:gd name="T19" fmla="*/ 2147483646 h 549"/>
                  <a:gd name="T20" fmla="*/ 2147483646 w 671"/>
                  <a:gd name="T21" fmla="*/ 2147483646 h 549"/>
                  <a:gd name="T22" fmla="*/ 2147483646 w 671"/>
                  <a:gd name="T23" fmla="*/ 2147483646 h 549"/>
                  <a:gd name="T24" fmla="*/ 2147483646 w 671"/>
                  <a:gd name="T25" fmla="*/ 0 h 549"/>
                  <a:gd name="T26" fmla="*/ 2147483646 w 671"/>
                  <a:gd name="T27" fmla="*/ 2147483646 h 549"/>
                  <a:gd name="T28" fmla="*/ 2147483646 w 671"/>
                  <a:gd name="T29" fmla="*/ 2147483646 h 549"/>
                  <a:gd name="T30" fmla="*/ 2147483646 w 671"/>
                  <a:gd name="T31" fmla="*/ 2147483646 h 549"/>
                  <a:gd name="T32" fmla="*/ 2147483646 w 671"/>
                  <a:gd name="T33" fmla="*/ 2147483646 h 549"/>
                  <a:gd name="T34" fmla="*/ 2147483646 w 671"/>
                  <a:gd name="T35" fmla="*/ 2147483646 h 549"/>
                  <a:gd name="T36" fmla="*/ 2147483646 w 671"/>
                  <a:gd name="T37" fmla="*/ 2147483646 h 549"/>
                  <a:gd name="T38" fmla="*/ 2147483646 w 671"/>
                  <a:gd name="T39" fmla="*/ 2147483646 h 549"/>
                  <a:gd name="T40" fmla="*/ 2147483646 w 671"/>
                  <a:gd name="T41" fmla="*/ 2147483646 h 549"/>
                  <a:gd name="T42" fmla="*/ 2147483646 w 671"/>
                  <a:gd name="T43" fmla="*/ 2147483646 h 549"/>
                  <a:gd name="T44" fmla="*/ 2147483646 w 671"/>
                  <a:gd name="T45" fmla="*/ 2147483646 h 549"/>
                  <a:gd name="T46" fmla="*/ 2147483646 w 671"/>
                  <a:gd name="T47" fmla="*/ 2147483646 h 549"/>
                  <a:gd name="T48" fmla="*/ 2147483646 w 671"/>
                  <a:gd name="T49" fmla="*/ 2147483646 h 549"/>
                  <a:gd name="T50" fmla="*/ 2147483646 w 671"/>
                  <a:gd name="T51" fmla="*/ 2147483646 h 549"/>
                  <a:gd name="T52" fmla="*/ 2147483646 w 671"/>
                  <a:gd name="T53" fmla="*/ 2147483646 h 549"/>
                  <a:gd name="T54" fmla="*/ 2147483646 w 671"/>
                  <a:gd name="T55" fmla="*/ 2147483646 h 549"/>
                  <a:gd name="T56" fmla="*/ 2147483646 w 671"/>
                  <a:gd name="T57" fmla="*/ 2147483646 h 549"/>
                  <a:gd name="T58" fmla="*/ 2147483646 w 671"/>
                  <a:gd name="T59" fmla="*/ 2147483646 h 549"/>
                  <a:gd name="T60" fmla="*/ 2147483646 w 671"/>
                  <a:gd name="T61" fmla="*/ 2147483646 h 549"/>
                  <a:gd name="T62" fmla="*/ 2147483646 w 671"/>
                  <a:gd name="T63" fmla="*/ 2147483646 h 549"/>
                  <a:gd name="T64" fmla="*/ 2147483646 w 671"/>
                  <a:gd name="T65" fmla="*/ 2147483646 h 549"/>
                  <a:gd name="T66" fmla="*/ 2147483646 w 671"/>
                  <a:gd name="T67" fmla="*/ 2147483646 h 549"/>
                  <a:gd name="T68" fmla="*/ 2147483646 w 671"/>
                  <a:gd name="T69" fmla="*/ 2147483646 h 549"/>
                  <a:gd name="T70" fmla="*/ 2147483646 w 671"/>
                  <a:gd name="T71" fmla="*/ 2147483646 h 549"/>
                  <a:gd name="T72" fmla="*/ 2147483646 w 671"/>
                  <a:gd name="T73" fmla="*/ 2147483646 h 549"/>
                  <a:gd name="T74" fmla="*/ 2147483646 w 671"/>
                  <a:gd name="T75" fmla="*/ 2147483646 h 549"/>
                  <a:gd name="T76" fmla="*/ 2147483646 w 671"/>
                  <a:gd name="T77" fmla="*/ 2147483646 h 549"/>
                  <a:gd name="T78" fmla="*/ 2147483646 w 671"/>
                  <a:gd name="T79" fmla="*/ 2147483646 h 549"/>
                  <a:gd name="T80" fmla="*/ 2147483646 w 671"/>
                  <a:gd name="T81" fmla="*/ 2147483646 h 549"/>
                  <a:gd name="T82" fmla="*/ 2147483646 w 671"/>
                  <a:gd name="T83" fmla="*/ 2147483646 h 549"/>
                  <a:gd name="T84" fmla="*/ 2147483646 w 671"/>
                  <a:gd name="T85" fmla="*/ 2147483646 h 549"/>
                  <a:gd name="T86" fmla="*/ 2147483646 w 671"/>
                  <a:gd name="T87" fmla="*/ 2147483646 h 549"/>
                  <a:gd name="T88" fmla="*/ 2147483646 w 671"/>
                  <a:gd name="T89" fmla="*/ 2147483646 h 549"/>
                  <a:gd name="T90" fmla="*/ 2147483646 w 671"/>
                  <a:gd name="T91" fmla="*/ 2147483646 h 549"/>
                  <a:gd name="T92" fmla="*/ 2147483646 w 671"/>
                  <a:gd name="T93" fmla="*/ 2147483646 h 549"/>
                  <a:gd name="T94" fmla="*/ 2147483646 w 671"/>
                  <a:gd name="T95" fmla="*/ 2147483646 h 549"/>
                  <a:gd name="T96" fmla="*/ 2147483646 w 671"/>
                  <a:gd name="T97" fmla="*/ 2147483646 h 549"/>
                  <a:gd name="T98" fmla="*/ 2147483646 w 671"/>
                  <a:gd name="T99" fmla="*/ 2147483646 h 549"/>
                  <a:gd name="T100" fmla="*/ 2147483646 w 671"/>
                  <a:gd name="T101" fmla="*/ 2147483646 h 549"/>
                  <a:gd name="T102" fmla="*/ 2147483646 w 671"/>
                  <a:gd name="T103" fmla="*/ 2147483646 h 549"/>
                  <a:gd name="T104" fmla="*/ 2147483646 w 671"/>
                  <a:gd name="T105" fmla="*/ 2147483646 h 549"/>
                  <a:gd name="T106" fmla="*/ 2147483646 w 671"/>
                  <a:gd name="T107" fmla="*/ 2147483646 h 549"/>
                  <a:gd name="T108" fmla="*/ 2147483646 w 671"/>
                  <a:gd name="T109" fmla="*/ 2147483646 h 549"/>
                  <a:gd name="T110" fmla="*/ 2147483646 w 671"/>
                  <a:gd name="T111" fmla="*/ 2147483646 h 549"/>
                  <a:gd name="T112" fmla="*/ 2147483646 w 671"/>
                  <a:gd name="T113" fmla="*/ 2147483646 h 549"/>
                  <a:gd name="T114" fmla="*/ 2147483646 w 671"/>
                  <a:gd name="T115" fmla="*/ 2147483646 h 549"/>
                  <a:gd name="T116" fmla="*/ 2147483646 w 671"/>
                  <a:gd name="T117" fmla="*/ 2147483646 h 549"/>
                  <a:gd name="T118" fmla="*/ 2147483646 w 671"/>
                  <a:gd name="T119" fmla="*/ 2147483646 h 549"/>
                  <a:gd name="T120" fmla="*/ 2147483646 w 671"/>
                  <a:gd name="T121" fmla="*/ 2147483646 h 549"/>
                  <a:gd name="T122" fmla="*/ 0 w 671"/>
                  <a:gd name="T123" fmla="*/ 2147483646 h 549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671"/>
                  <a:gd name="T187" fmla="*/ 0 h 549"/>
                  <a:gd name="T188" fmla="*/ 671 w 671"/>
                  <a:gd name="T189" fmla="*/ 549 h 549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671" h="549">
                    <a:moveTo>
                      <a:pt x="0" y="438"/>
                    </a:moveTo>
                    <a:lnTo>
                      <a:pt x="4" y="405"/>
                    </a:lnTo>
                    <a:lnTo>
                      <a:pt x="6" y="383"/>
                    </a:lnTo>
                    <a:lnTo>
                      <a:pt x="7" y="360"/>
                    </a:lnTo>
                    <a:lnTo>
                      <a:pt x="7" y="327"/>
                    </a:lnTo>
                    <a:lnTo>
                      <a:pt x="8" y="316"/>
                    </a:lnTo>
                    <a:lnTo>
                      <a:pt x="9" y="306"/>
                    </a:lnTo>
                    <a:lnTo>
                      <a:pt x="12" y="296"/>
                    </a:lnTo>
                    <a:lnTo>
                      <a:pt x="17" y="287"/>
                    </a:lnTo>
                    <a:lnTo>
                      <a:pt x="28" y="270"/>
                    </a:lnTo>
                    <a:lnTo>
                      <a:pt x="40" y="254"/>
                    </a:lnTo>
                    <a:lnTo>
                      <a:pt x="52" y="238"/>
                    </a:lnTo>
                    <a:lnTo>
                      <a:pt x="63" y="222"/>
                    </a:lnTo>
                    <a:lnTo>
                      <a:pt x="67" y="214"/>
                    </a:lnTo>
                    <a:lnTo>
                      <a:pt x="71" y="205"/>
                    </a:lnTo>
                    <a:lnTo>
                      <a:pt x="73" y="196"/>
                    </a:lnTo>
                    <a:lnTo>
                      <a:pt x="73" y="185"/>
                    </a:lnTo>
                    <a:lnTo>
                      <a:pt x="73" y="167"/>
                    </a:lnTo>
                    <a:lnTo>
                      <a:pt x="73" y="156"/>
                    </a:lnTo>
                    <a:lnTo>
                      <a:pt x="73" y="148"/>
                    </a:lnTo>
                    <a:lnTo>
                      <a:pt x="73" y="137"/>
                    </a:lnTo>
                    <a:lnTo>
                      <a:pt x="63" y="126"/>
                    </a:lnTo>
                    <a:lnTo>
                      <a:pt x="53" y="117"/>
                    </a:lnTo>
                    <a:lnTo>
                      <a:pt x="54" y="108"/>
                    </a:lnTo>
                    <a:lnTo>
                      <a:pt x="55" y="99"/>
                    </a:lnTo>
                    <a:lnTo>
                      <a:pt x="57" y="89"/>
                    </a:lnTo>
                    <a:lnTo>
                      <a:pt x="61" y="79"/>
                    </a:lnTo>
                    <a:lnTo>
                      <a:pt x="65" y="68"/>
                    </a:lnTo>
                    <a:lnTo>
                      <a:pt x="71" y="59"/>
                    </a:lnTo>
                    <a:lnTo>
                      <a:pt x="76" y="50"/>
                    </a:lnTo>
                    <a:lnTo>
                      <a:pt x="83" y="41"/>
                    </a:lnTo>
                    <a:lnTo>
                      <a:pt x="89" y="33"/>
                    </a:lnTo>
                    <a:lnTo>
                      <a:pt x="96" y="25"/>
                    </a:lnTo>
                    <a:lnTo>
                      <a:pt x="104" y="17"/>
                    </a:lnTo>
                    <a:lnTo>
                      <a:pt x="112" y="12"/>
                    </a:lnTo>
                    <a:lnTo>
                      <a:pt x="120" y="7"/>
                    </a:lnTo>
                    <a:lnTo>
                      <a:pt x="129" y="3"/>
                    </a:lnTo>
                    <a:lnTo>
                      <a:pt x="138" y="1"/>
                    </a:lnTo>
                    <a:lnTo>
                      <a:pt x="146" y="0"/>
                    </a:lnTo>
                    <a:lnTo>
                      <a:pt x="156" y="1"/>
                    </a:lnTo>
                    <a:lnTo>
                      <a:pt x="164" y="3"/>
                    </a:lnTo>
                    <a:lnTo>
                      <a:pt x="173" y="5"/>
                    </a:lnTo>
                    <a:lnTo>
                      <a:pt x="179" y="8"/>
                    </a:lnTo>
                    <a:lnTo>
                      <a:pt x="194" y="16"/>
                    </a:lnTo>
                    <a:lnTo>
                      <a:pt x="206" y="26"/>
                    </a:lnTo>
                    <a:lnTo>
                      <a:pt x="217" y="35"/>
                    </a:lnTo>
                    <a:lnTo>
                      <a:pt x="230" y="42"/>
                    </a:lnTo>
                    <a:lnTo>
                      <a:pt x="236" y="45"/>
                    </a:lnTo>
                    <a:lnTo>
                      <a:pt x="243" y="48"/>
                    </a:lnTo>
                    <a:lnTo>
                      <a:pt x="251" y="49"/>
                    </a:lnTo>
                    <a:lnTo>
                      <a:pt x="259" y="50"/>
                    </a:lnTo>
                    <a:lnTo>
                      <a:pt x="264" y="49"/>
                    </a:lnTo>
                    <a:lnTo>
                      <a:pt x="268" y="47"/>
                    </a:lnTo>
                    <a:lnTo>
                      <a:pt x="272" y="44"/>
                    </a:lnTo>
                    <a:lnTo>
                      <a:pt x="276" y="41"/>
                    </a:lnTo>
                    <a:lnTo>
                      <a:pt x="279" y="37"/>
                    </a:lnTo>
                    <a:lnTo>
                      <a:pt x="284" y="35"/>
                    </a:lnTo>
                    <a:lnTo>
                      <a:pt x="288" y="32"/>
                    </a:lnTo>
                    <a:lnTo>
                      <a:pt x="292" y="32"/>
                    </a:lnTo>
                    <a:lnTo>
                      <a:pt x="300" y="32"/>
                    </a:lnTo>
                    <a:lnTo>
                      <a:pt x="308" y="34"/>
                    </a:lnTo>
                    <a:lnTo>
                      <a:pt x="313" y="36"/>
                    </a:lnTo>
                    <a:lnTo>
                      <a:pt x="318" y="39"/>
                    </a:lnTo>
                    <a:lnTo>
                      <a:pt x="325" y="47"/>
                    </a:lnTo>
                    <a:lnTo>
                      <a:pt x="332" y="56"/>
                    </a:lnTo>
                    <a:lnTo>
                      <a:pt x="337" y="65"/>
                    </a:lnTo>
                    <a:lnTo>
                      <a:pt x="344" y="73"/>
                    </a:lnTo>
                    <a:lnTo>
                      <a:pt x="348" y="76"/>
                    </a:lnTo>
                    <a:lnTo>
                      <a:pt x="353" y="79"/>
                    </a:lnTo>
                    <a:lnTo>
                      <a:pt x="358" y="81"/>
                    </a:lnTo>
                    <a:lnTo>
                      <a:pt x="366" y="81"/>
                    </a:lnTo>
                    <a:lnTo>
                      <a:pt x="370" y="81"/>
                    </a:lnTo>
                    <a:lnTo>
                      <a:pt x="375" y="80"/>
                    </a:lnTo>
                    <a:lnTo>
                      <a:pt x="378" y="77"/>
                    </a:lnTo>
                    <a:lnTo>
                      <a:pt x="381" y="75"/>
                    </a:lnTo>
                    <a:lnTo>
                      <a:pt x="387" y="70"/>
                    </a:lnTo>
                    <a:lnTo>
                      <a:pt x="392" y="63"/>
                    </a:lnTo>
                    <a:lnTo>
                      <a:pt x="397" y="56"/>
                    </a:lnTo>
                    <a:lnTo>
                      <a:pt x="403" y="49"/>
                    </a:lnTo>
                    <a:lnTo>
                      <a:pt x="410" y="43"/>
                    </a:lnTo>
                    <a:lnTo>
                      <a:pt x="419" y="38"/>
                    </a:lnTo>
                    <a:lnTo>
                      <a:pt x="433" y="30"/>
                    </a:lnTo>
                    <a:lnTo>
                      <a:pt x="446" y="25"/>
                    </a:lnTo>
                    <a:lnTo>
                      <a:pt x="458" y="22"/>
                    </a:lnTo>
                    <a:lnTo>
                      <a:pt x="468" y="21"/>
                    </a:lnTo>
                    <a:lnTo>
                      <a:pt x="478" y="22"/>
                    </a:lnTo>
                    <a:lnTo>
                      <a:pt x="487" y="25"/>
                    </a:lnTo>
                    <a:lnTo>
                      <a:pt x="496" y="28"/>
                    </a:lnTo>
                    <a:lnTo>
                      <a:pt x="503" y="31"/>
                    </a:lnTo>
                    <a:lnTo>
                      <a:pt x="511" y="35"/>
                    </a:lnTo>
                    <a:lnTo>
                      <a:pt x="520" y="38"/>
                    </a:lnTo>
                    <a:lnTo>
                      <a:pt x="528" y="41"/>
                    </a:lnTo>
                    <a:lnTo>
                      <a:pt x="537" y="43"/>
                    </a:lnTo>
                    <a:lnTo>
                      <a:pt x="547" y="43"/>
                    </a:lnTo>
                    <a:lnTo>
                      <a:pt x="559" y="42"/>
                    </a:lnTo>
                    <a:lnTo>
                      <a:pt x="571" y="39"/>
                    </a:lnTo>
                    <a:lnTo>
                      <a:pt x="586" y="33"/>
                    </a:lnTo>
                    <a:lnTo>
                      <a:pt x="632" y="74"/>
                    </a:lnTo>
                    <a:lnTo>
                      <a:pt x="646" y="67"/>
                    </a:lnTo>
                    <a:lnTo>
                      <a:pt x="651" y="81"/>
                    </a:lnTo>
                    <a:lnTo>
                      <a:pt x="658" y="93"/>
                    </a:lnTo>
                    <a:lnTo>
                      <a:pt x="665" y="105"/>
                    </a:lnTo>
                    <a:lnTo>
                      <a:pt x="671" y="117"/>
                    </a:lnTo>
                    <a:lnTo>
                      <a:pt x="646" y="152"/>
                    </a:lnTo>
                    <a:lnTo>
                      <a:pt x="623" y="183"/>
                    </a:lnTo>
                    <a:lnTo>
                      <a:pt x="612" y="199"/>
                    </a:lnTo>
                    <a:lnTo>
                      <a:pt x="602" y="216"/>
                    </a:lnTo>
                    <a:lnTo>
                      <a:pt x="593" y="233"/>
                    </a:lnTo>
                    <a:lnTo>
                      <a:pt x="584" y="254"/>
                    </a:lnTo>
                    <a:lnTo>
                      <a:pt x="578" y="273"/>
                    </a:lnTo>
                    <a:lnTo>
                      <a:pt x="570" y="291"/>
                    </a:lnTo>
                    <a:lnTo>
                      <a:pt x="564" y="309"/>
                    </a:lnTo>
                    <a:lnTo>
                      <a:pt x="557" y="326"/>
                    </a:lnTo>
                    <a:lnTo>
                      <a:pt x="550" y="343"/>
                    </a:lnTo>
                    <a:lnTo>
                      <a:pt x="543" y="363"/>
                    </a:lnTo>
                    <a:lnTo>
                      <a:pt x="534" y="383"/>
                    </a:lnTo>
                    <a:lnTo>
                      <a:pt x="525" y="407"/>
                    </a:lnTo>
                    <a:lnTo>
                      <a:pt x="524" y="410"/>
                    </a:lnTo>
                    <a:lnTo>
                      <a:pt x="521" y="416"/>
                    </a:lnTo>
                    <a:lnTo>
                      <a:pt x="516" y="422"/>
                    </a:lnTo>
                    <a:lnTo>
                      <a:pt x="511" y="428"/>
                    </a:lnTo>
                    <a:lnTo>
                      <a:pt x="505" y="434"/>
                    </a:lnTo>
                    <a:lnTo>
                      <a:pt x="500" y="439"/>
                    </a:lnTo>
                    <a:lnTo>
                      <a:pt x="496" y="443"/>
                    </a:lnTo>
                    <a:lnTo>
                      <a:pt x="492" y="444"/>
                    </a:lnTo>
                    <a:lnTo>
                      <a:pt x="482" y="443"/>
                    </a:lnTo>
                    <a:lnTo>
                      <a:pt x="474" y="440"/>
                    </a:lnTo>
                    <a:lnTo>
                      <a:pt x="466" y="436"/>
                    </a:lnTo>
                    <a:lnTo>
                      <a:pt x="459" y="432"/>
                    </a:lnTo>
                    <a:lnTo>
                      <a:pt x="453" y="428"/>
                    </a:lnTo>
                    <a:lnTo>
                      <a:pt x="446" y="424"/>
                    </a:lnTo>
                    <a:lnTo>
                      <a:pt x="440" y="421"/>
                    </a:lnTo>
                    <a:lnTo>
                      <a:pt x="432" y="420"/>
                    </a:lnTo>
                    <a:lnTo>
                      <a:pt x="419" y="421"/>
                    </a:lnTo>
                    <a:lnTo>
                      <a:pt x="408" y="424"/>
                    </a:lnTo>
                    <a:lnTo>
                      <a:pt x="398" y="428"/>
                    </a:lnTo>
                    <a:lnTo>
                      <a:pt x="389" y="434"/>
                    </a:lnTo>
                    <a:lnTo>
                      <a:pt x="381" y="441"/>
                    </a:lnTo>
                    <a:lnTo>
                      <a:pt x="375" y="449"/>
                    </a:lnTo>
                    <a:lnTo>
                      <a:pt x="369" y="458"/>
                    </a:lnTo>
                    <a:lnTo>
                      <a:pt x="364" y="469"/>
                    </a:lnTo>
                    <a:lnTo>
                      <a:pt x="355" y="489"/>
                    </a:lnTo>
                    <a:lnTo>
                      <a:pt x="346" y="510"/>
                    </a:lnTo>
                    <a:lnTo>
                      <a:pt x="342" y="521"/>
                    </a:lnTo>
                    <a:lnTo>
                      <a:pt x="336" y="531"/>
                    </a:lnTo>
                    <a:lnTo>
                      <a:pt x="332" y="541"/>
                    </a:lnTo>
                    <a:lnTo>
                      <a:pt x="325" y="549"/>
                    </a:lnTo>
                    <a:lnTo>
                      <a:pt x="233" y="543"/>
                    </a:lnTo>
                    <a:lnTo>
                      <a:pt x="231" y="545"/>
                    </a:lnTo>
                    <a:lnTo>
                      <a:pt x="229" y="546"/>
                    </a:lnTo>
                    <a:lnTo>
                      <a:pt x="227" y="547"/>
                    </a:lnTo>
                    <a:lnTo>
                      <a:pt x="223" y="548"/>
                    </a:lnTo>
                    <a:lnTo>
                      <a:pt x="217" y="548"/>
                    </a:lnTo>
                    <a:lnTo>
                      <a:pt x="209" y="547"/>
                    </a:lnTo>
                    <a:lnTo>
                      <a:pt x="193" y="545"/>
                    </a:lnTo>
                    <a:lnTo>
                      <a:pt x="179" y="543"/>
                    </a:lnTo>
                    <a:lnTo>
                      <a:pt x="173" y="543"/>
                    </a:lnTo>
                    <a:lnTo>
                      <a:pt x="167" y="542"/>
                    </a:lnTo>
                    <a:lnTo>
                      <a:pt x="161" y="540"/>
                    </a:lnTo>
                    <a:lnTo>
                      <a:pt x="155" y="537"/>
                    </a:lnTo>
                    <a:lnTo>
                      <a:pt x="150" y="534"/>
                    </a:lnTo>
                    <a:lnTo>
                      <a:pt x="144" y="531"/>
                    </a:lnTo>
                    <a:lnTo>
                      <a:pt x="139" y="527"/>
                    </a:lnTo>
                    <a:lnTo>
                      <a:pt x="134" y="521"/>
                    </a:lnTo>
                    <a:lnTo>
                      <a:pt x="129" y="515"/>
                    </a:lnTo>
                    <a:lnTo>
                      <a:pt x="126" y="509"/>
                    </a:lnTo>
                    <a:lnTo>
                      <a:pt x="122" y="503"/>
                    </a:lnTo>
                    <a:lnTo>
                      <a:pt x="119" y="496"/>
                    </a:lnTo>
                    <a:lnTo>
                      <a:pt x="117" y="489"/>
                    </a:lnTo>
                    <a:lnTo>
                      <a:pt x="115" y="481"/>
                    </a:lnTo>
                    <a:lnTo>
                      <a:pt x="113" y="472"/>
                    </a:lnTo>
                    <a:lnTo>
                      <a:pt x="113" y="462"/>
                    </a:lnTo>
                    <a:lnTo>
                      <a:pt x="106" y="462"/>
                    </a:lnTo>
                    <a:lnTo>
                      <a:pt x="100" y="460"/>
                    </a:lnTo>
                    <a:lnTo>
                      <a:pt x="95" y="457"/>
                    </a:lnTo>
                    <a:lnTo>
                      <a:pt x="90" y="454"/>
                    </a:lnTo>
                    <a:lnTo>
                      <a:pt x="83" y="447"/>
                    </a:lnTo>
                    <a:lnTo>
                      <a:pt x="74" y="439"/>
                    </a:lnTo>
                    <a:lnTo>
                      <a:pt x="70" y="435"/>
                    </a:lnTo>
                    <a:lnTo>
                      <a:pt x="63" y="432"/>
                    </a:lnTo>
                    <a:lnTo>
                      <a:pt x="56" y="430"/>
                    </a:lnTo>
                    <a:lnTo>
                      <a:pt x="49" y="429"/>
                    </a:lnTo>
                    <a:lnTo>
                      <a:pt x="39" y="429"/>
                    </a:lnTo>
                    <a:lnTo>
                      <a:pt x="28" y="430"/>
                    </a:lnTo>
                    <a:lnTo>
                      <a:pt x="15" y="433"/>
                    </a:lnTo>
                    <a:lnTo>
                      <a:pt x="0" y="438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11" name="Freeform 33">
                <a:extLst>
                  <a:ext uri="{FF2B5EF4-FFF2-40B4-BE49-F238E27FC236}">
                    <a16:creationId xmlns="" xmlns:a16="http://schemas.microsoft.com/office/drawing/2014/main" id="{86AA0F4E-5EBF-47AC-B2D0-008E592D0A98}"/>
                  </a:ext>
                </a:extLst>
              </p:cNvPr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922838" y="3097213"/>
                <a:ext cx="152400" cy="169862"/>
              </a:xfrm>
              <a:custGeom>
                <a:avLst/>
                <a:gdLst>
                  <a:gd name="T0" fmla="*/ 2147483646 w 358"/>
                  <a:gd name="T1" fmla="*/ 2147483646 h 327"/>
                  <a:gd name="T2" fmla="*/ 2147483646 w 358"/>
                  <a:gd name="T3" fmla="*/ 2147483646 h 327"/>
                  <a:gd name="T4" fmla="*/ 2147483646 w 358"/>
                  <a:gd name="T5" fmla="*/ 2147483646 h 327"/>
                  <a:gd name="T6" fmla="*/ 2147483646 w 358"/>
                  <a:gd name="T7" fmla="*/ 2147483646 h 327"/>
                  <a:gd name="T8" fmla="*/ 2147483646 w 358"/>
                  <a:gd name="T9" fmla="*/ 2147483646 h 327"/>
                  <a:gd name="T10" fmla="*/ 2147483646 w 358"/>
                  <a:gd name="T11" fmla="*/ 2147483646 h 327"/>
                  <a:gd name="T12" fmla="*/ 2147483646 w 358"/>
                  <a:gd name="T13" fmla="*/ 2147483646 h 327"/>
                  <a:gd name="T14" fmla="*/ 2147483646 w 358"/>
                  <a:gd name="T15" fmla="*/ 2147483646 h 327"/>
                  <a:gd name="T16" fmla="*/ 2147483646 w 358"/>
                  <a:gd name="T17" fmla="*/ 2147483646 h 327"/>
                  <a:gd name="T18" fmla="*/ 2147483646 w 358"/>
                  <a:gd name="T19" fmla="*/ 2147483646 h 327"/>
                  <a:gd name="T20" fmla="*/ 2147483646 w 358"/>
                  <a:gd name="T21" fmla="*/ 2147483646 h 327"/>
                  <a:gd name="T22" fmla="*/ 2147483646 w 358"/>
                  <a:gd name="T23" fmla="*/ 2147483646 h 327"/>
                  <a:gd name="T24" fmla="*/ 2147483646 w 358"/>
                  <a:gd name="T25" fmla="*/ 2147483646 h 327"/>
                  <a:gd name="T26" fmla="*/ 2147483646 w 358"/>
                  <a:gd name="T27" fmla="*/ 2147483646 h 327"/>
                  <a:gd name="T28" fmla="*/ 2147483646 w 358"/>
                  <a:gd name="T29" fmla="*/ 2147483646 h 327"/>
                  <a:gd name="T30" fmla="*/ 2147483646 w 358"/>
                  <a:gd name="T31" fmla="*/ 2147483646 h 327"/>
                  <a:gd name="T32" fmla="*/ 2147483646 w 358"/>
                  <a:gd name="T33" fmla="*/ 2147483646 h 327"/>
                  <a:gd name="T34" fmla="*/ 2147483646 w 358"/>
                  <a:gd name="T35" fmla="*/ 2147483646 h 327"/>
                  <a:gd name="T36" fmla="*/ 2147483646 w 358"/>
                  <a:gd name="T37" fmla="*/ 2147483646 h 327"/>
                  <a:gd name="T38" fmla="*/ 2147483646 w 358"/>
                  <a:gd name="T39" fmla="*/ 2147483646 h 327"/>
                  <a:gd name="T40" fmla="*/ 2147483646 w 358"/>
                  <a:gd name="T41" fmla="*/ 2147483646 h 327"/>
                  <a:gd name="T42" fmla="*/ 2147483646 w 358"/>
                  <a:gd name="T43" fmla="*/ 2147483646 h 327"/>
                  <a:gd name="T44" fmla="*/ 2147483646 w 358"/>
                  <a:gd name="T45" fmla="*/ 2147483646 h 327"/>
                  <a:gd name="T46" fmla="*/ 2147483646 w 358"/>
                  <a:gd name="T47" fmla="*/ 2147483646 h 327"/>
                  <a:gd name="T48" fmla="*/ 2147483646 w 358"/>
                  <a:gd name="T49" fmla="*/ 2147483646 h 327"/>
                  <a:gd name="T50" fmla="*/ 2147483646 w 358"/>
                  <a:gd name="T51" fmla="*/ 2147483646 h 327"/>
                  <a:gd name="T52" fmla="*/ 2147483646 w 358"/>
                  <a:gd name="T53" fmla="*/ 0 h 327"/>
                  <a:gd name="T54" fmla="*/ 2147483646 w 358"/>
                  <a:gd name="T55" fmla="*/ 2147483646 h 327"/>
                  <a:gd name="T56" fmla="*/ 2147483646 w 358"/>
                  <a:gd name="T57" fmla="*/ 2147483646 h 327"/>
                  <a:gd name="T58" fmla="*/ 2147483646 w 358"/>
                  <a:gd name="T59" fmla="*/ 2147483646 h 327"/>
                  <a:gd name="T60" fmla="*/ 2147483646 w 358"/>
                  <a:gd name="T61" fmla="*/ 2147483646 h 327"/>
                  <a:gd name="T62" fmla="*/ 2147483646 w 358"/>
                  <a:gd name="T63" fmla="*/ 2147483646 h 327"/>
                  <a:gd name="T64" fmla="*/ 2147483646 w 358"/>
                  <a:gd name="T65" fmla="*/ 2147483646 h 327"/>
                  <a:gd name="T66" fmla="*/ 2147483646 w 358"/>
                  <a:gd name="T67" fmla="*/ 2147483646 h 327"/>
                  <a:gd name="T68" fmla="*/ 2147483646 w 358"/>
                  <a:gd name="T69" fmla="*/ 2147483646 h 327"/>
                  <a:gd name="T70" fmla="*/ 2147483646 w 358"/>
                  <a:gd name="T71" fmla="*/ 2147483646 h 327"/>
                  <a:gd name="T72" fmla="*/ 2147483646 w 358"/>
                  <a:gd name="T73" fmla="*/ 2147483646 h 327"/>
                  <a:gd name="T74" fmla="*/ 2147483646 w 358"/>
                  <a:gd name="T75" fmla="*/ 2147483646 h 327"/>
                  <a:gd name="T76" fmla="*/ 0 w 358"/>
                  <a:gd name="T77" fmla="*/ 2147483646 h 327"/>
                  <a:gd name="T78" fmla="*/ 0 w 358"/>
                  <a:gd name="T79" fmla="*/ 2147483646 h 327"/>
                  <a:gd name="T80" fmla="*/ 2147483646 w 358"/>
                  <a:gd name="T81" fmla="*/ 2147483646 h 327"/>
                  <a:gd name="T82" fmla="*/ 2147483646 w 358"/>
                  <a:gd name="T83" fmla="*/ 2147483646 h 327"/>
                  <a:gd name="T84" fmla="*/ 2147483646 w 358"/>
                  <a:gd name="T85" fmla="*/ 2147483646 h 327"/>
                  <a:gd name="T86" fmla="*/ 2147483646 w 358"/>
                  <a:gd name="T87" fmla="*/ 2147483646 h 327"/>
                  <a:gd name="T88" fmla="*/ 2147483646 w 358"/>
                  <a:gd name="T89" fmla="*/ 2147483646 h 327"/>
                  <a:gd name="T90" fmla="*/ 2147483646 w 358"/>
                  <a:gd name="T91" fmla="*/ 2147483646 h 327"/>
                  <a:gd name="T92" fmla="*/ 2147483646 w 358"/>
                  <a:gd name="T93" fmla="*/ 2147483646 h 327"/>
                  <a:gd name="T94" fmla="*/ 2147483646 w 358"/>
                  <a:gd name="T95" fmla="*/ 2147483646 h 327"/>
                  <a:gd name="T96" fmla="*/ 2147483646 w 358"/>
                  <a:gd name="T97" fmla="*/ 2147483646 h 327"/>
                  <a:gd name="T98" fmla="*/ 2147483646 w 358"/>
                  <a:gd name="T99" fmla="*/ 2147483646 h 327"/>
                  <a:gd name="T100" fmla="*/ 2147483646 w 358"/>
                  <a:gd name="T101" fmla="*/ 2147483646 h 327"/>
                  <a:gd name="T102" fmla="*/ 2147483646 w 358"/>
                  <a:gd name="T103" fmla="*/ 2147483646 h 327"/>
                  <a:gd name="T104" fmla="*/ 2147483646 w 358"/>
                  <a:gd name="T105" fmla="*/ 2147483646 h 327"/>
                  <a:gd name="T106" fmla="*/ 2147483646 w 358"/>
                  <a:gd name="T107" fmla="*/ 2147483646 h 327"/>
                  <a:gd name="T108" fmla="*/ 2147483646 w 358"/>
                  <a:gd name="T109" fmla="*/ 2147483646 h 327"/>
                  <a:gd name="T110" fmla="*/ 2147483646 w 358"/>
                  <a:gd name="T111" fmla="*/ 2147483646 h 327"/>
                  <a:gd name="T112" fmla="*/ 2147483646 w 358"/>
                  <a:gd name="T113" fmla="*/ 2147483646 h 327"/>
                  <a:gd name="T114" fmla="*/ 2147483646 w 358"/>
                  <a:gd name="T115" fmla="*/ 2147483646 h 327"/>
                  <a:gd name="T116" fmla="*/ 2147483646 w 358"/>
                  <a:gd name="T117" fmla="*/ 2147483646 h 327"/>
                  <a:gd name="T118" fmla="*/ 2147483646 w 358"/>
                  <a:gd name="T119" fmla="*/ 2147483646 h 327"/>
                  <a:gd name="T120" fmla="*/ 2147483646 w 358"/>
                  <a:gd name="T121" fmla="*/ 2147483646 h 327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58"/>
                  <a:gd name="T184" fmla="*/ 0 h 327"/>
                  <a:gd name="T185" fmla="*/ 358 w 358"/>
                  <a:gd name="T186" fmla="*/ 327 h 327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58" h="327">
                    <a:moveTo>
                      <a:pt x="325" y="327"/>
                    </a:moveTo>
                    <a:lnTo>
                      <a:pt x="326" y="324"/>
                    </a:lnTo>
                    <a:lnTo>
                      <a:pt x="329" y="322"/>
                    </a:lnTo>
                    <a:lnTo>
                      <a:pt x="331" y="321"/>
                    </a:lnTo>
                    <a:lnTo>
                      <a:pt x="332" y="321"/>
                    </a:lnTo>
                    <a:lnTo>
                      <a:pt x="337" y="318"/>
                    </a:lnTo>
                    <a:lnTo>
                      <a:pt x="342" y="317"/>
                    </a:lnTo>
                    <a:lnTo>
                      <a:pt x="346" y="318"/>
                    </a:lnTo>
                    <a:lnTo>
                      <a:pt x="351" y="319"/>
                    </a:lnTo>
                    <a:lnTo>
                      <a:pt x="356" y="324"/>
                    </a:lnTo>
                    <a:lnTo>
                      <a:pt x="358" y="327"/>
                    </a:lnTo>
                    <a:lnTo>
                      <a:pt x="319" y="285"/>
                    </a:lnTo>
                    <a:lnTo>
                      <a:pt x="302" y="265"/>
                    </a:lnTo>
                    <a:lnTo>
                      <a:pt x="278" y="235"/>
                    </a:lnTo>
                    <a:lnTo>
                      <a:pt x="265" y="219"/>
                    </a:lnTo>
                    <a:lnTo>
                      <a:pt x="253" y="204"/>
                    </a:lnTo>
                    <a:lnTo>
                      <a:pt x="241" y="193"/>
                    </a:lnTo>
                    <a:lnTo>
                      <a:pt x="232" y="186"/>
                    </a:lnTo>
                    <a:lnTo>
                      <a:pt x="225" y="182"/>
                    </a:lnTo>
                    <a:lnTo>
                      <a:pt x="219" y="181"/>
                    </a:lnTo>
                    <a:lnTo>
                      <a:pt x="213" y="180"/>
                    </a:lnTo>
                    <a:lnTo>
                      <a:pt x="208" y="180"/>
                    </a:lnTo>
                    <a:lnTo>
                      <a:pt x="205" y="180"/>
                    </a:lnTo>
                    <a:lnTo>
                      <a:pt x="201" y="179"/>
                    </a:lnTo>
                    <a:lnTo>
                      <a:pt x="200" y="177"/>
                    </a:lnTo>
                    <a:lnTo>
                      <a:pt x="199" y="174"/>
                    </a:lnTo>
                    <a:lnTo>
                      <a:pt x="199" y="172"/>
                    </a:lnTo>
                    <a:lnTo>
                      <a:pt x="198" y="170"/>
                    </a:lnTo>
                    <a:lnTo>
                      <a:pt x="197" y="169"/>
                    </a:lnTo>
                    <a:lnTo>
                      <a:pt x="195" y="169"/>
                    </a:lnTo>
                    <a:lnTo>
                      <a:pt x="190" y="170"/>
                    </a:lnTo>
                    <a:lnTo>
                      <a:pt x="184" y="172"/>
                    </a:lnTo>
                    <a:lnTo>
                      <a:pt x="178" y="173"/>
                    </a:lnTo>
                    <a:lnTo>
                      <a:pt x="171" y="172"/>
                    </a:lnTo>
                    <a:lnTo>
                      <a:pt x="168" y="170"/>
                    </a:lnTo>
                    <a:lnTo>
                      <a:pt x="165" y="168"/>
                    </a:lnTo>
                    <a:lnTo>
                      <a:pt x="162" y="165"/>
                    </a:lnTo>
                    <a:lnTo>
                      <a:pt x="160" y="161"/>
                    </a:lnTo>
                    <a:lnTo>
                      <a:pt x="156" y="152"/>
                    </a:lnTo>
                    <a:lnTo>
                      <a:pt x="152" y="144"/>
                    </a:lnTo>
                    <a:lnTo>
                      <a:pt x="147" y="138"/>
                    </a:lnTo>
                    <a:lnTo>
                      <a:pt x="143" y="131"/>
                    </a:lnTo>
                    <a:lnTo>
                      <a:pt x="138" y="125"/>
                    </a:lnTo>
                    <a:lnTo>
                      <a:pt x="133" y="119"/>
                    </a:lnTo>
                    <a:lnTo>
                      <a:pt x="129" y="112"/>
                    </a:lnTo>
                    <a:lnTo>
                      <a:pt x="127" y="105"/>
                    </a:lnTo>
                    <a:lnTo>
                      <a:pt x="123" y="96"/>
                    </a:lnTo>
                    <a:lnTo>
                      <a:pt x="122" y="84"/>
                    </a:lnTo>
                    <a:lnTo>
                      <a:pt x="121" y="69"/>
                    </a:lnTo>
                    <a:lnTo>
                      <a:pt x="119" y="53"/>
                    </a:lnTo>
                    <a:lnTo>
                      <a:pt x="118" y="37"/>
                    </a:lnTo>
                    <a:lnTo>
                      <a:pt x="117" y="23"/>
                    </a:lnTo>
                    <a:lnTo>
                      <a:pt x="115" y="10"/>
                    </a:lnTo>
                    <a:lnTo>
                      <a:pt x="112" y="0"/>
                    </a:lnTo>
                    <a:lnTo>
                      <a:pt x="93" y="0"/>
                    </a:lnTo>
                    <a:lnTo>
                      <a:pt x="73" y="26"/>
                    </a:lnTo>
                    <a:lnTo>
                      <a:pt x="70" y="28"/>
                    </a:lnTo>
                    <a:lnTo>
                      <a:pt x="61" y="33"/>
                    </a:lnTo>
                    <a:lnTo>
                      <a:pt x="48" y="41"/>
                    </a:lnTo>
                    <a:lnTo>
                      <a:pt x="33" y="50"/>
                    </a:lnTo>
                    <a:lnTo>
                      <a:pt x="27" y="55"/>
                    </a:lnTo>
                    <a:lnTo>
                      <a:pt x="21" y="61"/>
                    </a:lnTo>
                    <a:lnTo>
                      <a:pt x="18" y="66"/>
                    </a:lnTo>
                    <a:lnTo>
                      <a:pt x="17" y="72"/>
                    </a:lnTo>
                    <a:lnTo>
                      <a:pt x="16" y="78"/>
                    </a:lnTo>
                    <a:lnTo>
                      <a:pt x="16" y="83"/>
                    </a:lnTo>
                    <a:lnTo>
                      <a:pt x="18" y="88"/>
                    </a:lnTo>
                    <a:lnTo>
                      <a:pt x="20" y="93"/>
                    </a:lnTo>
                    <a:lnTo>
                      <a:pt x="21" y="96"/>
                    </a:lnTo>
                    <a:lnTo>
                      <a:pt x="22" y="100"/>
                    </a:lnTo>
                    <a:lnTo>
                      <a:pt x="22" y="104"/>
                    </a:lnTo>
                    <a:lnTo>
                      <a:pt x="20" y="110"/>
                    </a:lnTo>
                    <a:lnTo>
                      <a:pt x="18" y="117"/>
                    </a:lnTo>
                    <a:lnTo>
                      <a:pt x="15" y="123"/>
                    </a:lnTo>
                    <a:lnTo>
                      <a:pt x="11" y="130"/>
                    </a:lnTo>
                    <a:lnTo>
                      <a:pt x="7" y="136"/>
                    </a:lnTo>
                    <a:lnTo>
                      <a:pt x="3" y="146"/>
                    </a:lnTo>
                    <a:lnTo>
                      <a:pt x="0" y="155"/>
                    </a:lnTo>
                    <a:lnTo>
                      <a:pt x="0" y="164"/>
                    </a:lnTo>
                    <a:lnTo>
                      <a:pt x="0" y="174"/>
                    </a:lnTo>
                    <a:lnTo>
                      <a:pt x="1" y="176"/>
                    </a:lnTo>
                    <a:lnTo>
                      <a:pt x="5" y="182"/>
                    </a:lnTo>
                    <a:lnTo>
                      <a:pt x="8" y="185"/>
                    </a:lnTo>
                    <a:lnTo>
                      <a:pt x="11" y="187"/>
                    </a:lnTo>
                    <a:lnTo>
                      <a:pt x="15" y="187"/>
                    </a:lnTo>
                    <a:lnTo>
                      <a:pt x="20" y="186"/>
                    </a:lnTo>
                    <a:lnTo>
                      <a:pt x="31" y="177"/>
                    </a:lnTo>
                    <a:lnTo>
                      <a:pt x="44" y="168"/>
                    </a:lnTo>
                    <a:lnTo>
                      <a:pt x="55" y="163"/>
                    </a:lnTo>
                    <a:lnTo>
                      <a:pt x="60" y="161"/>
                    </a:lnTo>
                    <a:lnTo>
                      <a:pt x="73" y="149"/>
                    </a:lnTo>
                    <a:lnTo>
                      <a:pt x="76" y="150"/>
                    </a:lnTo>
                    <a:lnTo>
                      <a:pt x="84" y="155"/>
                    </a:lnTo>
                    <a:lnTo>
                      <a:pt x="93" y="159"/>
                    </a:lnTo>
                    <a:lnTo>
                      <a:pt x="99" y="161"/>
                    </a:lnTo>
                    <a:lnTo>
                      <a:pt x="110" y="164"/>
                    </a:lnTo>
                    <a:lnTo>
                      <a:pt x="126" y="170"/>
                    </a:lnTo>
                    <a:lnTo>
                      <a:pt x="142" y="180"/>
                    </a:lnTo>
                    <a:lnTo>
                      <a:pt x="153" y="186"/>
                    </a:lnTo>
                    <a:lnTo>
                      <a:pt x="163" y="190"/>
                    </a:lnTo>
                    <a:lnTo>
                      <a:pt x="179" y="199"/>
                    </a:lnTo>
                    <a:lnTo>
                      <a:pt x="196" y="209"/>
                    </a:lnTo>
                    <a:lnTo>
                      <a:pt x="206" y="216"/>
                    </a:lnTo>
                    <a:lnTo>
                      <a:pt x="219" y="225"/>
                    </a:lnTo>
                    <a:lnTo>
                      <a:pt x="232" y="235"/>
                    </a:lnTo>
                    <a:lnTo>
                      <a:pt x="245" y="244"/>
                    </a:lnTo>
                    <a:lnTo>
                      <a:pt x="252" y="247"/>
                    </a:lnTo>
                    <a:lnTo>
                      <a:pt x="256" y="254"/>
                    </a:lnTo>
                    <a:lnTo>
                      <a:pt x="266" y="265"/>
                    </a:lnTo>
                    <a:lnTo>
                      <a:pt x="267" y="270"/>
                    </a:lnTo>
                    <a:lnTo>
                      <a:pt x="268" y="274"/>
                    </a:lnTo>
                    <a:lnTo>
                      <a:pt x="269" y="279"/>
                    </a:lnTo>
                    <a:lnTo>
                      <a:pt x="269" y="283"/>
                    </a:lnTo>
                    <a:lnTo>
                      <a:pt x="269" y="286"/>
                    </a:lnTo>
                    <a:lnTo>
                      <a:pt x="269" y="289"/>
                    </a:lnTo>
                    <a:lnTo>
                      <a:pt x="270" y="290"/>
                    </a:lnTo>
                    <a:lnTo>
                      <a:pt x="273" y="291"/>
                    </a:lnTo>
                    <a:lnTo>
                      <a:pt x="276" y="292"/>
                    </a:lnTo>
                    <a:lnTo>
                      <a:pt x="284" y="296"/>
                    </a:lnTo>
                    <a:lnTo>
                      <a:pt x="292" y="302"/>
                    </a:lnTo>
                    <a:lnTo>
                      <a:pt x="301" y="309"/>
                    </a:lnTo>
                    <a:lnTo>
                      <a:pt x="318" y="321"/>
                    </a:lnTo>
                    <a:lnTo>
                      <a:pt x="325" y="327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12" name="Freeform 34">
                <a:extLst>
                  <a:ext uri="{FF2B5EF4-FFF2-40B4-BE49-F238E27FC236}">
                    <a16:creationId xmlns="" xmlns:a16="http://schemas.microsoft.com/office/drawing/2014/main" id="{F31E0A61-1A8B-454D-BBA8-737F880555C8}"/>
                  </a:ext>
                </a:extLst>
              </p:cNvPr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384675" y="2101850"/>
                <a:ext cx="125413" cy="57150"/>
              </a:xfrm>
              <a:custGeom>
                <a:avLst/>
                <a:gdLst>
                  <a:gd name="T0" fmla="*/ 2147483646 w 292"/>
                  <a:gd name="T1" fmla="*/ 0 h 99"/>
                  <a:gd name="T2" fmla="*/ 2147483646 w 292"/>
                  <a:gd name="T3" fmla="*/ 0 h 99"/>
                  <a:gd name="T4" fmla="*/ 2147483646 w 292"/>
                  <a:gd name="T5" fmla="*/ 2147483646 h 99"/>
                  <a:gd name="T6" fmla="*/ 2147483646 w 292"/>
                  <a:gd name="T7" fmla="*/ 2147483646 h 99"/>
                  <a:gd name="T8" fmla="*/ 2147483646 w 292"/>
                  <a:gd name="T9" fmla="*/ 2147483646 h 99"/>
                  <a:gd name="T10" fmla="*/ 2147483646 w 292"/>
                  <a:gd name="T11" fmla="*/ 2147483646 h 99"/>
                  <a:gd name="T12" fmla="*/ 2147483646 w 292"/>
                  <a:gd name="T13" fmla="*/ 2147483646 h 99"/>
                  <a:gd name="T14" fmla="*/ 2147483646 w 292"/>
                  <a:gd name="T15" fmla="*/ 2147483646 h 99"/>
                  <a:gd name="T16" fmla="*/ 2147483646 w 292"/>
                  <a:gd name="T17" fmla="*/ 2147483646 h 99"/>
                  <a:gd name="T18" fmla="*/ 2147483646 w 292"/>
                  <a:gd name="T19" fmla="*/ 2147483646 h 99"/>
                  <a:gd name="T20" fmla="*/ 2147483646 w 292"/>
                  <a:gd name="T21" fmla="*/ 2147483646 h 99"/>
                  <a:gd name="T22" fmla="*/ 2147483646 w 292"/>
                  <a:gd name="T23" fmla="*/ 2147483646 h 99"/>
                  <a:gd name="T24" fmla="*/ 2147483646 w 292"/>
                  <a:gd name="T25" fmla="*/ 2147483646 h 99"/>
                  <a:gd name="T26" fmla="*/ 2147483646 w 292"/>
                  <a:gd name="T27" fmla="*/ 2147483646 h 99"/>
                  <a:gd name="T28" fmla="*/ 2147483646 w 292"/>
                  <a:gd name="T29" fmla="*/ 2147483646 h 99"/>
                  <a:gd name="T30" fmla="*/ 2147483646 w 292"/>
                  <a:gd name="T31" fmla="*/ 2147483646 h 99"/>
                  <a:gd name="T32" fmla="*/ 2147483646 w 292"/>
                  <a:gd name="T33" fmla="*/ 2147483646 h 99"/>
                  <a:gd name="T34" fmla="*/ 2147483646 w 292"/>
                  <a:gd name="T35" fmla="*/ 2147483646 h 99"/>
                  <a:gd name="T36" fmla="*/ 0 w 292"/>
                  <a:gd name="T37" fmla="*/ 2147483646 h 99"/>
                  <a:gd name="T38" fmla="*/ 2147483646 w 292"/>
                  <a:gd name="T39" fmla="*/ 2147483646 h 99"/>
                  <a:gd name="T40" fmla="*/ 2147483646 w 292"/>
                  <a:gd name="T41" fmla="*/ 2147483646 h 99"/>
                  <a:gd name="T42" fmla="*/ 2147483646 w 292"/>
                  <a:gd name="T43" fmla="*/ 2147483646 h 99"/>
                  <a:gd name="T44" fmla="*/ 2147483646 w 292"/>
                  <a:gd name="T45" fmla="*/ 2147483646 h 99"/>
                  <a:gd name="T46" fmla="*/ 2147483646 w 292"/>
                  <a:gd name="T47" fmla="*/ 2147483646 h 99"/>
                  <a:gd name="T48" fmla="*/ 2147483646 w 292"/>
                  <a:gd name="T49" fmla="*/ 2147483646 h 99"/>
                  <a:gd name="T50" fmla="*/ 2147483646 w 292"/>
                  <a:gd name="T51" fmla="*/ 2147483646 h 99"/>
                  <a:gd name="T52" fmla="*/ 2147483646 w 292"/>
                  <a:gd name="T53" fmla="*/ 2147483646 h 99"/>
                  <a:gd name="T54" fmla="*/ 2147483646 w 292"/>
                  <a:gd name="T55" fmla="*/ 2147483646 h 99"/>
                  <a:gd name="T56" fmla="*/ 2147483646 w 292"/>
                  <a:gd name="T57" fmla="*/ 2147483646 h 99"/>
                  <a:gd name="T58" fmla="*/ 2147483646 w 292"/>
                  <a:gd name="T59" fmla="*/ 2147483646 h 99"/>
                  <a:gd name="T60" fmla="*/ 2147483646 w 292"/>
                  <a:gd name="T61" fmla="*/ 2147483646 h 99"/>
                  <a:gd name="T62" fmla="*/ 2147483646 w 292"/>
                  <a:gd name="T63" fmla="*/ 2147483646 h 99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92"/>
                  <a:gd name="T97" fmla="*/ 0 h 99"/>
                  <a:gd name="T98" fmla="*/ 292 w 292"/>
                  <a:gd name="T99" fmla="*/ 99 h 99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92" h="99">
                    <a:moveTo>
                      <a:pt x="113" y="0"/>
                    </a:moveTo>
                    <a:lnTo>
                      <a:pt x="126" y="0"/>
                    </a:lnTo>
                    <a:lnTo>
                      <a:pt x="138" y="0"/>
                    </a:lnTo>
                    <a:lnTo>
                      <a:pt x="153" y="0"/>
                    </a:lnTo>
                    <a:lnTo>
                      <a:pt x="172" y="0"/>
                    </a:lnTo>
                    <a:lnTo>
                      <a:pt x="198" y="1"/>
                    </a:lnTo>
                    <a:lnTo>
                      <a:pt x="224" y="3"/>
                    </a:lnTo>
                    <a:lnTo>
                      <a:pt x="250" y="6"/>
                    </a:lnTo>
                    <a:lnTo>
                      <a:pt x="279" y="7"/>
                    </a:lnTo>
                    <a:lnTo>
                      <a:pt x="292" y="7"/>
                    </a:lnTo>
                    <a:lnTo>
                      <a:pt x="292" y="14"/>
                    </a:lnTo>
                    <a:lnTo>
                      <a:pt x="290" y="20"/>
                    </a:lnTo>
                    <a:lnTo>
                      <a:pt x="288" y="27"/>
                    </a:lnTo>
                    <a:lnTo>
                      <a:pt x="285" y="33"/>
                    </a:lnTo>
                    <a:lnTo>
                      <a:pt x="281" y="45"/>
                    </a:lnTo>
                    <a:lnTo>
                      <a:pt x="279" y="55"/>
                    </a:lnTo>
                    <a:lnTo>
                      <a:pt x="153" y="62"/>
                    </a:lnTo>
                    <a:lnTo>
                      <a:pt x="135" y="70"/>
                    </a:lnTo>
                    <a:lnTo>
                      <a:pt x="111" y="83"/>
                    </a:lnTo>
                    <a:lnTo>
                      <a:pt x="99" y="89"/>
                    </a:lnTo>
                    <a:lnTo>
                      <a:pt x="86" y="94"/>
                    </a:lnTo>
                    <a:lnTo>
                      <a:pt x="79" y="96"/>
                    </a:lnTo>
                    <a:lnTo>
                      <a:pt x="72" y="97"/>
                    </a:lnTo>
                    <a:lnTo>
                      <a:pt x="66" y="98"/>
                    </a:lnTo>
                    <a:lnTo>
                      <a:pt x="60" y="99"/>
                    </a:lnTo>
                    <a:lnTo>
                      <a:pt x="55" y="98"/>
                    </a:lnTo>
                    <a:lnTo>
                      <a:pt x="51" y="97"/>
                    </a:lnTo>
                    <a:lnTo>
                      <a:pt x="45" y="94"/>
                    </a:lnTo>
                    <a:lnTo>
                      <a:pt x="41" y="92"/>
                    </a:lnTo>
                    <a:lnTo>
                      <a:pt x="33" y="86"/>
                    </a:lnTo>
                    <a:lnTo>
                      <a:pt x="26" y="80"/>
                    </a:lnTo>
                    <a:lnTo>
                      <a:pt x="20" y="77"/>
                    </a:lnTo>
                    <a:lnTo>
                      <a:pt x="11" y="72"/>
                    </a:lnTo>
                    <a:lnTo>
                      <a:pt x="7" y="69"/>
                    </a:lnTo>
                    <a:lnTo>
                      <a:pt x="3" y="64"/>
                    </a:lnTo>
                    <a:lnTo>
                      <a:pt x="1" y="57"/>
                    </a:lnTo>
                    <a:lnTo>
                      <a:pt x="0" y="49"/>
                    </a:lnTo>
                    <a:lnTo>
                      <a:pt x="0" y="42"/>
                    </a:lnTo>
                    <a:lnTo>
                      <a:pt x="0" y="28"/>
                    </a:lnTo>
                    <a:lnTo>
                      <a:pt x="1" y="25"/>
                    </a:lnTo>
                    <a:lnTo>
                      <a:pt x="2" y="22"/>
                    </a:lnTo>
                    <a:lnTo>
                      <a:pt x="3" y="20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11" y="19"/>
                    </a:lnTo>
                    <a:lnTo>
                      <a:pt x="15" y="21"/>
                    </a:lnTo>
                    <a:lnTo>
                      <a:pt x="20" y="25"/>
                    </a:lnTo>
                    <a:lnTo>
                      <a:pt x="25" y="28"/>
                    </a:lnTo>
                    <a:lnTo>
                      <a:pt x="30" y="30"/>
                    </a:lnTo>
                    <a:lnTo>
                      <a:pt x="35" y="32"/>
                    </a:lnTo>
                    <a:lnTo>
                      <a:pt x="40" y="33"/>
                    </a:lnTo>
                    <a:lnTo>
                      <a:pt x="45" y="34"/>
                    </a:lnTo>
                    <a:lnTo>
                      <a:pt x="49" y="34"/>
                    </a:lnTo>
                    <a:lnTo>
                      <a:pt x="54" y="33"/>
                    </a:lnTo>
                    <a:lnTo>
                      <a:pt x="58" y="32"/>
                    </a:lnTo>
                    <a:lnTo>
                      <a:pt x="67" y="29"/>
                    </a:lnTo>
                    <a:lnTo>
                      <a:pt x="75" y="25"/>
                    </a:lnTo>
                    <a:lnTo>
                      <a:pt x="81" y="19"/>
                    </a:lnTo>
                    <a:lnTo>
                      <a:pt x="87" y="13"/>
                    </a:lnTo>
                    <a:lnTo>
                      <a:pt x="88" y="11"/>
                    </a:lnTo>
                    <a:lnTo>
                      <a:pt x="91" y="8"/>
                    </a:lnTo>
                    <a:lnTo>
                      <a:pt x="94" y="6"/>
                    </a:lnTo>
                    <a:lnTo>
                      <a:pt x="100" y="3"/>
                    </a:lnTo>
                    <a:lnTo>
                      <a:pt x="109" y="1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13" name="Freeform 35">
                <a:extLst>
                  <a:ext uri="{FF2B5EF4-FFF2-40B4-BE49-F238E27FC236}">
                    <a16:creationId xmlns="" xmlns:a16="http://schemas.microsoft.com/office/drawing/2014/main" id="{AB37F45A-6CF8-401C-98DD-FC0C642A5599}"/>
                  </a:ext>
                </a:extLst>
              </p:cNvPr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5248275" y="2822575"/>
                <a:ext cx="19050" cy="57150"/>
              </a:xfrm>
              <a:custGeom>
                <a:avLst/>
                <a:gdLst>
                  <a:gd name="T0" fmla="*/ 2147483646 w 43"/>
                  <a:gd name="T1" fmla="*/ 2147483646 h 93"/>
                  <a:gd name="T2" fmla="*/ 2147483646 w 43"/>
                  <a:gd name="T3" fmla="*/ 2147483646 h 93"/>
                  <a:gd name="T4" fmla="*/ 2147483646 w 43"/>
                  <a:gd name="T5" fmla="*/ 2147483646 h 93"/>
                  <a:gd name="T6" fmla="*/ 2147483646 w 43"/>
                  <a:gd name="T7" fmla="*/ 2147483646 h 93"/>
                  <a:gd name="T8" fmla="*/ 2147483646 w 43"/>
                  <a:gd name="T9" fmla="*/ 2147483646 h 93"/>
                  <a:gd name="T10" fmla="*/ 2147483646 w 43"/>
                  <a:gd name="T11" fmla="*/ 2147483646 h 93"/>
                  <a:gd name="T12" fmla="*/ 2147483646 w 43"/>
                  <a:gd name="T13" fmla="*/ 2147483646 h 93"/>
                  <a:gd name="T14" fmla="*/ 2147483646 w 43"/>
                  <a:gd name="T15" fmla="*/ 2147483646 h 93"/>
                  <a:gd name="T16" fmla="*/ 2147483646 w 43"/>
                  <a:gd name="T17" fmla="*/ 2147483646 h 93"/>
                  <a:gd name="T18" fmla="*/ 2147483646 w 43"/>
                  <a:gd name="T19" fmla="*/ 2147483646 h 93"/>
                  <a:gd name="T20" fmla="*/ 2147483646 w 43"/>
                  <a:gd name="T21" fmla="*/ 2147483646 h 93"/>
                  <a:gd name="T22" fmla="*/ 2147483646 w 43"/>
                  <a:gd name="T23" fmla="*/ 2147483646 h 93"/>
                  <a:gd name="T24" fmla="*/ 2147483646 w 43"/>
                  <a:gd name="T25" fmla="*/ 2147483646 h 93"/>
                  <a:gd name="T26" fmla="*/ 2147483646 w 43"/>
                  <a:gd name="T27" fmla="*/ 2147483646 h 93"/>
                  <a:gd name="T28" fmla="*/ 0 w 43"/>
                  <a:gd name="T29" fmla="*/ 2147483646 h 93"/>
                  <a:gd name="T30" fmla="*/ 2147483646 w 43"/>
                  <a:gd name="T31" fmla="*/ 2147483646 h 93"/>
                  <a:gd name="T32" fmla="*/ 2147483646 w 43"/>
                  <a:gd name="T33" fmla="*/ 2147483646 h 93"/>
                  <a:gd name="T34" fmla="*/ 2147483646 w 43"/>
                  <a:gd name="T35" fmla="*/ 2147483646 h 93"/>
                  <a:gd name="T36" fmla="*/ 2147483646 w 43"/>
                  <a:gd name="T37" fmla="*/ 2147483646 h 93"/>
                  <a:gd name="T38" fmla="*/ 2147483646 w 43"/>
                  <a:gd name="T39" fmla="*/ 2147483646 h 93"/>
                  <a:gd name="T40" fmla="*/ 2147483646 w 43"/>
                  <a:gd name="T41" fmla="*/ 2147483646 h 93"/>
                  <a:gd name="T42" fmla="*/ 2147483646 w 43"/>
                  <a:gd name="T43" fmla="*/ 2147483646 h 93"/>
                  <a:gd name="T44" fmla="*/ 2147483646 w 43"/>
                  <a:gd name="T45" fmla="*/ 2147483646 h 93"/>
                  <a:gd name="T46" fmla="*/ 2147483646 w 43"/>
                  <a:gd name="T47" fmla="*/ 2147483646 h 93"/>
                  <a:gd name="T48" fmla="*/ 2147483646 w 43"/>
                  <a:gd name="T49" fmla="*/ 2147483646 h 93"/>
                  <a:gd name="T50" fmla="*/ 2147483646 w 43"/>
                  <a:gd name="T51" fmla="*/ 2147483646 h 93"/>
                  <a:gd name="T52" fmla="*/ 2147483646 w 43"/>
                  <a:gd name="T53" fmla="*/ 2147483646 h 93"/>
                  <a:gd name="T54" fmla="*/ 2147483646 w 43"/>
                  <a:gd name="T55" fmla="*/ 0 h 93"/>
                  <a:gd name="T56" fmla="*/ 2147483646 w 43"/>
                  <a:gd name="T57" fmla="*/ 0 h 93"/>
                  <a:gd name="T58" fmla="*/ 2147483646 w 43"/>
                  <a:gd name="T59" fmla="*/ 2147483646 h 93"/>
                  <a:gd name="T60" fmla="*/ 2147483646 w 43"/>
                  <a:gd name="T61" fmla="*/ 2147483646 h 93"/>
                  <a:gd name="T62" fmla="*/ 2147483646 w 43"/>
                  <a:gd name="T63" fmla="*/ 2147483646 h 93"/>
                  <a:gd name="T64" fmla="*/ 2147483646 w 43"/>
                  <a:gd name="T65" fmla="*/ 2147483646 h 93"/>
                  <a:gd name="T66" fmla="*/ 2147483646 w 43"/>
                  <a:gd name="T67" fmla="*/ 2147483646 h 93"/>
                  <a:gd name="T68" fmla="*/ 2147483646 w 43"/>
                  <a:gd name="T69" fmla="*/ 2147483646 h 93"/>
                  <a:gd name="T70" fmla="*/ 2147483646 w 43"/>
                  <a:gd name="T71" fmla="*/ 2147483646 h 93"/>
                  <a:gd name="T72" fmla="*/ 2147483646 w 43"/>
                  <a:gd name="T73" fmla="*/ 2147483646 h 93"/>
                  <a:gd name="T74" fmla="*/ 2147483646 w 43"/>
                  <a:gd name="T75" fmla="*/ 2147483646 h 93"/>
                  <a:gd name="T76" fmla="*/ 2147483646 w 43"/>
                  <a:gd name="T77" fmla="*/ 2147483646 h 93"/>
                  <a:gd name="T78" fmla="*/ 2147483646 w 43"/>
                  <a:gd name="T79" fmla="*/ 2147483646 h 93"/>
                  <a:gd name="T80" fmla="*/ 2147483646 w 43"/>
                  <a:gd name="T81" fmla="*/ 2147483646 h 93"/>
                  <a:gd name="T82" fmla="*/ 2147483646 w 43"/>
                  <a:gd name="T83" fmla="*/ 2147483646 h 93"/>
                  <a:gd name="T84" fmla="*/ 2147483646 w 43"/>
                  <a:gd name="T85" fmla="*/ 2147483646 h 93"/>
                  <a:gd name="T86" fmla="*/ 2147483646 w 43"/>
                  <a:gd name="T87" fmla="*/ 2147483646 h 93"/>
                  <a:gd name="T88" fmla="*/ 2147483646 w 43"/>
                  <a:gd name="T89" fmla="*/ 2147483646 h 93"/>
                  <a:gd name="T90" fmla="*/ 2147483646 w 43"/>
                  <a:gd name="T91" fmla="*/ 2147483646 h 93"/>
                  <a:gd name="T92" fmla="*/ 2147483646 w 43"/>
                  <a:gd name="T93" fmla="*/ 2147483646 h 93"/>
                  <a:gd name="T94" fmla="*/ 2147483646 w 43"/>
                  <a:gd name="T95" fmla="*/ 2147483646 h 93"/>
                  <a:gd name="T96" fmla="*/ 2147483646 w 43"/>
                  <a:gd name="T97" fmla="*/ 2147483646 h 93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43"/>
                  <a:gd name="T148" fmla="*/ 0 h 93"/>
                  <a:gd name="T149" fmla="*/ 43 w 43"/>
                  <a:gd name="T150" fmla="*/ 93 h 93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43" h="93">
                    <a:moveTo>
                      <a:pt x="39" y="93"/>
                    </a:moveTo>
                    <a:lnTo>
                      <a:pt x="31" y="91"/>
                    </a:lnTo>
                    <a:lnTo>
                      <a:pt x="26" y="89"/>
                    </a:lnTo>
                    <a:lnTo>
                      <a:pt x="21" y="87"/>
                    </a:lnTo>
                    <a:lnTo>
                      <a:pt x="18" y="84"/>
                    </a:lnTo>
                    <a:lnTo>
                      <a:pt x="15" y="79"/>
                    </a:lnTo>
                    <a:lnTo>
                      <a:pt x="14" y="73"/>
                    </a:lnTo>
                    <a:lnTo>
                      <a:pt x="13" y="65"/>
                    </a:lnTo>
                    <a:lnTo>
                      <a:pt x="11" y="55"/>
                    </a:lnTo>
                    <a:lnTo>
                      <a:pt x="11" y="48"/>
                    </a:lnTo>
                    <a:lnTo>
                      <a:pt x="9" y="42"/>
                    </a:lnTo>
                    <a:lnTo>
                      <a:pt x="6" y="38"/>
                    </a:lnTo>
                    <a:lnTo>
                      <a:pt x="4" y="36"/>
                    </a:lnTo>
                    <a:lnTo>
                      <a:pt x="2" y="34"/>
                    </a:lnTo>
                    <a:lnTo>
                      <a:pt x="0" y="32"/>
                    </a:lnTo>
                    <a:lnTo>
                      <a:pt x="2" y="29"/>
                    </a:lnTo>
                    <a:lnTo>
                      <a:pt x="5" y="24"/>
                    </a:lnTo>
                    <a:lnTo>
                      <a:pt x="6" y="28"/>
                    </a:lnTo>
                    <a:lnTo>
                      <a:pt x="7" y="29"/>
                    </a:lnTo>
                    <a:lnTo>
                      <a:pt x="8" y="30"/>
                    </a:lnTo>
                    <a:lnTo>
                      <a:pt x="9" y="29"/>
                    </a:lnTo>
                    <a:lnTo>
                      <a:pt x="11" y="25"/>
                    </a:lnTo>
                    <a:lnTo>
                      <a:pt x="14" y="19"/>
                    </a:lnTo>
                    <a:lnTo>
                      <a:pt x="16" y="12"/>
                    </a:lnTo>
                    <a:lnTo>
                      <a:pt x="20" y="6"/>
                    </a:lnTo>
                    <a:lnTo>
                      <a:pt x="22" y="4"/>
                    </a:lnTo>
                    <a:lnTo>
                      <a:pt x="25" y="2"/>
                    </a:lnTo>
                    <a:lnTo>
                      <a:pt x="28" y="0"/>
                    </a:lnTo>
                    <a:lnTo>
                      <a:pt x="32" y="0"/>
                    </a:lnTo>
                    <a:lnTo>
                      <a:pt x="33" y="10"/>
                    </a:lnTo>
                    <a:lnTo>
                      <a:pt x="33" y="16"/>
                    </a:lnTo>
                    <a:lnTo>
                      <a:pt x="33" y="20"/>
                    </a:lnTo>
                    <a:lnTo>
                      <a:pt x="32" y="23"/>
                    </a:lnTo>
                    <a:lnTo>
                      <a:pt x="32" y="27"/>
                    </a:lnTo>
                    <a:lnTo>
                      <a:pt x="32" y="31"/>
                    </a:lnTo>
                    <a:lnTo>
                      <a:pt x="35" y="36"/>
                    </a:lnTo>
                    <a:lnTo>
                      <a:pt x="39" y="43"/>
                    </a:lnTo>
                    <a:lnTo>
                      <a:pt x="38" y="44"/>
                    </a:lnTo>
                    <a:lnTo>
                      <a:pt x="37" y="45"/>
                    </a:lnTo>
                    <a:lnTo>
                      <a:pt x="37" y="48"/>
                    </a:lnTo>
                    <a:lnTo>
                      <a:pt x="38" y="51"/>
                    </a:lnTo>
                    <a:lnTo>
                      <a:pt x="39" y="59"/>
                    </a:lnTo>
                    <a:lnTo>
                      <a:pt x="41" y="68"/>
                    </a:lnTo>
                    <a:lnTo>
                      <a:pt x="42" y="76"/>
                    </a:lnTo>
                    <a:lnTo>
                      <a:pt x="43" y="85"/>
                    </a:lnTo>
                    <a:lnTo>
                      <a:pt x="43" y="88"/>
                    </a:lnTo>
                    <a:lnTo>
                      <a:pt x="42" y="91"/>
                    </a:lnTo>
                    <a:lnTo>
                      <a:pt x="40" y="92"/>
                    </a:lnTo>
                    <a:lnTo>
                      <a:pt x="39" y="93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14" name="Freeform 36">
                <a:extLst>
                  <a:ext uri="{FF2B5EF4-FFF2-40B4-BE49-F238E27FC236}">
                    <a16:creationId xmlns="" xmlns:a16="http://schemas.microsoft.com/office/drawing/2014/main" id="{824F66A8-A614-4BE3-9319-AEFBC5F0707B}"/>
                  </a:ext>
                </a:extLst>
              </p:cNvPr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5367338" y="2827338"/>
                <a:ext cx="14287" cy="57150"/>
              </a:xfrm>
              <a:custGeom>
                <a:avLst/>
                <a:gdLst>
                  <a:gd name="T0" fmla="*/ 2147483646 w 40"/>
                  <a:gd name="T1" fmla="*/ 2147483646 h 56"/>
                  <a:gd name="T2" fmla="*/ 2147483646 w 40"/>
                  <a:gd name="T3" fmla="*/ 2147483646 h 56"/>
                  <a:gd name="T4" fmla="*/ 2147483646 w 40"/>
                  <a:gd name="T5" fmla="*/ 2147483646 h 56"/>
                  <a:gd name="T6" fmla="*/ 2147483646 w 40"/>
                  <a:gd name="T7" fmla="*/ 2147483646 h 56"/>
                  <a:gd name="T8" fmla="*/ 2147483646 w 40"/>
                  <a:gd name="T9" fmla="*/ 2147483646 h 56"/>
                  <a:gd name="T10" fmla="*/ 2147483646 w 40"/>
                  <a:gd name="T11" fmla="*/ 2147483646 h 56"/>
                  <a:gd name="T12" fmla="*/ 0 w 40"/>
                  <a:gd name="T13" fmla="*/ 2147483646 h 56"/>
                  <a:gd name="T14" fmla="*/ 2147483646 w 40"/>
                  <a:gd name="T15" fmla="*/ 2147483646 h 56"/>
                  <a:gd name="T16" fmla="*/ 2147483646 w 40"/>
                  <a:gd name="T17" fmla="*/ 0 h 56"/>
                  <a:gd name="T18" fmla="*/ 2147483646 w 40"/>
                  <a:gd name="T19" fmla="*/ 2147483646 h 56"/>
                  <a:gd name="T20" fmla="*/ 2147483646 w 40"/>
                  <a:gd name="T21" fmla="*/ 2147483646 h 56"/>
                  <a:gd name="T22" fmla="*/ 2147483646 w 40"/>
                  <a:gd name="T23" fmla="*/ 2147483646 h 56"/>
                  <a:gd name="T24" fmla="*/ 2147483646 w 40"/>
                  <a:gd name="T25" fmla="*/ 2147483646 h 56"/>
                  <a:gd name="T26" fmla="*/ 2147483646 w 40"/>
                  <a:gd name="T27" fmla="*/ 2147483646 h 56"/>
                  <a:gd name="T28" fmla="*/ 2147483646 w 40"/>
                  <a:gd name="T29" fmla="*/ 2147483646 h 56"/>
                  <a:gd name="T30" fmla="*/ 2147483646 w 40"/>
                  <a:gd name="T31" fmla="*/ 2147483646 h 56"/>
                  <a:gd name="T32" fmla="*/ 2147483646 w 40"/>
                  <a:gd name="T33" fmla="*/ 2147483646 h 56"/>
                  <a:gd name="T34" fmla="*/ 2147483646 w 40"/>
                  <a:gd name="T35" fmla="*/ 2147483646 h 56"/>
                  <a:gd name="T36" fmla="*/ 2147483646 w 40"/>
                  <a:gd name="T37" fmla="*/ 2147483646 h 5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40"/>
                  <a:gd name="T58" fmla="*/ 0 h 56"/>
                  <a:gd name="T59" fmla="*/ 40 w 40"/>
                  <a:gd name="T60" fmla="*/ 56 h 5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40" h="56">
                    <a:moveTo>
                      <a:pt x="40" y="56"/>
                    </a:moveTo>
                    <a:lnTo>
                      <a:pt x="37" y="46"/>
                    </a:lnTo>
                    <a:lnTo>
                      <a:pt x="33" y="38"/>
                    </a:lnTo>
                    <a:lnTo>
                      <a:pt x="28" y="32"/>
                    </a:lnTo>
                    <a:lnTo>
                      <a:pt x="23" y="28"/>
                    </a:lnTo>
                    <a:lnTo>
                      <a:pt x="11" y="21"/>
                    </a:lnTo>
                    <a:lnTo>
                      <a:pt x="0" y="12"/>
                    </a:lnTo>
                    <a:lnTo>
                      <a:pt x="13" y="4"/>
                    </a:lnTo>
                    <a:lnTo>
                      <a:pt x="20" y="0"/>
                    </a:lnTo>
                    <a:lnTo>
                      <a:pt x="28" y="12"/>
                    </a:lnTo>
                    <a:lnTo>
                      <a:pt x="35" y="22"/>
                    </a:lnTo>
                    <a:lnTo>
                      <a:pt x="37" y="25"/>
                    </a:lnTo>
                    <a:lnTo>
                      <a:pt x="39" y="29"/>
                    </a:lnTo>
                    <a:lnTo>
                      <a:pt x="39" y="33"/>
                    </a:lnTo>
                    <a:lnTo>
                      <a:pt x="40" y="37"/>
                    </a:lnTo>
                    <a:lnTo>
                      <a:pt x="40" y="44"/>
                    </a:lnTo>
                    <a:lnTo>
                      <a:pt x="40" y="46"/>
                    </a:lnTo>
                    <a:lnTo>
                      <a:pt x="40" y="49"/>
                    </a:lnTo>
                    <a:lnTo>
                      <a:pt x="40" y="56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15" name="Freeform 37">
                <a:extLst>
                  <a:ext uri="{FF2B5EF4-FFF2-40B4-BE49-F238E27FC236}">
                    <a16:creationId xmlns="" xmlns:a16="http://schemas.microsoft.com/office/drawing/2014/main" id="{21E43C81-8A33-4380-87AD-51FA52FC80ED}"/>
                  </a:ext>
                </a:extLst>
              </p:cNvPr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6854825" y="3487738"/>
                <a:ext cx="44450" cy="57150"/>
              </a:xfrm>
              <a:custGeom>
                <a:avLst/>
                <a:gdLst>
                  <a:gd name="T0" fmla="*/ 0 w 106"/>
                  <a:gd name="T1" fmla="*/ 2147483646 h 71"/>
                  <a:gd name="T2" fmla="*/ 2147483646 w 106"/>
                  <a:gd name="T3" fmla="*/ 2147483646 h 71"/>
                  <a:gd name="T4" fmla="*/ 2147483646 w 106"/>
                  <a:gd name="T5" fmla="*/ 2147483646 h 71"/>
                  <a:gd name="T6" fmla="*/ 2147483646 w 106"/>
                  <a:gd name="T7" fmla="*/ 2147483646 h 71"/>
                  <a:gd name="T8" fmla="*/ 2147483646 w 106"/>
                  <a:gd name="T9" fmla="*/ 2147483646 h 71"/>
                  <a:gd name="T10" fmla="*/ 2147483646 w 106"/>
                  <a:gd name="T11" fmla="*/ 2147483646 h 71"/>
                  <a:gd name="T12" fmla="*/ 2147483646 w 106"/>
                  <a:gd name="T13" fmla="*/ 2147483646 h 71"/>
                  <a:gd name="T14" fmla="*/ 2147483646 w 106"/>
                  <a:gd name="T15" fmla="*/ 2147483646 h 71"/>
                  <a:gd name="T16" fmla="*/ 2147483646 w 106"/>
                  <a:gd name="T17" fmla="*/ 0 h 71"/>
                  <a:gd name="T18" fmla="*/ 2147483646 w 106"/>
                  <a:gd name="T19" fmla="*/ 2147483646 h 71"/>
                  <a:gd name="T20" fmla="*/ 2147483646 w 106"/>
                  <a:gd name="T21" fmla="*/ 2147483646 h 71"/>
                  <a:gd name="T22" fmla="*/ 2147483646 w 106"/>
                  <a:gd name="T23" fmla="*/ 2147483646 h 71"/>
                  <a:gd name="T24" fmla="*/ 2147483646 w 106"/>
                  <a:gd name="T25" fmla="*/ 2147483646 h 71"/>
                  <a:gd name="T26" fmla="*/ 2147483646 w 106"/>
                  <a:gd name="T27" fmla="*/ 2147483646 h 71"/>
                  <a:gd name="T28" fmla="*/ 2147483646 w 106"/>
                  <a:gd name="T29" fmla="*/ 2147483646 h 71"/>
                  <a:gd name="T30" fmla="*/ 2147483646 w 106"/>
                  <a:gd name="T31" fmla="*/ 2147483646 h 71"/>
                  <a:gd name="T32" fmla="*/ 2147483646 w 106"/>
                  <a:gd name="T33" fmla="*/ 2147483646 h 71"/>
                  <a:gd name="T34" fmla="*/ 2147483646 w 106"/>
                  <a:gd name="T35" fmla="*/ 2147483646 h 71"/>
                  <a:gd name="T36" fmla="*/ 2147483646 w 106"/>
                  <a:gd name="T37" fmla="*/ 2147483646 h 71"/>
                  <a:gd name="T38" fmla="*/ 2147483646 w 106"/>
                  <a:gd name="T39" fmla="*/ 2147483646 h 71"/>
                  <a:gd name="T40" fmla="*/ 2147483646 w 106"/>
                  <a:gd name="T41" fmla="*/ 2147483646 h 71"/>
                  <a:gd name="T42" fmla="*/ 2147483646 w 106"/>
                  <a:gd name="T43" fmla="*/ 2147483646 h 71"/>
                  <a:gd name="T44" fmla="*/ 2147483646 w 106"/>
                  <a:gd name="T45" fmla="*/ 2147483646 h 71"/>
                  <a:gd name="T46" fmla="*/ 2147483646 w 106"/>
                  <a:gd name="T47" fmla="*/ 2147483646 h 71"/>
                  <a:gd name="T48" fmla="*/ 2147483646 w 106"/>
                  <a:gd name="T49" fmla="*/ 2147483646 h 71"/>
                  <a:gd name="T50" fmla="*/ 2147483646 w 106"/>
                  <a:gd name="T51" fmla="*/ 2147483646 h 71"/>
                  <a:gd name="T52" fmla="*/ 2147483646 w 106"/>
                  <a:gd name="T53" fmla="*/ 2147483646 h 71"/>
                  <a:gd name="T54" fmla="*/ 2147483646 w 106"/>
                  <a:gd name="T55" fmla="*/ 2147483646 h 71"/>
                  <a:gd name="T56" fmla="*/ 2147483646 w 106"/>
                  <a:gd name="T57" fmla="*/ 2147483646 h 71"/>
                  <a:gd name="T58" fmla="*/ 2147483646 w 106"/>
                  <a:gd name="T59" fmla="*/ 2147483646 h 71"/>
                  <a:gd name="T60" fmla="*/ 2147483646 w 106"/>
                  <a:gd name="T61" fmla="*/ 2147483646 h 71"/>
                  <a:gd name="T62" fmla="*/ 2147483646 w 106"/>
                  <a:gd name="T63" fmla="*/ 2147483646 h 71"/>
                  <a:gd name="T64" fmla="*/ 2147483646 w 106"/>
                  <a:gd name="T65" fmla="*/ 2147483646 h 71"/>
                  <a:gd name="T66" fmla="*/ 2147483646 w 106"/>
                  <a:gd name="T67" fmla="*/ 2147483646 h 71"/>
                  <a:gd name="T68" fmla="*/ 2147483646 w 106"/>
                  <a:gd name="T69" fmla="*/ 2147483646 h 71"/>
                  <a:gd name="T70" fmla="*/ 2147483646 w 106"/>
                  <a:gd name="T71" fmla="*/ 2147483646 h 71"/>
                  <a:gd name="T72" fmla="*/ 2147483646 w 106"/>
                  <a:gd name="T73" fmla="*/ 2147483646 h 71"/>
                  <a:gd name="T74" fmla="*/ 2147483646 w 106"/>
                  <a:gd name="T75" fmla="*/ 2147483646 h 71"/>
                  <a:gd name="T76" fmla="*/ 2147483646 w 106"/>
                  <a:gd name="T77" fmla="*/ 2147483646 h 71"/>
                  <a:gd name="T78" fmla="*/ 2147483646 w 106"/>
                  <a:gd name="T79" fmla="*/ 2147483646 h 71"/>
                  <a:gd name="T80" fmla="*/ 2147483646 w 106"/>
                  <a:gd name="T81" fmla="*/ 2147483646 h 71"/>
                  <a:gd name="T82" fmla="*/ 2147483646 w 106"/>
                  <a:gd name="T83" fmla="*/ 2147483646 h 71"/>
                  <a:gd name="T84" fmla="*/ 2147483646 w 106"/>
                  <a:gd name="T85" fmla="*/ 2147483646 h 71"/>
                  <a:gd name="T86" fmla="*/ 2147483646 w 106"/>
                  <a:gd name="T87" fmla="*/ 2147483646 h 71"/>
                  <a:gd name="T88" fmla="*/ 2147483646 w 106"/>
                  <a:gd name="T89" fmla="*/ 2147483646 h 71"/>
                  <a:gd name="T90" fmla="*/ 0 w 106"/>
                  <a:gd name="T91" fmla="*/ 2147483646 h 71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06"/>
                  <a:gd name="T139" fmla="*/ 0 h 71"/>
                  <a:gd name="T140" fmla="*/ 106 w 106"/>
                  <a:gd name="T141" fmla="*/ 71 h 71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06" h="71">
                    <a:moveTo>
                      <a:pt x="0" y="7"/>
                    </a:moveTo>
                    <a:lnTo>
                      <a:pt x="12" y="10"/>
                    </a:lnTo>
                    <a:lnTo>
                      <a:pt x="24" y="12"/>
                    </a:lnTo>
                    <a:lnTo>
                      <a:pt x="35" y="13"/>
                    </a:lnTo>
                    <a:lnTo>
                      <a:pt x="45" y="13"/>
                    </a:lnTo>
                    <a:lnTo>
                      <a:pt x="54" y="11"/>
                    </a:lnTo>
                    <a:lnTo>
                      <a:pt x="61" y="8"/>
                    </a:lnTo>
                    <a:lnTo>
                      <a:pt x="68" y="5"/>
                    </a:lnTo>
                    <a:lnTo>
                      <a:pt x="74" y="0"/>
                    </a:lnTo>
                    <a:lnTo>
                      <a:pt x="84" y="16"/>
                    </a:lnTo>
                    <a:lnTo>
                      <a:pt x="94" y="30"/>
                    </a:lnTo>
                    <a:lnTo>
                      <a:pt x="101" y="44"/>
                    </a:lnTo>
                    <a:lnTo>
                      <a:pt x="105" y="55"/>
                    </a:lnTo>
                    <a:lnTo>
                      <a:pt x="106" y="60"/>
                    </a:lnTo>
                    <a:lnTo>
                      <a:pt x="106" y="63"/>
                    </a:lnTo>
                    <a:lnTo>
                      <a:pt x="105" y="67"/>
                    </a:lnTo>
                    <a:lnTo>
                      <a:pt x="103" y="69"/>
                    </a:lnTo>
                    <a:lnTo>
                      <a:pt x="101" y="70"/>
                    </a:lnTo>
                    <a:lnTo>
                      <a:pt x="98" y="70"/>
                    </a:lnTo>
                    <a:lnTo>
                      <a:pt x="92" y="70"/>
                    </a:lnTo>
                    <a:lnTo>
                      <a:pt x="87" y="68"/>
                    </a:lnTo>
                    <a:lnTo>
                      <a:pt x="74" y="70"/>
                    </a:lnTo>
                    <a:lnTo>
                      <a:pt x="63" y="71"/>
                    </a:lnTo>
                    <a:lnTo>
                      <a:pt x="53" y="69"/>
                    </a:lnTo>
                    <a:lnTo>
                      <a:pt x="45" y="66"/>
                    </a:lnTo>
                    <a:lnTo>
                      <a:pt x="37" y="62"/>
                    </a:lnTo>
                    <a:lnTo>
                      <a:pt x="32" y="57"/>
                    </a:lnTo>
                    <a:lnTo>
                      <a:pt x="27" y="51"/>
                    </a:lnTo>
                    <a:lnTo>
                      <a:pt x="24" y="45"/>
                    </a:lnTo>
                    <a:lnTo>
                      <a:pt x="21" y="38"/>
                    </a:lnTo>
                    <a:lnTo>
                      <a:pt x="20" y="30"/>
                    </a:lnTo>
                    <a:lnTo>
                      <a:pt x="19" y="24"/>
                    </a:lnTo>
                    <a:lnTo>
                      <a:pt x="18" y="19"/>
                    </a:lnTo>
                    <a:lnTo>
                      <a:pt x="18" y="14"/>
                    </a:lnTo>
                    <a:lnTo>
                      <a:pt x="19" y="10"/>
                    </a:lnTo>
                    <a:lnTo>
                      <a:pt x="20" y="7"/>
                    </a:lnTo>
                    <a:lnTo>
                      <a:pt x="21" y="7"/>
                    </a:lnTo>
                    <a:lnTo>
                      <a:pt x="20" y="10"/>
                    </a:lnTo>
                    <a:lnTo>
                      <a:pt x="19" y="16"/>
                    </a:lnTo>
                    <a:lnTo>
                      <a:pt x="19" y="17"/>
                    </a:lnTo>
                    <a:lnTo>
                      <a:pt x="20" y="17"/>
                    </a:lnTo>
                    <a:lnTo>
                      <a:pt x="21" y="17"/>
                    </a:lnTo>
                    <a:lnTo>
                      <a:pt x="23" y="13"/>
                    </a:lnTo>
                    <a:lnTo>
                      <a:pt x="27" y="7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1716" name="Group 38">
                <a:extLst>
                  <a:ext uri="{FF2B5EF4-FFF2-40B4-BE49-F238E27FC236}">
                    <a16:creationId xmlns="" xmlns:a16="http://schemas.microsoft.com/office/drawing/2014/main" id="{4A4E8554-82D6-452E-93C5-C56801B0A111}"/>
                  </a:ext>
                </a:extLst>
              </p:cNvPr>
              <p:cNvGrpSpPr>
                <a:grpSpLocks/>
              </p:cNvGrpSpPr>
              <p:nvPr>
                <p:custDataLst>
                  <p:tags r:id="rId33"/>
                </p:custDataLst>
              </p:nvPr>
            </p:nvGrpSpPr>
            <p:grpSpPr bwMode="auto">
              <a:xfrm>
                <a:off x="2706688" y="5295900"/>
                <a:ext cx="65087" cy="55563"/>
                <a:chOff x="1654" y="3671"/>
                <a:chExt cx="49" cy="17"/>
              </a:xfrm>
              <a:solidFill>
                <a:srgbClr val="FFFFFF">
                  <a:lumMod val="75000"/>
                </a:srgbClr>
              </a:solidFill>
            </p:grpSpPr>
            <p:sp>
              <p:nvSpPr>
                <p:cNvPr id="1717" name="Freeform 39">
                  <a:extLst>
                    <a:ext uri="{FF2B5EF4-FFF2-40B4-BE49-F238E27FC236}">
                      <a16:creationId xmlns="" xmlns:a16="http://schemas.microsoft.com/office/drawing/2014/main" id="{85C3C636-5909-42E7-9EFE-BA277AB27E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54" y="3672"/>
                  <a:ext cx="20" cy="14"/>
                </a:xfrm>
                <a:custGeom>
                  <a:avLst/>
                  <a:gdLst>
                    <a:gd name="T0" fmla="*/ 0 w 59"/>
                    <a:gd name="T1" fmla="*/ 0 h 43"/>
                    <a:gd name="T2" fmla="*/ 0 w 59"/>
                    <a:gd name="T3" fmla="*/ 0 h 43"/>
                    <a:gd name="T4" fmla="*/ 0 w 59"/>
                    <a:gd name="T5" fmla="*/ 0 h 43"/>
                    <a:gd name="T6" fmla="*/ 0 w 59"/>
                    <a:gd name="T7" fmla="*/ 0 h 43"/>
                    <a:gd name="T8" fmla="*/ 0 w 59"/>
                    <a:gd name="T9" fmla="*/ 0 h 43"/>
                    <a:gd name="T10" fmla="*/ 0 w 59"/>
                    <a:gd name="T11" fmla="*/ 0 h 43"/>
                    <a:gd name="T12" fmla="*/ 0 w 59"/>
                    <a:gd name="T13" fmla="*/ 0 h 43"/>
                    <a:gd name="T14" fmla="*/ 0 w 59"/>
                    <a:gd name="T15" fmla="*/ 0 h 43"/>
                    <a:gd name="T16" fmla="*/ 0 w 59"/>
                    <a:gd name="T17" fmla="*/ 0 h 43"/>
                    <a:gd name="T18" fmla="*/ 0 w 59"/>
                    <a:gd name="T19" fmla="*/ 0 h 43"/>
                    <a:gd name="T20" fmla="*/ 0 w 59"/>
                    <a:gd name="T21" fmla="*/ 0 h 43"/>
                    <a:gd name="T22" fmla="*/ 0 w 59"/>
                    <a:gd name="T23" fmla="*/ 0 h 43"/>
                    <a:gd name="T24" fmla="*/ 0 w 59"/>
                    <a:gd name="T25" fmla="*/ 0 h 43"/>
                    <a:gd name="T26" fmla="*/ 0 w 59"/>
                    <a:gd name="T27" fmla="*/ 0 h 43"/>
                    <a:gd name="T28" fmla="*/ 0 w 59"/>
                    <a:gd name="T29" fmla="*/ 0 h 43"/>
                    <a:gd name="T30" fmla="*/ 0 w 59"/>
                    <a:gd name="T31" fmla="*/ 0 h 43"/>
                    <a:gd name="T32" fmla="*/ 0 w 59"/>
                    <a:gd name="T33" fmla="*/ 0 h 43"/>
                    <a:gd name="T34" fmla="*/ 0 w 59"/>
                    <a:gd name="T35" fmla="*/ 0 h 43"/>
                    <a:gd name="T36" fmla="*/ 0 w 59"/>
                    <a:gd name="T37" fmla="*/ 0 h 43"/>
                    <a:gd name="T38" fmla="*/ 0 w 59"/>
                    <a:gd name="T39" fmla="*/ 0 h 43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59"/>
                    <a:gd name="T61" fmla="*/ 0 h 43"/>
                    <a:gd name="T62" fmla="*/ 59 w 59"/>
                    <a:gd name="T63" fmla="*/ 43 h 43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59" h="43">
                      <a:moveTo>
                        <a:pt x="26" y="43"/>
                      </a:moveTo>
                      <a:lnTo>
                        <a:pt x="59" y="18"/>
                      </a:lnTo>
                      <a:lnTo>
                        <a:pt x="55" y="14"/>
                      </a:lnTo>
                      <a:lnTo>
                        <a:pt x="51" y="9"/>
                      </a:lnTo>
                      <a:lnTo>
                        <a:pt x="47" y="5"/>
                      </a:lnTo>
                      <a:lnTo>
                        <a:pt x="46" y="0"/>
                      </a:lnTo>
                      <a:lnTo>
                        <a:pt x="41" y="1"/>
                      </a:lnTo>
                      <a:lnTo>
                        <a:pt x="34" y="4"/>
                      </a:lnTo>
                      <a:lnTo>
                        <a:pt x="31" y="6"/>
                      </a:lnTo>
                      <a:lnTo>
                        <a:pt x="29" y="8"/>
                      </a:lnTo>
                      <a:lnTo>
                        <a:pt x="26" y="10"/>
                      </a:lnTo>
                      <a:lnTo>
                        <a:pt x="26" y="12"/>
                      </a:lnTo>
                      <a:lnTo>
                        <a:pt x="20" y="13"/>
                      </a:lnTo>
                      <a:lnTo>
                        <a:pt x="13" y="16"/>
                      </a:lnTo>
                      <a:lnTo>
                        <a:pt x="6" y="20"/>
                      </a:lnTo>
                      <a:lnTo>
                        <a:pt x="0" y="24"/>
                      </a:lnTo>
                      <a:lnTo>
                        <a:pt x="5" y="29"/>
                      </a:lnTo>
                      <a:lnTo>
                        <a:pt x="10" y="34"/>
                      </a:lnTo>
                      <a:lnTo>
                        <a:pt x="18" y="39"/>
                      </a:lnTo>
                      <a:lnTo>
                        <a:pt x="26" y="43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18" name="Freeform 40">
                  <a:extLst>
                    <a:ext uri="{FF2B5EF4-FFF2-40B4-BE49-F238E27FC236}">
                      <a16:creationId xmlns="" xmlns:a16="http://schemas.microsoft.com/office/drawing/2014/main" id="{66754E74-6E54-46D8-8F51-84708323B49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81" y="3671"/>
                  <a:ext cx="22" cy="17"/>
                </a:xfrm>
                <a:custGeom>
                  <a:avLst/>
                  <a:gdLst>
                    <a:gd name="T0" fmla="*/ 0 w 67"/>
                    <a:gd name="T1" fmla="*/ 0 h 51"/>
                    <a:gd name="T2" fmla="*/ 0 w 67"/>
                    <a:gd name="T3" fmla="*/ 0 h 51"/>
                    <a:gd name="T4" fmla="*/ 0 w 67"/>
                    <a:gd name="T5" fmla="*/ 0 h 51"/>
                    <a:gd name="T6" fmla="*/ 0 w 67"/>
                    <a:gd name="T7" fmla="*/ 0 h 51"/>
                    <a:gd name="T8" fmla="*/ 0 w 67"/>
                    <a:gd name="T9" fmla="*/ 0 h 51"/>
                    <a:gd name="T10" fmla="*/ 0 w 67"/>
                    <a:gd name="T11" fmla="*/ 0 h 51"/>
                    <a:gd name="T12" fmla="*/ 0 w 67"/>
                    <a:gd name="T13" fmla="*/ 0 h 51"/>
                    <a:gd name="T14" fmla="*/ 0 w 67"/>
                    <a:gd name="T15" fmla="*/ 0 h 51"/>
                    <a:gd name="T16" fmla="*/ 0 w 67"/>
                    <a:gd name="T17" fmla="*/ 0 h 51"/>
                    <a:gd name="T18" fmla="*/ 0 w 67"/>
                    <a:gd name="T19" fmla="*/ 0 h 51"/>
                    <a:gd name="T20" fmla="*/ 0 w 67"/>
                    <a:gd name="T21" fmla="*/ 0 h 51"/>
                    <a:gd name="T22" fmla="*/ 0 w 67"/>
                    <a:gd name="T23" fmla="*/ 0 h 51"/>
                    <a:gd name="T24" fmla="*/ 0 w 67"/>
                    <a:gd name="T25" fmla="*/ 0 h 51"/>
                    <a:gd name="T26" fmla="*/ 0 w 67"/>
                    <a:gd name="T27" fmla="*/ 0 h 51"/>
                    <a:gd name="T28" fmla="*/ 0 w 67"/>
                    <a:gd name="T29" fmla="*/ 0 h 51"/>
                    <a:gd name="T30" fmla="*/ 0 w 67"/>
                    <a:gd name="T31" fmla="*/ 0 h 51"/>
                    <a:gd name="T32" fmla="*/ 0 w 67"/>
                    <a:gd name="T33" fmla="*/ 0 h 51"/>
                    <a:gd name="T34" fmla="*/ 0 w 67"/>
                    <a:gd name="T35" fmla="*/ 0 h 51"/>
                    <a:gd name="T36" fmla="*/ 0 w 67"/>
                    <a:gd name="T37" fmla="*/ 0 h 51"/>
                    <a:gd name="T38" fmla="*/ 0 w 67"/>
                    <a:gd name="T39" fmla="*/ 0 h 51"/>
                    <a:gd name="T40" fmla="*/ 0 w 67"/>
                    <a:gd name="T41" fmla="*/ 0 h 51"/>
                    <a:gd name="T42" fmla="*/ 0 w 67"/>
                    <a:gd name="T43" fmla="*/ 0 h 51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67"/>
                    <a:gd name="T67" fmla="*/ 0 h 51"/>
                    <a:gd name="T68" fmla="*/ 67 w 67"/>
                    <a:gd name="T69" fmla="*/ 51 h 51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67" h="51">
                      <a:moveTo>
                        <a:pt x="0" y="2"/>
                      </a:moveTo>
                      <a:lnTo>
                        <a:pt x="24" y="1"/>
                      </a:lnTo>
                      <a:lnTo>
                        <a:pt x="39" y="0"/>
                      </a:lnTo>
                      <a:lnTo>
                        <a:pt x="45" y="1"/>
                      </a:lnTo>
                      <a:lnTo>
                        <a:pt x="51" y="2"/>
                      </a:lnTo>
                      <a:lnTo>
                        <a:pt x="58" y="4"/>
                      </a:lnTo>
                      <a:lnTo>
                        <a:pt x="67" y="8"/>
                      </a:lnTo>
                      <a:lnTo>
                        <a:pt x="55" y="13"/>
                      </a:lnTo>
                      <a:lnTo>
                        <a:pt x="46" y="19"/>
                      </a:lnTo>
                      <a:lnTo>
                        <a:pt x="42" y="22"/>
                      </a:lnTo>
                      <a:lnTo>
                        <a:pt x="36" y="24"/>
                      </a:lnTo>
                      <a:lnTo>
                        <a:pt x="29" y="26"/>
                      </a:lnTo>
                      <a:lnTo>
                        <a:pt x="20" y="26"/>
                      </a:lnTo>
                      <a:lnTo>
                        <a:pt x="24" y="26"/>
                      </a:lnTo>
                      <a:lnTo>
                        <a:pt x="34" y="26"/>
                      </a:lnTo>
                      <a:lnTo>
                        <a:pt x="29" y="34"/>
                      </a:lnTo>
                      <a:lnTo>
                        <a:pt x="25" y="40"/>
                      </a:lnTo>
                      <a:lnTo>
                        <a:pt x="22" y="44"/>
                      </a:lnTo>
                      <a:lnTo>
                        <a:pt x="20" y="46"/>
                      </a:lnTo>
                      <a:lnTo>
                        <a:pt x="12" y="48"/>
                      </a:lnTo>
                      <a:lnTo>
                        <a:pt x="0" y="51"/>
                      </a:lnTo>
                      <a:lnTo>
                        <a:pt x="0" y="2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719" name="Freeform 41">
                <a:extLst>
                  <a:ext uri="{FF2B5EF4-FFF2-40B4-BE49-F238E27FC236}">
                    <a16:creationId xmlns="" xmlns:a16="http://schemas.microsoft.com/office/drawing/2014/main" id="{F6F58E34-EBE9-41C7-94DF-2C2DC6054DBA}"/>
                  </a:ext>
                </a:extLst>
              </p:cNvPr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2354263" y="3090863"/>
                <a:ext cx="31750" cy="58737"/>
              </a:xfrm>
              <a:custGeom>
                <a:avLst/>
                <a:gdLst>
                  <a:gd name="T0" fmla="*/ 0 w 80"/>
                  <a:gd name="T1" fmla="*/ 2147483646 h 34"/>
                  <a:gd name="T2" fmla="*/ 2147483646 w 80"/>
                  <a:gd name="T3" fmla="*/ 2147483646 h 34"/>
                  <a:gd name="T4" fmla="*/ 2147483646 w 80"/>
                  <a:gd name="T5" fmla="*/ 2147483646 h 34"/>
                  <a:gd name="T6" fmla="*/ 2147483646 w 80"/>
                  <a:gd name="T7" fmla="*/ 2147483646 h 34"/>
                  <a:gd name="T8" fmla="*/ 2147483646 w 80"/>
                  <a:gd name="T9" fmla="*/ 2147483646 h 34"/>
                  <a:gd name="T10" fmla="*/ 2147483646 w 80"/>
                  <a:gd name="T11" fmla="*/ 2147483646 h 34"/>
                  <a:gd name="T12" fmla="*/ 2147483646 w 80"/>
                  <a:gd name="T13" fmla="*/ 2147483646 h 34"/>
                  <a:gd name="T14" fmla="*/ 2147483646 w 80"/>
                  <a:gd name="T15" fmla="*/ 2147483646 h 34"/>
                  <a:gd name="T16" fmla="*/ 2147483646 w 80"/>
                  <a:gd name="T17" fmla="*/ 2147483646 h 34"/>
                  <a:gd name="T18" fmla="*/ 2147483646 w 80"/>
                  <a:gd name="T19" fmla="*/ 2147483646 h 34"/>
                  <a:gd name="T20" fmla="*/ 2147483646 w 80"/>
                  <a:gd name="T21" fmla="*/ 2147483646 h 34"/>
                  <a:gd name="T22" fmla="*/ 2147483646 w 80"/>
                  <a:gd name="T23" fmla="*/ 2147483646 h 34"/>
                  <a:gd name="T24" fmla="*/ 2147483646 w 80"/>
                  <a:gd name="T25" fmla="*/ 2147483646 h 34"/>
                  <a:gd name="T26" fmla="*/ 2147483646 w 80"/>
                  <a:gd name="T27" fmla="*/ 2147483646 h 34"/>
                  <a:gd name="T28" fmla="*/ 2147483646 w 80"/>
                  <a:gd name="T29" fmla="*/ 2147483646 h 34"/>
                  <a:gd name="T30" fmla="*/ 2147483646 w 80"/>
                  <a:gd name="T31" fmla="*/ 2147483646 h 34"/>
                  <a:gd name="T32" fmla="*/ 2147483646 w 80"/>
                  <a:gd name="T33" fmla="*/ 2147483646 h 34"/>
                  <a:gd name="T34" fmla="*/ 2147483646 w 80"/>
                  <a:gd name="T35" fmla="*/ 2147483646 h 34"/>
                  <a:gd name="T36" fmla="*/ 2147483646 w 80"/>
                  <a:gd name="T37" fmla="*/ 2147483646 h 34"/>
                  <a:gd name="T38" fmla="*/ 2147483646 w 80"/>
                  <a:gd name="T39" fmla="*/ 0 h 34"/>
                  <a:gd name="T40" fmla="*/ 2147483646 w 80"/>
                  <a:gd name="T41" fmla="*/ 0 h 34"/>
                  <a:gd name="T42" fmla="*/ 2147483646 w 80"/>
                  <a:gd name="T43" fmla="*/ 2147483646 h 34"/>
                  <a:gd name="T44" fmla="*/ 2147483646 w 80"/>
                  <a:gd name="T45" fmla="*/ 2147483646 h 34"/>
                  <a:gd name="T46" fmla="*/ 2147483646 w 80"/>
                  <a:gd name="T47" fmla="*/ 2147483646 h 34"/>
                  <a:gd name="T48" fmla="*/ 2147483646 w 80"/>
                  <a:gd name="T49" fmla="*/ 2147483646 h 34"/>
                  <a:gd name="T50" fmla="*/ 2147483646 w 80"/>
                  <a:gd name="T51" fmla="*/ 2147483646 h 34"/>
                  <a:gd name="T52" fmla="*/ 2147483646 w 80"/>
                  <a:gd name="T53" fmla="*/ 2147483646 h 34"/>
                  <a:gd name="T54" fmla="*/ 2147483646 w 80"/>
                  <a:gd name="T55" fmla="*/ 2147483646 h 34"/>
                  <a:gd name="T56" fmla="*/ 2147483646 w 80"/>
                  <a:gd name="T57" fmla="*/ 2147483646 h 34"/>
                  <a:gd name="T58" fmla="*/ 2147483646 w 80"/>
                  <a:gd name="T59" fmla="*/ 2147483646 h 34"/>
                  <a:gd name="T60" fmla="*/ 0 w 80"/>
                  <a:gd name="T61" fmla="*/ 2147483646 h 3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80"/>
                  <a:gd name="T94" fmla="*/ 0 h 34"/>
                  <a:gd name="T95" fmla="*/ 80 w 80"/>
                  <a:gd name="T96" fmla="*/ 34 h 3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80" h="34">
                    <a:moveTo>
                      <a:pt x="0" y="15"/>
                    </a:moveTo>
                    <a:lnTo>
                      <a:pt x="1" y="19"/>
                    </a:lnTo>
                    <a:lnTo>
                      <a:pt x="2" y="21"/>
                    </a:lnTo>
                    <a:lnTo>
                      <a:pt x="4" y="24"/>
                    </a:lnTo>
                    <a:lnTo>
                      <a:pt x="7" y="26"/>
                    </a:lnTo>
                    <a:lnTo>
                      <a:pt x="13" y="29"/>
                    </a:lnTo>
                    <a:lnTo>
                      <a:pt x="22" y="31"/>
                    </a:lnTo>
                    <a:lnTo>
                      <a:pt x="40" y="33"/>
                    </a:lnTo>
                    <a:lnTo>
                      <a:pt x="54" y="34"/>
                    </a:lnTo>
                    <a:lnTo>
                      <a:pt x="58" y="33"/>
                    </a:lnTo>
                    <a:lnTo>
                      <a:pt x="62" y="32"/>
                    </a:lnTo>
                    <a:lnTo>
                      <a:pt x="65" y="29"/>
                    </a:lnTo>
                    <a:lnTo>
                      <a:pt x="67" y="27"/>
                    </a:lnTo>
                    <a:lnTo>
                      <a:pt x="73" y="21"/>
                    </a:lnTo>
                    <a:lnTo>
                      <a:pt x="80" y="15"/>
                    </a:lnTo>
                    <a:lnTo>
                      <a:pt x="75" y="10"/>
                    </a:lnTo>
                    <a:lnTo>
                      <a:pt x="70" y="7"/>
                    </a:lnTo>
                    <a:lnTo>
                      <a:pt x="65" y="4"/>
                    </a:lnTo>
                    <a:lnTo>
                      <a:pt x="60" y="2"/>
                    </a:lnTo>
                    <a:lnTo>
                      <a:pt x="55" y="0"/>
                    </a:lnTo>
                    <a:lnTo>
                      <a:pt x="51" y="0"/>
                    </a:lnTo>
                    <a:lnTo>
                      <a:pt x="45" y="1"/>
                    </a:lnTo>
                    <a:lnTo>
                      <a:pt x="41" y="2"/>
                    </a:lnTo>
                    <a:lnTo>
                      <a:pt x="34" y="2"/>
                    </a:lnTo>
                    <a:lnTo>
                      <a:pt x="21" y="2"/>
                    </a:lnTo>
                    <a:lnTo>
                      <a:pt x="13" y="3"/>
                    </a:lnTo>
                    <a:lnTo>
                      <a:pt x="7" y="5"/>
                    </a:lnTo>
                    <a:lnTo>
                      <a:pt x="4" y="7"/>
                    </a:lnTo>
                    <a:lnTo>
                      <a:pt x="2" y="9"/>
                    </a:lnTo>
                    <a:lnTo>
                      <a:pt x="1" y="11"/>
                    </a:lnTo>
                    <a:lnTo>
                      <a:pt x="0" y="15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20" name="Freeform 42">
                <a:extLst>
                  <a:ext uri="{FF2B5EF4-FFF2-40B4-BE49-F238E27FC236}">
                    <a16:creationId xmlns="" xmlns:a16="http://schemas.microsoft.com/office/drawing/2014/main" id="{3ABE654B-D802-4A3C-B209-83FE54000315}"/>
                  </a:ext>
                </a:extLst>
              </p:cNvPr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2409825" y="3097213"/>
                <a:ext cx="1588" cy="58737"/>
              </a:xfrm>
              <a:custGeom>
                <a:avLst/>
                <a:gdLst>
                  <a:gd name="T0" fmla="*/ 0 w 7"/>
                  <a:gd name="T1" fmla="*/ 0 h 13"/>
                  <a:gd name="T2" fmla="*/ 2147483646 w 7"/>
                  <a:gd name="T3" fmla="*/ 2147483646 h 13"/>
                  <a:gd name="T4" fmla="*/ 2147483646 w 7"/>
                  <a:gd name="T5" fmla="*/ 2147483646 h 13"/>
                  <a:gd name="T6" fmla="*/ 0 60000 65536"/>
                  <a:gd name="T7" fmla="*/ 0 60000 65536"/>
                  <a:gd name="T8" fmla="*/ 0 60000 65536"/>
                  <a:gd name="T9" fmla="*/ 0 w 7"/>
                  <a:gd name="T10" fmla="*/ 0 h 13"/>
                  <a:gd name="T11" fmla="*/ 7 w 7"/>
                  <a:gd name="T12" fmla="*/ 13 h 1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7" h="13">
                    <a:moveTo>
                      <a:pt x="0" y="0"/>
                    </a:moveTo>
                    <a:lnTo>
                      <a:pt x="7" y="13"/>
                    </a:lnTo>
                    <a:lnTo>
                      <a:pt x="7" y="7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21" name="Freeform 43">
                <a:extLst>
                  <a:ext uri="{FF2B5EF4-FFF2-40B4-BE49-F238E27FC236}">
                    <a16:creationId xmlns="" xmlns:a16="http://schemas.microsoft.com/office/drawing/2014/main" id="{6FC5C27E-D62D-4CFC-A2A7-978CF6C25413}"/>
                  </a:ext>
                </a:extLst>
              </p:cNvPr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2422525" y="3098800"/>
                <a:ext cx="6350" cy="58738"/>
              </a:xfrm>
              <a:custGeom>
                <a:avLst/>
                <a:gdLst>
                  <a:gd name="T0" fmla="*/ 0 w 20"/>
                  <a:gd name="T1" fmla="*/ 0 h 6"/>
                  <a:gd name="T2" fmla="*/ 2147483646 w 20"/>
                  <a:gd name="T3" fmla="*/ 2147483646 h 6"/>
                  <a:gd name="T4" fmla="*/ 2147483646 w 20"/>
                  <a:gd name="T5" fmla="*/ 2147483646 h 6"/>
                  <a:gd name="T6" fmla="*/ 0 w 20"/>
                  <a:gd name="T7" fmla="*/ 0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0"/>
                  <a:gd name="T13" fmla="*/ 0 h 6"/>
                  <a:gd name="T14" fmla="*/ 20 w 20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0" h="6">
                    <a:moveTo>
                      <a:pt x="0" y="0"/>
                    </a:moveTo>
                    <a:lnTo>
                      <a:pt x="7" y="3"/>
                    </a:lnTo>
                    <a:lnTo>
                      <a:pt x="20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22" name="Freeform 44">
                <a:extLst>
                  <a:ext uri="{FF2B5EF4-FFF2-40B4-BE49-F238E27FC236}">
                    <a16:creationId xmlns="" xmlns:a16="http://schemas.microsoft.com/office/drawing/2014/main" id="{309DA21F-2D43-471A-9818-FEA0CA9E4FFE}"/>
                  </a:ext>
                </a:extLst>
              </p:cNvPr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2436813" y="3089275"/>
                <a:ext cx="7937" cy="57150"/>
              </a:xfrm>
              <a:custGeom>
                <a:avLst/>
                <a:gdLst>
                  <a:gd name="T0" fmla="*/ 0 w 14"/>
                  <a:gd name="T1" fmla="*/ 2147483646 h 12"/>
                  <a:gd name="T2" fmla="*/ 2147483646 w 14"/>
                  <a:gd name="T3" fmla="*/ 0 h 12"/>
                  <a:gd name="T4" fmla="*/ 0 w 14"/>
                  <a:gd name="T5" fmla="*/ 2147483646 h 12"/>
                  <a:gd name="T6" fmla="*/ 0 60000 65536"/>
                  <a:gd name="T7" fmla="*/ 0 60000 65536"/>
                  <a:gd name="T8" fmla="*/ 0 60000 65536"/>
                  <a:gd name="T9" fmla="*/ 0 w 14"/>
                  <a:gd name="T10" fmla="*/ 0 h 12"/>
                  <a:gd name="T11" fmla="*/ 14 w 14"/>
                  <a:gd name="T12" fmla="*/ 12 h 1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4" h="12">
                    <a:moveTo>
                      <a:pt x="0" y="12"/>
                    </a:move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23" name="Freeform 45">
                <a:extLst>
                  <a:ext uri="{FF2B5EF4-FFF2-40B4-BE49-F238E27FC236}">
                    <a16:creationId xmlns="" xmlns:a16="http://schemas.microsoft.com/office/drawing/2014/main" id="{BF8A83FE-E89D-4808-B918-79F8E0E147FE}"/>
                  </a:ext>
                </a:extLst>
              </p:cNvPr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2416175" y="3081338"/>
                <a:ext cx="11113" cy="58737"/>
              </a:xfrm>
              <a:custGeom>
                <a:avLst/>
                <a:gdLst>
                  <a:gd name="T0" fmla="*/ 0 w 27"/>
                  <a:gd name="T1" fmla="*/ 0 h 7"/>
                  <a:gd name="T2" fmla="*/ 0 w 27"/>
                  <a:gd name="T3" fmla="*/ 2147483646 h 7"/>
                  <a:gd name="T4" fmla="*/ 2147483646 w 27"/>
                  <a:gd name="T5" fmla="*/ 2147483646 h 7"/>
                  <a:gd name="T6" fmla="*/ 2147483646 w 27"/>
                  <a:gd name="T7" fmla="*/ 2147483646 h 7"/>
                  <a:gd name="T8" fmla="*/ 2147483646 w 27"/>
                  <a:gd name="T9" fmla="*/ 2147483646 h 7"/>
                  <a:gd name="T10" fmla="*/ 2147483646 w 27"/>
                  <a:gd name="T11" fmla="*/ 2147483646 h 7"/>
                  <a:gd name="T12" fmla="*/ 2147483646 w 27"/>
                  <a:gd name="T13" fmla="*/ 2147483646 h 7"/>
                  <a:gd name="T14" fmla="*/ 2147483646 w 27"/>
                  <a:gd name="T15" fmla="*/ 2147483646 h 7"/>
                  <a:gd name="T16" fmla="*/ 2147483646 w 27"/>
                  <a:gd name="T17" fmla="*/ 0 h 7"/>
                  <a:gd name="T18" fmla="*/ 0 w 27"/>
                  <a:gd name="T19" fmla="*/ 0 h 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7"/>
                  <a:gd name="T31" fmla="*/ 0 h 7"/>
                  <a:gd name="T32" fmla="*/ 27 w 27"/>
                  <a:gd name="T33" fmla="*/ 7 h 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7" h="7">
                    <a:moveTo>
                      <a:pt x="0" y="0"/>
                    </a:moveTo>
                    <a:lnTo>
                      <a:pt x="0" y="4"/>
                    </a:lnTo>
                    <a:lnTo>
                      <a:pt x="2" y="6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5" y="6"/>
                    </a:lnTo>
                    <a:lnTo>
                      <a:pt x="19" y="4"/>
                    </a:lnTo>
                    <a:lnTo>
                      <a:pt x="23" y="2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24" name="Freeform 46">
                <a:extLst>
                  <a:ext uri="{FF2B5EF4-FFF2-40B4-BE49-F238E27FC236}">
                    <a16:creationId xmlns="" xmlns:a16="http://schemas.microsoft.com/office/drawing/2014/main" id="{49160897-5CD6-4F55-8BFD-4F39ECE6A12E}"/>
                  </a:ext>
                </a:extLst>
              </p:cNvPr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2465388" y="3109913"/>
                <a:ext cx="14287" cy="60325"/>
              </a:xfrm>
              <a:custGeom>
                <a:avLst/>
                <a:gdLst>
                  <a:gd name="T0" fmla="*/ 0 w 27"/>
                  <a:gd name="T1" fmla="*/ 0 h 6"/>
                  <a:gd name="T2" fmla="*/ 2147483646 w 27"/>
                  <a:gd name="T3" fmla="*/ 2147483646 h 6"/>
                  <a:gd name="T4" fmla="*/ 2147483646 w 27"/>
                  <a:gd name="T5" fmla="*/ 2147483646 h 6"/>
                  <a:gd name="T6" fmla="*/ 0 60000 65536"/>
                  <a:gd name="T7" fmla="*/ 0 60000 65536"/>
                  <a:gd name="T8" fmla="*/ 0 60000 65536"/>
                  <a:gd name="T9" fmla="*/ 0 w 27"/>
                  <a:gd name="T10" fmla="*/ 0 h 6"/>
                  <a:gd name="T11" fmla="*/ 27 w 27"/>
                  <a:gd name="T12" fmla="*/ 6 h 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7" h="6">
                    <a:moveTo>
                      <a:pt x="0" y="0"/>
                    </a:moveTo>
                    <a:lnTo>
                      <a:pt x="11" y="3"/>
                    </a:lnTo>
                    <a:lnTo>
                      <a:pt x="27" y="6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25" name="Line 47">
                <a:extLst>
                  <a:ext uri="{FF2B5EF4-FFF2-40B4-BE49-F238E27FC236}">
                    <a16:creationId xmlns="" xmlns:a16="http://schemas.microsoft.com/office/drawing/2014/main" id="{BD2B5BD0-152B-4E81-A2F0-4451C0904F88}"/>
                  </a:ext>
                </a:extLst>
              </p:cNvPr>
              <p:cNvSpPr>
                <a:spLocks noChangeShapeType="1"/>
              </p:cNvSpPr>
              <p:nvPr>
                <p:custDataLst>
                  <p:tags r:id="rId40"/>
                </p:custDataLst>
              </p:nvPr>
            </p:nvSpPr>
            <p:spPr bwMode="auto">
              <a:xfrm flipH="1" flipV="1">
                <a:off x="2473325" y="3106738"/>
                <a:ext cx="6350" cy="9525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s-ES" sz="1800" kern="1200"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26" name="Line 48">
                <a:extLst>
                  <a:ext uri="{FF2B5EF4-FFF2-40B4-BE49-F238E27FC236}">
                    <a16:creationId xmlns="" xmlns:a16="http://schemas.microsoft.com/office/drawing/2014/main" id="{1AEB3F4F-90D2-4570-9D66-EC111C52D87F}"/>
                  </a:ext>
                </a:extLst>
              </p:cNvPr>
              <p:cNvSpPr>
                <a:spLocks noChangeShapeType="1"/>
              </p:cNvSpPr>
              <p:nvPr>
                <p:custDataLst>
                  <p:tags r:id="rId41"/>
                </p:custDataLst>
              </p:nvPr>
            </p:nvSpPr>
            <p:spPr bwMode="auto">
              <a:xfrm flipH="1">
                <a:off x="2473325" y="3132138"/>
                <a:ext cx="6350" cy="1111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s-ES" sz="1800" kern="1200"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27" name="Freeform 49">
                <a:extLst>
                  <a:ext uri="{FF2B5EF4-FFF2-40B4-BE49-F238E27FC236}">
                    <a16:creationId xmlns="" xmlns:a16="http://schemas.microsoft.com/office/drawing/2014/main" id="{E9B871F0-8A80-4E17-8424-D3FA7D6B8E8B}"/>
                  </a:ext>
                </a:extLst>
              </p:cNvPr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2473325" y="3127375"/>
                <a:ext cx="11113" cy="58738"/>
              </a:xfrm>
              <a:custGeom>
                <a:avLst/>
                <a:gdLst>
                  <a:gd name="T0" fmla="*/ 0 w 20"/>
                  <a:gd name="T1" fmla="*/ 2147483646 h 24"/>
                  <a:gd name="T2" fmla="*/ 2147483646 w 20"/>
                  <a:gd name="T3" fmla="*/ 2147483646 h 24"/>
                  <a:gd name="T4" fmla="*/ 2147483646 w 20"/>
                  <a:gd name="T5" fmla="*/ 2147483646 h 24"/>
                  <a:gd name="T6" fmla="*/ 2147483646 w 20"/>
                  <a:gd name="T7" fmla="*/ 2147483646 h 24"/>
                  <a:gd name="T8" fmla="*/ 2147483646 w 20"/>
                  <a:gd name="T9" fmla="*/ 2147483646 h 24"/>
                  <a:gd name="T10" fmla="*/ 2147483646 w 20"/>
                  <a:gd name="T11" fmla="*/ 2147483646 h 24"/>
                  <a:gd name="T12" fmla="*/ 2147483646 w 20"/>
                  <a:gd name="T13" fmla="*/ 2147483646 h 24"/>
                  <a:gd name="T14" fmla="*/ 2147483646 w 20"/>
                  <a:gd name="T15" fmla="*/ 2147483646 h 24"/>
                  <a:gd name="T16" fmla="*/ 2147483646 w 20"/>
                  <a:gd name="T17" fmla="*/ 0 h 2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0"/>
                  <a:gd name="T28" fmla="*/ 0 h 24"/>
                  <a:gd name="T29" fmla="*/ 20 w 20"/>
                  <a:gd name="T30" fmla="*/ 24 h 2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0" h="24">
                    <a:moveTo>
                      <a:pt x="0" y="24"/>
                    </a:moveTo>
                    <a:lnTo>
                      <a:pt x="2" y="24"/>
                    </a:lnTo>
                    <a:lnTo>
                      <a:pt x="6" y="22"/>
                    </a:lnTo>
                    <a:lnTo>
                      <a:pt x="9" y="20"/>
                    </a:lnTo>
                    <a:lnTo>
                      <a:pt x="12" y="16"/>
                    </a:lnTo>
                    <a:lnTo>
                      <a:pt x="15" y="13"/>
                    </a:lnTo>
                    <a:lnTo>
                      <a:pt x="18" y="9"/>
                    </a:lnTo>
                    <a:lnTo>
                      <a:pt x="19" y="4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28" name="Freeform 50">
                <a:extLst>
                  <a:ext uri="{FF2B5EF4-FFF2-40B4-BE49-F238E27FC236}">
                    <a16:creationId xmlns="" xmlns:a16="http://schemas.microsoft.com/office/drawing/2014/main" id="{55A0F82E-481A-46F9-BE31-D9CF3F81D963}"/>
                  </a:ext>
                </a:extLst>
              </p:cNvPr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2479675" y="3155950"/>
                <a:ext cx="17463" cy="55563"/>
              </a:xfrm>
              <a:custGeom>
                <a:avLst/>
                <a:gdLst>
                  <a:gd name="T0" fmla="*/ 2147483646 w 33"/>
                  <a:gd name="T1" fmla="*/ 2147483646 h 25"/>
                  <a:gd name="T2" fmla="*/ 0 w 33"/>
                  <a:gd name="T3" fmla="*/ 2147483646 h 25"/>
                  <a:gd name="T4" fmla="*/ 2147483646 w 33"/>
                  <a:gd name="T5" fmla="*/ 2147483646 h 25"/>
                  <a:gd name="T6" fmla="*/ 2147483646 w 33"/>
                  <a:gd name="T7" fmla="*/ 2147483646 h 25"/>
                  <a:gd name="T8" fmla="*/ 2147483646 w 33"/>
                  <a:gd name="T9" fmla="*/ 2147483646 h 25"/>
                  <a:gd name="T10" fmla="*/ 2147483646 w 33"/>
                  <a:gd name="T11" fmla="*/ 2147483646 h 25"/>
                  <a:gd name="T12" fmla="*/ 2147483646 w 33"/>
                  <a:gd name="T13" fmla="*/ 0 h 25"/>
                  <a:gd name="T14" fmla="*/ 2147483646 w 33"/>
                  <a:gd name="T15" fmla="*/ 0 h 25"/>
                  <a:gd name="T16" fmla="*/ 2147483646 w 33"/>
                  <a:gd name="T17" fmla="*/ 2147483646 h 2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3"/>
                  <a:gd name="T28" fmla="*/ 0 h 25"/>
                  <a:gd name="T29" fmla="*/ 33 w 33"/>
                  <a:gd name="T30" fmla="*/ 25 h 2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3" h="25">
                    <a:moveTo>
                      <a:pt x="13" y="7"/>
                    </a:moveTo>
                    <a:lnTo>
                      <a:pt x="0" y="19"/>
                    </a:lnTo>
                    <a:lnTo>
                      <a:pt x="10" y="20"/>
                    </a:lnTo>
                    <a:lnTo>
                      <a:pt x="19" y="22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7" y="0"/>
                    </a:lnTo>
                    <a:lnTo>
                      <a:pt x="13" y="7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29" name="Freeform 51">
                <a:extLst>
                  <a:ext uri="{FF2B5EF4-FFF2-40B4-BE49-F238E27FC236}">
                    <a16:creationId xmlns="" xmlns:a16="http://schemas.microsoft.com/office/drawing/2014/main" id="{48B809DB-69EA-4C6F-89F5-0131FDBA0241}"/>
                  </a:ext>
                </a:extLst>
              </p:cNvPr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2486025" y="3203575"/>
                <a:ext cx="15875" cy="57150"/>
              </a:xfrm>
              <a:custGeom>
                <a:avLst/>
                <a:gdLst>
                  <a:gd name="T0" fmla="*/ 0 w 40"/>
                  <a:gd name="T1" fmla="*/ 0 h 18"/>
                  <a:gd name="T2" fmla="*/ 2147483646 w 40"/>
                  <a:gd name="T3" fmla="*/ 2147483646 h 18"/>
                  <a:gd name="T4" fmla="*/ 2147483646 w 40"/>
                  <a:gd name="T5" fmla="*/ 2147483646 h 18"/>
                  <a:gd name="T6" fmla="*/ 2147483646 w 40"/>
                  <a:gd name="T7" fmla="*/ 2147483646 h 18"/>
                  <a:gd name="T8" fmla="*/ 2147483646 w 40"/>
                  <a:gd name="T9" fmla="*/ 2147483646 h 18"/>
                  <a:gd name="T10" fmla="*/ 2147483646 w 40"/>
                  <a:gd name="T11" fmla="*/ 2147483646 h 18"/>
                  <a:gd name="T12" fmla="*/ 2147483646 w 40"/>
                  <a:gd name="T13" fmla="*/ 2147483646 h 18"/>
                  <a:gd name="T14" fmla="*/ 2147483646 w 40"/>
                  <a:gd name="T15" fmla="*/ 0 h 18"/>
                  <a:gd name="T16" fmla="*/ 2147483646 w 40"/>
                  <a:gd name="T17" fmla="*/ 0 h 18"/>
                  <a:gd name="T18" fmla="*/ 2147483646 w 40"/>
                  <a:gd name="T19" fmla="*/ 0 h 18"/>
                  <a:gd name="T20" fmla="*/ 2147483646 w 40"/>
                  <a:gd name="T21" fmla="*/ 0 h 18"/>
                  <a:gd name="T22" fmla="*/ 0 w 40"/>
                  <a:gd name="T23" fmla="*/ 0 h 1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0"/>
                  <a:gd name="T37" fmla="*/ 0 h 18"/>
                  <a:gd name="T38" fmla="*/ 40 w 40"/>
                  <a:gd name="T39" fmla="*/ 18 h 18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0" h="18">
                    <a:moveTo>
                      <a:pt x="0" y="0"/>
                    </a:moveTo>
                    <a:lnTo>
                      <a:pt x="3" y="6"/>
                    </a:lnTo>
                    <a:lnTo>
                      <a:pt x="6" y="11"/>
                    </a:lnTo>
                    <a:lnTo>
                      <a:pt x="10" y="14"/>
                    </a:lnTo>
                    <a:lnTo>
                      <a:pt x="15" y="16"/>
                    </a:lnTo>
                    <a:lnTo>
                      <a:pt x="27" y="18"/>
                    </a:lnTo>
                    <a:lnTo>
                      <a:pt x="40" y="18"/>
                    </a:lnTo>
                    <a:lnTo>
                      <a:pt x="40" y="0"/>
                    </a:lnTo>
                    <a:lnTo>
                      <a:pt x="30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30" name="Freeform 52">
                <a:extLst>
                  <a:ext uri="{FF2B5EF4-FFF2-40B4-BE49-F238E27FC236}">
                    <a16:creationId xmlns="" xmlns:a16="http://schemas.microsoft.com/office/drawing/2014/main" id="{6403ECB1-87C7-4EE8-9F3C-B77C5EB4A5F4}"/>
                  </a:ext>
                </a:extLst>
              </p:cNvPr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2495550" y="3228975"/>
                <a:ext cx="3175" cy="57150"/>
              </a:xfrm>
              <a:custGeom>
                <a:avLst/>
                <a:gdLst>
                  <a:gd name="T0" fmla="*/ 2147483646 w 11"/>
                  <a:gd name="T1" fmla="*/ 2147483646 h 32"/>
                  <a:gd name="T2" fmla="*/ 2147483646 w 11"/>
                  <a:gd name="T3" fmla="*/ 2147483646 h 32"/>
                  <a:gd name="T4" fmla="*/ 2147483646 w 11"/>
                  <a:gd name="T5" fmla="*/ 2147483646 h 32"/>
                  <a:gd name="T6" fmla="*/ 2147483646 w 11"/>
                  <a:gd name="T7" fmla="*/ 2147483646 h 32"/>
                  <a:gd name="T8" fmla="*/ 2147483646 w 11"/>
                  <a:gd name="T9" fmla="*/ 2147483646 h 32"/>
                  <a:gd name="T10" fmla="*/ 2147483646 w 11"/>
                  <a:gd name="T11" fmla="*/ 2147483646 h 32"/>
                  <a:gd name="T12" fmla="*/ 2147483646 w 11"/>
                  <a:gd name="T13" fmla="*/ 0 h 32"/>
                  <a:gd name="T14" fmla="*/ 2147483646 w 11"/>
                  <a:gd name="T15" fmla="*/ 2147483646 h 32"/>
                  <a:gd name="T16" fmla="*/ 2147483646 w 11"/>
                  <a:gd name="T17" fmla="*/ 2147483646 h 32"/>
                  <a:gd name="T18" fmla="*/ 2147483646 w 11"/>
                  <a:gd name="T19" fmla="*/ 2147483646 h 32"/>
                  <a:gd name="T20" fmla="*/ 0 w 11"/>
                  <a:gd name="T21" fmla="*/ 2147483646 h 32"/>
                  <a:gd name="T22" fmla="*/ 0 w 11"/>
                  <a:gd name="T23" fmla="*/ 2147483646 h 32"/>
                  <a:gd name="T24" fmla="*/ 2147483646 w 11"/>
                  <a:gd name="T25" fmla="*/ 2147483646 h 32"/>
                  <a:gd name="T26" fmla="*/ 2147483646 w 11"/>
                  <a:gd name="T27" fmla="*/ 2147483646 h 32"/>
                  <a:gd name="T28" fmla="*/ 2147483646 w 11"/>
                  <a:gd name="T29" fmla="*/ 2147483646 h 3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1"/>
                  <a:gd name="T46" fmla="*/ 0 h 32"/>
                  <a:gd name="T47" fmla="*/ 11 w 11"/>
                  <a:gd name="T48" fmla="*/ 32 h 32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1" h="32">
                    <a:moveTo>
                      <a:pt x="4" y="32"/>
                    </a:moveTo>
                    <a:lnTo>
                      <a:pt x="6" y="28"/>
                    </a:lnTo>
                    <a:lnTo>
                      <a:pt x="8" y="25"/>
                    </a:lnTo>
                    <a:lnTo>
                      <a:pt x="9" y="22"/>
                    </a:lnTo>
                    <a:lnTo>
                      <a:pt x="10" y="18"/>
                    </a:lnTo>
                    <a:lnTo>
                      <a:pt x="11" y="9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1" y="11"/>
                    </a:lnTo>
                    <a:lnTo>
                      <a:pt x="0" y="16"/>
                    </a:lnTo>
                    <a:lnTo>
                      <a:pt x="0" y="20"/>
                    </a:lnTo>
                    <a:lnTo>
                      <a:pt x="1" y="24"/>
                    </a:lnTo>
                    <a:lnTo>
                      <a:pt x="2" y="28"/>
                    </a:lnTo>
                    <a:lnTo>
                      <a:pt x="4" y="32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31" name="Freeform 53">
                <a:extLst>
                  <a:ext uri="{FF2B5EF4-FFF2-40B4-BE49-F238E27FC236}">
                    <a16:creationId xmlns="" xmlns:a16="http://schemas.microsoft.com/office/drawing/2014/main" id="{B51143B5-C4AB-4D53-BE47-374E6FA46C88}"/>
                  </a:ext>
                </a:extLst>
              </p:cNvPr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2517775" y="3259138"/>
                <a:ext cx="1588" cy="55562"/>
              </a:xfrm>
              <a:custGeom>
                <a:avLst/>
                <a:gdLst>
                  <a:gd name="T0" fmla="*/ 0 w 14"/>
                  <a:gd name="T1" fmla="*/ 0 h 24"/>
                  <a:gd name="T2" fmla="*/ 0 w 14"/>
                  <a:gd name="T3" fmla="*/ 2147483646 h 24"/>
                  <a:gd name="T4" fmla="*/ 2147483646 w 14"/>
                  <a:gd name="T5" fmla="*/ 2147483646 h 24"/>
                  <a:gd name="T6" fmla="*/ 0 w 14"/>
                  <a:gd name="T7" fmla="*/ 0 h 2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"/>
                  <a:gd name="T13" fmla="*/ 0 h 24"/>
                  <a:gd name="T14" fmla="*/ 14 w 14"/>
                  <a:gd name="T15" fmla="*/ 24 h 2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" h="24">
                    <a:moveTo>
                      <a:pt x="0" y="0"/>
                    </a:moveTo>
                    <a:lnTo>
                      <a:pt x="0" y="24"/>
                    </a:lnTo>
                    <a:lnTo>
                      <a:pt x="14" y="1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32" name="Freeform 54">
                <a:extLst>
                  <a:ext uri="{FF2B5EF4-FFF2-40B4-BE49-F238E27FC236}">
                    <a16:creationId xmlns="" xmlns:a16="http://schemas.microsoft.com/office/drawing/2014/main" id="{00BC8FEA-E5DF-418C-8747-DAFEC7A2C585}"/>
                  </a:ext>
                </a:extLst>
              </p:cNvPr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2479675" y="3271838"/>
                <a:ext cx="15875" cy="58737"/>
              </a:xfrm>
              <a:custGeom>
                <a:avLst/>
                <a:gdLst>
                  <a:gd name="T0" fmla="*/ 0 w 27"/>
                  <a:gd name="T1" fmla="*/ 2147483646 h 18"/>
                  <a:gd name="T2" fmla="*/ 2147483646 w 27"/>
                  <a:gd name="T3" fmla="*/ 2147483646 h 18"/>
                  <a:gd name="T4" fmla="*/ 2147483646 w 27"/>
                  <a:gd name="T5" fmla="*/ 2147483646 h 18"/>
                  <a:gd name="T6" fmla="*/ 2147483646 w 27"/>
                  <a:gd name="T7" fmla="*/ 2147483646 h 18"/>
                  <a:gd name="T8" fmla="*/ 2147483646 w 27"/>
                  <a:gd name="T9" fmla="*/ 0 h 18"/>
                  <a:gd name="T10" fmla="*/ 2147483646 w 27"/>
                  <a:gd name="T11" fmla="*/ 0 h 18"/>
                  <a:gd name="T12" fmla="*/ 2147483646 w 27"/>
                  <a:gd name="T13" fmla="*/ 2147483646 h 18"/>
                  <a:gd name="T14" fmla="*/ 2147483646 w 27"/>
                  <a:gd name="T15" fmla="*/ 2147483646 h 18"/>
                  <a:gd name="T16" fmla="*/ 2147483646 w 27"/>
                  <a:gd name="T17" fmla="*/ 2147483646 h 18"/>
                  <a:gd name="T18" fmla="*/ 2147483646 w 27"/>
                  <a:gd name="T19" fmla="*/ 2147483646 h 18"/>
                  <a:gd name="T20" fmla="*/ 0 w 27"/>
                  <a:gd name="T21" fmla="*/ 2147483646 h 1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7"/>
                  <a:gd name="T34" fmla="*/ 0 h 18"/>
                  <a:gd name="T35" fmla="*/ 27 w 27"/>
                  <a:gd name="T36" fmla="*/ 18 h 1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7" h="18">
                    <a:moveTo>
                      <a:pt x="0" y="12"/>
                    </a:moveTo>
                    <a:lnTo>
                      <a:pt x="7" y="15"/>
                    </a:lnTo>
                    <a:lnTo>
                      <a:pt x="13" y="18"/>
                    </a:lnTo>
                    <a:lnTo>
                      <a:pt x="22" y="7"/>
                    </a:lnTo>
                    <a:lnTo>
                      <a:pt x="27" y="0"/>
                    </a:lnTo>
                    <a:lnTo>
                      <a:pt x="22" y="0"/>
                    </a:lnTo>
                    <a:lnTo>
                      <a:pt x="18" y="1"/>
                    </a:lnTo>
                    <a:lnTo>
                      <a:pt x="13" y="2"/>
                    </a:lnTo>
                    <a:lnTo>
                      <a:pt x="10" y="4"/>
                    </a:lnTo>
                    <a:lnTo>
                      <a:pt x="5" y="8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33" name="Freeform 55">
                <a:extLst>
                  <a:ext uri="{FF2B5EF4-FFF2-40B4-BE49-F238E27FC236}">
                    <a16:creationId xmlns="" xmlns:a16="http://schemas.microsoft.com/office/drawing/2014/main" id="{C46EB128-01EF-43DE-999B-806808F33380}"/>
                  </a:ext>
                </a:extLst>
              </p:cNvPr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2465388" y="3336925"/>
                <a:ext cx="23812" cy="57150"/>
              </a:xfrm>
              <a:custGeom>
                <a:avLst/>
                <a:gdLst>
                  <a:gd name="T0" fmla="*/ 0 w 47"/>
                  <a:gd name="T1" fmla="*/ 2147483646 h 49"/>
                  <a:gd name="T2" fmla="*/ 2147483646 w 47"/>
                  <a:gd name="T3" fmla="*/ 2147483646 h 49"/>
                  <a:gd name="T4" fmla="*/ 2147483646 w 47"/>
                  <a:gd name="T5" fmla="*/ 2147483646 h 49"/>
                  <a:gd name="T6" fmla="*/ 2147483646 w 47"/>
                  <a:gd name="T7" fmla="*/ 2147483646 h 49"/>
                  <a:gd name="T8" fmla="*/ 2147483646 w 47"/>
                  <a:gd name="T9" fmla="*/ 2147483646 h 49"/>
                  <a:gd name="T10" fmla="*/ 2147483646 w 47"/>
                  <a:gd name="T11" fmla="*/ 2147483646 h 49"/>
                  <a:gd name="T12" fmla="*/ 2147483646 w 47"/>
                  <a:gd name="T13" fmla="*/ 2147483646 h 49"/>
                  <a:gd name="T14" fmla="*/ 2147483646 w 47"/>
                  <a:gd name="T15" fmla="*/ 2147483646 h 49"/>
                  <a:gd name="T16" fmla="*/ 2147483646 w 47"/>
                  <a:gd name="T17" fmla="*/ 2147483646 h 49"/>
                  <a:gd name="T18" fmla="*/ 2147483646 w 47"/>
                  <a:gd name="T19" fmla="*/ 2147483646 h 49"/>
                  <a:gd name="T20" fmla="*/ 2147483646 w 47"/>
                  <a:gd name="T21" fmla="*/ 2147483646 h 49"/>
                  <a:gd name="T22" fmla="*/ 2147483646 w 47"/>
                  <a:gd name="T23" fmla="*/ 2147483646 h 49"/>
                  <a:gd name="T24" fmla="*/ 2147483646 w 47"/>
                  <a:gd name="T25" fmla="*/ 2147483646 h 49"/>
                  <a:gd name="T26" fmla="*/ 2147483646 w 47"/>
                  <a:gd name="T27" fmla="*/ 2147483646 h 49"/>
                  <a:gd name="T28" fmla="*/ 2147483646 w 47"/>
                  <a:gd name="T29" fmla="*/ 2147483646 h 49"/>
                  <a:gd name="T30" fmla="*/ 2147483646 w 47"/>
                  <a:gd name="T31" fmla="*/ 2147483646 h 49"/>
                  <a:gd name="T32" fmla="*/ 2147483646 w 47"/>
                  <a:gd name="T33" fmla="*/ 0 h 49"/>
                  <a:gd name="T34" fmla="*/ 2147483646 w 47"/>
                  <a:gd name="T35" fmla="*/ 0 h 49"/>
                  <a:gd name="T36" fmla="*/ 2147483646 w 47"/>
                  <a:gd name="T37" fmla="*/ 2147483646 h 49"/>
                  <a:gd name="T38" fmla="*/ 2147483646 w 47"/>
                  <a:gd name="T39" fmla="*/ 2147483646 h 49"/>
                  <a:gd name="T40" fmla="*/ 2147483646 w 47"/>
                  <a:gd name="T41" fmla="*/ 2147483646 h 49"/>
                  <a:gd name="T42" fmla="*/ 2147483646 w 47"/>
                  <a:gd name="T43" fmla="*/ 2147483646 h 49"/>
                  <a:gd name="T44" fmla="*/ 2147483646 w 47"/>
                  <a:gd name="T45" fmla="*/ 2147483646 h 49"/>
                  <a:gd name="T46" fmla="*/ 0 w 47"/>
                  <a:gd name="T47" fmla="*/ 2147483646 h 49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47"/>
                  <a:gd name="T73" fmla="*/ 0 h 49"/>
                  <a:gd name="T74" fmla="*/ 47 w 47"/>
                  <a:gd name="T75" fmla="*/ 49 h 49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47" h="49">
                    <a:moveTo>
                      <a:pt x="0" y="36"/>
                    </a:moveTo>
                    <a:lnTo>
                      <a:pt x="1" y="39"/>
                    </a:lnTo>
                    <a:lnTo>
                      <a:pt x="2" y="41"/>
                    </a:lnTo>
                    <a:lnTo>
                      <a:pt x="4" y="43"/>
                    </a:lnTo>
                    <a:lnTo>
                      <a:pt x="6" y="45"/>
                    </a:lnTo>
                    <a:lnTo>
                      <a:pt x="12" y="48"/>
                    </a:lnTo>
                    <a:lnTo>
                      <a:pt x="14" y="49"/>
                    </a:lnTo>
                    <a:lnTo>
                      <a:pt x="18" y="49"/>
                    </a:lnTo>
                    <a:lnTo>
                      <a:pt x="24" y="46"/>
                    </a:lnTo>
                    <a:lnTo>
                      <a:pt x="29" y="42"/>
                    </a:lnTo>
                    <a:lnTo>
                      <a:pt x="35" y="39"/>
                    </a:lnTo>
                    <a:lnTo>
                      <a:pt x="39" y="35"/>
                    </a:lnTo>
                    <a:lnTo>
                      <a:pt x="44" y="31"/>
                    </a:lnTo>
                    <a:lnTo>
                      <a:pt x="46" y="27"/>
                    </a:lnTo>
                    <a:lnTo>
                      <a:pt x="47" y="24"/>
                    </a:lnTo>
                    <a:lnTo>
                      <a:pt x="47" y="12"/>
                    </a:lnTo>
                    <a:lnTo>
                      <a:pt x="47" y="0"/>
                    </a:lnTo>
                    <a:lnTo>
                      <a:pt x="27" y="0"/>
                    </a:lnTo>
                    <a:lnTo>
                      <a:pt x="17" y="8"/>
                    </a:lnTo>
                    <a:lnTo>
                      <a:pt x="9" y="16"/>
                    </a:lnTo>
                    <a:lnTo>
                      <a:pt x="5" y="20"/>
                    </a:lnTo>
                    <a:lnTo>
                      <a:pt x="2" y="25"/>
                    </a:lnTo>
                    <a:lnTo>
                      <a:pt x="1" y="30"/>
                    </a:lnTo>
                    <a:lnTo>
                      <a:pt x="0" y="36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34" name="Freeform 56">
                <a:extLst>
                  <a:ext uri="{FF2B5EF4-FFF2-40B4-BE49-F238E27FC236}">
                    <a16:creationId xmlns="" xmlns:a16="http://schemas.microsoft.com/office/drawing/2014/main" id="{C394691F-E5D8-4A46-BCD2-D6F3C0314431}"/>
                  </a:ext>
                </a:extLst>
              </p:cNvPr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2484438" y="3313113"/>
                <a:ext cx="12700" cy="57150"/>
              </a:xfrm>
              <a:custGeom>
                <a:avLst/>
                <a:gdLst>
                  <a:gd name="T0" fmla="*/ 0 w 26"/>
                  <a:gd name="T1" fmla="*/ 0 h 9"/>
                  <a:gd name="T2" fmla="*/ 0 w 26"/>
                  <a:gd name="T3" fmla="*/ 2147483646 h 9"/>
                  <a:gd name="T4" fmla="*/ 2147483646 w 26"/>
                  <a:gd name="T5" fmla="*/ 2147483646 h 9"/>
                  <a:gd name="T6" fmla="*/ 2147483646 w 26"/>
                  <a:gd name="T7" fmla="*/ 2147483646 h 9"/>
                  <a:gd name="T8" fmla="*/ 2147483646 w 26"/>
                  <a:gd name="T9" fmla="*/ 2147483646 h 9"/>
                  <a:gd name="T10" fmla="*/ 2147483646 w 26"/>
                  <a:gd name="T11" fmla="*/ 2147483646 h 9"/>
                  <a:gd name="T12" fmla="*/ 2147483646 w 26"/>
                  <a:gd name="T13" fmla="*/ 2147483646 h 9"/>
                  <a:gd name="T14" fmla="*/ 2147483646 w 26"/>
                  <a:gd name="T15" fmla="*/ 2147483646 h 9"/>
                  <a:gd name="T16" fmla="*/ 2147483646 w 26"/>
                  <a:gd name="T17" fmla="*/ 0 h 9"/>
                  <a:gd name="T18" fmla="*/ 0 w 26"/>
                  <a:gd name="T19" fmla="*/ 0 h 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6"/>
                  <a:gd name="T31" fmla="*/ 0 h 9"/>
                  <a:gd name="T32" fmla="*/ 26 w 26"/>
                  <a:gd name="T33" fmla="*/ 9 h 9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6" h="9">
                    <a:moveTo>
                      <a:pt x="0" y="0"/>
                    </a:moveTo>
                    <a:lnTo>
                      <a:pt x="0" y="4"/>
                    </a:lnTo>
                    <a:lnTo>
                      <a:pt x="3" y="7"/>
                    </a:lnTo>
                    <a:lnTo>
                      <a:pt x="6" y="8"/>
                    </a:lnTo>
                    <a:lnTo>
                      <a:pt x="11" y="9"/>
                    </a:lnTo>
                    <a:lnTo>
                      <a:pt x="15" y="8"/>
                    </a:lnTo>
                    <a:lnTo>
                      <a:pt x="20" y="7"/>
                    </a:lnTo>
                    <a:lnTo>
                      <a:pt x="23" y="4"/>
                    </a:lnTo>
                    <a:lnTo>
                      <a:pt x="26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35" name="Freeform 57">
                <a:extLst>
                  <a:ext uri="{FF2B5EF4-FFF2-40B4-BE49-F238E27FC236}">
                    <a16:creationId xmlns="" xmlns:a16="http://schemas.microsoft.com/office/drawing/2014/main" id="{151F1BDA-9DA2-4E74-9566-A9836E1CDA01}"/>
                  </a:ext>
                </a:extLst>
              </p:cNvPr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1966913" y="2984500"/>
                <a:ext cx="15875" cy="57150"/>
              </a:xfrm>
              <a:custGeom>
                <a:avLst/>
                <a:gdLst>
                  <a:gd name="T0" fmla="*/ 0 w 39"/>
                  <a:gd name="T1" fmla="*/ 0 h 18"/>
                  <a:gd name="T2" fmla="*/ 0 w 39"/>
                  <a:gd name="T3" fmla="*/ 2147483646 h 18"/>
                  <a:gd name="T4" fmla="*/ 2147483646 w 39"/>
                  <a:gd name="T5" fmla="*/ 2147483646 h 18"/>
                  <a:gd name="T6" fmla="*/ 2147483646 w 39"/>
                  <a:gd name="T7" fmla="*/ 2147483646 h 18"/>
                  <a:gd name="T8" fmla="*/ 2147483646 w 39"/>
                  <a:gd name="T9" fmla="*/ 2147483646 h 18"/>
                  <a:gd name="T10" fmla="*/ 2147483646 w 39"/>
                  <a:gd name="T11" fmla="*/ 2147483646 h 18"/>
                  <a:gd name="T12" fmla="*/ 2147483646 w 39"/>
                  <a:gd name="T13" fmla="*/ 2147483646 h 18"/>
                  <a:gd name="T14" fmla="*/ 2147483646 w 39"/>
                  <a:gd name="T15" fmla="*/ 2147483646 h 18"/>
                  <a:gd name="T16" fmla="*/ 2147483646 w 39"/>
                  <a:gd name="T17" fmla="*/ 2147483646 h 18"/>
                  <a:gd name="T18" fmla="*/ 2147483646 w 39"/>
                  <a:gd name="T19" fmla="*/ 2147483646 h 18"/>
                  <a:gd name="T20" fmla="*/ 2147483646 w 39"/>
                  <a:gd name="T21" fmla="*/ 2147483646 h 18"/>
                  <a:gd name="T22" fmla="*/ 2147483646 w 39"/>
                  <a:gd name="T23" fmla="*/ 2147483646 h 18"/>
                  <a:gd name="T24" fmla="*/ 2147483646 w 39"/>
                  <a:gd name="T25" fmla="*/ 0 h 18"/>
                  <a:gd name="T26" fmla="*/ 0 w 39"/>
                  <a:gd name="T27" fmla="*/ 0 h 1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39"/>
                  <a:gd name="T43" fmla="*/ 0 h 18"/>
                  <a:gd name="T44" fmla="*/ 39 w 39"/>
                  <a:gd name="T45" fmla="*/ 18 h 1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39" h="18">
                    <a:moveTo>
                      <a:pt x="0" y="0"/>
                    </a:moveTo>
                    <a:lnTo>
                      <a:pt x="0" y="18"/>
                    </a:lnTo>
                    <a:lnTo>
                      <a:pt x="6" y="18"/>
                    </a:lnTo>
                    <a:lnTo>
                      <a:pt x="13" y="18"/>
                    </a:lnTo>
                    <a:lnTo>
                      <a:pt x="23" y="17"/>
                    </a:lnTo>
                    <a:lnTo>
                      <a:pt x="30" y="14"/>
                    </a:lnTo>
                    <a:lnTo>
                      <a:pt x="34" y="12"/>
                    </a:lnTo>
                    <a:lnTo>
                      <a:pt x="37" y="10"/>
                    </a:lnTo>
                    <a:lnTo>
                      <a:pt x="38" y="8"/>
                    </a:lnTo>
                    <a:lnTo>
                      <a:pt x="39" y="6"/>
                    </a:lnTo>
                    <a:lnTo>
                      <a:pt x="29" y="5"/>
                    </a:lnTo>
                    <a:lnTo>
                      <a:pt x="19" y="3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1736" name="Group 58">
                <a:extLst>
                  <a:ext uri="{FF2B5EF4-FFF2-40B4-BE49-F238E27FC236}">
                    <a16:creationId xmlns="" xmlns:a16="http://schemas.microsoft.com/office/drawing/2014/main" id="{A389A41A-64D1-4E22-B446-5F256224FFA6}"/>
                  </a:ext>
                </a:extLst>
              </p:cNvPr>
              <p:cNvGrpSpPr>
                <a:grpSpLocks/>
              </p:cNvGrpSpPr>
              <p:nvPr>
                <p:custDataLst>
                  <p:tags r:id="rId51"/>
                </p:custDataLst>
              </p:nvPr>
            </p:nvGrpSpPr>
            <p:grpSpPr bwMode="auto">
              <a:xfrm>
                <a:off x="2092325" y="2817813"/>
                <a:ext cx="131763" cy="195262"/>
                <a:chOff x="1199" y="2121"/>
                <a:chExt cx="97" cy="123"/>
              </a:xfrm>
              <a:solidFill>
                <a:srgbClr val="FFFFFF">
                  <a:lumMod val="75000"/>
                </a:srgbClr>
              </a:solidFill>
            </p:grpSpPr>
            <p:sp>
              <p:nvSpPr>
                <p:cNvPr id="1737" name="Freeform 59">
                  <a:extLst>
                    <a:ext uri="{FF2B5EF4-FFF2-40B4-BE49-F238E27FC236}">
                      <a16:creationId xmlns="" xmlns:a16="http://schemas.microsoft.com/office/drawing/2014/main" id="{67B8A39E-BD35-44CD-9C2B-B2EE527A0B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74" y="2236"/>
                  <a:ext cx="16" cy="8"/>
                </a:xfrm>
                <a:custGeom>
                  <a:avLst/>
                  <a:gdLst>
                    <a:gd name="T0" fmla="*/ 0 w 52"/>
                    <a:gd name="T1" fmla="*/ 0 h 25"/>
                    <a:gd name="T2" fmla="*/ 0 w 52"/>
                    <a:gd name="T3" fmla="*/ 0 h 25"/>
                    <a:gd name="T4" fmla="*/ 0 w 52"/>
                    <a:gd name="T5" fmla="*/ 0 h 25"/>
                    <a:gd name="T6" fmla="*/ 0 w 52"/>
                    <a:gd name="T7" fmla="*/ 0 h 25"/>
                    <a:gd name="T8" fmla="*/ 0 w 52"/>
                    <a:gd name="T9" fmla="*/ 0 h 25"/>
                    <a:gd name="T10" fmla="*/ 0 w 52"/>
                    <a:gd name="T11" fmla="*/ 0 h 25"/>
                    <a:gd name="T12" fmla="*/ 0 w 52"/>
                    <a:gd name="T13" fmla="*/ 0 h 25"/>
                    <a:gd name="T14" fmla="*/ 0 w 52"/>
                    <a:gd name="T15" fmla="*/ 0 h 25"/>
                    <a:gd name="T16" fmla="*/ 0 w 52"/>
                    <a:gd name="T17" fmla="*/ 0 h 25"/>
                    <a:gd name="T18" fmla="*/ 0 w 52"/>
                    <a:gd name="T19" fmla="*/ 0 h 25"/>
                    <a:gd name="T20" fmla="*/ 0 w 52"/>
                    <a:gd name="T21" fmla="*/ 0 h 25"/>
                    <a:gd name="T22" fmla="*/ 0 w 52"/>
                    <a:gd name="T23" fmla="*/ 0 h 25"/>
                    <a:gd name="T24" fmla="*/ 0 w 52"/>
                    <a:gd name="T25" fmla="*/ 0 h 25"/>
                    <a:gd name="T26" fmla="*/ 0 w 52"/>
                    <a:gd name="T27" fmla="*/ 0 h 25"/>
                    <a:gd name="T28" fmla="*/ 0 w 52"/>
                    <a:gd name="T29" fmla="*/ 0 h 25"/>
                    <a:gd name="T30" fmla="*/ 0 w 52"/>
                    <a:gd name="T31" fmla="*/ 0 h 25"/>
                    <a:gd name="T32" fmla="*/ 0 w 52"/>
                    <a:gd name="T33" fmla="*/ 0 h 25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52"/>
                    <a:gd name="T52" fmla="*/ 0 h 25"/>
                    <a:gd name="T53" fmla="*/ 52 w 52"/>
                    <a:gd name="T54" fmla="*/ 25 h 25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52" h="25">
                      <a:moveTo>
                        <a:pt x="0" y="25"/>
                      </a:moveTo>
                      <a:lnTo>
                        <a:pt x="7" y="25"/>
                      </a:lnTo>
                      <a:lnTo>
                        <a:pt x="15" y="24"/>
                      </a:lnTo>
                      <a:lnTo>
                        <a:pt x="23" y="22"/>
                      </a:lnTo>
                      <a:lnTo>
                        <a:pt x="30" y="19"/>
                      </a:lnTo>
                      <a:lnTo>
                        <a:pt x="38" y="15"/>
                      </a:lnTo>
                      <a:lnTo>
                        <a:pt x="43" y="11"/>
                      </a:lnTo>
                      <a:lnTo>
                        <a:pt x="49" y="6"/>
                      </a:lnTo>
                      <a:lnTo>
                        <a:pt x="52" y="0"/>
                      </a:lnTo>
                      <a:lnTo>
                        <a:pt x="40" y="0"/>
                      </a:lnTo>
                      <a:lnTo>
                        <a:pt x="31" y="0"/>
                      </a:lnTo>
                      <a:lnTo>
                        <a:pt x="23" y="1"/>
                      </a:lnTo>
                      <a:lnTo>
                        <a:pt x="16" y="3"/>
                      </a:lnTo>
                      <a:lnTo>
                        <a:pt x="11" y="6"/>
                      </a:lnTo>
                      <a:lnTo>
                        <a:pt x="5" y="10"/>
                      </a:lnTo>
                      <a:lnTo>
                        <a:pt x="2" y="16"/>
                      </a:lnTo>
                      <a:lnTo>
                        <a:pt x="0" y="25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38" name="Freeform 60">
                  <a:extLst>
                    <a:ext uri="{FF2B5EF4-FFF2-40B4-BE49-F238E27FC236}">
                      <a16:creationId xmlns="" xmlns:a16="http://schemas.microsoft.com/office/drawing/2014/main" id="{EE74E499-DBA6-4397-8EFA-5748C7C98F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99" y="2131"/>
                  <a:ext cx="11" cy="4"/>
                </a:xfrm>
                <a:custGeom>
                  <a:avLst/>
                  <a:gdLst>
                    <a:gd name="T0" fmla="*/ 0 w 33"/>
                    <a:gd name="T1" fmla="*/ 0 h 13"/>
                    <a:gd name="T2" fmla="*/ 0 w 33"/>
                    <a:gd name="T3" fmla="*/ 0 h 13"/>
                    <a:gd name="T4" fmla="*/ 0 w 33"/>
                    <a:gd name="T5" fmla="*/ 0 h 13"/>
                    <a:gd name="T6" fmla="*/ 0 w 33"/>
                    <a:gd name="T7" fmla="*/ 0 h 13"/>
                    <a:gd name="T8" fmla="*/ 0 w 33"/>
                    <a:gd name="T9" fmla="*/ 0 h 13"/>
                    <a:gd name="T10" fmla="*/ 0 w 33"/>
                    <a:gd name="T11" fmla="*/ 0 h 13"/>
                    <a:gd name="T12" fmla="*/ 0 w 33"/>
                    <a:gd name="T13" fmla="*/ 0 h 13"/>
                    <a:gd name="T14" fmla="*/ 0 w 33"/>
                    <a:gd name="T15" fmla="*/ 0 h 13"/>
                    <a:gd name="T16" fmla="*/ 0 w 33"/>
                    <a:gd name="T17" fmla="*/ 0 h 13"/>
                    <a:gd name="T18" fmla="*/ 0 w 33"/>
                    <a:gd name="T19" fmla="*/ 0 h 13"/>
                    <a:gd name="T20" fmla="*/ 0 w 33"/>
                    <a:gd name="T21" fmla="*/ 0 h 1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33"/>
                    <a:gd name="T34" fmla="*/ 0 h 13"/>
                    <a:gd name="T35" fmla="*/ 33 w 33"/>
                    <a:gd name="T36" fmla="*/ 13 h 13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33" h="13">
                      <a:moveTo>
                        <a:pt x="0" y="0"/>
                      </a:moveTo>
                      <a:lnTo>
                        <a:pt x="0" y="6"/>
                      </a:lnTo>
                      <a:lnTo>
                        <a:pt x="0" y="13"/>
                      </a:lnTo>
                      <a:lnTo>
                        <a:pt x="9" y="13"/>
                      </a:lnTo>
                      <a:lnTo>
                        <a:pt x="16" y="13"/>
                      </a:lnTo>
                      <a:lnTo>
                        <a:pt x="24" y="11"/>
                      </a:lnTo>
                      <a:lnTo>
                        <a:pt x="33" y="6"/>
                      </a:lnTo>
                      <a:lnTo>
                        <a:pt x="24" y="3"/>
                      </a:lnTo>
                      <a:lnTo>
                        <a:pt x="16" y="1"/>
                      </a:lnTo>
                      <a:lnTo>
                        <a:pt x="9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39" name="Freeform 61">
                  <a:extLst>
                    <a:ext uri="{FF2B5EF4-FFF2-40B4-BE49-F238E27FC236}">
                      <a16:creationId xmlns="" xmlns:a16="http://schemas.microsoft.com/office/drawing/2014/main" id="{CA06A8B6-920C-49A9-AE79-0352C87D47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10" y="2121"/>
                  <a:ext cx="20" cy="28"/>
                </a:xfrm>
                <a:custGeom>
                  <a:avLst/>
                  <a:gdLst>
                    <a:gd name="T0" fmla="*/ 0 w 67"/>
                    <a:gd name="T1" fmla="*/ 0 h 86"/>
                    <a:gd name="T2" fmla="*/ 0 w 67"/>
                    <a:gd name="T3" fmla="*/ 0 h 86"/>
                    <a:gd name="T4" fmla="*/ 0 w 67"/>
                    <a:gd name="T5" fmla="*/ 0 h 86"/>
                    <a:gd name="T6" fmla="*/ 0 w 67"/>
                    <a:gd name="T7" fmla="*/ 0 h 86"/>
                    <a:gd name="T8" fmla="*/ 0 w 67"/>
                    <a:gd name="T9" fmla="*/ 0 h 86"/>
                    <a:gd name="T10" fmla="*/ 0 w 67"/>
                    <a:gd name="T11" fmla="*/ 0 h 86"/>
                    <a:gd name="T12" fmla="*/ 0 w 67"/>
                    <a:gd name="T13" fmla="*/ 0 h 86"/>
                    <a:gd name="T14" fmla="*/ 0 w 67"/>
                    <a:gd name="T15" fmla="*/ 0 h 86"/>
                    <a:gd name="T16" fmla="*/ 0 w 67"/>
                    <a:gd name="T17" fmla="*/ 0 h 86"/>
                    <a:gd name="T18" fmla="*/ 0 w 67"/>
                    <a:gd name="T19" fmla="*/ 0 h 86"/>
                    <a:gd name="T20" fmla="*/ 0 w 67"/>
                    <a:gd name="T21" fmla="*/ 0 h 86"/>
                    <a:gd name="T22" fmla="*/ 0 w 67"/>
                    <a:gd name="T23" fmla="*/ 0 h 86"/>
                    <a:gd name="T24" fmla="*/ 0 w 67"/>
                    <a:gd name="T25" fmla="*/ 0 h 86"/>
                    <a:gd name="T26" fmla="*/ 0 w 67"/>
                    <a:gd name="T27" fmla="*/ 0 h 86"/>
                    <a:gd name="T28" fmla="*/ 0 w 67"/>
                    <a:gd name="T29" fmla="*/ 0 h 86"/>
                    <a:gd name="T30" fmla="*/ 0 w 67"/>
                    <a:gd name="T31" fmla="*/ 0 h 86"/>
                    <a:gd name="T32" fmla="*/ 0 w 67"/>
                    <a:gd name="T33" fmla="*/ 0 h 86"/>
                    <a:gd name="T34" fmla="*/ 0 w 67"/>
                    <a:gd name="T35" fmla="*/ 0 h 86"/>
                    <a:gd name="T36" fmla="*/ 0 w 67"/>
                    <a:gd name="T37" fmla="*/ 0 h 86"/>
                    <a:gd name="T38" fmla="*/ 0 w 67"/>
                    <a:gd name="T39" fmla="*/ 0 h 86"/>
                    <a:gd name="T40" fmla="*/ 0 w 67"/>
                    <a:gd name="T41" fmla="*/ 0 h 86"/>
                    <a:gd name="T42" fmla="*/ 0 w 67"/>
                    <a:gd name="T43" fmla="*/ 0 h 86"/>
                    <a:gd name="T44" fmla="*/ 0 w 67"/>
                    <a:gd name="T45" fmla="*/ 0 h 86"/>
                    <a:gd name="T46" fmla="*/ 0 w 67"/>
                    <a:gd name="T47" fmla="*/ 0 h 86"/>
                    <a:gd name="T48" fmla="*/ 0 w 67"/>
                    <a:gd name="T49" fmla="*/ 0 h 86"/>
                    <a:gd name="T50" fmla="*/ 0 w 67"/>
                    <a:gd name="T51" fmla="*/ 0 h 86"/>
                    <a:gd name="T52" fmla="*/ 0 w 67"/>
                    <a:gd name="T53" fmla="*/ 0 h 86"/>
                    <a:gd name="T54" fmla="*/ 0 w 67"/>
                    <a:gd name="T55" fmla="*/ 0 h 86"/>
                    <a:gd name="T56" fmla="*/ 0 w 67"/>
                    <a:gd name="T57" fmla="*/ 0 h 8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67"/>
                    <a:gd name="T88" fmla="*/ 0 h 86"/>
                    <a:gd name="T89" fmla="*/ 67 w 67"/>
                    <a:gd name="T90" fmla="*/ 86 h 8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67" h="86">
                      <a:moveTo>
                        <a:pt x="26" y="18"/>
                      </a:moveTo>
                      <a:lnTo>
                        <a:pt x="0" y="0"/>
                      </a:lnTo>
                      <a:lnTo>
                        <a:pt x="26" y="0"/>
                      </a:lnTo>
                      <a:lnTo>
                        <a:pt x="29" y="4"/>
                      </a:lnTo>
                      <a:lnTo>
                        <a:pt x="33" y="8"/>
                      </a:lnTo>
                      <a:lnTo>
                        <a:pt x="36" y="11"/>
                      </a:lnTo>
                      <a:lnTo>
                        <a:pt x="39" y="14"/>
                      </a:lnTo>
                      <a:lnTo>
                        <a:pt x="47" y="17"/>
                      </a:lnTo>
                      <a:lnTo>
                        <a:pt x="54" y="18"/>
                      </a:lnTo>
                      <a:lnTo>
                        <a:pt x="58" y="30"/>
                      </a:lnTo>
                      <a:lnTo>
                        <a:pt x="62" y="40"/>
                      </a:lnTo>
                      <a:lnTo>
                        <a:pt x="63" y="45"/>
                      </a:lnTo>
                      <a:lnTo>
                        <a:pt x="66" y="50"/>
                      </a:lnTo>
                      <a:lnTo>
                        <a:pt x="66" y="55"/>
                      </a:lnTo>
                      <a:lnTo>
                        <a:pt x="67" y="61"/>
                      </a:lnTo>
                      <a:lnTo>
                        <a:pt x="63" y="74"/>
                      </a:lnTo>
                      <a:lnTo>
                        <a:pt x="60" y="86"/>
                      </a:lnTo>
                      <a:lnTo>
                        <a:pt x="55" y="69"/>
                      </a:lnTo>
                      <a:lnTo>
                        <a:pt x="51" y="54"/>
                      </a:lnTo>
                      <a:lnTo>
                        <a:pt x="50" y="47"/>
                      </a:lnTo>
                      <a:lnTo>
                        <a:pt x="50" y="41"/>
                      </a:lnTo>
                      <a:lnTo>
                        <a:pt x="51" y="35"/>
                      </a:lnTo>
                      <a:lnTo>
                        <a:pt x="54" y="30"/>
                      </a:lnTo>
                      <a:lnTo>
                        <a:pt x="44" y="30"/>
                      </a:lnTo>
                      <a:lnTo>
                        <a:pt x="35" y="29"/>
                      </a:lnTo>
                      <a:lnTo>
                        <a:pt x="32" y="27"/>
                      </a:lnTo>
                      <a:lnTo>
                        <a:pt x="28" y="25"/>
                      </a:lnTo>
                      <a:lnTo>
                        <a:pt x="27" y="22"/>
                      </a:lnTo>
                      <a:lnTo>
                        <a:pt x="26" y="18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40" name="Freeform 62">
                  <a:extLst>
                    <a:ext uri="{FF2B5EF4-FFF2-40B4-BE49-F238E27FC236}">
                      <a16:creationId xmlns="" xmlns:a16="http://schemas.microsoft.com/office/drawing/2014/main" id="{8185C692-B6F6-4785-BF3C-47646ABD0E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01" y="2159"/>
                  <a:ext cx="16" cy="28"/>
                </a:xfrm>
                <a:custGeom>
                  <a:avLst/>
                  <a:gdLst>
                    <a:gd name="T0" fmla="*/ 0 w 49"/>
                    <a:gd name="T1" fmla="*/ 0 h 86"/>
                    <a:gd name="T2" fmla="*/ 0 w 49"/>
                    <a:gd name="T3" fmla="*/ 0 h 86"/>
                    <a:gd name="T4" fmla="*/ 0 w 49"/>
                    <a:gd name="T5" fmla="*/ 0 h 86"/>
                    <a:gd name="T6" fmla="*/ 0 w 49"/>
                    <a:gd name="T7" fmla="*/ 0 h 86"/>
                    <a:gd name="T8" fmla="*/ 0 w 49"/>
                    <a:gd name="T9" fmla="*/ 0 h 86"/>
                    <a:gd name="T10" fmla="*/ 0 w 49"/>
                    <a:gd name="T11" fmla="*/ 0 h 86"/>
                    <a:gd name="T12" fmla="*/ 0 w 49"/>
                    <a:gd name="T13" fmla="*/ 0 h 86"/>
                    <a:gd name="T14" fmla="*/ 0 w 49"/>
                    <a:gd name="T15" fmla="*/ 0 h 86"/>
                    <a:gd name="T16" fmla="*/ 0 w 49"/>
                    <a:gd name="T17" fmla="*/ 0 h 86"/>
                    <a:gd name="T18" fmla="*/ 0 w 49"/>
                    <a:gd name="T19" fmla="*/ 0 h 86"/>
                    <a:gd name="T20" fmla="*/ 0 w 49"/>
                    <a:gd name="T21" fmla="*/ 0 h 86"/>
                    <a:gd name="T22" fmla="*/ 0 w 49"/>
                    <a:gd name="T23" fmla="*/ 0 h 86"/>
                    <a:gd name="T24" fmla="*/ 0 w 49"/>
                    <a:gd name="T25" fmla="*/ 0 h 86"/>
                    <a:gd name="T26" fmla="*/ 0 w 49"/>
                    <a:gd name="T27" fmla="*/ 0 h 86"/>
                    <a:gd name="T28" fmla="*/ 0 w 49"/>
                    <a:gd name="T29" fmla="*/ 0 h 86"/>
                    <a:gd name="T30" fmla="*/ 0 w 49"/>
                    <a:gd name="T31" fmla="*/ 0 h 86"/>
                    <a:gd name="T32" fmla="*/ 0 w 49"/>
                    <a:gd name="T33" fmla="*/ 0 h 86"/>
                    <a:gd name="T34" fmla="*/ 0 w 49"/>
                    <a:gd name="T35" fmla="*/ 0 h 86"/>
                    <a:gd name="T36" fmla="*/ 0 w 49"/>
                    <a:gd name="T37" fmla="*/ 0 h 86"/>
                    <a:gd name="T38" fmla="*/ 0 w 49"/>
                    <a:gd name="T39" fmla="*/ 0 h 86"/>
                    <a:gd name="T40" fmla="*/ 0 w 49"/>
                    <a:gd name="T41" fmla="*/ 0 h 86"/>
                    <a:gd name="T42" fmla="*/ 0 w 49"/>
                    <a:gd name="T43" fmla="*/ 0 h 86"/>
                    <a:gd name="T44" fmla="*/ 0 w 49"/>
                    <a:gd name="T45" fmla="*/ 0 h 86"/>
                    <a:gd name="T46" fmla="*/ 0 w 49"/>
                    <a:gd name="T47" fmla="*/ 0 h 86"/>
                    <a:gd name="T48" fmla="*/ 0 w 49"/>
                    <a:gd name="T49" fmla="*/ 0 h 86"/>
                    <a:gd name="T50" fmla="*/ 0 w 49"/>
                    <a:gd name="T51" fmla="*/ 0 h 86"/>
                    <a:gd name="T52" fmla="*/ 0 w 49"/>
                    <a:gd name="T53" fmla="*/ 0 h 8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49"/>
                    <a:gd name="T82" fmla="*/ 0 h 86"/>
                    <a:gd name="T83" fmla="*/ 49 w 49"/>
                    <a:gd name="T84" fmla="*/ 86 h 86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49" h="86">
                      <a:moveTo>
                        <a:pt x="27" y="12"/>
                      </a:moveTo>
                      <a:lnTo>
                        <a:pt x="20" y="6"/>
                      </a:lnTo>
                      <a:lnTo>
                        <a:pt x="14" y="0"/>
                      </a:lnTo>
                      <a:lnTo>
                        <a:pt x="9" y="5"/>
                      </a:lnTo>
                      <a:lnTo>
                        <a:pt x="5" y="13"/>
                      </a:lnTo>
                      <a:lnTo>
                        <a:pt x="1" y="21"/>
                      </a:lnTo>
                      <a:lnTo>
                        <a:pt x="0" y="30"/>
                      </a:lnTo>
                      <a:lnTo>
                        <a:pt x="0" y="36"/>
                      </a:lnTo>
                      <a:lnTo>
                        <a:pt x="3" y="43"/>
                      </a:lnTo>
                      <a:lnTo>
                        <a:pt x="5" y="50"/>
                      </a:lnTo>
                      <a:lnTo>
                        <a:pt x="8" y="58"/>
                      </a:lnTo>
                      <a:lnTo>
                        <a:pt x="12" y="66"/>
                      </a:lnTo>
                      <a:lnTo>
                        <a:pt x="17" y="74"/>
                      </a:lnTo>
                      <a:lnTo>
                        <a:pt x="22" y="80"/>
                      </a:lnTo>
                      <a:lnTo>
                        <a:pt x="27" y="86"/>
                      </a:lnTo>
                      <a:lnTo>
                        <a:pt x="31" y="79"/>
                      </a:lnTo>
                      <a:lnTo>
                        <a:pt x="37" y="69"/>
                      </a:lnTo>
                      <a:lnTo>
                        <a:pt x="42" y="57"/>
                      </a:lnTo>
                      <a:lnTo>
                        <a:pt x="46" y="45"/>
                      </a:lnTo>
                      <a:lnTo>
                        <a:pt x="49" y="39"/>
                      </a:lnTo>
                      <a:lnTo>
                        <a:pt x="49" y="33"/>
                      </a:lnTo>
                      <a:lnTo>
                        <a:pt x="49" y="26"/>
                      </a:lnTo>
                      <a:lnTo>
                        <a:pt x="48" y="22"/>
                      </a:lnTo>
                      <a:lnTo>
                        <a:pt x="44" y="18"/>
                      </a:lnTo>
                      <a:lnTo>
                        <a:pt x="40" y="15"/>
                      </a:lnTo>
                      <a:lnTo>
                        <a:pt x="34" y="13"/>
                      </a:lnTo>
                      <a:lnTo>
                        <a:pt x="27" y="12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41" name="Freeform 63">
                  <a:extLst>
                    <a:ext uri="{FF2B5EF4-FFF2-40B4-BE49-F238E27FC236}">
                      <a16:creationId xmlns="" xmlns:a16="http://schemas.microsoft.com/office/drawing/2014/main" id="{6C87721F-B2A4-4FF7-96DF-21F070DD8E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26" y="2161"/>
                  <a:ext cx="2" cy="4"/>
                </a:xfrm>
                <a:custGeom>
                  <a:avLst/>
                  <a:gdLst>
                    <a:gd name="T0" fmla="*/ 0 w 6"/>
                    <a:gd name="T1" fmla="*/ 0 h 12"/>
                    <a:gd name="T2" fmla="*/ 0 w 6"/>
                    <a:gd name="T3" fmla="*/ 0 h 12"/>
                    <a:gd name="T4" fmla="*/ 0 w 6"/>
                    <a:gd name="T5" fmla="*/ 0 h 12"/>
                    <a:gd name="T6" fmla="*/ 0 w 6"/>
                    <a:gd name="T7" fmla="*/ 0 h 12"/>
                    <a:gd name="T8" fmla="*/ 0 w 6"/>
                    <a:gd name="T9" fmla="*/ 0 h 12"/>
                    <a:gd name="T10" fmla="*/ 0 w 6"/>
                    <a:gd name="T11" fmla="*/ 0 h 12"/>
                    <a:gd name="T12" fmla="*/ 0 w 6"/>
                    <a:gd name="T13" fmla="*/ 0 h 12"/>
                    <a:gd name="T14" fmla="*/ 0 w 6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6"/>
                    <a:gd name="T25" fmla="*/ 0 h 12"/>
                    <a:gd name="T26" fmla="*/ 6 w 6"/>
                    <a:gd name="T27" fmla="*/ 12 h 1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6" h="12">
                      <a:moveTo>
                        <a:pt x="0" y="12"/>
                      </a:move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2" y="2"/>
                      </a:lnTo>
                      <a:lnTo>
                        <a:pt x="1" y="4"/>
                      </a:lnTo>
                      <a:lnTo>
                        <a:pt x="0" y="6"/>
                      </a:lnTo>
                      <a:lnTo>
                        <a:pt x="0" y="10"/>
                      </a:lnTo>
                      <a:lnTo>
                        <a:pt x="0" y="12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42" name="Freeform 64">
                  <a:extLst>
                    <a:ext uri="{FF2B5EF4-FFF2-40B4-BE49-F238E27FC236}">
                      <a16:creationId xmlns="" xmlns:a16="http://schemas.microsoft.com/office/drawing/2014/main" id="{22E9431A-AE85-4BF7-9CDC-627CE74F5A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30" y="2154"/>
                  <a:ext cx="13" cy="15"/>
                </a:xfrm>
                <a:custGeom>
                  <a:avLst/>
                  <a:gdLst>
                    <a:gd name="T0" fmla="*/ 0 w 39"/>
                    <a:gd name="T1" fmla="*/ 0 h 48"/>
                    <a:gd name="T2" fmla="*/ 0 w 39"/>
                    <a:gd name="T3" fmla="*/ 0 h 48"/>
                    <a:gd name="T4" fmla="*/ 0 w 39"/>
                    <a:gd name="T5" fmla="*/ 0 h 48"/>
                    <a:gd name="T6" fmla="*/ 0 w 39"/>
                    <a:gd name="T7" fmla="*/ 0 h 48"/>
                    <a:gd name="T8" fmla="*/ 0 w 39"/>
                    <a:gd name="T9" fmla="*/ 0 h 48"/>
                    <a:gd name="T10" fmla="*/ 0 w 39"/>
                    <a:gd name="T11" fmla="*/ 0 h 48"/>
                    <a:gd name="T12" fmla="*/ 0 w 39"/>
                    <a:gd name="T13" fmla="*/ 0 h 48"/>
                    <a:gd name="T14" fmla="*/ 0 w 39"/>
                    <a:gd name="T15" fmla="*/ 0 h 48"/>
                    <a:gd name="T16" fmla="*/ 0 w 39"/>
                    <a:gd name="T17" fmla="*/ 0 h 48"/>
                    <a:gd name="T18" fmla="*/ 0 w 39"/>
                    <a:gd name="T19" fmla="*/ 0 h 48"/>
                    <a:gd name="T20" fmla="*/ 0 w 39"/>
                    <a:gd name="T21" fmla="*/ 0 h 48"/>
                    <a:gd name="T22" fmla="*/ 0 w 39"/>
                    <a:gd name="T23" fmla="*/ 0 h 48"/>
                    <a:gd name="T24" fmla="*/ 0 w 39"/>
                    <a:gd name="T25" fmla="*/ 0 h 48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39"/>
                    <a:gd name="T40" fmla="*/ 0 h 48"/>
                    <a:gd name="T41" fmla="*/ 39 w 39"/>
                    <a:gd name="T42" fmla="*/ 48 h 48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39" h="48">
                      <a:moveTo>
                        <a:pt x="0" y="0"/>
                      </a:moveTo>
                      <a:lnTo>
                        <a:pt x="11" y="9"/>
                      </a:lnTo>
                      <a:lnTo>
                        <a:pt x="22" y="17"/>
                      </a:lnTo>
                      <a:lnTo>
                        <a:pt x="32" y="24"/>
                      </a:lnTo>
                      <a:lnTo>
                        <a:pt x="39" y="30"/>
                      </a:lnTo>
                      <a:lnTo>
                        <a:pt x="36" y="39"/>
                      </a:lnTo>
                      <a:lnTo>
                        <a:pt x="33" y="48"/>
                      </a:lnTo>
                      <a:lnTo>
                        <a:pt x="18" y="36"/>
                      </a:lnTo>
                      <a:lnTo>
                        <a:pt x="8" y="26"/>
                      </a:lnTo>
                      <a:lnTo>
                        <a:pt x="4" y="21"/>
                      </a:lnTo>
                      <a:lnTo>
                        <a:pt x="2" y="15"/>
                      </a:lnTo>
                      <a:lnTo>
                        <a:pt x="0" y="8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43" name="Freeform 65">
                  <a:extLst>
                    <a:ext uri="{FF2B5EF4-FFF2-40B4-BE49-F238E27FC236}">
                      <a16:creationId xmlns="" xmlns:a16="http://schemas.microsoft.com/office/drawing/2014/main" id="{D357CCD6-0F82-4B72-9B59-A8384B004D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47" y="2167"/>
                  <a:ext cx="6" cy="14"/>
                </a:xfrm>
                <a:custGeom>
                  <a:avLst/>
                  <a:gdLst>
                    <a:gd name="T0" fmla="*/ 0 w 16"/>
                    <a:gd name="T1" fmla="*/ 0 h 43"/>
                    <a:gd name="T2" fmla="*/ 0 w 16"/>
                    <a:gd name="T3" fmla="*/ 0 h 43"/>
                    <a:gd name="T4" fmla="*/ 0 w 16"/>
                    <a:gd name="T5" fmla="*/ 0 h 43"/>
                    <a:gd name="T6" fmla="*/ 0 w 16"/>
                    <a:gd name="T7" fmla="*/ 0 h 43"/>
                    <a:gd name="T8" fmla="*/ 0 w 16"/>
                    <a:gd name="T9" fmla="*/ 0 h 43"/>
                    <a:gd name="T10" fmla="*/ 0 w 16"/>
                    <a:gd name="T11" fmla="*/ 0 h 43"/>
                    <a:gd name="T12" fmla="*/ 0 w 16"/>
                    <a:gd name="T13" fmla="*/ 0 h 43"/>
                    <a:gd name="T14" fmla="*/ 0 w 16"/>
                    <a:gd name="T15" fmla="*/ 0 h 43"/>
                    <a:gd name="T16" fmla="*/ 0 w 16"/>
                    <a:gd name="T17" fmla="*/ 0 h 43"/>
                    <a:gd name="T18" fmla="*/ 0 w 16"/>
                    <a:gd name="T19" fmla="*/ 0 h 43"/>
                    <a:gd name="T20" fmla="*/ 0 w 16"/>
                    <a:gd name="T21" fmla="*/ 0 h 43"/>
                    <a:gd name="T22" fmla="*/ 0 w 16"/>
                    <a:gd name="T23" fmla="*/ 0 h 43"/>
                    <a:gd name="T24" fmla="*/ 0 w 16"/>
                    <a:gd name="T25" fmla="*/ 0 h 4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6"/>
                    <a:gd name="T40" fmla="*/ 0 h 43"/>
                    <a:gd name="T41" fmla="*/ 16 w 16"/>
                    <a:gd name="T42" fmla="*/ 43 h 43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6" h="43">
                      <a:moveTo>
                        <a:pt x="7" y="0"/>
                      </a:moveTo>
                      <a:lnTo>
                        <a:pt x="11" y="9"/>
                      </a:lnTo>
                      <a:lnTo>
                        <a:pt x="15" y="16"/>
                      </a:lnTo>
                      <a:lnTo>
                        <a:pt x="16" y="22"/>
                      </a:lnTo>
                      <a:lnTo>
                        <a:pt x="16" y="27"/>
                      </a:lnTo>
                      <a:lnTo>
                        <a:pt x="15" y="31"/>
                      </a:lnTo>
                      <a:lnTo>
                        <a:pt x="11" y="35"/>
                      </a:lnTo>
                      <a:lnTo>
                        <a:pt x="7" y="39"/>
                      </a:lnTo>
                      <a:lnTo>
                        <a:pt x="0" y="43"/>
                      </a:lnTo>
                      <a:lnTo>
                        <a:pt x="2" y="28"/>
                      </a:lnTo>
                      <a:lnTo>
                        <a:pt x="4" y="18"/>
                      </a:lnTo>
                      <a:lnTo>
                        <a:pt x="6" y="9"/>
                      </a:lnTo>
                      <a:lnTo>
                        <a:pt x="7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44" name="Freeform 66">
                  <a:extLst>
                    <a:ext uri="{FF2B5EF4-FFF2-40B4-BE49-F238E27FC236}">
                      <a16:creationId xmlns="" xmlns:a16="http://schemas.microsoft.com/office/drawing/2014/main" id="{82C46658-5D3F-4641-8DD3-60547B18E8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48" y="2190"/>
                  <a:ext cx="8" cy="12"/>
                </a:xfrm>
                <a:custGeom>
                  <a:avLst/>
                  <a:gdLst>
                    <a:gd name="T0" fmla="*/ 0 w 24"/>
                    <a:gd name="T1" fmla="*/ 0 h 37"/>
                    <a:gd name="T2" fmla="*/ 0 w 24"/>
                    <a:gd name="T3" fmla="*/ 0 h 37"/>
                    <a:gd name="T4" fmla="*/ 0 w 24"/>
                    <a:gd name="T5" fmla="*/ 0 h 37"/>
                    <a:gd name="T6" fmla="*/ 0 w 24"/>
                    <a:gd name="T7" fmla="*/ 0 h 37"/>
                    <a:gd name="T8" fmla="*/ 0 w 24"/>
                    <a:gd name="T9" fmla="*/ 0 h 37"/>
                    <a:gd name="T10" fmla="*/ 0 w 24"/>
                    <a:gd name="T11" fmla="*/ 0 h 37"/>
                    <a:gd name="T12" fmla="*/ 0 w 24"/>
                    <a:gd name="T13" fmla="*/ 0 h 37"/>
                    <a:gd name="T14" fmla="*/ 0 w 24"/>
                    <a:gd name="T15" fmla="*/ 0 h 37"/>
                    <a:gd name="T16" fmla="*/ 0 w 24"/>
                    <a:gd name="T17" fmla="*/ 0 h 37"/>
                    <a:gd name="T18" fmla="*/ 0 w 24"/>
                    <a:gd name="T19" fmla="*/ 0 h 37"/>
                    <a:gd name="T20" fmla="*/ 0 w 24"/>
                    <a:gd name="T21" fmla="*/ 0 h 37"/>
                    <a:gd name="T22" fmla="*/ 0 w 24"/>
                    <a:gd name="T23" fmla="*/ 0 h 37"/>
                    <a:gd name="T24" fmla="*/ 0 w 24"/>
                    <a:gd name="T25" fmla="*/ 0 h 37"/>
                    <a:gd name="T26" fmla="*/ 0 w 24"/>
                    <a:gd name="T27" fmla="*/ 0 h 37"/>
                    <a:gd name="T28" fmla="*/ 0 w 24"/>
                    <a:gd name="T29" fmla="*/ 0 h 37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24"/>
                    <a:gd name="T46" fmla="*/ 0 h 37"/>
                    <a:gd name="T47" fmla="*/ 24 w 24"/>
                    <a:gd name="T48" fmla="*/ 37 h 37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24" h="37">
                      <a:moveTo>
                        <a:pt x="24" y="36"/>
                      </a:moveTo>
                      <a:lnTo>
                        <a:pt x="19" y="27"/>
                      </a:lnTo>
                      <a:lnTo>
                        <a:pt x="15" y="18"/>
                      </a:lnTo>
                      <a:lnTo>
                        <a:pt x="12" y="9"/>
                      </a:lnTo>
                      <a:lnTo>
                        <a:pt x="11" y="0"/>
                      </a:lnTo>
                      <a:lnTo>
                        <a:pt x="6" y="10"/>
                      </a:lnTo>
                      <a:lnTo>
                        <a:pt x="3" y="19"/>
                      </a:lnTo>
                      <a:lnTo>
                        <a:pt x="1" y="26"/>
                      </a:lnTo>
                      <a:lnTo>
                        <a:pt x="0" y="31"/>
                      </a:lnTo>
                      <a:lnTo>
                        <a:pt x="1" y="33"/>
                      </a:lnTo>
                      <a:lnTo>
                        <a:pt x="2" y="35"/>
                      </a:lnTo>
                      <a:lnTo>
                        <a:pt x="4" y="36"/>
                      </a:lnTo>
                      <a:lnTo>
                        <a:pt x="6" y="37"/>
                      </a:lnTo>
                      <a:lnTo>
                        <a:pt x="14" y="37"/>
                      </a:lnTo>
                      <a:lnTo>
                        <a:pt x="24" y="36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45" name="Freeform 67">
                  <a:extLst>
                    <a:ext uri="{FF2B5EF4-FFF2-40B4-BE49-F238E27FC236}">
                      <a16:creationId xmlns="" xmlns:a16="http://schemas.microsoft.com/office/drawing/2014/main" id="{76C64E1B-66E2-4DAA-9EF9-88A2235F8E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65" y="2204"/>
                  <a:ext cx="11" cy="17"/>
                </a:xfrm>
                <a:custGeom>
                  <a:avLst/>
                  <a:gdLst>
                    <a:gd name="T0" fmla="*/ 0 w 34"/>
                    <a:gd name="T1" fmla="*/ 0 h 55"/>
                    <a:gd name="T2" fmla="*/ 0 w 34"/>
                    <a:gd name="T3" fmla="*/ 0 h 55"/>
                    <a:gd name="T4" fmla="*/ 0 w 34"/>
                    <a:gd name="T5" fmla="*/ 0 h 55"/>
                    <a:gd name="T6" fmla="*/ 0 w 34"/>
                    <a:gd name="T7" fmla="*/ 0 h 55"/>
                    <a:gd name="T8" fmla="*/ 0 w 34"/>
                    <a:gd name="T9" fmla="*/ 0 h 55"/>
                    <a:gd name="T10" fmla="*/ 0 w 34"/>
                    <a:gd name="T11" fmla="*/ 0 h 55"/>
                    <a:gd name="T12" fmla="*/ 0 w 34"/>
                    <a:gd name="T13" fmla="*/ 0 h 55"/>
                    <a:gd name="T14" fmla="*/ 0 w 34"/>
                    <a:gd name="T15" fmla="*/ 0 h 55"/>
                    <a:gd name="T16" fmla="*/ 0 w 34"/>
                    <a:gd name="T17" fmla="*/ 0 h 55"/>
                    <a:gd name="T18" fmla="*/ 0 w 34"/>
                    <a:gd name="T19" fmla="*/ 0 h 55"/>
                    <a:gd name="T20" fmla="*/ 0 w 34"/>
                    <a:gd name="T21" fmla="*/ 0 h 55"/>
                    <a:gd name="T22" fmla="*/ 0 w 34"/>
                    <a:gd name="T23" fmla="*/ 0 h 55"/>
                    <a:gd name="T24" fmla="*/ 0 w 34"/>
                    <a:gd name="T25" fmla="*/ 0 h 55"/>
                    <a:gd name="T26" fmla="*/ 0 w 34"/>
                    <a:gd name="T27" fmla="*/ 0 h 55"/>
                    <a:gd name="T28" fmla="*/ 0 w 34"/>
                    <a:gd name="T29" fmla="*/ 0 h 55"/>
                    <a:gd name="T30" fmla="*/ 0 w 34"/>
                    <a:gd name="T31" fmla="*/ 0 h 55"/>
                    <a:gd name="T32" fmla="*/ 0 w 34"/>
                    <a:gd name="T33" fmla="*/ 0 h 55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34"/>
                    <a:gd name="T52" fmla="*/ 0 h 55"/>
                    <a:gd name="T53" fmla="*/ 34 w 34"/>
                    <a:gd name="T54" fmla="*/ 55 h 55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34" h="55">
                      <a:moveTo>
                        <a:pt x="34" y="0"/>
                      </a:moveTo>
                      <a:lnTo>
                        <a:pt x="34" y="13"/>
                      </a:lnTo>
                      <a:lnTo>
                        <a:pt x="34" y="25"/>
                      </a:lnTo>
                      <a:lnTo>
                        <a:pt x="33" y="32"/>
                      </a:lnTo>
                      <a:lnTo>
                        <a:pt x="31" y="38"/>
                      </a:lnTo>
                      <a:lnTo>
                        <a:pt x="29" y="43"/>
                      </a:lnTo>
                      <a:lnTo>
                        <a:pt x="24" y="47"/>
                      </a:lnTo>
                      <a:lnTo>
                        <a:pt x="20" y="51"/>
                      </a:lnTo>
                      <a:lnTo>
                        <a:pt x="14" y="53"/>
                      </a:lnTo>
                      <a:lnTo>
                        <a:pt x="8" y="55"/>
                      </a:lnTo>
                      <a:lnTo>
                        <a:pt x="0" y="55"/>
                      </a:lnTo>
                      <a:lnTo>
                        <a:pt x="9" y="36"/>
                      </a:lnTo>
                      <a:lnTo>
                        <a:pt x="14" y="21"/>
                      </a:lnTo>
                      <a:lnTo>
                        <a:pt x="18" y="16"/>
                      </a:lnTo>
                      <a:lnTo>
                        <a:pt x="22" y="10"/>
                      </a:lnTo>
                      <a:lnTo>
                        <a:pt x="28" y="5"/>
                      </a:lnTo>
                      <a:lnTo>
                        <a:pt x="34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46" name="Freeform 68">
                  <a:extLst>
                    <a:ext uri="{FF2B5EF4-FFF2-40B4-BE49-F238E27FC236}">
                      <a16:creationId xmlns="" xmlns:a16="http://schemas.microsoft.com/office/drawing/2014/main" id="{D594B65B-05F2-4513-89EA-3E8F13A120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85" y="2215"/>
                  <a:ext cx="11" cy="4"/>
                </a:xfrm>
                <a:custGeom>
                  <a:avLst/>
                  <a:gdLst>
                    <a:gd name="T0" fmla="*/ 0 w 33"/>
                    <a:gd name="T1" fmla="*/ 0 h 12"/>
                    <a:gd name="T2" fmla="*/ 0 w 33"/>
                    <a:gd name="T3" fmla="*/ 0 h 12"/>
                    <a:gd name="T4" fmla="*/ 0 w 33"/>
                    <a:gd name="T5" fmla="*/ 0 h 12"/>
                    <a:gd name="T6" fmla="*/ 0 w 33"/>
                    <a:gd name="T7" fmla="*/ 0 h 12"/>
                    <a:gd name="T8" fmla="*/ 0 w 33"/>
                    <a:gd name="T9" fmla="*/ 0 h 12"/>
                    <a:gd name="T10" fmla="*/ 0 w 33"/>
                    <a:gd name="T11" fmla="*/ 0 h 12"/>
                    <a:gd name="T12" fmla="*/ 0 w 33"/>
                    <a:gd name="T13" fmla="*/ 0 h 12"/>
                    <a:gd name="T14" fmla="*/ 0 w 33"/>
                    <a:gd name="T15" fmla="*/ 0 h 12"/>
                    <a:gd name="T16" fmla="*/ 0 w 33"/>
                    <a:gd name="T17" fmla="*/ 0 h 12"/>
                    <a:gd name="T18" fmla="*/ 0 w 33"/>
                    <a:gd name="T19" fmla="*/ 0 h 12"/>
                    <a:gd name="T20" fmla="*/ 0 w 33"/>
                    <a:gd name="T21" fmla="*/ 0 h 12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33"/>
                    <a:gd name="T34" fmla="*/ 0 h 12"/>
                    <a:gd name="T35" fmla="*/ 33 w 33"/>
                    <a:gd name="T36" fmla="*/ 12 h 12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33" h="12">
                      <a:moveTo>
                        <a:pt x="0" y="0"/>
                      </a:moveTo>
                      <a:lnTo>
                        <a:pt x="2" y="4"/>
                      </a:lnTo>
                      <a:lnTo>
                        <a:pt x="6" y="7"/>
                      </a:lnTo>
                      <a:lnTo>
                        <a:pt x="10" y="9"/>
                      </a:lnTo>
                      <a:lnTo>
                        <a:pt x="14" y="11"/>
                      </a:lnTo>
                      <a:lnTo>
                        <a:pt x="23" y="12"/>
                      </a:lnTo>
                      <a:lnTo>
                        <a:pt x="33" y="12"/>
                      </a:lnTo>
                      <a:lnTo>
                        <a:pt x="28" y="8"/>
                      </a:lnTo>
                      <a:lnTo>
                        <a:pt x="19" y="4"/>
                      </a:lnTo>
                      <a:lnTo>
                        <a:pt x="10" y="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747" name="Freeform 69">
                <a:extLst>
                  <a:ext uri="{FF2B5EF4-FFF2-40B4-BE49-F238E27FC236}">
                    <a16:creationId xmlns="" xmlns:a16="http://schemas.microsoft.com/office/drawing/2014/main" id="{B32AECC4-6CFF-4E7B-BB81-5C158E4EBBA1}"/>
                  </a:ext>
                </a:extLst>
              </p:cNvPr>
              <p:cNvSpPr>
                <a:spLocks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7905750" y="4244975"/>
                <a:ext cx="12700" cy="57150"/>
              </a:xfrm>
              <a:custGeom>
                <a:avLst/>
                <a:gdLst>
                  <a:gd name="T0" fmla="*/ 0 w 33"/>
                  <a:gd name="T1" fmla="*/ 2147483646 h 62"/>
                  <a:gd name="T2" fmla="*/ 0 w 33"/>
                  <a:gd name="T3" fmla="*/ 2147483646 h 62"/>
                  <a:gd name="T4" fmla="*/ 0 w 33"/>
                  <a:gd name="T5" fmla="*/ 2147483646 h 62"/>
                  <a:gd name="T6" fmla="*/ 0 w 33"/>
                  <a:gd name="T7" fmla="*/ 2147483646 h 62"/>
                  <a:gd name="T8" fmla="*/ 0 w 33"/>
                  <a:gd name="T9" fmla="*/ 2147483646 h 62"/>
                  <a:gd name="T10" fmla="*/ 0 w 33"/>
                  <a:gd name="T11" fmla="*/ 2147483646 h 62"/>
                  <a:gd name="T12" fmla="*/ 2147483646 w 33"/>
                  <a:gd name="T13" fmla="*/ 2147483646 h 62"/>
                  <a:gd name="T14" fmla="*/ 2147483646 w 33"/>
                  <a:gd name="T15" fmla="*/ 2147483646 h 62"/>
                  <a:gd name="T16" fmla="*/ 2147483646 w 33"/>
                  <a:gd name="T17" fmla="*/ 2147483646 h 62"/>
                  <a:gd name="T18" fmla="*/ 2147483646 w 33"/>
                  <a:gd name="T19" fmla="*/ 2147483646 h 62"/>
                  <a:gd name="T20" fmla="*/ 2147483646 w 33"/>
                  <a:gd name="T21" fmla="*/ 0 h 62"/>
                  <a:gd name="T22" fmla="*/ 2147483646 w 33"/>
                  <a:gd name="T23" fmla="*/ 2147483646 h 62"/>
                  <a:gd name="T24" fmla="*/ 2147483646 w 33"/>
                  <a:gd name="T25" fmla="*/ 2147483646 h 6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3"/>
                  <a:gd name="T40" fmla="*/ 0 h 62"/>
                  <a:gd name="T41" fmla="*/ 33 w 33"/>
                  <a:gd name="T42" fmla="*/ 62 h 6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3" h="62">
                    <a:moveTo>
                      <a:pt x="0" y="62"/>
                    </a:moveTo>
                    <a:lnTo>
                      <a:pt x="0" y="53"/>
                    </a:lnTo>
                    <a:lnTo>
                      <a:pt x="0" y="45"/>
                    </a:lnTo>
                    <a:lnTo>
                      <a:pt x="0" y="37"/>
                    </a:lnTo>
                    <a:lnTo>
                      <a:pt x="0" y="31"/>
                    </a:lnTo>
                    <a:lnTo>
                      <a:pt x="0" y="26"/>
                    </a:lnTo>
                    <a:lnTo>
                      <a:pt x="2" y="22"/>
                    </a:lnTo>
                    <a:lnTo>
                      <a:pt x="4" y="17"/>
                    </a:lnTo>
                    <a:lnTo>
                      <a:pt x="8" y="13"/>
                    </a:lnTo>
                    <a:lnTo>
                      <a:pt x="14" y="6"/>
                    </a:lnTo>
                    <a:lnTo>
                      <a:pt x="20" y="0"/>
                    </a:lnTo>
                    <a:lnTo>
                      <a:pt x="26" y="6"/>
                    </a:lnTo>
                    <a:lnTo>
                      <a:pt x="33" y="13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48" name="Freeform 70">
                <a:extLst>
                  <a:ext uri="{FF2B5EF4-FFF2-40B4-BE49-F238E27FC236}">
                    <a16:creationId xmlns="" xmlns:a16="http://schemas.microsoft.com/office/drawing/2014/main" id="{D8D5788E-17E4-460E-A163-B5B9ED2BFAFA}"/>
                  </a:ext>
                </a:extLst>
              </p:cNvPr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7915275" y="4335463"/>
                <a:ext cx="9525" cy="58737"/>
              </a:xfrm>
              <a:custGeom>
                <a:avLst/>
                <a:gdLst>
                  <a:gd name="T0" fmla="*/ 0 w 26"/>
                  <a:gd name="T1" fmla="*/ 2147483646 h 18"/>
                  <a:gd name="T2" fmla="*/ 0 w 26"/>
                  <a:gd name="T3" fmla="*/ 0 h 18"/>
                  <a:gd name="T4" fmla="*/ 2147483646 w 26"/>
                  <a:gd name="T5" fmla="*/ 0 h 18"/>
                  <a:gd name="T6" fmla="*/ 2147483646 w 26"/>
                  <a:gd name="T7" fmla="*/ 2147483646 h 18"/>
                  <a:gd name="T8" fmla="*/ 2147483646 w 26"/>
                  <a:gd name="T9" fmla="*/ 2147483646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6"/>
                  <a:gd name="T16" fmla="*/ 0 h 18"/>
                  <a:gd name="T17" fmla="*/ 26 w 26"/>
                  <a:gd name="T18" fmla="*/ 18 h 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6" h="18">
                    <a:moveTo>
                      <a:pt x="0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6" y="12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49" name="Freeform 71">
                <a:extLst>
                  <a:ext uri="{FF2B5EF4-FFF2-40B4-BE49-F238E27FC236}">
                    <a16:creationId xmlns="" xmlns:a16="http://schemas.microsoft.com/office/drawing/2014/main" id="{7DAB3DEF-60D1-46AC-9C74-D7E346C230CB}"/>
                  </a:ext>
                </a:extLst>
              </p:cNvPr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8029575" y="4244975"/>
                <a:ext cx="77788" cy="130175"/>
              </a:xfrm>
              <a:custGeom>
                <a:avLst/>
                <a:gdLst>
                  <a:gd name="T0" fmla="*/ 2147483646 w 180"/>
                  <a:gd name="T1" fmla="*/ 2147483646 h 240"/>
                  <a:gd name="T2" fmla="*/ 2147483646 w 180"/>
                  <a:gd name="T3" fmla="*/ 2147483646 h 240"/>
                  <a:gd name="T4" fmla="*/ 2147483646 w 180"/>
                  <a:gd name="T5" fmla="*/ 2147483646 h 240"/>
                  <a:gd name="T6" fmla="*/ 2147483646 w 180"/>
                  <a:gd name="T7" fmla="*/ 2147483646 h 240"/>
                  <a:gd name="T8" fmla="*/ 2147483646 w 180"/>
                  <a:gd name="T9" fmla="*/ 2147483646 h 240"/>
                  <a:gd name="T10" fmla="*/ 2147483646 w 180"/>
                  <a:gd name="T11" fmla="*/ 2147483646 h 240"/>
                  <a:gd name="T12" fmla="*/ 2147483646 w 180"/>
                  <a:gd name="T13" fmla="*/ 2147483646 h 240"/>
                  <a:gd name="T14" fmla="*/ 2147483646 w 180"/>
                  <a:gd name="T15" fmla="*/ 2147483646 h 240"/>
                  <a:gd name="T16" fmla="*/ 2147483646 w 180"/>
                  <a:gd name="T17" fmla="*/ 2147483646 h 240"/>
                  <a:gd name="T18" fmla="*/ 2147483646 w 180"/>
                  <a:gd name="T19" fmla="*/ 2147483646 h 240"/>
                  <a:gd name="T20" fmla="*/ 2147483646 w 180"/>
                  <a:gd name="T21" fmla="*/ 2147483646 h 240"/>
                  <a:gd name="T22" fmla="*/ 2147483646 w 180"/>
                  <a:gd name="T23" fmla="*/ 2147483646 h 240"/>
                  <a:gd name="T24" fmla="*/ 2147483646 w 180"/>
                  <a:gd name="T25" fmla="*/ 2147483646 h 240"/>
                  <a:gd name="T26" fmla="*/ 2147483646 w 180"/>
                  <a:gd name="T27" fmla="*/ 2147483646 h 240"/>
                  <a:gd name="T28" fmla="*/ 2147483646 w 180"/>
                  <a:gd name="T29" fmla="*/ 2147483646 h 240"/>
                  <a:gd name="T30" fmla="*/ 2147483646 w 180"/>
                  <a:gd name="T31" fmla="*/ 2147483646 h 240"/>
                  <a:gd name="T32" fmla="*/ 2147483646 w 180"/>
                  <a:gd name="T33" fmla="*/ 2147483646 h 240"/>
                  <a:gd name="T34" fmla="*/ 2147483646 w 180"/>
                  <a:gd name="T35" fmla="*/ 2147483646 h 240"/>
                  <a:gd name="T36" fmla="*/ 2147483646 w 180"/>
                  <a:gd name="T37" fmla="*/ 2147483646 h 240"/>
                  <a:gd name="T38" fmla="*/ 2147483646 w 180"/>
                  <a:gd name="T39" fmla="*/ 2147483646 h 240"/>
                  <a:gd name="T40" fmla="*/ 2147483646 w 180"/>
                  <a:gd name="T41" fmla="*/ 2147483646 h 240"/>
                  <a:gd name="T42" fmla="*/ 2147483646 w 180"/>
                  <a:gd name="T43" fmla="*/ 2147483646 h 240"/>
                  <a:gd name="T44" fmla="*/ 2147483646 w 180"/>
                  <a:gd name="T45" fmla="*/ 2147483646 h 240"/>
                  <a:gd name="T46" fmla="*/ 2147483646 w 180"/>
                  <a:gd name="T47" fmla="*/ 2147483646 h 240"/>
                  <a:gd name="T48" fmla="*/ 2147483646 w 180"/>
                  <a:gd name="T49" fmla="*/ 2147483646 h 240"/>
                  <a:gd name="T50" fmla="*/ 2147483646 w 180"/>
                  <a:gd name="T51" fmla="*/ 2147483646 h 240"/>
                  <a:gd name="T52" fmla="*/ 2147483646 w 180"/>
                  <a:gd name="T53" fmla="*/ 2147483646 h 240"/>
                  <a:gd name="T54" fmla="*/ 2147483646 w 180"/>
                  <a:gd name="T55" fmla="*/ 2147483646 h 240"/>
                  <a:gd name="T56" fmla="*/ 0 w 180"/>
                  <a:gd name="T57" fmla="*/ 2147483646 h 240"/>
                  <a:gd name="T58" fmla="*/ 0 w 180"/>
                  <a:gd name="T59" fmla="*/ 2147483646 h 240"/>
                  <a:gd name="T60" fmla="*/ 0 w 180"/>
                  <a:gd name="T61" fmla="*/ 2147483646 h 240"/>
                  <a:gd name="T62" fmla="*/ 0 w 180"/>
                  <a:gd name="T63" fmla="*/ 2147483646 h 240"/>
                  <a:gd name="T64" fmla="*/ 0 w 180"/>
                  <a:gd name="T65" fmla="*/ 0 h 240"/>
                  <a:gd name="T66" fmla="*/ 2147483646 w 180"/>
                  <a:gd name="T67" fmla="*/ 2147483646 h 240"/>
                  <a:gd name="T68" fmla="*/ 2147483646 w 180"/>
                  <a:gd name="T69" fmla="*/ 2147483646 h 240"/>
                  <a:gd name="T70" fmla="*/ 2147483646 w 180"/>
                  <a:gd name="T71" fmla="*/ 2147483646 h 240"/>
                  <a:gd name="T72" fmla="*/ 2147483646 w 180"/>
                  <a:gd name="T73" fmla="*/ 2147483646 h 240"/>
                  <a:gd name="T74" fmla="*/ 2147483646 w 180"/>
                  <a:gd name="T75" fmla="*/ 2147483646 h 240"/>
                  <a:gd name="T76" fmla="*/ 2147483646 w 180"/>
                  <a:gd name="T77" fmla="*/ 2147483646 h 240"/>
                  <a:gd name="T78" fmla="*/ 2147483646 w 180"/>
                  <a:gd name="T79" fmla="*/ 2147483646 h 240"/>
                  <a:gd name="T80" fmla="*/ 2147483646 w 180"/>
                  <a:gd name="T81" fmla="*/ 2147483646 h 240"/>
                  <a:gd name="T82" fmla="*/ 2147483646 w 180"/>
                  <a:gd name="T83" fmla="*/ 2147483646 h 240"/>
                  <a:gd name="T84" fmla="*/ 2147483646 w 180"/>
                  <a:gd name="T85" fmla="*/ 2147483646 h 240"/>
                  <a:gd name="T86" fmla="*/ 2147483646 w 180"/>
                  <a:gd name="T87" fmla="*/ 2147483646 h 240"/>
                  <a:gd name="T88" fmla="*/ 2147483646 w 180"/>
                  <a:gd name="T89" fmla="*/ 2147483646 h 240"/>
                  <a:gd name="T90" fmla="*/ 2147483646 w 180"/>
                  <a:gd name="T91" fmla="*/ 2147483646 h 240"/>
                  <a:gd name="T92" fmla="*/ 2147483646 w 180"/>
                  <a:gd name="T93" fmla="*/ 2147483646 h 240"/>
                  <a:gd name="T94" fmla="*/ 2147483646 w 180"/>
                  <a:gd name="T95" fmla="*/ 2147483646 h 240"/>
                  <a:gd name="T96" fmla="*/ 2147483646 w 180"/>
                  <a:gd name="T97" fmla="*/ 2147483646 h 240"/>
                  <a:gd name="T98" fmla="*/ 2147483646 w 180"/>
                  <a:gd name="T99" fmla="*/ 2147483646 h 240"/>
                  <a:gd name="T100" fmla="*/ 2147483646 w 180"/>
                  <a:gd name="T101" fmla="*/ 2147483646 h 240"/>
                  <a:gd name="T102" fmla="*/ 2147483646 w 180"/>
                  <a:gd name="T103" fmla="*/ 2147483646 h 240"/>
                  <a:gd name="T104" fmla="*/ 2147483646 w 180"/>
                  <a:gd name="T105" fmla="*/ 2147483646 h 24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80"/>
                  <a:gd name="T160" fmla="*/ 0 h 240"/>
                  <a:gd name="T161" fmla="*/ 180 w 180"/>
                  <a:gd name="T162" fmla="*/ 240 h 240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80" h="240">
                    <a:moveTo>
                      <a:pt x="180" y="222"/>
                    </a:moveTo>
                    <a:lnTo>
                      <a:pt x="175" y="223"/>
                    </a:lnTo>
                    <a:lnTo>
                      <a:pt x="171" y="223"/>
                    </a:lnTo>
                    <a:lnTo>
                      <a:pt x="167" y="225"/>
                    </a:lnTo>
                    <a:lnTo>
                      <a:pt x="164" y="227"/>
                    </a:lnTo>
                    <a:lnTo>
                      <a:pt x="158" y="232"/>
                    </a:lnTo>
                    <a:lnTo>
                      <a:pt x="153" y="240"/>
                    </a:lnTo>
                    <a:lnTo>
                      <a:pt x="140" y="232"/>
                    </a:lnTo>
                    <a:lnTo>
                      <a:pt x="131" y="223"/>
                    </a:lnTo>
                    <a:lnTo>
                      <a:pt x="123" y="214"/>
                    </a:lnTo>
                    <a:lnTo>
                      <a:pt x="118" y="206"/>
                    </a:lnTo>
                    <a:lnTo>
                      <a:pt x="112" y="195"/>
                    </a:lnTo>
                    <a:lnTo>
                      <a:pt x="106" y="185"/>
                    </a:lnTo>
                    <a:lnTo>
                      <a:pt x="98" y="174"/>
                    </a:lnTo>
                    <a:lnTo>
                      <a:pt x="87" y="161"/>
                    </a:lnTo>
                    <a:lnTo>
                      <a:pt x="82" y="153"/>
                    </a:lnTo>
                    <a:lnTo>
                      <a:pt x="75" y="146"/>
                    </a:lnTo>
                    <a:lnTo>
                      <a:pt x="70" y="139"/>
                    </a:lnTo>
                    <a:lnTo>
                      <a:pt x="62" y="133"/>
                    </a:lnTo>
                    <a:lnTo>
                      <a:pt x="48" y="121"/>
                    </a:lnTo>
                    <a:lnTo>
                      <a:pt x="33" y="110"/>
                    </a:lnTo>
                    <a:lnTo>
                      <a:pt x="27" y="104"/>
                    </a:lnTo>
                    <a:lnTo>
                      <a:pt x="21" y="98"/>
                    </a:lnTo>
                    <a:lnTo>
                      <a:pt x="15" y="92"/>
                    </a:lnTo>
                    <a:lnTo>
                      <a:pt x="10" y="84"/>
                    </a:lnTo>
                    <a:lnTo>
                      <a:pt x="6" y="77"/>
                    </a:lnTo>
                    <a:lnTo>
                      <a:pt x="4" y="68"/>
                    </a:lnTo>
                    <a:lnTo>
                      <a:pt x="1" y="60"/>
                    </a:lnTo>
                    <a:lnTo>
                      <a:pt x="0" y="50"/>
                    </a:lnTo>
                    <a:lnTo>
                      <a:pt x="0" y="35"/>
                    </a:lnTo>
                    <a:lnTo>
                      <a:pt x="0" y="25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0" y="8"/>
                    </a:lnTo>
                    <a:lnTo>
                      <a:pt x="19" y="17"/>
                    </a:lnTo>
                    <a:lnTo>
                      <a:pt x="27" y="27"/>
                    </a:lnTo>
                    <a:lnTo>
                      <a:pt x="34" y="38"/>
                    </a:lnTo>
                    <a:lnTo>
                      <a:pt x="41" y="48"/>
                    </a:lnTo>
                    <a:lnTo>
                      <a:pt x="46" y="58"/>
                    </a:lnTo>
                    <a:lnTo>
                      <a:pt x="51" y="66"/>
                    </a:lnTo>
                    <a:lnTo>
                      <a:pt x="54" y="74"/>
                    </a:lnTo>
                    <a:lnTo>
                      <a:pt x="60" y="86"/>
                    </a:lnTo>
                    <a:lnTo>
                      <a:pt x="66" y="98"/>
                    </a:lnTo>
                    <a:lnTo>
                      <a:pt x="74" y="107"/>
                    </a:lnTo>
                    <a:lnTo>
                      <a:pt x="82" y="116"/>
                    </a:lnTo>
                    <a:lnTo>
                      <a:pt x="100" y="133"/>
                    </a:lnTo>
                    <a:lnTo>
                      <a:pt x="119" y="149"/>
                    </a:lnTo>
                    <a:lnTo>
                      <a:pt x="139" y="164"/>
                    </a:lnTo>
                    <a:lnTo>
                      <a:pt x="155" y="180"/>
                    </a:lnTo>
                    <a:lnTo>
                      <a:pt x="163" y="189"/>
                    </a:lnTo>
                    <a:lnTo>
                      <a:pt x="169" y="199"/>
                    </a:lnTo>
                    <a:lnTo>
                      <a:pt x="175" y="210"/>
                    </a:lnTo>
                    <a:lnTo>
                      <a:pt x="180" y="222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50" name="Freeform 72">
                <a:extLst>
                  <a:ext uri="{FF2B5EF4-FFF2-40B4-BE49-F238E27FC236}">
                    <a16:creationId xmlns="" xmlns:a16="http://schemas.microsoft.com/office/drawing/2014/main" id="{9C6DDBD0-E9B2-44DE-BE3B-2F7890DB52DF}"/>
                  </a:ext>
                </a:extLst>
              </p:cNvPr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8029575" y="4217988"/>
                <a:ext cx="14288" cy="57150"/>
              </a:xfrm>
              <a:custGeom>
                <a:avLst/>
                <a:gdLst>
                  <a:gd name="T0" fmla="*/ 0 w 27"/>
                  <a:gd name="T1" fmla="*/ 0 h 30"/>
                  <a:gd name="T2" fmla="*/ 2147483646 w 27"/>
                  <a:gd name="T3" fmla="*/ 2147483646 h 30"/>
                  <a:gd name="T4" fmla="*/ 2147483646 w 27"/>
                  <a:gd name="T5" fmla="*/ 2147483646 h 30"/>
                  <a:gd name="T6" fmla="*/ 2147483646 w 27"/>
                  <a:gd name="T7" fmla="*/ 2147483646 h 30"/>
                  <a:gd name="T8" fmla="*/ 2147483646 w 27"/>
                  <a:gd name="T9" fmla="*/ 2147483646 h 30"/>
                  <a:gd name="T10" fmla="*/ 2147483646 w 27"/>
                  <a:gd name="T11" fmla="*/ 2147483646 h 30"/>
                  <a:gd name="T12" fmla="*/ 0 w 27"/>
                  <a:gd name="T13" fmla="*/ 2147483646 h 30"/>
                  <a:gd name="T14" fmla="*/ 2147483646 w 27"/>
                  <a:gd name="T15" fmla="*/ 2147483646 h 30"/>
                  <a:gd name="T16" fmla="*/ 2147483646 w 27"/>
                  <a:gd name="T17" fmla="*/ 2147483646 h 30"/>
                  <a:gd name="T18" fmla="*/ 2147483646 w 27"/>
                  <a:gd name="T19" fmla="*/ 2147483646 h 30"/>
                  <a:gd name="T20" fmla="*/ 2147483646 w 27"/>
                  <a:gd name="T21" fmla="*/ 2147483646 h 30"/>
                  <a:gd name="T22" fmla="*/ 2147483646 w 27"/>
                  <a:gd name="T23" fmla="*/ 2147483646 h 30"/>
                  <a:gd name="T24" fmla="*/ 2147483646 w 27"/>
                  <a:gd name="T25" fmla="*/ 2147483646 h 30"/>
                  <a:gd name="T26" fmla="*/ 2147483646 w 27"/>
                  <a:gd name="T27" fmla="*/ 2147483646 h 30"/>
                  <a:gd name="T28" fmla="*/ 0 w 27"/>
                  <a:gd name="T29" fmla="*/ 0 h 3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7"/>
                  <a:gd name="T46" fmla="*/ 0 h 30"/>
                  <a:gd name="T47" fmla="*/ 27 w 27"/>
                  <a:gd name="T48" fmla="*/ 30 h 3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7" h="30">
                    <a:moveTo>
                      <a:pt x="0" y="0"/>
                    </a:moveTo>
                    <a:lnTo>
                      <a:pt x="1" y="5"/>
                    </a:lnTo>
                    <a:lnTo>
                      <a:pt x="3" y="11"/>
                    </a:lnTo>
                    <a:lnTo>
                      <a:pt x="4" y="14"/>
                    </a:lnTo>
                    <a:lnTo>
                      <a:pt x="4" y="19"/>
                    </a:lnTo>
                    <a:lnTo>
                      <a:pt x="3" y="24"/>
                    </a:lnTo>
                    <a:lnTo>
                      <a:pt x="0" y="30"/>
                    </a:lnTo>
                    <a:lnTo>
                      <a:pt x="17" y="27"/>
                    </a:lnTo>
                    <a:lnTo>
                      <a:pt x="27" y="24"/>
                    </a:lnTo>
                    <a:lnTo>
                      <a:pt x="23" y="20"/>
                    </a:lnTo>
                    <a:lnTo>
                      <a:pt x="17" y="12"/>
                    </a:lnTo>
                    <a:lnTo>
                      <a:pt x="11" y="8"/>
                    </a:lnTo>
                    <a:lnTo>
                      <a:pt x="7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1751" name="Group 73">
                <a:extLst>
                  <a:ext uri="{FF2B5EF4-FFF2-40B4-BE49-F238E27FC236}">
                    <a16:creationId xmlns="" xmlns:a16="http://schemas.microsoft.com/office/drawing/2014/main" id="{3B6BB3D0-051A-4C3C-B922-692BF5278094}"/>
                  </a:ext>
                </a:extLst>
              </p:cNvPr>
              <p:cNvGrpSpPr>
                <a:grpSpLocks/>
              </p:cNvGrpSpPr>
              <p:nvPr>
                <p:custDataLst>
                  <p:tags r:id="rId56"/>
                </p:custDataLst>
              </p:nvPr>
            </p:nvGrpSpPr>
            <p:grpSpPr bwMode="auto">
              <a:xfrm>
                <a:off x="7720013" y="4738688"/>
                <a:ext cx="458787" cy="404812"/>
                <a:chOff x="5372" y="3323"/>
                <a:chExt cx="341" cy="253"/>
              </a:xfrm>
              <a:solidFill>
                <a:srgbClr val="FFFFFF">
                  <a:lumMod val="75000"/>
                </a:srgbClr>
              </a:solidFill>
            </p:grpSpPr>
            <p:sp>
              <p:nvSpPr>
                <p:cNvPr id="1752" name="Freeform 74">
                  <a:extLst>
                    <a:ext uri="{FF2B5EF4-FFF2-40B4-BE49-F238E27FC236}">
                      <a16:creationId xmlns="" xmlns:a16="http://schemas.microsoft.com/office/drawing/2014/main" id="{B404F5C9-C0EF-4B15-9B2D-616C8E9AB4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72" y="3565"/>
                  <a:ext cx="16" cy="11"/>
                </a:xfrm>
                <a:custGeom>
                  <a:avLst/>
                  <a:gdLst>
                    <a:gd name="T0" fmla="*/ 0 w 53"/>
                    <a:gd name="T1" fmla="*/ 0 h 33"/>
                    <a:gd name="T2" fmla="*/ 0 w 53"/>
                    <a:gd name="T3" fmla="*/ 0 h 33"/>
                    <a:gd name="T4" fmla="*/ 0 w 53"/>
                    <a:gd name="T5" fmla="*/ 0 h 33"/>
                    <a:gd name="T6" fmla="*/ 0 w 53"/>
                    <a:gd name="T7" fmla="*/ 0 h 33"/>
                    <a:gd name="T8" fmla="*/ 0 w 53"/>
                    <a:gd name="T9" fmla="*/ 0 h 33"/>
                    <a:gd name="T10" fmla="*/ 0 w 53"/>
                    <a:gd name="T11" fmla="*/ 0 h 33"/>
                    <a:gd name="T12" fmla="*/ 0 w 53"/>
                    <a:gd name="T13" fmla="*/ 0 h 33"/>
                    <a:gd name="T14" fmla="*/ 0 w 53"/>
                    <a:gd name="T15" fmla="*/ 0 h 33"/>
                    <a:gd name="T16" fmla="*/ 0 w 53"/>
                    <a:gd name="T17" fmla="*/ 0 h 33"/>
                    <a:gd name="T18" fmla="*/ 0 w 53"/>
                    <a:gd name="T19" fmla="*/ 0 h 33"/>
                    <a:gd name="T20" fmla="*/ 0 w 53"/>
                    <a:gd name="T21" fmla="*/ 0 h 33"/>
                    <a:gd name="T22" fmla="*/ 0 w 53"/>
                    <a:gd name="T23" fmla="*/ 0 h 33"/>
                    <a:gd name="T24" fmla="*/ 0 w 53"/>
                    <a:gd name="T25" fmla="*/ 0 h 33"/>
                    <a:gd name="T26" fmla="*/ 0 w 53"/>
                    <a:gd name="T27" fmla="*/ 0 h 33"/>
                    <a:gd name="T28" fmla="*/ 0 w 53"/>
                    <a:gd name="T29" fmla="*/ 0 h 33"/>
                    <a:gd name="T30" fmla="*/ 0 w 53"/>
                    <a:gd name="T31" fmla="*/ 0 h 33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53"/>
                    <a:gd name="T49" fmla="*/ 0 h 33"/>
                    <a:gd name="T50" fmla="*/ 53 w 53"/>
                    <a:gd name="T51" fmla="*/ 33 h 33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53" h="33">
                      <a:moveTo>
                        <a:pt x="0" y="31"/>
                      </a:moveTo>
                      <a:lnTo>
                        <a:pt x="4" y="26"/>
                      </a:lnTo>
                      <a:lnTo>
                        <a:pt x="8" y="21"/>
                      </a:lnTo>
                      <a:lnTo>
                        <a:pt x="15" y="16"/>
                      </a:lnTo>
                      <a:lnTo>
                        <a:pt x="21" y="11"/>
                      </a:lnTo>
                      <a:lnTo>
                        <a:pt x="29" y="7"/>
                      </a:lnTo>
                      <a:lnTo>
                        <a:pt x="38" y="3"/>
                      </a:lnTo>
                      <a:lnTo>
                        <a:pt x="45" y="1"/>
                      </a:lnTo>
                      <a:lnTo>
                        <a:pt x="53" y="0"/>
                      </a:lnTo>
                      <a:lnTo>
                        <a:pt x="53" y="18"/>
                      </a:lnTo>
                      <a:lnTo>
                        <a:pt x="38" y="24"/>
                      </a:lnTo>
                      <a:lnTo>
                        <a:pt x="27" y="30"/>
                      </a:lnTo>
                      <a:lnTo>
                        <a:pt x="21" y="32"/>
                      </a:lnTo>
                      <a:lnTo>
                        <a:pt x="16" y="33"/>
                      </a:lnTo>
                      <a:lnTo>
                        <a:pt x="9" y="33"/>
                      </a:lnTo>
                      <a:lnTo>
                        <a:pt x="0" y="31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53" name="Freeform 75">
                  <a:extLst>
                    <a:ext uri="{FF2B5EF4-FFF2-40B4-BE49-F238E27FC236}">
                      <a16:creationId xmlns="" xmlns:a16="http://schemas.microsoft.com/office/drawing/2014/main" id="{E712B8DB-C6F4-4E2A-82B4-5216252BFE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79" y="3446"/>
                  <a:ext cx="202" cy="117"/>
                </a:xfrm>
                <a:custGeom>
                  <a:avLst/>
                  <a:gdLst>
                    <a:gd name="T0" fmla="*/ 0 w 631"/>
                    <a:gd name="T1" fmla="*/ 1 h 358"/>
                    <a:gd name="T2" fmla="*/ 0 w 631"/>
                    <a:gd name="T3" fmla="*/ 1 h 358"/>
                    <a:gd name="T4" fmla="*/ 0 w 631"/>
                    <a:gd name="T5" fmla="*/ 1 h 358"/>
                    <a:gd name="T6" fmla="*/ 0 w 631"/>
                    <a:gd name="T7" fmla="*/ 1 h 358"/>
                    <a:gd name="T8" fmla="*/ 0 w 631"/>
                    <a:gd name="T9" fmla="*/ 1 h 358"/>
                    <a:gd name="T10" fmla="*/ 0 w 631"/>
                    <a:gd name="T11" fmla="*/ 1 h 358"/>
                    <a:gd name="T12" fmla="*/ 0 w 631"/>
                    <a:gd name="T13" fmla="*/ 1 h 358"/>
                    <a:gd name="T14" fmla="*/ 1 w 631"/>
                    <a:gd name="T15" fmla="*/ 1 h 358"/>
                    <a:gd name="T16" fmla="*/ 1 w 631"/>
                    <a:gd name="T17" fmla="*/ 1 h 358"/>
                    <a:gd name="T18" fmla="*/ 1 w 631"/>
                    <a:gd name="T19" fmla="*/ 1 h 358"/>
                    <a:gd name="T20" fmla="*/ 1 w 631"/>
                    <a:gd name="T21" fmla="*/ 1 h 358"/>
                    <a:gd name="T22" fmla="*/ 1 w 631"/>
                    <a:gd name="T23" fmla="*/ 1 h 358"/>
                    <a:gd name="T24" fmla="*/ 1 w 631"/>
                    <a:gd name="T25" fmla="*/ 1 h 358"/>
                    <a:gd name="T26" fmla="*/ 1 w 631"/>
                    <a:gd name="T27" fmla="*/ 1 h 358"/>
                    <a:gd name="T28" fmla="*/ 1 w 631"/>
                    <a:gd name="T29" fmla="*/ 1 h 358"/>
                    <a:gd name="T30" fmla="*/ 1 w 631"/>
                    <a:gd name="T31" fmla="*/ 0 h 358"/>
                    <a:gd name="T32" fmla="*/ 2 w 631"/>
                    <a:gd name="T33" fmla="*/ 0 h 358"/>
                    <a:gd name="T34" fmla="*/ 2 w 631"/>
                    <a:gd name="T35" fmla="*/ 0 h 358"/>
                    <a:gd name="T36" fmla="*/ 2 w 631"/>
                    <a:gd name="T37" fmla="*/ 0 h 358"/>
                    <a:gd name="T38" fmla="*/ 2 w 631"/>
                    <a:gd name="T39" fmla="*/ 0 h 358"/>
                    <a:gd name="T40" fmla="*/ 2 w 631"/>
                    <a:gd name="T41" fmla="*/ 0 h 358"/>
                    <a:gd name="T42" fmla="*/ 2 w 631"/>
                    <a:gd name="T43" fmla="*/ 0 h 358"/>
                    <a:gd name="T44" fmla="*/ 2 w 631"/>
                    <a:gd name="T45" fmla="*/ 0 h 358"/>
                    <a:gd name="T46" fmla="*/ 2 w 631"/>
                    <a:gd name="T47" fmla="*/ 0 h 358"/>
                    <a:gd name="T48" fmla="*/ 2 w 631"/>
                    <a:gd name="T49" fmla="*/ 0 h 358"/>
                    <a:gd name="T50" fmla="*/ 2 w 631"/>
                    <a:gd name="T51" fmla="*/ 0 h 358"/>
                    <a:gd name="T52" fmla="*/ 2 w 631"/>
                    <a:gd name="T53" fmla="*/ 0 h 358"/>
                    <a:gd name="T54" fmla="*/ 2 w 631"/>
                    <a:gd name="T55" fmla="*/ 1 h 358"/>
                    <a:gd name="T56" fmla="*/ 2 w 631"/>
                    <a:gd name="T57" fmla="*/ 1 h 358"/>
                    <a:gd name="T58" fmla="*/ 1 w 631"/>
                    <a:gd name="T59" fmla="*/ 1 h 358"/>
                    <a:gd name="T60" fmla="*/ 1 w 631"/>
                    <a:gd name="T61" fmla="*/ 1 h 358"/>
                    <a:gd name="T62" fmla="*/ 1 w 631"/>
                    <a:gd name="T63" fmla="*/ 1 h 358"/>
                    <a:gd name="T64" fmla="*/ 1 w 631"/>
                    <a:gd name="T65" fmla="*/ 1 h 358"/>
                    <a:gd name="T66" fmla="*/ 1 w 631"/>
                    <a:gd name="T67" fmla="*/ 1 h 358"/>
                    <a:gd name="T68" fmla="*/ 1 w 631"/>
                    <a:gd name="T69" fmla="*/ 1 h 358"/>
                    <a:gd name="T70" fmla="*/ 1 w 631"/>
                    <a:gd name="T71" fmla="*/ 1 h 358"/>
                    <a:gd name="T72" fmla="*/ 1 w 631"/>
                    <a:gd name="T73" fmla="*/ 1 h 358"/>
                    <a:gd name="T74" fmla="*/ 1 w 631"/>
                    <a:gd name="T75" fmla="*/ 1 h 358"/>
                    <a:gd name="T76" fmla="*/ 1 w 631"/>
                    <a:gd name="T77" fmla="*/ 1 h 358"/>
                    <a:gd name="T78" fmla="*/ 1 w 631"/>
                    <a:gd name="T79" fmla="*/ 1 h 358"/>
                    <a:gd name="T80" fmla="*/ 0 w 631"/>
                    <a:gd name="T81" fmla="*/ 1 h 358"/>
                    <a:gd name="T82" fmla="*/ 0 w 631"/>
                    <a:gd name="T83" fmla="*/ 1 h 358"/>
                    <a:gd name="T84" fmla="*/ 0 w 631"/>
                    <a:gd name="T85" fmla="*/ 1 h 358"/>
                    <a:gd name="T86" fmla="*/ 0 w 631"/>
                    <a:gd name="T87" fmla="*/ 1 h 358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631"/>
                    <a:gd name="T133" fmla="*/ 0 h 358"/>
                    <a:gd name="T134" fmla="*/ 631 w 631"/>
                    <a:gd name="T135" fmla="*/ 358 h 358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631" h="358">
                      <a:moveTo>
                        <a:pt x="0" y="327"/>
                      </a:moveTo>
                      <a:lnTo>
                        <a:pt x="7" y="297"/>
                      </a:lnTo>
                      <a:lnTo>
                        <a:pt x="24" y="296"/>
                      </a:lnTo>
                      <a:lnTo>
                        <a:pt x="39" y="293"/>
                      </a:lnTo>
                      <a:lnTo>
                        <a:pt x="44" y="292"/>
                      </a:lnTo>
                      <a:lnTo>
                        <a:pt x="50" y="290"/>
                      </a:lnTo>
                      <a:lnTo>
                        <a:pt x="54" y="287"/>
                      </a:lnTo>
                      <a:lnTo>
                        <a:pt x="58" y="285"/>
                      </a:lnTo>
                      <a:lnTo>
                        <a:pt x="65" y="277"/>
                      </a:lnTo>
                      <a:lnTo>
                        <a:pt x="70" y="270"/>
                      </a:lnTo>
                      <a:lnTo>
                        <a:pt x="75" y="262"/>
                      </a:lnTo>
                      <a:lnTo>
                        <a:pt x="79" y="253"/>
                      </a:lnTo>
                      <a:lnTo>
                        <a:pt x="87" y="255"/>
                      </a:lnTo>
                      <a:lnTo>
                        <a:pt x="93" y="256"/>
                      </a:lnTo>
                      <a:lnTo>
                        <a:pt x="100" y="256"/>
                      </a:lnTo>
                      <a:lnTo>
                        <a:pt x="106" y="256"/>
                      </a:lnTo>
                      <a:lnTo>
                        <a:pt x="116" y="254"/>
                      </a:lnTo>
                      <a:lnTo>
                        <a:pt x="126" y="253"/>
                      </a:lnTo>
                      <a:lnTo>
                        <a:pt x="131" y="252"/>
                      </a:lnTo>
                      <a:lnTo>
                        <a:pt x="136" y="250"/>
                      </a:lnTo>
                      <a:lnTo>
                        <a:pt x="141" y="247"/>
                      </a:lnTo>
                      <a:lnTo>
                        <a:pt x="145" y="244"/>
                      </a:lnTo>
                      <a:lnTo>
                        <a:pt x="153" y="237"/>
                      </a:lnTo>
                      <a:lnTo>
                        <a:pt x="162" y="229"/>
                      </a:lnTo>
                      <a:lnTo>
                        <a:pt x="168" y="220"/>
                      </a:lnTo>
                      <a:lnTo>
                        <a:pt x="175" y="213"/>
                      </a:lnTo>
                      <a:lnTo>
                        <a:pt x="180" y="208"/>
                      </a:lnTo>
                      <a:lnTo>
                        <a:pt x="186" y="204"/>
                      </a:lnTo>
                      <a:lnTo>
                        <a:pt x="199" y="198"/>
                      </a:lnTo>
                      <a:lnTo>
                        <a:pt x="211" y="192"/>
                      </a:lnTo>
                      <a:lnTo>
                        <a:pt x="223" y="187"/>
                      </a:lnTo>
                      <a:lnTo>
                        <a:pt x="235" y="182"/>
                      </a:lnTo>
                      <a:lnTo>
                        <a:pt x="260" y="175"/>
                      </a:lnTo>
                      <a:lnTo>
                        <a:pt x="283" y="167"/>
                      </a:lnTo>
                      <a:lnTo>
                        <a:pt x="308" y="160"/>
                      </a:lnTo>
                      <a:lnTo>
                        <a:pt x="329" y="152"/>
                      </a:lnTo>
                      <a:lnTo>
                        <a:pt x="340" y="147"/>
                      </a:lnTo>
                      <a:lnTo>
                        <a:pt x="351" y="142"/>
                      </a:lnTo>
                      <a:lnTo>
                        <a:pt x="361" y="137"/>
                      </a:lnTo>
                      <a:lnTo>
                        <a:pt x="372" y="130"/>
                      </a:lnTo>
                      <a:lnTo>
                        <a:pt x="382" y="130"/>
                      </a:lnTo>
                      <a:lnTo>
                        <a:pt x="392" y="130"/>
                      </a:lnTo>
                      <a:lnTo>
                        <a:pt x="396" y="130"/>
                      </a:lnTo>
                      <a:lnTo>
                        <a:pt x="401" y="129"/>
                      </a:lnTo>
                      <a:lnTo>
                        <a:pt x="406" y="127"/>
                      </a:lnTo>
                      <a:lnTo>
                        <a:pt x="413" y="124"/>
                      </a:lnTo>
                      <a:lnTo>
                        <a:pt x="426" y="117"/>
                      </a:lnTo>
                      <a:lnTo>
                        <a:pt x="440" y="107"/>
                      </a:lnTo>
                      <a:lnTo>
                        <a:pt x="454" y="97"/>
                      </a:lnTo>
                      <a:lnTo>
                        <a:pt x="465" y="86"/>
                      </a:lnTo>
                      <a:lnTo>
                        <a:pt x="469" y="80"/>
                      </a:lnTo>
                      <a:lnTo>
                        <a:pt x="473" y="74"/>
                      </a:lnTo>
                      <a:lnTo>
                        <a:pt x="477" y="69"/>
                      </a:lnTo>
                      <a:lnTo>
                        <a:pt x="478" y="63"/>
                      </a:lnTo>
                      <a:lnTo>
                        <a:pt x="488" y="62"/>
                      </a:lnTo>
                      <a:lnTo>
                        <a:pt x="496" y="61"/>
                      </a:lnTo>
                      <a:lnTo>
                        <a:pt x="504" y="58"/>
                      </a:lnTo>
                      <a:lnTo>
                        <a:pt x="512" y="54"/>
                      </a:lnTo>
                      <a:lnTo>
                        <a:pt x="525" y="46"/>
                      </a:lnTo>
                      <a:lnTo>
                        <a:pt x="537" y="36"/>
                      </a:lnTo>
                      <a:lnTo>
                        <a:pt x="549" y="26"/>
                      </a:lnTo>
                      <a:lnTo>
                        <a:pt x="561" y="16"/>
                      </a:lnTo>
                      <a:lnTo>
                        <a:pt x="568" y="11"/>
                      </a:lnTo>
                      <a:lnTo>
                        <a:pt x="575" y="7"/>
                      </a:lnTo>
                      <a:lnTo>
                        <a:pt x="583" y="4"/>
                      </a:lnTo>
                      <a:lnTo>
                        <a:pt x="591" y="0"/>
                      </a:lnTo>
                      <a:lnTo>
                        <a:pt x="594" y="10"/>
                      </a:lnTo>
                      <a:lnTo>
                        <a:pt x="597" y="16"/>
                      </a:lnTo>
                      <a:lnTo>
                        <a:pt x="602" y="22"/>
                      </a:lnTo>
                      <a:lnTo>
                        <a:pt x="606" y="25"/>
                      </a:lnTo>
                      <a:lnTo>
                        <a:pt x="612" y="28"/>
                      </a:lnTo>
                      <a:lnTo>
                        <a:pt x="617" y="30"/>
                      </a:lnTo>
                      <a:lnTo>
                        <a:pt x="624" y="31"/>
                      </a:lnTo>
                      <a:lnTo>
                        <a:pt x="631" y="31"/>
                      </a:lnTo>
                      <a:lnTo>
                        <a:pt x="625" y="46"/>
                      </a:lnTo>
                      <a:lnTo>
                        <a:pt x="618" y="61"/>
                      </a:lnTo>
                      <a:lnTo>
                        <a:pt x="611" y="75"/>
                      </a:lnTo>
                      <a:lnTo>
                        <a:pt x="601" y="88"/>
                      </a:lnTo>
                      <a:lnTo>
                        <a:pt x="591" y="101"/>
                      </a:lnTo>
                      <a:lnTo>
                        <a:pt x="580" y="114"/>
                      </a:lnTo>
                      <a:lnTo>
                        <a:pt x="568" y="125"/>
                      </a:lnTo>
                      <a:lnTo>
                        <a:pt x="556" y="136"/>
                      </a:lnTo>
                      <a:lnTo>
                        <a:pt x="543" y="145"/>
                      </a:lnTo>
                      <a:lnTo>
                        <a:pt x="529" y="154"/>
                      </a:lnTo>
                      <a:lnTo>
                        <a:pt x="515" y="161"/>
                      </a:lnTo>
                      <a:lnTo>
                        <a:pt x="501" y="167"/>
                      </a:lnTo>
                      <a:lnTo>
                        <a:pt x="487" y="173"/>
                      </a:lnTo>
                      <a:lnTo>
                        <a:pt x="473" y="177"/>
                      </a:lnTo>
                      <a:lnTo>
                        <a:pt x="459" y="179"/>
                      </a:lnTo>
                      <a:lnTo>
                        <a:pt x="445" y="180"/>
                      </a:lnTo>
                      <a:lnTo>
                        <a:pt x="443" y="189"/>
                      </a:lnTo>
                      <a:lnTo>
                        <a:pt x="439" y="195"/>
                      </a:lnTo>
                      <a:lnTo>
                        <a:pt x="438" y="197"/>
                      </a:lnTo>
                      <a:lnTo>
                        <a:pt x="436" y="199"/>
                      </a:lnTo>
                      <a:lnTo>
                        <a:pt x="435" y="200"/>
                      </a:lnTo>
                      <a:lnTo>
                        <a:pt x="433" y="200"/>
                      </a:lnTo>
                      <a:lnTo>
                        <a:pt x="422" y="199"/>
                      </a:lnTo>
                      <a:lnTo>
                        <a:pt x="405" y="198"/>
                      </a:lnTo>
                      <a:lnTo>
                        <a:pt x="395" y="199"/>
                      </a:lnTo>
                      <a:lnTo>
                        <a:pt x="385" y="202"/>
                      </a:lnTo>
                      <a:lnTo>
                        <a:pt x="376" y="206"/>
                      </a:lnTo>
                      <a:lnTo>
                        <a:pt x="367" y="210"/>
                      </a:lnTo>
                      <a:lnTo>
                        <a:pt x="358" y="213"/>
                      </a:lnTo>
                      <a:lnTo>
                        <a:pt x="351" y="213"/>
                      </a:lnTo>
                      <a:lnTo>
                        <a:pt x="347" y="212"/>
                      </a:lnTo>
                      <a:lnTo>
                        <a:pt x="344" y="211"/>
                      </a:lnTo>
                      <a:lnTo>
                        <a:pt x="342" y="208"/>
                      </a:lnTo>
                      <a:lnTo>
                        <a:pt x="338" y="204"/>
                      </a:lnTo>
                      <a:lnTo>
                        <a:pt x="333" y="216"/>
                      </a:lnTo>
                      <a:lnTo>
                        <a:pt x="324" y="229"/>
                      </a:lnTo>
                      <a:lnTo>
                        <a:pt x="313" y="241"/>
                      </a:lnTo>
                      <a:lnTo>
                        <a:pt x="301" y="254"/>
                      </a:lnTo>
                      <a:lnTo>
                        <a:pt x="288" y="267"/>
                      </a:lnTo>
                      <a:lnTo>
                        <a:pt x="272" y="280"/>
                      </a:lnTo>
                      <a:lnTo>
                        <a:pt x="256" y="293"/>
                      </a:lnTo>
                      <a:lnTo>
                        <a:pt x="238" y="304"/>
                      </a:lnTo>
                      <a:lnTo>
                        <a:pt x="220" y="315"/>
                      </a:lnTo>
                      <a:lnTo>
                        <a:pt x="202" y="325"/>
                      </a:lnTo>
                      <a:lnTo>
                        <a:pt x="182" y="334"/>
                      </a:lnTo>
                      <a:lnTo>
                        <a:pt x="164" y="343"/>
                      </a:lnTo>
                      <a:lnTo>
                        <a:pt x="145" y="349"/>
                      </a:lnTo>
                      <a:lnTo>
                        <a:pt x="127" y="354"/>
                      </a:lnTo>
                      <a:lnTo>
                        <a:pt x="110" y="357"/>
                      </a:lnTo>
                      <a:lnTo>
                        <a:pt x="93" y="358"/>
                      </a:lnTo>
                      <a:lnTo>
                        <a:pt x="80" y="358"/>
                      </a:lnTo>
                      <a:lnTo>
                        <a:pt x="71" y="356"/>
                      </a:lnTo>
                      <a:lnTo>
                        <a:pt x="65" y="354"/>
                      </a:lnTo>
                      <a:lnTo>
                        <a:pt x="60" y="351"/>
                      </a:lnTo>
                      <a:lnTo>
                        <a:pt x="56" y="348"/>
                      </a:lnTo>
                      <a:lnTo>
                        <a:pt x="51" y="345"/>
                      </a:lnTo>
                      <a:lnTo>
                        <a:pt x="44" y="343"/>
                      </a:lnTo>
                      <a:lnTo>
                        <a:pt x="33" y="340"/>
                      </a:lnTo>
                      <a:lnTo>
                        <a:pt x="0" y="327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54" name="Freeform 76">
                  <a:extLst>
                    <a:ext uri="{FF2B5EF4-FFF2-40B4-BE49-F238E27FC236}">
                      <a16:creationId xmlns="" xmlns:a16="http://schemas.microsoft.com/office/drawing/2014/main" id="{006555BD-2326-4047-8E3E-05BB915CBE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97" y="3323"/>
                  <a:ext cx="116" cy="141"/>
                </a:xfrm>
                <a:custGeom>
                  <a:avLst/>
                  <a:gdLst>
                    <a:gd name="T0" fmla="*/ 0 w 359"/>
                    <a:gd name="T1" fmla="*/ 1 h 431"/>
                    <a:gd name="T2" fmla="*/ 0 w 359"/>
                    <a:gd name="T3" fmla="*/ 1 h 431"/>
                    <a:gd name="T4" fmla="*/ 1 w 359"/>
                    <a:gd name="T5" fmla="*/ 1 h 431"/>
                    <a:gd name="T6" fmla="*/ 1 w 359"/>
                    <a:gd name="T7" fmla="*/ 1 h 431"/>
                    <a:gd name="T8" fmla="*/ 1 w 359"/>
                    <a:gd name="T9" fmla="*/ 1 h 431"/>
                    <a:gd name="T10" fmla="*/ 1 w 359"/>
                    <a:gd name="T11" fmla="*/ 1 h 431"/>
                    <a:gd name="T12" fmla="*/ 1 w 359"/>
                    <a:gd name="T13" fmla="*/ 0 h 431"/>
                    <a:gd name="T14" fmla="*/ 1 w 359"/>
                    <a:gd name="T15" fmla="*/ 0 h 431"/>
                    <a:gd name="T16" fmla="*/ 1 w 359"/>
                    <a:gd name="T17" fmla="*/ 0 h 431"/>
                    <a:gd name="T18" fmla="*/ 1 w 359"/>
                    <a:gd name="T19" fmla="*/ 0 h 431"/>
                    <a:gd name="T20" fmla="*/ 1 w 359"/>
                    <a:gd name="T21" fmla="*/ 0 h 431"/>
                    <a:gd name="T22" fmla="*/ 1 w 359"/>
                    <a:gd name="T23" fmla="*/ 0 h 431"/>
                    <a:gd name="T24" fmla="*/ 1 w 359"/>
                    <a:gd name="T25" fmla="*/ 0 h 431"/>
                    <a:gd name="T26" fmla="*/ 1 w 359"/>
                    <a:gd name="T27" fmla="*/ 0 h 431"/>
                    <a:gd name="T28" fmla="*/ 1 w 359"/>
                    <a:gd name="T29" fmla="*/ 0 h 431"/>
                    <a:gd name="T30" fmla="*/ 1 w 359"/>
                    <a:gd name="T31" fmla="*/ 0 h 431"/>
                    <a:gd name="T32" fmla="*/ 1 w 359"/>
                    <a:gd name="T33" fmla="*/ 0 h 431"/>
                    <a:gd name="T34" fmla="*/ 1 w 359"/>
                    <a:gd name="T35" fmla="*/ 1 h 431"/>
                    <a:gd name="T36" fmla="*/ 1 w 359"/>
                    <a:gd name="T37" fmla="*/ 1 h 431"/>
                    <a:gd name="T38" fmla="*/ 1 w 359"/>
                    <a:gd name="T39" fmla="*/ 1 h 431"/>
                    <a:gd name="T40" fmla="*/ 1 w 359"/>
                    <a:gd name="T41" fmla="*/ 1 h 431"/>
                    <a:gd name="T42" fmla="*/ 1 w 359"/>
                    <a:gd name="T43" fmla="*/ 1 h 431"/>
                    <a:gd name="T44" fmla="*/ 1 w 359"/>
                    <a:gd name="T45" fmla="*/ 1 h 431"/>
                    <a:gd name="T46" fmla="*/ 1 w 359"/>
                    <a:gd name="T47" fmla="*/ 1 h 431"/>
                    <a:gd name="T48" fmla="*/ 1 w 359"/>
                    <a:gd name="T49" fmla="*/ 1 h 431"/>
                    <a:gd name="T50" fmla="*/ 1 w 359"/>
                    <a:gd name="T51" fmla="*/ 1 h 431"/>
                    <a:gd name="T52" fmla="*/ 1 w 359"/>
                    <a:gd name="T53" fmla="*/ 1 h 431"/>
                    <a:gd name="T54" fmla="*/ 1 w 359"/>
                    <a:gd name="T55" fmla="*/ 1 h 431"/>
                    <a:gd name="T56" fmla="*/ 1 w 359"/>
                    <a:gd name="T57" fmla="*/ 1 h 431"/>
                    <a:gd name="T58" fmla="*/ 1 w 359"/>
                    <a:gd name="T59" fmla="*/ 1 h 431"/>
                    <a:gd name="T60" fmla="*/ 1 w 359"/>
                    <a:gd name="T61" fmla="*/ 1 h 431"/>
                    <a:gd name="T62" fmla="*/ 1 w 359"/>
                    <a:gd name="T63" fmla="*/ 1 h 431"/>
                    <a:gd name="T64" fmla="*/ 1 w 359"/>
                    <a:gd name="T65" fmla="*/ 1 h 431"/>
                    <a:gd name="T66" fmla="*/ 1 w 359"/>
                    <a:gd name="T67" fmla="*/ 1 h 431"/>
                    <a:gd name="T68" fmla="*/ 1 w 359"/>
                    <a:gd name="T69" fmla="*/ 1 h 431"/>
                    <a:gd name="T70" fmla="*/ 1 w 359"/>
                    <a:gd name="T71" fmla="*/ 1 h 431"/>
                    <a:gd name="T72" fmla="*/ 1 w 359"/>
                    <a:gd name="T73" fmla="*/ 1 h 431"/>
                    <a:gd name="T74" fmla="*/ 1 w 359"/>
                    <a:gd name="T75" fmla="*/ 1 h 431"/>
                    <a:gd name="T76" fmla="*/ 0 w 359"/>
                    <a:gd name="T77" fmla="*/ 2 h 431"/>
                    <a:gd name="T78" fmla="*/ 0 w 359"/>
                    <a:gd name="T79" fmla="*/ 2 h 431"/>
                    <a:gd name="T80" fmla="*/ 0 w 359"/>
                    <a:gd name="T81" fmla="*/ 2 h 431"/>
                    <a:gd name="T82" fmla="*/ 0 w 359"/>
                    <a:gd name="T83" fmla="*/ 2 h 431"/>
                    <a:gd name="T84" fmla="*/ 0 w 359"/>
                    <a:gd name="T85" fmla="*/ 2 h 431"/>
                    <a:gd name="T86" fmla="*/ 0 w 359"/>
                    <a:gd name="T87" fmla="*/ 2 h 431"/>
                    <a:gd name="T88" fmla="*/ 0 w 359"/>
                    <a:gd name="T89" fmla="*/ 2 h 431"/>
                    <a:gd name="T90" fmla="*/ 0 w 359"/>
                    <a:gd name="T91" fmla="*/ 1 h 431"/>
                    <a:gd name="T92" fmla="*/ 0 w 359"/>
                    <a:gd name="T93" fmla="*/ 1 h 431"/>
                    <a:gd name="T94" fmla="*/ 0 w 359"/>
                    <a:gd name="T95" fmla="*/ 1 h 431"/>
                    <a:gd name="T96" fmla="*/ 0 w 359"/>
                    <a:gd name="T97" fmla="*/ 1 h 431"/>
                    <a:gd name="T98" fmla="*/ 0 w 359"/>
                    <a:gd name="T99" fmla="*/ 1 h 431"/>
                    <a:gd name="T100" fmla="*/ 0 w 359"/>
                    <a:gd name="T101" fmla="*/ 1 h 431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359"/>
                    <a:gd name="T154" fmla="*/ 0 h 431"/>
                    <a:gd name="T155" fmla="*/ 359 w 359"/>
                    <a:gd name="T156" fmla="*/ 431 h 431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359" h="431">
                      <a:moveTo>
                        <a:pt x="39" y="296"/>
                      </a:moveTo>
                      <a:lnTo>
                        <a:pt x="50" y="292"/>
                      </a:lnTo>
                      <a:lnTo>
                        <a:pt x="60" y="288"/>
                      </a:lnTo>
                      <a:lnTo>
                        <a:pt x="70" y="284"/>
                      </a:lnTo>
                      <a:lnTo>
                        <a:pt x="79" y="279"/>
                      </a:lnTo>
                      <a:lnTo>
                        <a:pt x="95" y="269"/>
                      </a:lnTo>
                      <a:lnTo>
                        <a:pt x="110" y="257"/>
                      </a:lnTo>
                      <a:lnTo>
                        <a:pt x="138" y="233"/>
                      </a:lnTo>
                      <a:lnTo>
                        <a:pt x="165" y="209"/>
                      </a:lnTo>
                      <a:lnTo>
                        <a:pt x="166" y="198"/>
                      </a:lnTo>
                      <a:lnTo>
                        <a:pt x="170" y="175"/>
                      </a:lnTo>
                      <a:lnTo>
                        <a:pt x="172" y="168"/>
                      </a:lnTo>
                      <a:lnTo>
                        <a:pt x="174" y="162"/>
                      </a:lnTo>
                      <a:lnTo>
                        <a:pt x="176" y="156"/>
                      </a:lnTo>
                      <a:lnTo>
                        <a:pt x="180" y="149"/>
                      </a:lnTo>
                      <a:lnTo>
                        <a:pt x="183" y="144"/>
                      </a:lnTo>
                      <a:lnTo>
                        <a:pt x="188" y="140"/>
                      </a:lnTo>
                      <a:lnTo>
                        <a:pt x="193" y="137"/>
                      </a:lnTo>
                      <a:lnTo>
                        <a:pt x="199" y="135"/>
                      </a:lnTo>
                      <a:lnTo>
                        <a:pt x="194" y="131"/>
                      </a:lnTo>
                      <a:lnTo>
                        <a:pt x="190" y="126"/>
                      </a:lnTo>
                      <a:lnTo>
                        <a:pt x="186" y="119"/>
                      </a:lnTo>
                      <a:lnTo>
                        <a:pt x="184" y="112"/>
                      </a:lnTo>
                      <a:lnTo>
                        <a:pt x="179" y="94"/>
                      </a:lnTo>
                      <a:lnTo>
                        <a:pt x="175" y="75"/>
                      </a:lnTo>
                      <a:lnTo>
                        <a:pt x="174" y="54"/>
                      </a:lnTo>
                      <a:lnTo>
                        <a:pt x="173" y="34"/>
                      </a:lnTo>
                      <a:lnTo>
                        <a:pt x="172" y="16"/>
                      </a:lnTo>
                      <a:lnTo>
                        <a:pt x="172" y="0"/>
                      </a:lnTo>
                      <a:lnTo>
                        <a:pt x="182" y="0"/>
                      </a:lnTo>
                      <a:lnTo>
                        <a:pt x="192" y="0"/>
                      </a:lnTo>
                      <a:lnTo>
                        <a:pt x="193" y="6"/>
                      </a:lnTo>
                      <a:lnTo>
                        <a:pt x="194" y="11"/>
                      </a:lnTo>
                      <a:lnTo>
                        <a:pt x="196" y="16"/>
                      </a:lnTo>
                      <a:lnTo>
                        <a:pt x="199" y="20"/>
                      </a:lnTo>
                      <a:lnTo>
                        <a:pt x="207" y="29"/>
                      </a:lnTo>
                      <a:lnTo>
                        <a:pt x="216" y="37"/>
                      </a:lnTo>
                      <a:lnTo>
                        <a:pt x="224" y="47"/>
                      </a:lnTo>
                      <a:lnTo>
                        <a:pt x="231" y="56"/>
                      </a:lnTo>
                      <a:lnTo>
                        <a:pt x="235" y="62"/>
                      </a:lnTo>
                      <a:lnTo>
                        <a:pt x="237" y="67"/>
                      </a:lnTo>
                      <a:lnTo>
                        <a:pt x="238" y="73"/>
                      </a:lnTo>
                      <a:lnTo>
                        <a:pt x="239" y="80"/>
                      </a:lnTo>
                      <a:lnTo>
                        <a:pt x="238" y="84"/>
                      </a:lnTo>
                      <a:lnTo>
                        <a:pt x="237" y="88"/>
                      </a:lnTo>
                      <a:lnTo>
                        <a:pt x="235" y="92"/>
                      </a:lnTo>
                      <a:lnTo>
                        <a:pt x="232" y="95"/>
                      </a:lnTo>
                      <a:lnTo>
                        <a:pt x="226" y="102"/>
                      </a:lnTo>
                      <a:lnTo>
                        <a:pt x="219" y="108"/>
                      </a:lnTo>
                      <a:lnTo>
                        <a:pt x="211" y="114"/>
                      </a:lnTo>
                      <a:lnTo>
                        <a:pt x="205" y="120"/>
                      </a:lnTo>
                      <a:lnTo>
                        <a:pt x="203" y="123"/>
                      </a:lnTo>
                      <a:lnTo>
                        <a:pt x="200" y="127"/>
                      </a:lnTo>
                      <a:lnTo>
                        <a:pt x="199" y="131"/>
                      </a:lnTo>
                      <a:lnTo>
                        <a:pt x="199" y="135"/>
                      </a:lnTo>
                      <a:lnTo>
                        <a:pt x="199" y="143"/>
                      </a:lnTo>
                      <a:lnTo>
                        <a:pt x="199" y="149"/>
                      </a:lnTo>
                      <a:lnTo>
                        <a:pt x="200" y="155"/>
                      </a:lnTo>
                      <a:lnTo>
                        <a:pt x="203" y="157"/>
                      </a:lnTo>
                      <a:lnTo>
                        <a:pt x="205" y="159"/>
                      </a:lnTo>
                      <a:lnTo>
                        <a:pt x="210" y="160"/>
                      </a:lnTo>
                      <a:lnTo>
                        <a:pt x="217" y="160"/>
                      </a:lnTo>
                      <a:lnTo>
                        <a:pt x="226" y="160"/>
                      </a:lnTo>
                      <a:lnTo>
                        <a:pt x="229" y="160"/>
                      </a:lnTo>
                      <a:lnTo>
                        <a:pt x="232" y="158"/>
                      </a:lnTo>
                      <a:lnTo>
                        <a:pt x="233" y="153"/>
                      </a:lnTo>
                      <a:lnTo>
                        <a:pt x="233" y="150"/>
                      </a:lnTo>
                      <a:lnTo>
                        <a:pt x="233" y="142"/>
                      </a:lnTo>
                      <a:lnTo>
                        <a:pt x="232" y="135"/>
                      </a:lnTo>
                      <a:lnTo>
                        <a:pt x="244" y="163"/>
                      </a:lnTo>
                      <a:lnTo>
                        <a:pt x="255" y="188"/>
                      </a:lnTo>
                      <a:lnTo>
                        <a:pt x="259" y="193"/>
                      </a:lnTo>
                      <a:lnTo>
                        <a:pt x="262" y="198"/>
                      </a:lnTo>
                      <a:lnTo>
                        <a:pt x="266" y="203"/>
                      </a:lnTo>
                      <a:lnTo>
                        <a:pt x="271" y="208"/>
                      </a:lnTo>
                      <a:lnTo>
                        <a:pt x="276" y="213"/>
                      </a:lnTo>
                      <a:lnTo>
                        <a:pt x="283" y="216"/>
                      </a:lnTo>
                      <a:lnTo>
                        <a:pt x="291" y="219"/>
                      </a:lnTo>
                      <a:lnTo>
                        <a:pt x="298" y="222"/>
                      </a:lnTo>
                      <a:lnTo>
                        <a:pt x="299" y="220"/>
                      </a:lnTo>
                      <a:lnTo>
                        <a:pt x="300" y="217"/>
                      </a:lnTo>
                      <a:lnTo>
                        <a:pt x="303" y="215"/>
                      </a:lnTo>
                      <a:lnTo>
                        <a:pt x="305" y="212"/>
                      </a:lnTo>
                      <a:lnTo>
                        <a:pt x="312" y="206"/>
                      </a:lnTo>
                      <a:lnTo>
                        <a:pt x="321" y="201"/>
                      </a:lnTo>
                      <a:lnTo>
                        <a:pt x="331" y="197"/>
                      </a:lnTo>
                      <a:lnTo>
                        <a:pt x="341" y="194"/>
                      </a:lnTo>
                      <a:lnTo>
                        <a:pt x="350" y="192"/>
                      </a:lnTo>
                      <a:lnTo>
                        <a:pt x="359" y="191"/>
                      </a:lnTo>
                      <a:lnTo>
                        <a:pt x="355" y="206"/>
                      </a:lnTo>
                      <a:lnTo>
                        <a:pt x="352" y="219"/>
                      </a:lnTo>
                      <a:lnTo>
                        <a:pt x="348" y="231"/>
                      </a:lnTo>
                      <a:lnTo>
                        <a:pt x="342" y="240"/>
                      </a:lnTo>
                      <a:lnTo>
                        <a:pt x="336" y="248"/>
                      </a:lnTo>
                      <a:lnTo>
                        <a:pt x="329" y="255"/>
                      </a:lnTo>
                      <a:lnTo>
                        <a:pt x="321" y="261"/>
                      </a:lnTo>
                      <a:lnTo>
                        <a:pt x="314" y="267"/>
                      </a:lnTo>
                      <a:lnTo>
                        <a:pt x="305" y="271"/>
                      </a:lnTo>
                      <a:lnTo>
                        <a:pt x="295" y="275"/>
                      </a:lnTo>
                      <a:lnTo>
                        <a:pt x="284" y="278"/>
                      </a:lnTo>
                      <a:lnTo>
                        <a:pt x="272" y="281"/>
                      </a:lnTo>
                      <a:lnTo>
                        <a:pt x="247" y="288"/>
                      </a:lnTo>
                      <a:lnTo>
                        <a:pt x="219" y="296"/>
                      </a:lnTo>
                      <a:lnTo>
                        <a:pt x="213" y="297"/>
                      </a:lnTo>
                      <a:lnTo>
                        <a:pt x="208" y="299"/>
                      </a:lnTo>
                      <a:lnTo>
                        <a:pt x="204" y="301"/>
                      </a:lnTo>
                      <a:lnTo>
                        <a:pt x="199" y="303"/>
                      </a:lnTo>
                      <a:lnTo>
                        <a:pt x="193" y="308"/>
                      </a:lnTo>
                      <a:lnTo>
                        <a:pt x="188" y="314"/>
                      </a:lnTo>
                      <a:lnTo>
                        <a:pt x="183" y="328"/>
                      </a:lnTo>
                      <a:lnTo>
                        <a:pt x="179" y="339"/>
                      </a:lnTo>
                      <a:lnTo>
                        <a:pt x="175" y="344"/>
                      </a:lnTo>
                      <a:lnTo>
                        <a:pt x="170" y="350"/>
                      </a:lnTo>
                      <a:lnTo>
                        <a:pt x="163" y="356"/>
                      </a:lnTo>
                      <a:lnTo>
                        <a:pt x="154" y="363"/>
                      </a:lnTo>
                      <a:lnTo>
                        <a:pt x="134" y="379"/>
                      </a:lnTo>
                      <a:lnTo>
                        <a:pt x="109" y="394"/>
                      </a:lnTo>
                      <a:lnTo>
                        <a:pt x="84" y="408"/>
                      </a:lnTo>
                      <a:lnTo>
                        <a:pt x="59" y="420"/>
                      </a:lnTo>
                      <a:lnTo>
                        <a:pt x="48" y="424"/>
                      </a:lnTo>
                      <a:lnTo>
                        <a:pt x="37" y="428"/>
                      </a:lnTo>
                      <a:lnTo>
                        <a:pt x="28" y="430"/>
                      </a:lnTo>
                      <a:lnTo>
                        <a:pt x="19" y="431"/>
                      </a:lnTo>
                      <a:lnTo>
                        <a:pt x="15" y="430"/>
                      </a:lnTo>
                      <a:lnTo>
                        <a:pt x="11" y="429"/>
                      </a:lnTo>
                      <a:lnTo>
                        <a:pt x="7" y="426"/>
                      </a:lnTo>
                      <a:lnTo>
                        <a:pt x="5" y="423"/>
                      </a:lnTo>
                      <a:lnTo>
                        <a:pt x="3" y="420"/>
                      </a:lnTo>
                      <a:lnTo>
                        <a:pt x="1" y="415"/>
                      </a:lnTo>
                      <a:lnTo>
                        <a:pt x="0" y="411"/>
                      </a:lnTo>
                      <a:lnTo>
                        <a:pt x="0" y="406"/>
                      </a:lnTo>
                      <a:lnTo>
                        <a:pt x="1" y="402"/>
                      </a:lnTo>
                      <a:lnTo>
                        <a:pt x="2" y="398"/>
                      </a:lnTo>
                      <a:lnTo>
                        <a:pt x="5" y="395"/>
                      </a:lnTo>
                      <a:lnTo>
                        <a:pt x="9" y="391"/>
                      </a:lnTo>
                      <a:lnTo>
                        <a:pt x="19" y="386"/>
                      </a:lnTo>
                      <a:lnTo>
                        <a:pt x="31" y="382"/>
                      </a:lnTo>
                      <a:lnTo>
                        <a:pt x="56" y="374"/>
                      </a:lnTo>
                      <a:lnTo>
                        <a:pt x="73" y="369"/>
                      </a:lnTo>
                      <a:lnTo>
                        <a:pt x="73" y="360"/>
                      </a:lnTo>
                      <a:lnTo>
                        <a:pt x="73" y="351"/>
                      </a:lnTo>
                      <a:lnTo>
                        <a:pt x="72" y="345"/>
                      </a:lnTo>
                      <a:lnTo>
                        <a:pt x="72" y="339"/>
                      </a:lnTo>
                      <a:lnTo>
                        <a:pt x="71" y="335"/>
                      </a:lnTo>
                      <a:lnTo>
                        <a:pt x="69" y="331"/>
                      </a:lnTo>
                      <a:lnTo>
                        <a:pt x="67" y="328"/>
                      </a:lnTo>
                      <a:lnTo>
                        <a:pt x="64" y="326"/>
                      </a:lnTo>
                      <a:lnTo>
                        <a:pt x="62" y="324"/>
                      </a:lnTo>
                      <a:lnTo>
                        <a:pt x="59" y="322"/>
                      </a:lnTo>
                      <a:lnTo>
                        <a:pt x="51" y="320"/>
                      </a:lnTo>
                      <a:lnTo>
                        <a:pt x="41" y="319"/>
                      </a:lnTo>
                      <a:lnTo>
                        <a:pt x="31" y="320"/>
                      </a:lnTo>
                      <a:lnTo>
                        <a:pt x="19" y="320"/>
                      </a:lnTo>
                      <a:lnTo>
                        <a:pt x="39" y="296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755" name="Freeform 77">
                <a:extLst>
                  <a:ext uri="{FF2B5EF4-FFF2-40B4-BE49-F238E27FC236}">
                    <a16:creationId xmlns="" xmlns:a16="http://schemas.microsoft.com/office/drawing/2014/main" id="{A9475812-66A3-4638-A075-8F865D56C202}"/>
                  </a:ext>
                </a:extLst>
              </p:cNvPr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7362825" y="3395663"/>
                <a:ext cx="9525" cy="57150"/>
              </a:xfrm>
              <a:custGeom>
                <a:avLst/>
                <a:gdLst>
                  <a:gd name="T0" fmla="*/ 0 w 21"/>
                  <a:gd name="T1" fmla="*/ 2147483646 h 62"/>
                  <a:gd name="T2" fmla="*/ 2147483646 w 21"/>
                  <a:gd name="T3" fmla="*/ 2147483646 h 62"/>
                  <a:gd name="T4" fmla="*/ 2147483646 w 21"/>
                  <a:gd name="T5" fmla="*/ 2147483646 h 62"/>
                  <a:gd name="T6" fmla="*/ 2147483646 w 21"/>
                  <a:gd name="T7" fmla="*/ 2147483646 h 62"/>
                  <a:gd name="T8" fmla="*/ 2147483646 w 21"/>
                  <a:gd name="T9" fmla="*/ 2147483646 h 62"/>
                  <a:gd name="T10" fmla="*/ 2147483646 w 21"/>
                  <a:gd name="T11" fmla="*/ 2147483646 h 62"/>
                  <a:gd name="T12" fmla="*/ 2147483646 w 21"/>
                  <a:gd name="T13" fmla="*/ 0 h 62"/>
                  <a:gd name="T14" fmla="*/ 2147483646 w 21"/>
                  <a:gd name="T15" fmla="*/ 2147483646 h 62"/>
                  <a:gd name="T16" fmla="*/ 2147483646 w 21"/>
                  <a:gd name="T17" fmla="*/ 2147483646 h 62"/>
                  <a:gd name="T18" fmla="*/ 2147483646 w 21"/>
                  <a:gd name="T19" fmla="*/ 2147483646 h 62"/>
                  <a:gd name="T20" fmla="*/ 2147483646 w 21"/>
                  <a:gd name="T21" fmla="*/ 2147483646 h 62"/>
                  <a:gd name="T22" fmla="*/ 2147483646 w 21"/>
                  <a:gd name="T23" fmla="*/ 2147483646 h 62"/>
                  <a:gd name="T24" fmla="*/ 0 w 21"/>
                  <a:gd name="T25" fmla="*/ 2147483646 h 62"/>
                  <a:gd name="T26" fmla="*/ 0 w 21"/>
                  <a:gd name="T27" fmla="*/ 2147483646 h 6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1"/>
                  <a:gd name="T43" fmla="*/ 0 h 62"/>
                  <a:gd name="T44" fmla="*/ 21 w 21"/>
                  <a:gd name="T45" fmla="*/ 62 h 62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1" h="62">
                    <a:moveTo>
                      <a:pt x="0" y="43"/>
                    </a:moveTo>
                    <a:lnTo>
                      <a:pt x="1" y="29"/>
                    </a:lnTo>
                    <a:lnTo>
                      <a:pt x="3" y="17"/>
                    </a:lnTo>
                    <a:lnTo>
                      <a:pt x="4" y="11"/>
                    </a:lnTo>
                    <a:lnTo>
                      <a:pt x="6" y="7"/>
                    </a:lnTo>
                    <a:lnTo>
                      <a:pt x="9" y="3"/>
                    </a:lnTo>
                    <a:lnTo>
                      <a:pt x="15" y="0"/>
                    </a:lnTo>
                    <a:lnTo>
                      <a:pt x="15" y="15"/>
                    </a:lnTo>
                    <a:lnTo>
                      <a:pt x="18" y="31"/>
                    </a:lnTo>
                    <a:lnTo>
                      <a:pt x="20" y="44"/>
                    </a:lnTo>
                    <a:lnTo>
                      <a:pt x="21" y="49"/>
                    </a:lnTo>
                    <a:lnTo>
                      <a:pt x="10" y="55"/>
                    </a:lnTo>
                    <a:lnTo>
                      <a:pt x="0" y="62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56" name="Freeform 78">
                <a:extLst>
                  <a:ext uri="{FF2B5EF4-FFF2-40B4-BE49-F238E27FC236}">
                    <a16:creationId xmlns="" xmlns:a16="http://schemas.microsoft.com/office/drawing/2014/main" id="{0D493BB1-9CEF-4384-A33F-E5750FB1FFC7}"/>
                  </a:ext>
                </a:extLst>
              </p:cNvPr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8089900" y="4297363"/>
                <a:ext cx="14288" cy="57150"/>
              </a:xfrm>
              <a:custGeom>
                <a:avLst/>
                <a:gdLst>
                  <a:gd name="T0" fmla="*/ 0 w 33"/>
                  <a:gd name="T1" fmla="*/ 0 h 24"/>
                  <a:gd name="T2" fmla="*/ 2147483646 w 33"/>
                  <a:gd name="T3" fmla="*/ 2147483646 h 24"/>
                  <a:gd name="T4" fmla="*/ 2147483646 w 33"/>
                  <a:gd name="T5" fmla="*/ 2147483646 h 24"/>
                  <a:gd name="T6" fmla="*/ 2147483646 w 33"/>
                  <a:gd name="T7" fmla="*/ 2147483646 h 24"/>
                  <a:gd name="T8" fmla="*/ 2147483646 w 33"/>
                  <a:gd name="T9" fmla="*/ 2147483646 h 24"/>
                  <a:gd name="T10" fmla="*/ 2147483646 w 33"/>
                  <a:gd name="T11" fmla="*/ 2147483646 h 24"/>
                  <a:gd name="T12" fmla="*/ 2147483646 w 33"/>
                  <a:gd name="T13" fmla="*/ 2147483646 h 24"/>
                  <a:gd name="T14" fmla="*/ 2147483646 w 33"/>
                  <a:gd name="T15" fmla="*/ 0 h 24"/>
                  <a:gd name="T16" fmla="*/ 2147483646 w 33"/>
                  <a:gd name="T17" fmla="*/ 0 h 24"/>
                  <a:gd name="T18" fmla="*/ 2147483646 w 33"/>
                  <a:gd name="T19" fmla="*/ 0 h 24"/>
                  <a:gd name="T20" fmla="*/ 2147483646 w 33"/>
                  <a:gd name="T21" fmla="*/ 0 h 24"/>
                  <a:gd name="T22" fmla="*/ 0 w 33"/>
                  <a:gd name="T23" fmla="*/ 0 h 2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3"/>
                  <a:gd name="T37" fmla="*/ 0 h 24"/>
                  <a:gd name="T38" fmla="*/ 33 w 33"/>
                  <a:gd name="T39" fmla="*/ 24 h 24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3" h="24">
                    <a:moveTo>
                      <a:pt x="0" y="0"/>
                    </a:moveTo>
                    <a:lnTo>
                      <a:pt x="5" y="5"/>
                    </a:lnTo>
                    <a:lnTo>
                      <a:pt x="10" y="10"/>
                    </a:lnTo>
                    <a:lnTo>
                      <a:pt x="11" y="13"/>
                    </a:lnTo>
                    <a:lnTo>
                      <a:pt x="12" y="16"/>
                    </a:lnTo>
                    <a:lnTo>
                      <a:pt x="13" y="20"/>
                    </a:lnTo>
                    <a:lnTo>
                      <a:pt x="13" y="24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57" name="Freeform 79">
                <a:extLst>
                  <a:ext uri="{FF2B5EF4-FFF2-40B4-BE49-F238E27FC236}">
                    <a16:creationId xmlns="" xmlns:a16="http://schemas.microsoft.com/office/drawing/2014/main" id="{99D91A40-0A9C-479D-ABC8-9260D18F7DB3}"/>
                  </a:ext>
                </a:extLst>
              </p:cNvPr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8112125" y="4306888"/>
                <a:ext cx="17463" cy="58737"/>
              </a:xfrm>
              <a:custGeom>
                <a:avLst/>
                <a:gdLst>
                  <a:gd name="T0" fmla="*/ 2147483646 w 33"/>
                  <a:gd name="T1" fmla="*/ 2147483646 h 25"/>
                  <a:gd name="T2" fmla="*/ 2147483646 w 33"/>
                  <a:gd name="T3" fmla="*/ 2147483646 h 25"/>
                  <a:gd name="T4" fmla="*/ 2147483646 w 33"/>
                  <a:gd name="T5" fmla="*/ 2147483646 h 25"/>
                  <a:gd name="T6" fmla="*/ 2147483646 w 33"/>
                  <a:gd name="T7" fmla="*/ 0 h 25"/>
                  <a:gd name="T8" fmla="*/ 2147483646 w 33"/>
                  <a:gd name="T9" fmla="*/ 0 h 25"/>
                  <a:gd name="T10" fmla="*/ 2147483646 w 33"/>
                  <a:gd name="T11" fmla="*/ 0 h 25"/>
                  <a:gd name="T12" fmla="*/ 2147483646 w 33"/>
                  <a:gd name="T13" fmla="*/ 0 h 25"/>
                  <a:gd name="T14" fmla="*/ 0 w 33"/>
                  <a:gd name="T15" fmla="*/ 0 h 25"/>
                  <a:gd name="T16" fmla="*/ 2147483646 w 33"/>
                  <a:gd name="T17" fmla="*/ 2147483646 h 2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3"/>
                  <a:gd name="T28" fmla="*/ 0 h 25"/>
                  <a:gd name="T29" fmla="*/ 33 w 33"/>
                  <a:gd name="T30" fmla="*/ 25 h 2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3" h="25">
                    <a:moveTo>
                      <a:pt x="26" y="25"/>
                    </a:moveTo>
                    <a:lnTo>
                      <a:pt x="29" y="22"/>
                    </a:lnTo>
                    <a:lnTo>
                      <a:pt x="33" y="18"/>
                    </a:lnTo>
                    <a:lnTo>
                      <a:pt x="33" y="0"/>
                    </a:lnTo>
                    <a:lnTo>
                      <a:pt x="25" y="0"/>
                    </a:lnTo>
                    <a:lnTo>
                      <a:pt x="16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26" y="25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58" name="Freeform 80">
                <a:extLst>
                  <a:ext uri="{FF2B5EF4-FFF2-40B4-BE49-F238E27FC236}">
                    <a16:creationId xmlns="" xmlns:a16="http://schemas.microsoft.com/office/drawing/2014/main" id="{AB34E4EB-05B6-477D-870E-F8DD327397B2}"/>
                  </a:ext>
                </a:extLst>
              </p:cNvPr>
              <p:cNvSpPr>
                <a:spLocks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7426325" y="3384550"/>
                <a:ext cx="1588" cy="55563"/>
              </a:xfrm>
              <a:custGeom>
                <a:avLst/>
                <a:gdLst>
                  <a:gd name="T0" fmla="*/ 0 w 7"/>
                  <a:gd name="T1" fmla="*/ 0 h 55563"/>
                  <a:gd name="T2" fmla="*/ 2147483646 w 7"/>
                  <a:gd name="T3" fmla="*/ 0 h 55563"/>
                  <a:gd name="T4" fmla="*/ 0 w 7"/>
                  <a:gd name="T5" fmla="*/ 0 h 55563"/>
                  <a:gd name="T6" fmla="*/ 0 60000 65536"/>
                  <a:gd name="T7" fmla="*/ 0 60000 65536"/>
                  <a:gd name="T8" fmla="*/ 0 60000 65536"/>
                  <a:gd name="T9" fmla="*/ 0 w 7"/>
                  <a:gd name="T10" fmla="*/ 0 h 55563"/>
                  <a:gd name="T11" fmla="*/ 7 w 7"/>
                  <a:gd name="T12" fmla="*/ 55563 h 5556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7" h="55563">
                    <a:moveTo>
                      <a:pt x="0" y="0"/>
                    </a:move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59" name="Freeform 81">
                <a:extLst>
                  <a:ext uri="{FF2B5EF4-FFF2-40B4-BE49-F238E27FC236}">
                    <a16:creationId xmlns="" xmlns:a16="http://schemas.microsoft.com/office/drawing/2014/main" id="{7F549F0E-D5B9-4ACA-9A8E-00DDE0B71A56}"/>
                  </a:ext>
                </a:extLst>
              </p:cNvPr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7485063" y="3328988"/>
                <a:ext cx="6350" cy="57150"/>
              </a:xfrm>
              <a:custGeom>
                <a:avLst/>
                <a:gdLst>
                  <a:gd name="T0" fmla="*/ 2147483646 w 16"/>
                  <a:gd name="T1" fmla="*/ 0 h 25"/>
                  <a:gd name="T2" fmla="*/ 2147483646 w 16"/>
                  <a:gd name="T3" fmla="*/ 2147483646 h 25"/>
                  <a:gd name="T4" fmla="*/ 2147483646 w 16"/>
                  <a:gd name="T5" fmla="*/ 2147483646 h 25"/>
                  <a:gd name="T6" fmla="*/ 2147483646 w 16"/>
                  <a:gd name="T7" fmla="*/ 2147483646 h 25"/>
                  <a:gd name="T8" fmla="*/ 2147483646 w 16"/>
                  <a:gd name="T9" fmla="*/ 2147483646 h 25"/>
                  <a:gd name="T10" fmla="*/ 2147483646 w 16"/>
                  <a:gd name="T11" fmla="*/ 2147483646 h 25"/>
                  <a:gd name="T12" fmla="*/ 2147483646 w 16"/>
                  <a:gd name="T13" fmla="*/ 2147483646 h 25"/>
                  <a:gd name="T14" fmla="*/ 2147483646 w 16"/>
                  <a:gd name="T15" fmla="*/ 2147483646 h 25"/>
                  <a:gd name="T16" fmla="*/ 0 w 16"/>
                  <a:gd name="T17" fmla="*/ 2147483646 h 25"/>
                  <a:gd name="T18" fmla="*/ 2147483646 w 16"/>
                  <a:gd name="T19" fmla="*/ 2147483646 h 25"/>
                  <a:gd name="T20" fmla="*/ 2147483646 w 16"/>
                  <a:gd name="T21" fmla="*/ 2147483646 h 25"/>
                  <a:gd name="T22" fmla="*/ 2147483646 w 16"/>
                  <a:gd name="T23" fmla="*/ 2147483646 h 25"/>
                  <a:gd name="T24" fmla="*/ 2147483646 w 16"/>
                  <a:gd name="T25" fmla="*/ 2147483646 h 25"/>
                  <a:gd name="T26" fmla="*/ 2147483646 w 16"/>
                  <a:gd name="T27" fmla="*/ 2147483646 h 25"/>
                  <a:gd name="T28" fmla="*/ 2147483646 w 16"/>
                  <a:gd name="T29" fmla="*/ 0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6"/>
                  <a:gd name="T46" fmla="*/ 0 h 25"/>
                  <a:gd name="T47" fmla="*/ 16 w 16"/>
                  <a:gd name="T48" fmla="*/ 25 h 2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6" h="25">
                    <a:moveTo>
                      <a:pt x="16" y="0"/>
                    </a:moveTo>
                    <a:lnTo>
                      <a:pt x="16" y="6"/>
                    </a:lnTo>
                    <a:lnTo>
                      <a:pt x="14" y="13"/>
                    </a:lnTo>
                    <a:lnTo>
                      <a:pt x="13" y="16"/>
                    </a:lnTo>
                    <a:lnTo>
                      <a:pt x="11" y="20"/>
                    </a:lnTo>
                    <a:lnTo>
                      <a:pt x="7" y="23"/>
                    </a:lnTo>
                    <a:lnTo>
                      <a:pt x="3" y="25"/>
                    </a:lnTo>
                    <a:lnTo>
                      <a:pt x="1" y="24"/>
                    </a:lnTo>
                    <a:lnTo>
                      <a:pt x="0" y="21"/>
                    </a:lnTo>
                    <a:lnTo>
                      <a:pt x="1" y="18"/>
                    </a:lnTo>
                    <a:lnTo>
                      <a:pt x="2" y="13"/>
                    </a:lnTo>
                    <a:lnTo>
                      <a:pt x="4" y="9"/>
                    </a:lnTo>
                    <a:lnTo>
                      <a:pt x="7" y="4"/>
                    </a:lnTo>
                    <a:lnTo>
                      <a:pt x="11" y="1"/>
                    </a:lnTo>
                    <a:lnTo>
                      <a:pt x="16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60" name="Freeform 82">
                <a:extLst>
                  <a:ext uri="{FF2B5EF4-FFF2-40B4-BE49-F238E27FC236}">
                    <a16:creationId xmlns="" xmlns:a16="http://schemas.microsoft.com/office/drawing/2014/main" id="{24790D53-45D0-450B-8268-667C9977BE60}"/>
                  </a:ext>
                </a:extLst>
              </p:cNvPr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7597775" y="3217863"/>
                <a:ext cx="4763" cy="57150"/>
              </a:xfrm>
              <a:custGeom>
                <a:avLst/>
                <a:gdLst>
                  <a:gd name="T0" fmla="*/ 0 w 14"/>
                  <a:gd name="T1" fmla="*/ 0 h 18"/>
                  <a:gd name="T2" fmla="*/ 2147483646 w 14"/>
                  <a:gd name="T3" fmla="*/ 2147483646 h 18"/>
                  <a:gd name="T4" fmla="*/ 2147483646 w 14"/>
                  <a:gd name="T5" fmla="*/ 2147483646 h 18"/>
                  <a:gd name="T6" fmla="*/ 2147483646 w 14"/>
                  <a:gd name="T7" fmla="*/ 2147483646 h 18"/>
                  <a:gd name="T8" fmla="*/ 2147483646 w 14"/>
                  <a:gd name="T9" fmla="*/ 2147483646 h 18"/>
                  <a:gd name="T10" fmla="*/ 2147483646 w 14"/>
                  <a:gd name="T11" fmla="*/ 2147483646 h 18"/>
                  <a:gd name="T12" fmla="*/ 2147483646 w 14"/>
                  <a:gd name="T13" fmla="*/ 2147483646 h 18"/>
                  <a:gd name="T14" fmla="*/ 0 w 14"/>
                  <a:gd name="T15" fmla="*/ 0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4"/>
                  <a:gd name="T25" fmla="*/ 0 h 18"/>
                  <a:gd name="T26" fmla="*/ 14 w 14"/>
                  <a:gd name="T27" fmla="*/ 18 h 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4" h="18">
                    <a:moveTo>
                      <a:pt x="0" y="0"/>
                    </a:moveTo>
                    <a:lnTo>
                      <a:pt x="3" y="1"/>
                    </a:lnTo>
                    <a:lnTo>
                      <a:pt x="5" y="2"/>
                    </a:lnTo>
                    <a:lnTo>
                      <a:pt x="7" y="4"/>
                    </a:lnTo>
                    <a:lnTo>
                      <a:pt x="9" y="7"/>
                    </a:lnTo>
                    <a:lnTo>
                      <a:pt x="13" y="13"/>
                    </a:lnTo>
                    <a:lnTo>
                      <a:pt x="14" y="1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61" name="Freeform 83">
                <a:extLst>
                  <a:ext uri="{FF2B5EF4-FFF2-40B4-BE49-F238E27FC236}">
                    <a16:creationId xmlns="" xmlns:a16="http://schemas.microsoft.com/office/drawing/2014/main" id="{C3E90B82-59D2-4529-B5A0-10495969AD41}"/>
                  </a:ext>
                </a:extLst>
              </p:cNvPr>
              <p:cNvSpPr>
                <a:spLocks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7750175" y="3916363"/>
                <a:ext cx="26988" cy="58737"/>
              </a:xfrm>
              <a:custGeom>
                <a:avLst/>
                <a:gdLst>
                  <a:gd name="T0" fmla="*/ 0 w 67"/>
                  <a:gd name="T1" fmla="*/ 0 h 74"/>
                  <a:gd name="T2" fmla="*/ 2147483646 w 67"/>
                  <a:gd name="T3" fmla="*/ 2147483646 h 74"/>
                  <a:gd name="T4" fmla="*/ 2147483646 w 67"/>
                  <a:gd name="T5" fmla="*/ 2147483646 h 74"/>
                  <a:gd name="T6" fmla="*/ 2147483646 w 67"/>
                  <a:gd name="T7" fmla="*/ 2147483646 h 74"/>
                  <a:gd name="T8" fmla="*/ 2147483646 w 67"/>
                  <a:gd name="T9" fmla="*/ 2147483646 h 74"/>
                  <a:gd name="T10" fmla="*/ 2147483646 w 67"/>
                  <a:gd name="T11" fmla="*/ 2147483646 h 74"/>
                  <a:gd name="T12" fmla="*/ 2147483646 w 67"/>
                  <a:gd name="T13" fmla="*/ 2147483646 h 74"/>
                  <a:gd name="T14" fmla="*/ 2147483646 w 67"/>
                  <a:gd name="T15" fmla="*/ 2147483646 h 74"/>
                  <a:gd name="T16" fmla="*/ 2147483646 w 67"/>
                  <a:gd name="T17" fmla="*/ 2147483646 h 74"/>
                  <a:gd name="T18" fmla="*/ 2147483646 w 67"/>
                  <a:gd name="T19" fmla="*/ 2147483646 h 74"/>
                  <a:gd name="T20" fmla="*/ 2147483646 w 67"/>
                  <a:gd name="T21" fmla="*/ 2147483646 h 74"/>
                  <a:gd name="T22" fmla="*/ 2147483646 w 67"/>
                  <a:gd name="T23" fmla="*/ 2147483646 h 74"/>
                  <a:gd name="T24" fmla="*/ 2147483646 w 67"/>
                  <a:gd name="T25" fmla="*/ 2147483646 h 74"/>
                  <a:gd name="T26" fmla="*/ 2147483646 w 67"/>
                  <a:gd name="T27" fmla="*/ 2147483646 h 74"/>
                  <a:gd name="T28" fmla="*/ 2147483646 w 67"/>
                  <a:gd name="T29" fmla="*/ 2147483646 h 74"/>
                  <a:gd name="T30" fmla="*/ 2147483646 w 67"/>
                  <a:gd name="T31" fmla="*/ 2147483646 h 74"/>
                  <a:gd name="T32" fmla="*/ 2147483646 w 67"/>
                  <a:gd name="T33" fmla="*/ 2147483646 h 74"/>
                  <a:gd name="T34" fmla="*/ 2147483646 w 67"/>
                  <a:gd name="T35" fmla="*/ 2147483646 h 74"/>
                  <a:gd name="T36" fmla="*/ 2147483646 w 67"/>
                  <a:gd name="T37" fmla="*/ 0 h 74"/>
                  <a:gd name="T38" fmla="*/ 2147483646 w 67"/>
                  <a:gd name="T39" fmla="*/ 0 h 74"/>
                  <a:gd name="T40" fmla="*/ 2147483646 w 67"/>
                  <a:gd name="T41" fmla="*/ 0 h 74"/>
                  <a:gd name="T42" fmla="*/ 2147483646 w 67"/>
                  <a:gd name="T43" fmla="*/ 0 h 74"/>
                  <a:gd name="T44" fmla="*/ 0 w 67"/>
                  <a:gd name="T45" fmla="*/ 0 h 7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67"/>
                  <a:gd name="T70" fmla="*/ 0 h 74"/>
                  <a:gd name="T71" fmla="*/ 67 w 67"/>
                  <a:gd name="T72" fmla="*/ 74 h 74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67" h="74">
                    <a:moveTo>
                      <a:pt x="0" y="0"/>
                    </a:moveTo>
                    <a:lnTo>
                      <a:pt x="1" y="17"/>
                    </a:lnTo>
                    <a:lnTo>
                      <a:pt x="3" y="30"/>
                    </a:lnTo>
                    <a:lnTo>
                      <a:pt x="7" y="41"/>
                    </a:lnTo>
                    <a:lnTo>
                      <a:pt x="12" y="50"/>
                    </a:lnTo>
                    <a:lnTo>
                      <a:pt x="17" y="58"/>
                    </a:lnTo>
                    <a:lnTo>
                      <a:pt x="23" y="64"/>
                    </a:lnTo>
                    <a:lnTo>
                      <a:pt x="28" y="69"/>
                    </a:lnTo>
                    <a:lnTo>
                      <a:pt x="33" y="74"/>
                    </a:lnTo>
                    <a:lnTo>
                      <a:pt x="44" y="65"/>
                    </a:lnTo>
                    <a:lnTo>
                      <a:pt x="55" y="55"/>
                    </a:lnTo>
                    <a:lnTo>
                      <a:pt x="59" y="49"/>
                    </a:lnTo>
                    <a:lnTo>
                      <a:pt x="63" y="43"/>
                    </a:lnTo>
                    <a:lnTo>
                      <a:pt x="66" y="37"/>
                    </a:lnTo>
                    <a:lnTo>
                      <a:pt x="67" y="30"/>
                    </a:lnTo>
                    <a:lnTo>
                      <a:pt x="67" y="25"/>
                    </a:lnTo>
                    <a:lnTo>
                      <a:pt x="67" y="18"/>
                    </a:lnTo>
                    <a:lnTo>
                      <a:pt x="67" y="9"/>
                    </a:lnTo>
                    <a:lnTo>
                      <a:pt x="67" y="0"/>
                    </a:lnTo>
                    <a:lnTo>
                      <a:pt x="48" y="0"/>
                    </a:lnTo>
                    <a:lnTo>
                      <a:pt x="33" y="0"/>
                    </a:lnTo>
                    <a:lnTo>
                      <a:pt x="1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62" name="Freeform 84">
                <a:extLst>
                  <a:ext uri="{FF2B5EF4-FFF2-40B4-BE49-F238E27FC236}">
                    <a16:creationId xmlns="" xmlns:a16="http://schemas.microsoft.com/office/drawing/2014/main" id="{65D1E55B-526A-446D-8BE1-C17C9C7D48C3}"/>
                  </a:ext>
                </a:extLst>
              </p:cNvPr>
              <p:cNvSpPr>
                <a:spLocks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7813675" y="3930650"/>
                <a:ext cx="12700" cy="57150"/>
              </a:xfrm>
              <a:custGeom>
                <a:avLst/>
                <a:gdLst>
                  <a:gd name="T0" fmla="*/ 0 w 34"/>
                  <a:gd name="T1" fmla="*/ 0 h 38"/>
                  <a:gd name="T2" fmla="*/ 2147483646 w 34"/>
                  <a:gd name="T3" fmla="*/ 2147483646 h 38"/>
                  <a:gd name="T4" fmla="*/ 2147483646 w 34"/>
                  <a:gd name="T5" fmla="*/ 2147483646 h 38"/>
                  <a:gd name="T6" fmla="*/ 2147483646 w 34"/>
                  <a:gd name="T7" fmla="*/ 2147483646 h 38"/>
                  <a:gd name="T8" fmla="*/ 2147483646 w 34"/>
                  <a:gd name="T9" fmla="*/ 2147483646 h 38"/>
                  <a:gd name="T10" fmla="*/ 2147483646 w 34"/>
                  <a:gd name="T11" fmla="*/ 2147483646 h 38"/>
                  <a:gd name="T12" fmla="*/ 2147483646 w 34"/>
                  <a:gd name="T13" fmla="*/ 2147483646 h 38"/>
                  <a:gd name="T14" fmla="*/ 2147483646 w 34"/>
                  <a:gd name="T15" fmla="*/ 2147483646 h 38"/>
                  <a:gd name="T16" fmla="*/ 2147483646 w 34"/>
                  <a:gd name="T17" fmla="*/ 2147483646 h 38"/>
                  <a:gd name="T18" fmla="*/ 2147483646 w 34"/>
                  <a:gd name="T19" fmla="*/ 2147483646 h 38"/>
                  <a:gd name="T20" fmla="*/ 2147483646 w 34"/>
                  <a:gd name="T21" fmla="*/ 2147483646 h 38"/>
                  <a:gd name="T22" fmla="*/ 2147483646 w 34"/>
                  <a:gd name="T23" fmla="*/ 2147483646 h 38"/>
                  <a:gd name="T24" fmla="*/ 2147483646 w 34"/>
                  <a:gd name="T25" fmla="*/ 2147483646 h 38"/>
                  <a:gd name="T26" fmla="*/ 2147483646 w 34"/>
                  <a:gd name="T27" fmla="*/ 2147483646 h 38"/>
                  <a:gd name="T28" fmla="*/ 2147483646 w 34"/>
                  <a:gd name="T29" fmla="*/ 2147483646 h 38"/>
                  <a:gd name="T30" fmla="*/ 2147483646 w 34"/>
                  <a:gd name="T31" fmla="*/ 2147483646 h 38"/>
                  <a:gd name="T32" fmla="*/ 2147483646 w 34"/>
                  <a:gd name="T33" fmla="*/ 2147483646 h 38"/>
                  <a:gd name="T34" fmla="*/ 2147483646 w 34"/>
                  <a:gd name="T35" fmla="*/ 2147483646 h 38"/>
                  <a:gd name="T36" fmla="*/ 2147483646 w 34"/>
                  <a:gd name="T37" fmla="*/ 2147483646 h 38"/>
                  <a:gd name="T38" fmla="*/ 2147483646 w 34"/>
                  <a:gd name="T39" fmla="*/ 2147483646 h 38"/>
                  <a:gd name="T40" fmla="*/ 2147483646 w 34"/>
                  <a:gd name="T41" fmla="*/ 0 h 38"/>
                  <a:gd name="T42" fmla="*/ 2147483646 w 34"/>
                  <a:gd name="T43" fmla="*/ 0 h 38"/>
                  <a:gd name="T44" fmla="*/ 0 w 34"/>
                  <a:gd name="T45" fmla="*/ 0 h 3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4"/>
                  <a:gd name="T70" fmla="*/ 0 h 38"/>
                  <a:gd name="T71" fmla="*/ 34 w 34"/>
                  <a:gd name="T72" fmla="*/ 38 h 38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4" h="38">
                    <a:moveTo>
                      <a:pt x="0" y="0"/>
                    </a:moveTo>
                    <a:lnTo>
                      <a:pt x="2" y="3"/>
                    </a:lnTo>
                    <a:lnTo>
                      <a:pt x="4" y="7"/>
                    </a:lnTo>
                    <a:lnTo>
                      <a:pt x="5" y="11"/>
                    </a:lnTo>
                    <a:lnTo>
                      <a:pt x="6" y="16"/>
                    </a:lnTo>
                    <a:lnTo>
                      <a:pt x="10" y="28"/>
                    </a:lnTo>
                    <a:lnTo>
                      <a:pt x="13" y="38"/>
                    </a:lnTo>
                    <a:lnTo>
                      <a:pt x="16" y="37"/>
                    </a:lnTo>
                    <a:lnTo>
                      <a:pt x="20" y="36"/>
                    </a:lnTo>
                    <a:lnTo>
                      <a:pt x="23" y="34"/>
                    </a:lnTo>
                    <a:lnTo>
                      <a:pt x="26" y="31"/>
                    </a:lnTo>
                    <a:lnTo>
                      <a:pt x="28" y="28"/>
                    </a:lnTo>
                    <a:lnTo>
                      <a:pt x="32" y="24"/>
                    </a:lnTo>
                    <a:lnTo>
                      <a:pt x="33" y="21"/>
                    </a:lnTo>
                    <a:lnTo>
                      <a:pt x="34" y="19"/>
                    </a:lnTo>
                    <a:lnTo>
                      <a:pt x="31" y="18"/>
                    </a:lnTo>
                    <a:lnTo>
                      <a:pt x="28" y="17"/>
                    </a:lnTo>
                    <a:lnTo>
                      <a:pt x="26" y="14"/>
                    </a:lnTo>
                    <a:lnTo>
                      <a:pt x="24" y="12"/>
                    </a:lnTo>
                    <a:lnTo>
                      <a:pt x="19" y="6"/>
                    </a:lnTo>
                    <a:lnTo>
                      <a:pt x="13" y="0"/>
                    </a:lnTo>
                    <a:lnTo>
                      <a:pt x="6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63" name="Freeform 85">
                <a:extLst>
                  <a:ext uri="{FF2B5EF4-FFF2-40B4-BE49-F238E27FC236}">
                    <a16:creationId xmlns="" xmlns:a16="http://schemas.microsoft.com/office/drawing/2014/main" id="{93B5149D-57EE-434F-95BD-F1FF3EFB3DFC}"/>
                  </a:ext>
                </a:extLst>
              </p:cNvPr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7670800" y="3706813"/>
                <a:ext cx="25400" cy="55562"/>
              </a:xfrm>
              <a:custGeom>
                <a:avLst/>
                <a:gdLst>
                  <a:gd name="T0" fmla="*/ 2147483646 w 53"/>
                  <a:gd name="T1" fmla="*/ 2147483646 h 23"/>
                  <a:gd name="T2" fmla="*/ 2147483646 w 53"/>
                  <a:gd name="T3" fmla="*/ 2147483646 h 23"/>
                  <a:gd name="T4" fmla="*/ 2147483646 w 53"/>
                  <a:gd name="T5" fmla="*/ 2147483646 h 23"/>
                  <a:gd name="T6" fmla="*/ 2147483646 w 53"/>
                  <a:gd name="T7" fmla="*/ 2147483646 h 23"/>
                  <a:gd name="T8" fmla="*/ 2147483646 w 53"/>
                  <a:gd name="T9" fmla="*/ 0 h 23"/>
                  <a:gd name="T10" fmla="*/ 2147483646 w 53"/>
                  <a:gd name="T11" fmla="*/ 0 h 23"/>
                  <a:gd name="T12" fmla="*/ 2147483646 w 53"/>
                  <a:gd name="T13" fmla="*/ 2147483646 h 23"/>
                  <a:gd name="T14" fmla="*/ 2147483646 w 53"/>
                  <a:gd name="T15" fmla="*/ 2147483646 h 23"/>
                  <a:gd name="T16" fmla="*/ 2147483646 w 53"/>
                  <a:gd name="T17" fmla="*/ 2147483646 h 23"/>
                  <a:gd name="T18" fmla="*/ 0 w 53"/>
                  <a:gd name="T19" fmla="*/ 2147483646 h 23"/>
                  <a:gd name="T20" fmla="*/ 2147483646 w 53"/>
                  <a:gd name="T21" fmla="*/ 2147483646 h 2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3"/>
                  <a:gd name="T34" fmla="*/ 0 h 23"/>
                  <a:gd name="T35" fmla="*/ 53 w 53"/>
                  <a:gd name="T36" fmla="*/ 23 h 2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3" h="23">
                    <a:moveTo>
                      <a:pt x="53" y="23"/>
                    </a:moveTo>
                    <a:lnTo>
                      <a:pt x="53" y="4"/>
                    </a:lnTo>
                    <a:lnTo>
                      <a:pt x="49" y="2"/>
                    </a:lnTo>
                    <a:lnTo>
                      <a:pt x="45" y="1"/>
                    </a:lnTo>
                    <a:lnTo>
                      <a:pt x="42" y="0"/>
                    </a:lnTo>
                    <a:lnTo>
                      <a:pt x="38" y="0"/>
                    </a:lnTo>
                    <a:lnTo>
                      <a:pt x="31" y="1"/>
                    </a:lnTo>
                    <a:lnTo>
                      <a:pt x="24" y="4"/>
                    </a:lnTo>
                    <a:lnTo>
                      <a:pt x="11" y="13"/>
                    </a:lnTo>
                    <a:lnTo>
                      <a:pt x="0" y="23"/>
                    </a:lnTo>
                    <a:lnTo>
                      <a:pt x="53" y="23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64" name="Freeform 86">
                <a:extLst>
                  <a:ext uri="{FF2B5EF4-FFF2-40B4-BE49-F238E27FC236}">
                    <a16:creationId xmlns="" xmlns:a16="http://schemas.microsoft.com/office/drawing/2014/main" id="{98B76806-35A9-44E6-9969-A7A11549848E}"/>
                  </a:ext>
                </a:extLst>
              </p:cNvPr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7613650" y="3681413"/>
                <a:ext cx="11113" cy="57150"/>
              </a:xfrm>
              <a:custGeom>
                <a:avLst/>
                <a:gdLst>
                  <a:gd name="T0" fmla="*/ 0 w 26"/>
                  <a:gd name="T1" fmla="*/ 0 h 12"/>
                  <a:gd name="T2" fmla="*/ 2147483646 w 26"/>
                  <a:gd name="T3" fmla="*/ 2147483646 h 12"/>
                  <a:gd name="T4" fmla="*/ 2147483646 w 26"/>
                  <a:gd name="T5" fmla="*/ 2147483646 h 12"/>
                  <a:gd name="T6" fmla="*/ 2147483646 w 26"/>
                  <a:gd name="T7" fmla="*/ 2147483646 h 12"/>
                  <a:gd name="T8" fmla="*/ 2147483646 w 26"/>
                  <a:gd name="T9" fmla="*/ 2147483646 h 12"/>
                  <a:gd name="T10" fmla="*/ 2147483646 w 26"/>
                  <a:gd name="T11" fmla="*/ 2147483646 h 12"/>
                  <a:gd name="T12" fmla="*/ 2147483646 w 26"/>
                  <a:gd name="T13" fmla="*/ 2147483646 h 12"/>
                  <a:gd name="T14" fmla="*/ 2147483646 w 26"/>
                  <a:gd name="T15" fmla="*/ 2147483646 h 12"/>
                  <a:gd name="T16" fmla="*/ 2147483646 w 26"/>
                  <a:gd name="T17" fmla="*/ 2147483646 h 12"/>
                  <a:gd name="T18" fmla="*/ 2147483646 w 26"/>
                  <a:gd name="T19" fmla="*/ 2147483646 h 12"/>
                  <a:gd name="T20" fmla="*/ 0 w 26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6"/>
                  <a:gd name="T34" fmla="*/ 0 h 12"/>
                  <a:gd name="T35" fmla="*/ 26 w 26"/>
                  <a:gd name="T36" fmla="*/ 12 h 12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6" h="12">
                    <a:moveTo>
                      <a:pt x="0" y="0"/>
                    </a:moveTo>
                    <a:lnTo>
                      <a:pt x="4" y="4"/>
                    </a:lnTo>
                    <a:lnTo>
                      <a:pt x="11" y="8"/>
                    </a:lnTo>
                    <a:lnTo>
                      <a:pt x="14" y="9"/>
                    </a:lnTo>
                    <a:lnTo>
                      <a:pt x="18" y="11"/>
                    </a:lnTo>
                    <a:lnTo>
                      <a:pt x="22" y="11"/>
                    </a:lnTo>
                    <a:lnTo>
                      <a:pt x="26" y="12"/>
                    </a:lnTo>
                    <a:lnTo>
                      <a:pt x="21" y="7"/>
                    </a:lnTo>
                    <a:lnTo>
                      <a:pt x="13" y="3"/>
                    </a:lnTo>
                    <a:lnTo>
                      <a:pt x="5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65" name="Freeform 87">
                <a:extLst>
                  <a:ext uri="{FF2B5EF4-FFF2-40B4-BE49-F238E27FC236}">
                    <a16:creationId xmlns="" xmlns:a16="http://schemas.microsoft.com/office/drawing/2014/main" id="{245C4622-9A54-4F02-BE73-BC2D940F6A47}"/>
                  </a:ext>
                </a:extLst>
              </p:cNvPr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7813675" y="4013200"/>
                <a:ext cx="31750" cy="57150"/>
              </a:xfrm>
              <a:custGeom>
                <a:avLst/>
                <a:gdLst>
                  <a:gd name="T0" fmla="*/ 0 w 73"/>
                  <a:gd name="T1" fmla="*/ 0 h 57150"/>
                  <a:gd name="T2" fmla="*/ 2147483646 w 73"/>
                  <a:gd name="T3" fmla="*/ 0 h 57150"/>
                  <a:gd name="T4" fmla="*/ 2147483646 w 73"/>
                  <a:gd name="T5" fmla="*/ 0 h 57150"/>
                  <a:gd name="T6" fmla="*/ 2147483646 w 73"/>
                  <a:gd name="T7" fmla="*/ 0 h 57150"/>
                  <a:gd name="T8" fmla="*/ 2147483646 w 73"/>
                  <a:gd name="T9" fmla="*/ 0 h 5715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3"/>
                  <a:gd name="T16" fmla="*/ 0 h 57150"/>
                  <a:gd name="T17" fmla="*/ 73 w 73"/>
                  <a:gd name="T18" fmla="*/ 57150 h 5715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3" h="57150">
                    <a:moveTo>
                      <a:pt x="0" y="0"/>
                    </a:moveTo>
                    <a:lnTo>
                      <a:pt x="20" y="0"/>
                    </a:lnTo>
                    <a:lnTo>
                      <a:pt x="37" y="0"/>
                    </a:lnTo>
                    <a:lnTo>
                      <a:pt x="55" y="0"/>
                    </a:lnTo>
                    <a:lnTo>
                      <a:pt x="73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66" name="Freeform 88">
                <a:extLst>
                  <a:ext uri="{FF2B5EF4-FFF2-40B4-BE49-F238E27FC236}">
                    <a16:creationId xmlns="" xmlns:a16="http://schemas.microsoft.com/office/drawing/2014/main" id="{F0A8E896-8924-4CB9-A86F-8BCD06EE0305}"/>
                  </a:ext>
                </a:extLst>
              </p:cNvPr>
              <p:cNvSpPr>
                <a:spLocks/>
              </p:cNvSpPr>
              <p:nvPr>
                <p:custDataLst>
                  <p:tags r:id="rId68"/>
                </p:custDataLst>
              </p:nvPr>
            </p:nvSpPr>
            <p:spPr bwMode="auto">
              <a:xfrm>
                <a:off x="7769225" y="4002088"/>
                <a:ext cx="22225" cy="57150"/>
              </a:xfrm>
              <a:custGeom>
                <a:avLst/>
                <a:gdLst>
                  <a:gd name="T0" fmla="*/ 0 w 53"/>
                  <a:gd name="T1" fmla="*/ 0 h 3"/>
                  <a:gd name="T2" fmla="*/ 2147483646 w 53"/>
                  <a:gd name="T3" fmla="*/ 0 h 3"/>
                  <a:gd name="T4" fmla="*/ 2147483646 w 53"/>
                  <a:gd name="T5" fmla="*/ 2147483646 h 3"/>
                  <a:gd name="T6" fmla="*/ 2147483646 w 53"/>
                  <a:gd name="T7" fmla="*/ 2147483646 h 3"/>
                  <a:gd name="T8" fmla="*/ 2147483646 w 53"/>
                  <a:gd name="T9" fmla="*/ 2147483646 h 3"/>
                  <a:gd name="T10" fmla="*/ 2147483646 w 53"/>
                  <a:gd name="T11" fmla="*/ 2147483646 h 3"/>
                  <a:gd name="T12" fmla="*/ 2147483646 w 53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3"/>
                  <a:gd name="T22" fmla="*/ 0 h 3"/>
                  <a:gd name="T23" fmla="*/ 53 w 53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3" h="3">
                    <a:moveTo>
                      <a:pt x="0" y="0"/>
                    </a:moveTo>
                    <a:lnTo>
                      <a:pt x="14" y="0"/>
                    </a:lnTo>
                    <a:lnTo>
                      <a:pt x="27" y="3"/>
                    </a:lnTo>
                    <a:lnTo>
                      <a:pt x="32" y="3"/>
                    </a:lnTo>
                    <a:lnTo>
                      <a:pt x="39" y="3"/>
                    </a:lnTo>
                    <a:lnTo>
                      <a:pt x="45" y="1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67" name="Line 89">
                <a:extLst>
                  <a:ext uri="{FF2B5EF4-FFF2-40B4-BE49-F238E27FC236}">
                    <a16:creationId xmlns="" xmlns:a16="http://schemas.microsoft.com/office/drawing/2014/main" id="{C3407C78-2970-4C63-8743-340FEBB63426}"/>
                  </a:ext>
                </a:extLst>
              </p:cNvPr>
              <p:cNvSpPr>
                <a:spLocks noChangeShapeType="1"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7802563" y="3987800"/>
                <a:ext cx="20637" cy="635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s-ES" sz="1800" kern="1200"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68" name="Freeform 90">
                <a:extLst>
                  <a:ext uri="{FF2B5EF4-FFF2-40B4-BE49-F238E27FC236}">
                    <a16:creationId xmlns="" xmlns:a16="http://schemas.microsoft.com/office/drawing/2014/main" id="{9406BE5F-226A-4341-BC50-0B936AB15EA2}"/>
                  </a:ext>
                </a:extLst>
              </p:cNvPr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7823200" y="3994150"/>
                <a:ext cx="1588" cy="57150"/>
              </a:xfrm>
              <a:custGeom>
                <a:avLst/>
                <a:gdLst>
                  <a:gd name="T0" fmla="*/ 0 w 1588"/>
                  <a:gd name="T1" fmla="*/ 0 h 13"/>
                  <a:gd name="T2" fmla="*/ 0 w 1588"/>
                  <a:gd name="T3" fmla="*/ 2147483646 h 13"/>
                  <a:gd name="T4" fmla="*/ 0 w 1588"/>
                  <a:gd name="T5" fmla="*/ 2147483646 h 13"/>
                  <a:gd name="T6" fmla="*/ 0 60000 65536"/>
                  <a:gd name="T7" fmla="*/ 0 60000 65536"/>
                  <a:gd name="T8" fmla="*/ 0 60000 65536"/>
                  <a:gd name="T9" fmla="*/ 0 w 1588"/>
                  <a:gd name="T10" fmla="*/ 0 h 13"/>
                  <a:gd name="T11" fmla="*/ 1588 w 1588"/>
                  <a:gd name="T12" fmla="*/ 13 h 1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588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69" name="Freeform 91">
                <a:extLst>
                  <a:ext uri="{FF2B5EF4-FFF2-40B4-BE49-F238E27FC236}">
                    <a16:creationId xmlns="" xmlns:a16="http://schemas.microsoft.com/office/drawing/2014/main" id="{644D0F02-E4B7-4C8F-880C-6A613FEC147C}"/>
                  </a:ext>
                </a:extLst>
              </p:cNvPr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auto">
              <a:xfrm>
                <a:off x="7777163" y="3987800"/>
                <a:ext cx="14287" cy="58738"/>
              </a:xfrm>
              <a:custGeom>
                <a:avLst/>
                <a:gdLst>
                  <a:gd name="T0" fmla="*/ 0 w 26"/>
                  <a:gd name="T1" fmla="*/ 0 h 58738"/>
                  <a:gd name="T2" fmla="*/ 2147483646 w 26"/>
                  <a:gd name="T3" fmla="*/ 0 h 58738"/>
                  <a:gd name="T4" fmla="*/ 2147483646 w 26"/>
                  <a:gd name="T5" fmla="*/ 0 h 58738"/>
                  <a:gd name="T6" fmla="*/ 0 60000 65536"/>
                  <a:gd name="T7" fmla="*/ 0 60000 65536"/>
                  <a:gd name="T8" fmla="*/ 0 60000 65536"/>
                  <a:gd name="T9" fmla="*/ 0 w 26"/>
                  <a:gd name="T10" fmla="*/ 0 h 58738"/>
                  <a:gd name="T11" fmla="*/ 26 w 26"/>
                  <a:gd name="T12" fmla="*/ 58738 h 5873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6" h="58738">
                    <a:moveTo>
                      <a:pt x="0" y="0"/>
                    </a:moveTo>
                    <a:lnTo>
                      <a:pt x="15" y="0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70" name="Freeform 92">
                <a:extLst>
                  <a:ext uri="{FF2B5EF4-FFF2-40B4-BE49-F238E27FC236}">
                    <a16:creationId xmlns="" xmlns:a16="http://schemas.microsoft.com/office/drawing/2014/main" id="{7FEFD435-EA9B-448D-9AC2-FC442002E700}"/>
                  </a:ext>
                </a:extLst>
              </p:cNvPr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7770813" y="3968750"/>
                <a:ext cx="6350" cy="60325"/>
              </a:xfrm>
              <a:custGeom>
                <a:avLst/>
                <a:gdLst>
                  <a:gd name="T0" fmla="*/ 2147483646 w 20"/>
                  <a:gd name="T1" fmla="*/ 0 h 25"/>
                  <a:gd name="T2" fmla="*/ 0 w 20"/>
                  <a:gd name="T3" fmla="*/ 2147483646 h 25"/>
                  <a:gd name="T4" fmla="*/ 2147483646 w 20"/>
                  <a:gd name="T5" fmla="*/ 2147483646 h 25"/>
                  <a:gd name="T6" fmla="*/ 2147483646 w 20"/>
                  <a:gd name="T7" fmla="*/ 2147483646 h 25"/>
                  <a:gd name="T8" fmla="*/ 2147483646 w 20"/>
                  <a:gd name="T9" fmla="*/ 2147483646 h 25"/>
                  <a:gd name="T10" fmla="*/ 2147483646 w 20"/>
                  <a:gd name="T11" fmla="*/ 2147483646 h 25"/>
                  <a:gd name="T12" fmla="*/ 2147483646 w 20"/>
                  <a:gd name="T13" fmla="*/ 0 h 2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0"/>
                  <a:gd name="T22" fmla="*/ 0 h 25"/>
                  <a:gd name="T23" fmla="*/ 20 w 20"/>
                  <a:gd name="T24" fmla="*/ 25 h 2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0" h="25">
                    <a:moveTo>
                      <a:pt x="20" y="0"/>
                    </a:moveTo>
                    <a:lnTo>
                      <a:pt x="0" y="13"/>
                    </a:lnTo>
                    <a:lnTo>
                      <a:pt x="4" y="18"/>
                    </a:lnTo>
                    <a:lnTo>
                      <a:pt x="10" y="21"/>
                    </a:lnTo>
                    <a:lnTo>
                      <a:pt x="14" y="24"/>
                    </a:lnTo>
                    <a:lnTo>
                      <a:pt x="20" y="25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71" name="Freeform 93">
                <a:extLst>
                  <a:ext uri="{FF2B5EF4-FFF2-40B4-BE49-F238E27FC236}">
                    <a16:creationId xmlns="" xmlns:a16="http://schemas.microsoft.com/office/drawing/2014/main" id="{28103FF2-8DB9-49B2-A87D-E3B09C46F3D2}"/>
                  </a:ext>
                </a:extLst>
              </p:cNvPr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7851775" y="3695700"/>
                <a:ext cx="1588" cy="57150"/>
              </a:xfrm>
              <a:custGeom>
                <a:avLst/>
                <a:gdLst>
                  <a:gd name="T0" fmla="*/ 0 w 6"/>
                  <a:gd name="T1" fmla="*/ 2147483646 h 24"/>
                  <a:gd name="T2" fmla="*/ 0 w 6"/>
                  <a:gd name="T3" fmla="*/ 0 h 24"/>
                  <a:gd name="T4" fmla="*/ 2147483646 w 6"/>
                  <a:gd name="T5" fmla="*/ 2147483646 h 24"/>
                  <a:gd name="T6" fmla="*/ 0 w 6"/>
                  <a:gd name="T7" fmla="*/ 2147483646 h 2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24"/>
                  <a:gd name="T14" fmla="*/ 6 w 6"/>
                  <a:gd name="T15" fmla="*/ 24 h 2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24">
                    <a:moveTo>
                      <a:pt x="0" y="24"/>
                    </a:moveTo>
                    <a:lnTo>
                      <a:pt x="0" y="0"/>
                    </a:lnTo>
                    <a:lnTo>
                      <a:pt x="6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1772" name="Group 94">
                <a:extLst>
                  <a:ext uri="{FF2B5EF4-FFF2-40B4-BE49-F238E27FC236}">
                    <a16:creationId xmlns="" xmlns:a16="http://schemas.microsoft.com/office/drawing/2014/main" id="{73C5685E-23B5-4D5B-A5E3-482B782885ED}"/>
                  </a:ext>
                </a:extLst>
              </p:cNvPr>
              <p:cNvGrpSpPr>
                <a:grpSpLocks/>
              </p:cNvGrpSpPr>
              <p:nvPr>
                <p:custDataLst>
                  <p:tags r:id="rId74"/>
                </p:custDataLst>
              </p:nvPr>
            </p:nvGrpSpPr>
            <p:grpSpPr bwMode="auto">
              <a:xfrm>
                <a:off x="7726363" y="3367088"/>
                <a:ext cx="163512" cy="114300"/>
                <a:chOff x="5379" y="2466"/>
                <a:chExt cx="122" cy="71"/>
              </a:xfrm>
              <a:solidFill>
                <a:srgbClr val="FFFFFF">
                  <a:lumMod val="75000"/>
                </a:srgbClr>
              </a:solidFill>
            </p:grpSpPr>
            <p:sp>
              <p:nvSpPr>
                <p:cNvPr id="1773" name="Freeform 95">
                  <a:extLst>
                    <a:ext uri="{FF2B5EF4-FFF2-40B4-BE49-F238E27FC236}">
                      <a16:creationId xmlns="" xmlns:a16="http://schemas.microsoft.com/office/drawing/2014/main" id="{31EED363-DDAB-4957-BD25-FE424E5D63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28" y="2492"/>
                  <a:ext cx="6" cy="9"/>
                </a:xfrm>
                <a:custGeom>
                  <a:avLst/>
                  <a:gdLst>
                    <a:gd name="T0" fmla="*/ 0 w 19"/>
                    <a:gd name="T1" fmla="*/ 0 h 25"/>
                    <a:gd name="T2" fmla="*/ 0 w 19"/>
                    <a:gd name="T3" fmla="*/ 0 h 25"/>
                    <a:gd name="T4" fmla="*/ 0 w 19"/>
                    <a:gd name="T5" fmla="*/ 0 h 25"/>
                    <a:gd name="T6" fmla="*/ 0 w 19"/>
                    <a:gd name="T7" fmla="*/ 0 h 25"/>
                    <a:gd name="T8" fmla="*/ 0 w 19"/>
                    <a:gd name="T9" fmla="*/ 0 h 25"/>
                    <a:gd name="T10" fmla="*/ 0 w 19"/>
                    <a:gd name="T11" fmla="*/ 0 h 25"/>
                    <a:gd name="T12" fmla="*/ 0 w 19"/>
                    <a:gd name="T13" fmla="*/ 0 h 25"/>
                    <a:gd name="T14" fmla="*/ 0 w 19"/>
                    <a:gd name="T15" fmla="*/ 0 h 25"/>
                    <a:gd name="T16" fmla="*/ 0 w 19"/>
                    <a:gd name="T17" fmla="*/ 0 h 25"/>
                    <a:gd name="T18" fmla="*/ 0 w 19"/>
                    <a:gd name="T19" fmla="*/ 0 h 25"/>
                    <a:gd name="T20" fmla="*/ 0 w 19"/>
                    <a:gd name="T21" fmla="*/ 0 h 25"/>
                    <a:gd name="T22" fmla="*/ 0 w 19"/>
                    <a:gd name="T23" fmla="*/ 0 h 25"/>
                    <a:gd name="T24" fmla="*/ 0 w 19"/>
                    <a:gd name="T25" fmla="*/ 0 h 25"/>
                    <a:gd name="T26" fmla="*/ 0 w 19"/>
                    <a:gd name="T27" fmla="*/ 0 h 25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9"/>
                    <a:gd name="T43" fmla="*/ 0 h 25"/>
                    <a:gd name="T44" fmla="*/ 19 w 19"/>
                    <a:gd name="T45" fmla="*/ 25 h 25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9" h="25">
                      <a:moveTo>
                        <a:pt x="19" y="25"/>
                      </a:moveTo>
                      <a:lnTo>
                        <a:pt x="18" y="20"/>
                      </a:lnTo>
                      <a:lnTo>
                        <a:pt x="17" y="12"/>
                      </a:lnTo>
                      <a:lnTo>
                        <a:pt x="16" y="9"/>
                      </a:lnTo>
                      <a:lnTo>
                        <a:pt x="17" y="6"/>
                      </a:lnTo>
                      <a:lnTo>
                        <a:pt x="17" y="3"/>
                      </a:lnTo>
                      <a:lnTo>
                        <a:pt x="19" y="0"/>
                      </a:lnTo>
                      <a:lnTo>
                        <a:pt x="0" y="0"/>
                      </a:lnTo>
                      <a:lnTo>
                        <a:pt x="1" y="7"/>
                      </a:lnTo>
                      <a:lnTo>
                        <a:pt x="5" y="15"/>
                      </a:lnTo>
                      <a:lnTo>
                        <a:pt x="7" y="19"/>
                      </a:lnTo>
                      <a:lnTo>
                        <a:pt x="11" y="23"/>
                      </a:lnTo>
                      <a:lnTo>
                        <a:pt x="15" y="25"/>
                      </a:lnTo>
                      <a:lnTo>
                        <a:pt x="19" y="25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74" name="Freeform 96">
                  <a:extLst>
                    <a:ext uri="{FF2B5EF4-FFF2-40B4-BE49-F238E27FC236}">
                      <a16:creationId xmlns="" xmlns:a16="http://schemas.microsoft.com/office/drawing/2014/main" id="{DB275174-56A9-4192-95AD-92C834F202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79" y="2505"/>
                  <a:ext cx="7" cy="6"/>
                </a:xfrm>
                <a:custGeom>
                  <a:avLst/>
                  <a:gdLst>
                    <a:gd name="T0" fmla="*/ 0 w 26"/>
                    <a:gd name="T1" fmla="*/ 0 h 18"/>
                    <a:gd name="T2" fmla="*/ 0 w 26"/>
                    <a:gd name="T3" fmla="*/ 0 h 18"/>
                    <a:gd name="T4" fmla="*/ 0 w 26"/>
                    <a:gd name="T5" fmla="*/ 0 h 18"/>
                    <a:gd name="T6" fmla="*/ 0 w 26"/>
                    <a:gd name="T7" fmla="*/ 0 h 18"/>
                    <a:gd name="T8" fmla="*/ 0 w 26"/>
                    <a:gd name="T9" fmla="*/ 0 h 18"/>
                    <a:gd name="T10" fmla="*/ 0 w 26"/>
                    <a:gd name="T11" fmla="*/ 0 h 18"/>
                    <a:gd name="T12" fmla="*/ 0 w 26"/>
                    <a:gd name="T13" fmla="*/ 0 h 18"/>
                    <a:gd name="T14" fmla="*/ 0 w 26"/>
                    <a:gd name="T15" fmla="*/ 0 h 1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6"/>
                    <a:gd name="T25" fmla="*/ 0 h 18"/>
                    <a:gd name="T26" fmla="*/ 26 w 26"/>
                    <a:gd name="T27" fmla="*/ 18 h 18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6" h="18">
                      <a:moveTo>
                        <a:pt x="26" y="18"/>
                      </a:moveTo>
                      <a:lnTo>
                        <a:pt x="7" y="18"/>
                      </a:lnTo>
                      <a:lnTo>
                        <a:pt x="3" y="9"/>
                      </a:lnTo>
                      <a:lnTo>
                        <a:pt x="0" y="0"/>
                      </a:lnTo>
                      <a:lnTo>
                        <a:pt x="6" y="2"/>
                      </a:lnTo>
                      <a:lnTo>
                        <a:pt x="13" y="6"/>
                      </a:lnTo>
                      <a:lnTo>
                        <a:pt x="20" y="12"/>
                      </a:lnTo>
                      <a:lnTo>
                        <a:pt x="26" y="18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75" name="Freeform 97">
                  <a:extLst>
                    <a:ext uri="{FF2B5EF4-FFF2-40B4-BE49-F238E27FC236}">
                      <a16:creationId xmlns="" xmlns:a16="http://schemas.microsoft.com/office/drawing/2014/main" id="{1A92A444-0D11-45D6-B6A8-11A4216708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92" y="2466"/>
                  <a:ext cx="5" cy="6"/>
                </a:xfrm>
                <a:custGeom>
                  <a:avLst/>
                  <a:gdLst>
                    <a:gd name="T0" fmla="*/ 0 w 13"/>
                    <a:gd name="T1" fmla="*/ 0 h 18"/>
                    <a:gd name="T2" fmla="*/ 0 w 13"/>
                    <a:gd name="T3" fmla="*/ 0 h 18"/>
                    <a:gd name="T4" fmla="*/ 0 w 13"/>
                    <a:gd name="T5" fmla="*/ 0 h 18"/>
                    <a:gd name="T6" fmla="*/ 0 60000 65536"/>
                    <a:gd name="T7" fmla="*/ 0 60000 65536"/>
                    <a:gd name="T8" fmla="*/ 0 60000 65536"/>
                    <a:gd name="T9" fmla="*/ 0 w 13"/>
                    <a:gd name="T10" fmla="*/ 0 h 18"/>
                    <a:gd name="T11" fmla="*/ 13 w 13"/>
                    <a:gd name="T12" fmla="*/ 18 h 18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3" h="18">
                      <a:moveTo>
                        <a:pt x="0" y="18"/>
                      </a:moveTo>
                      <a:lnTo>
                        <a:pt x="13" y="0"/>
                      </a:lnTo>
                      <a:lnTo>
                        <a:pt x="0" y="18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76" name="Freeform 98">
                  <a:extLst>
                    <a:ext uri="{FF2B5EF4-FFF2-40B4-BE49-F238E27FC236}">
                      <a16:creationId xmlns="" xmlns:a16="http://schemas.microsoft.com/office/drawing/2014/main" id="{C6FB8CF4-7C22-4B54-8B75-11D7437135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26" y="2468"/>
                  <a:ext cx="8" cy="8"/>
                </a:xfrm>
                <a:custGeom>
                  <a:avLst/>
                  <a:gdLst>
                    <a:gd name="T0" fmla="*/ 0 w 26"/>
                    <a:gd name="T1" fmla="*/ 0 h 24"/>
                    <a:gd name="T2" fmla="*/ 0 w 26"/>
                    <a:gd name="T3" fmla="*/ 0 h 24"/>
                    <a:gd name="T4" fmla="*/ 0 w 26"/>
                    <a:gd name="T5" fmla="*/ 0 h 24"/>
                    <a:gd name="T6" fmla="*/ 0 w 26"/>
                    <a:gd name="T7" fmla="*/ 0 h 24"/>
                    <a:gd name="T8" fmla="*/ 0 w 26"/>
                    <a:gd name="T9" fmla="*/ 0 h 24"/>
                    <a:gd name="T10" fmla="*/ 0 w 26"/>
                    <a:gd name="T11" fmla="*/ 0 h 24"/>
                    <a:gd name="T12" fmla="*/ 0 w 26"/>
                    <a:gd name="T13" fmla="*/ 0 h 24"/>
                    <a:gd name="T14" fmla="*/ 0 w 26"/>
                    <a:gd name="T15" fmla="*/ 0 h 24"/>
                    <a:gd name="T16" fmla="*/ 0 w 26"/>
                    <a:gd name="T17" fmla="*/ 0 h 24"/>
                    <a:gd name="T18" fmla="*/ 0 w 26"/>
                    <a:gd name="T19" fmla="*/ 0 h 2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26"/>
                    <a:gd name="T31" fmla="*/ 0 h 24"/>
                    <a:gd name="T32" fmla="*/ 26 w 26"/>
                    <a:gd name="T33" fmla="*/ 24 h 2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26" h="24">
                      <a:moveTo>
                        <a:pt x="0" y="24"/>
                      </a:moveTo>
                      <a:lnTo>
                        <a:pt x="3" y="23"/>
                      </a:lnTo>
                      <a:lnTo>
                        <a:pt x="7" y="22"/>
                      </a:lnTo>
                      <a:lnTo>
                        <a:pt x="11" y="19"/>
                      </a:lnTo>
                      <a:lnTo>
                        <a:pt x="16" y="16"/>
                      </a:lnTo>
                      <a:lnTo>
                        <a:pt x="20" y="13"/>
                      </a:lnTo>
                      <a:lnTo>
                        <a:pt x="23" y="9"/>
                      </a:lnTo>
                      <a:lnTo>
                        <a:pt x="25" y="4"/>
                      </a:lnTo>
                      <a:lnTo>
                        <a:pt x="26" y="0"/>
                      </a:lnTo>
                      <a:lnTo>
                        <a:pt x="0" y="24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77" name="Freeform 99">
                  <a:extLst>
                    <a:ext uri="{FF2B5EF4-FFF2-40B4-BE49-F238E27FC236}">
                      <a16:creationId xmlns="" xmlns:a16="http://schemas.microsoft.com/office/drawing/2014/main" id="{23ADA523-6F14-4000-96AF-7EB3DAF6DA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90" y="2490"/>
                  <a:ext cx="11" cy="2"/>
                </a:xfrm>
                <a:custGeom>
                  <a:avLst/>
                  <a:gdLst>
                    <a:gd name="T0" fmla="*/ 0 w 34"/>
                    <a:gd name="T1" fmla="*/ 0 h 6"/>
                    <a:gd name="T2" fmla="*/ 0 w 34"/>
                    <a:gd name="T3" fmla="*/ 0 h 6"/>
                    <a:gd name="T4" fmla="*/ 0 w 34"/>
                    <a:gd name="T5" fmla="*/ 0 h 6"/>
                    <a:gd name="T6" fmla="*/ 0 w 34"/>
                    <a:gd name="T7" fmla="*/ 0 h 6"/>
                    <a:gd name="T8" fmla="*/ 0 w 34"/>
                    <a:gd name="T9" fmla="*/ 0 h 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4"/>
                    <a:gd name="T16" fmla="*/ 0 h 6"/>
                    <a:gd name="T17" fmla="*/ 34 w 34"/>
                    <a:gd name="T18" fmla="*/ 6 h 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4" h="6">
                      <a:moveTo>
                        <a:pt x="0" y="6"/>
                      </a:moveTo>
                      <a:lnTo>
                        <a:pt x="10" y="6"/>
                      </a:lnTo>
                      <a:lnTo>
                        <a:pt x="17" y="5"/>
                      </a:lnTo>
                      <a:lnTo>
                        <a:pt x="25" y="4"/>
                      </a:lnTo>
                      <a:lnTo>
                        <a:pt x="34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78" name="Line 100">
                  <a:extLst>
                    <a:ext uri="{FF2B5EF4-FFF2-40B4-BE49-F238E27FC236}">
                      <a16:creationId xmlns="" xmlns:a16="http://schemas.microsoft.com/office/drawing/2014/main" id="{CADC5C85-A9F0-4131-AEA0-E82F8F78855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5495" y="2490"/>
                  <a:ext cx="6" cy="1"/>
                </a:xfrm>
                <a:prstGeom prst="line">
                  <a:avLst/>
                </a:pr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79" name="Freeform 101">
                  <a:extLst>
                    <a:ext uri="{FF2B5EF4-FFF2-40B4-BE49-F238E27FC236}">
                      <a16:creationId xmlns="" xmlns:a16="http://schemas.microsoft.com/office/drawing/2014/main" id="{4D1D71BF-C253-47A0-A15F-084441032B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64" y="2530"/>
                  <a:ext cx="1" cy="7"/>
                </a:xfrm>
                <a:custGeom>
                  <a:avLst/>
                  <a:gdLst>
                    <a:gd name="T0" fmla="*/ 0 w 1"/>
                    <a:gd name="T1" fmla="*/ 0 h 19"/>
                    <a:gd name="T2" fmla="*/ 0 w 1"/>
                    <a:gd name="T3" fmla="*/ 0 h 19"/>
                    <a:gd name="T4" fmla="*/ 0 w 1"/>
                    <a:gd name="T5" fmla="*/ 0 h 19"/>
                    <a:gd name="T6" fmla="*/ 0 60000 65536"/>
                    <a:gd name="T7" fmla="*/ 0 60000 65536"/>
                    <a:gd name="T8" fmla="*/ 0 60000 65536"/>
                    <a:gd name="T9" fmla="*/ 0 w 1"/>
                    <a:gd name="T10" fmla="*/ 0 h 19"/>
                    <a:gd name="T11" fmla="*/ 1 w 1"/>
                    <a:gd name="T12" fmla="*/ 19 h 19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" h="19">
                      <a:moveTo>
                        <a:pt x="0" y="19"/>
                      </a:moveTo>
                      <a:lnTo>
                        <a:pt x="0" y="9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80" name="Line 102">
                  <a:extLst>
                    <a:ext uri="{FF2B5EF4-FFF2-40B4-BE49-F238E27FC236}">
                      <a16:creationId xmlns="" xmlns:a16="http://schemas.microsoft.com/office/drawing/2014/main" id="{5EBAAE63-0CDD-4FDE-9E31-1DF17CFAF73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464" y="2530"/>
                  <a:ext cx="6" cy="1"/>
                </a:xfrm>
                <a:prstGeom prst="line">
                  <a:avLst/>
                </a:pr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81" name="Freeform 103">
                  <a:extLst>
                    <a:ext uri="{FF2B5EF4-FFF2-40B4-BE49-F238E27FC236}">
                      <a16:creationId xmlns="" xmlns:a16="http://schemas.microsoft.com/office/drawing/2014/main" id="{69401E57-50EB-44BA-9AA3-3136BB94C7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66" y="2530"/>
                  <a:ext cx="4" cy="2"/>
                </a:xfrm>
                <a:custGeom>
                  <a:avLst/>
                  <a:gdLst>
                    <a:gd name="T0" fmla="*/ 0 w 14"/>
                    <a:gd name="T1" fmla="*/ 0 h 6"/>
                    <a:gd name="T2" fmla="*/ 0 w 14"/>
                    <a:gd name="T3" fmla="*/ 0 h 6"/>
                    <a:gd name="T4" fmla="*/ 0 w 14"/>
                    <a:gd name="T5" fmla="*/ 0 h 6"/>
                    <a:gd name="T6" fmla="*/ 0 60000 65536"/>
                    <a:gd name="T7" fmla="*/ 0 60000 65536"/>
                    <a:gd name="T8" fmla="*/ 0 60000 65536"/>
                    <a:gd name="T9" fmla="*/ 0 w 14"/>
                    <a:gd name="T10" fmla="*/ 0 h 6"/>
                    <a:gd name="T11" fmla="*/ 14 w 14"/>
                    <a:gd name="T12" fmla="*/ 6 h 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4" h="6">
                      <a:moveTo>
                        <a:pt x="14" y="0"/>
                      </a:moveTo>
                      <a:lnTo>
                        <a:pt x="7" y="3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782" name="Freeform 104">
                <a:extLst>
                  <a:ext uri="{FF2B5EF4-FFF2-40B4-BE49-F238E27FC236}">
                    <a16:creationId xmlns="" xmlns:a16="http://schemas.microsoft.com/office/drawing/2014/main" id="{C05222C5-F443-4C94-87B8-5FBFD99512F1}"/>
                  </a:ext>
                </a:extLst>
              </p:cNvPr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6310313" y="3228975"/>
                <a:ext cx="6350" cy="57150"/>
              </a:xfrm>
              <a:custGeom>
                <a:avLst/>
                <a:gdLst>
                  <a:gd name="T0" fmla="*/ 2147483646 w 26"/>
                  <a:gd name="T1" fmla="*/ 2147483646 h 111"/>
                  <a:gd name="T2" fmla="*/ 2147483646 w 26"/>
                  <a:gd name="T3" fmla="*/ 2147483646 h 111"/>
                  <a:gd name="T4" fmla="*/ 2147483646 w 26"/>
                  <a:gd name="T5" fmla="*/ 2147483646 h 111"/>
                  <a:gd name="T6" fmla="*/ 2147483646 w 26"/>
                  <a:gd name="T7" fmla="*/ 2147483646 h 111"/>
                  <a:gd name="T8" fmla="*/ 2147483646 w 26"/>
                  <a:gd name="T9" fmla="*/ 2147483646 h 111"/>
                  <a:gd name="T10" fmla="*/ 0 w 26"/>
                  <a:gd name="T11" fmla="*/ 2147483646 h 111"/>
                  <a:gd name="T12" fmla="*/ 0 w 26"/>
                  <a:gd name="T13" fmla="*/ 2147483646 h 111"/>
                  <a:gd name="T14" fmla="*/ 0 w 26"/>
                  <a:gd name="T15" fmla="*/ 2147483646 h 111"/>
                  <a:gd name="T16" fmla="*/ 2147483646 w 26"/>
                  <a:gd name="T17" fmla="*/ 2147483646 h 111"/>
                  <a:gd name="T18" fmla="*/ 2147483646 w 26"/>
                  <a:gd name="T19" fmla="*/ 2147483646 h 111"/>
                  <a:gd name="T20" fmla="*/ 2147483646 w 26"/>
                  <a:gd name="T21" fmla="*/ 2147483646 h 111"/>
                  <a:gd name="T22" fmla="*/ 2147483646 w 26"/>
                  <a:gd name="T23" fmla="*/ 2147483646 h 111"/>
                  <a:gd name="T24" fmla="*/ 2147483646 w 26"/>
                  <a:gd name="T25" fmla="*/ 2147483646 h 111"/>
                  <a:gd name="T26" fmla="*/ 2147483646 w 26"/>
                  <a:gd name="T27" fmla="*/ 2147483646 h 111"/>
                  <a:gd name="T28" fmla="*/ 2147483646 w 26"/>
                  <a:gd name="T29" fmla="*/ 0 h 111"/>
                  <a:gd name="T30" fmla="*/ 2147483646 w 26"/>
                  <a:gd name="T31" fmla="*/ 2147483646 h 111"/>
                  <a:gd name="T32" fmla="*/ 2147483646 w 26"/>
                  <a:gd name="T33" fmla="*/ 2147483646 h 111"/>
                  <a:gd name="T34" fmla="*/ 2147483646 w 26"/>
                  <a:gd name="T35" fmla="*/ 2147483646 h 111"/>
                  <a:gd name="T36" fmla="*/ 2147483646 w 26"/>
                  <a:gd name="T37" fmla="*/ 2147483646 h 111"/>
                  <a:gd name="T38" fmla="*/ 2147483646 w 26"/>
                  <a:gd name="T39" fmla="*/ 2147483646 h 111"/>
                  <a:gd name="T40" fmla="*/ 2147483646 w 26"/>
                  <a:gd name="T41" fmla="*/ 2147483646 h 111"/>
                  <a:gd name="T42" fmla="*/ 2147483646 w 26"/>
                  <a:gd name="T43" fmla="*/ 2147483646 h 111"/>
                  <a:gd name="T44" fmla="*/ 2147483646 w 26"/>
                  <a:gd name="T45" fmla="*/ 2147483646 h 111"/>
                  <a:gd name="T46" fmla="*/ 2147483646 w 26"/>
                  <a:gd name="T47" fmla="*/ 2147483646 h 11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26"/>
                  <a:gd name="T73" fmla="*/ 0 h 111"/>
                  <a:gd name="T74" fmla="*/ 26 w 26"/>
                  <a:gd name="T75" fmla="*/ 111 h 111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26" h="111">
                    <a:moveTo>
                      <a:pt x="13" y="111"/>
                    </a:moveTo>
                    <a:lnTo>
                      <a:pt x="9" y="103"/>
                    </a:lnTo>
                    <a:lnTo>
                      <a:pt x="4" y="95"/>
                    </a:lnTo>
                    <a:lnTo>
                      <a:pt x="2" y="91"/>
                    </a:lnTo>
                    <a:lnTo>
                      <a:pt x="1" y="87"/>
                    </a:lnTo>
                    <a:lnTo>
                      <a:pt x="0" y="80"/>
                    </a:lnTo>
                    <a:lnTo>
                      <a:pt x="0" y="74"/>
                    </a:lnTo>
                    <a:lnTo>
                      <a:pt x="0" y="61"/>
                    </a:lnTo>
                    <a:lnTo>
                      <a:pt x="1" y="51"/>
                    </a:lnTo>
                    <a:lnTo>
                      <a:pt x="3" y="41"/>
                    </a:lnTo>
                    <a:lnTo>
                      <a:pt x="5" y="33"/>
                    </a:lnTo>
                    <a:lnTo>
                      <a:pt x="9" y="24"/>
                    </a:lnTo>
                    <a:lnTo>
                      <a:pt x="14" y="17"/>
                    </a:lnTo>
                    <a:lnTo>
                      <a:pt x="20" y="9"/>
                    </a:lnTo>
                    <a:lnTo>
                      <a:pt x="26" y="0"/>
                    </a:lnTo>
                    <a:lnTo>
                      <a:pt x="26" y="6"/>
                    </a:lnTo>
                    <a:lnTo>
                      <a:pt x="26" y="13"/>
                    </a:lnTo>
                    <a:lnTo>
                      <a:pt x="26" y="22"/>
                    </a:lnTo>
                    <a:lnTo>
                      <a:pt x="26" y="32"/>
                    </a:lnTo>
                    <a:lnTo>
                      <a:pt x="25" y="44"/>
                    </a:lnTo>
                    <a:lnTo>
                      <a:pt x="22" y="56"/>
                    </a:lnTo>
                    <a:lnTo>
                      <a:pt x="18" y="67"/>
                    </a:lnTo>
                    <a:lnTo>
                      <a:pt x="13" y="80"/>
                    </a:lnTo>
                    <a:lnTo>
                      <a:pt x="13" y="111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83" name="Freeform 105">
                <a:extLst>
                  <a:ext uri="{FF2B5EF4-FFF2-40B4-BE49-F238E27FC236}">
                    <a16:creationId xmlns="" xmlns:a16="http://schemas.microsoft.com/office/drawing/2014/main" id="{2B1C8BBE-E8EA-4B55-A50B-D7A3311C301C}"/>
                  </a:ext>
                </a:extLst>
              </p:cNvPr>
              <p:cNvSpPr>
                <a:spLocks/>
              </p:cNvSpPr>
              <p:nvPr>
                <p:custDataLst>
                  <p:tags r:id="rId76"/>
                </p:custDataLst>
              </p:nvPr>
            </p:nvSpPr>
            <p:spPr bwMode="auto">
              <a:xfrm>
                <a:off x="3209925" y="5368925"/>
                <a:ext cx="53975" cy="58738"/>
              </a:xfrm>
              <a:custGeom>
                <a:avLst/>
                <a:gdLst>
                  <a:gd name="T0" fmla="*/ 0 w 126"/>
                  <a:gd name="T1" fmla="*/ 2147483646 h 62"/>
                  <a:gd name="T2" fmla="*/ 2147483646 w 126"/>
                  <a:gd name="T3" fmla="*/ 2147483646 h 62"/>
                  <a:gd name="T4" fmla="*/ 2147483646 w 126"/>
                  <a:gd name="T5" fmla="*/ 2147483646 h 62"/>
                  <a:gd name="T6" fmla="*/ 2147483646 w 126"/>
                  <a:gd name="T7" fmla="*/ 2147483646 h 62"/>
                  <a:gd name="T8" fmla="*/ 2147483646 w 126"/>
                  <a:gd name="T9" fmla="*/ 2147483646 h 62"/>
                  <a:gd name="T10" fmla="*/ 2147483646 w 126"/>
                  <a:gd name="T11" fmla="*/ 2147483646 h 62"/>
                  <a:gd name="T12" fmla="*/ 2147483646 w 126"/>
                  <a:gd name="T13" fmla="*/ 2147483646 h 62"/>
                  <a:gd name="T14" fmla="*/ 2147483646 w 126"/>
                  <a:gd name="T15" fmla="*/ 2147483646 h 62"/>
                  <a:gd name="T16" fmla="*/ 2147483646 w 126"/>
                  <a:gd name="T17" fmla="*/ 2147483646 h 62"/>
                  <a:gd name="T18" fmla="*/ 2147483646 w 126"/>
                  <a:gd name="T19" fmla="*/ 2147483646 h 62"/>
                  <a:gd name="T20" fmla="*/ 2147483646 w 126"/>
                  <a:gd name="T21" fmla="*/ 2147483646 h 62"/>
                  <a:gd name="T22" fmla="*/ 2147483646 w 126"/>
                  <a:gd name="T23" fmla="*/ 2147483646 h 62"/>
                  <a:gd name="T24" fmla="*/ 2147483646 w 126"/>
                  <a:gd name="T25" fmla="*/ 2147483646 h 62"/>
                  <a:gd name="T26" fmla="*/ 2147483646 w 126"/>
                  <a:gd name="T27" fmla="*/ 2147483646 h 62"/>
                  <a:gd name="T28" fmla="*/ 2147483646 w 126"/>
                  <a:gd name="T29" fmla="*/ 2147483646 h 62"/>
                  <a:gd name="T30" fmla="*/ 2147483646 w 126"/>
                  <a:gd name="T31" fmla="*/ 2147483646 h 62"/>
                  <a:gd name="T32" fmla="*/ 2147483646 w 126"/>
                  <a:gd name="T33" fmla="*/ 2147483646 h 62"/>
                  <a:gd name="T34" fmla="*/ 2147483646 w 126"/>
                  <a:gd name="T35" fmla="*/ 2147483646 h 62"/>
                  <a:gd name="T36" fmla="*/ 2147483646 w 126"/>
                  <a:gd name="T37" fmla="*/ 2147483646 h 62"/>
                  <a:gd name="T38" fmla="*/ 2147483646 w 126"/>
                  <a:gd name="T39" fmla="*/ 2147483646 h 62"/>
                  <a:gd name="T40" fmla="*/ 2147483646 w 126"/>
                  <a:gd name="T41" fmla="*/ 2147483646 h 62"/>
                  <a:gd name="T42" fmla="*/ 2147483646 w 126"/>
                  <a:gd name="T43" fmla="*/ 2147483646 h 62"/>
                  <a:gd name="T44" fmla="*/ 2147483646 w 126"/>
                  <a:gd name="T45" fmla="*/ 2147483646 h 62"/>
                  <a:gd name="T46" fmla="*/ 2147483646 w 126"/>
                  <a:gd name="T47" fmla="*/ 2147483646 h 62"/>
                  <a:gd name="T48" fmla="*/ 2147483646 w 126"/>
                  <a:gd name="T49" fmla="*/ 0 h 62"/>
                  <a:gd name="T50" fmla="*/ 0 w 126"/>
                  <a:gd name="T51" fmla="*/ 0 h 62"/>
                  <a:gd name="T52" fmla="*/ 0 w 126"/>
                  <a:gd name="T53" fmla="*/ 2147483646 h 62"/>
                  <a:gd name="T54" fmla="*/ 0 w 126"/>
                  <a:gd name="T55" fmla="*/ 2147483646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126"/>
                  <a:gd name="T85" fmla="*/ 0 h 62"/>
                  <a:gd name="T86" fmla="*/ 126 w 126"/>
                  <a:gd name="T87" fmla="*/ 62 h 62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126" h="62">
                    <a:moveTo>
                      <a:pt x="0" y="19"/>
                    </a:moveTo>
                    <a:lnTo>
                      <a:pt x="11" y="20"/>
                    </a:lnTo>
                    <a:lnTo>
                      <a:pt x="21" y="21"/>
                    </a:lnTo>
                    <a:lnTo>
                      <a:pt x="29" y="23"/>
                    </a:lnTo>
                    <a:lnTo>
                      <a:pt x="36" y="26"/>
                    </a:lnTo>
                    <a:lnTo>
                      <a:pt x="50" y="33"/>
                    </a:lnTo>
                    <a:lnTo>
                      <a:pt x="61" y="40"/>
                    </a:lnTo>
                    <a:lnTo>
                      <a:pt x="70" y="48"/>
                    </a:lnTo>
                    <a:lnTo>
                      <a:pt x="79" y="55"/>
                    </a:lnTo>
                    <a:lnTo>
                      <a:pt x="84" y="58"/>
                    </a:lnTo>
                    <a:lnTo>
                      <a:pt x="89" y="60"/>
                    </a:lnTo>
                    <a:lnTo>
                      <a:pt x="95" y="61"/>
                    </a:lnTo>
                    <a:lnTo>
                      <a:pt x="100" y="62"/>
                    </a:lnTo>
                    <a:lnTo>
                      <a:pt x="105" y="61"/>
                    </a:lnTo>
                    <a:lnTo>
                      <a:pt x="109" y="60"/>
                    </a:lnTo>
                    <a:lnTo>
                      <a:pt x="113" y="58"/>
                    </a:lnTo>
                    <a:lnTo>
                      <a:pt x="117" y="56"/>
                    </a:lnTo>
                    <a:lnTo>
                      <a:pt x="122" y="51"/>
                    </a:lnTo>
                    <a:lnTo>
                      <a:pt x="126" y="49"/>
                    </a:lnTo>
                    <a:lnTo>
                      <a:pt x="110" y="33"/>
                    </a:lnTo>
                    <a:lnTo>
                      <a:pt x="96" y="21"/>
                    </a:lnTo>
                    <a:lnTo>
                      <a:pt x="89" y="15"/>
                    </a:lnTo>
                    <a:lnTo>
                      <a:pt x="81" y="9"/>
                    </a:lnTo>
                    <a:lnTo>
                      <a:pt x="72" y="5"/>
                    </a:lnTo>
                    <a:lnTo>
                      <a:pt x="61" y="0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84" name="Freeform 106">
                <a:extLst>
                  <a:ext uri="{FF2B5EF4-FFF2-40B4-BE49-F238E27FC236}">
                    <a16:creationId xmlns="" xmlns:a16="http://schemas.microsoft.com/office/drawing/2014/main" id="{35DE3B08-EEF1-4961-8194-C43C6627619B}"/>
                  </a:ext>
                </a:extLst>
              </p:cNvPr>
              <p:cNvSpPr>
                <a:spLocks/>
              </p:cNvSpPr>
              <p:nvPr>
                <p:custDataLst>
                  <p:tags r:id="rId77"/>
                </p:custDataLst>
              </p:nvPr>
            </p:nvSpPr>
            <p:spPr bwMode="auto">
              <a:xfrm>
                <a:off x="5511800" y="5207000"/>
                <a:ext cx="30163" cy="55563"/>
              </a:xfrm>
              <a:custGeom>
                <a:avLst/>
                <a:gdLst>
                  <a:gd name="T0" fmla="*/ 0 w 66"/>
                  <a:gd name="T1" fmla="*/ 0 h 44"/>
                  <a:gd name="T2" fmla="*/ 2147483646 w 66"/>
                  <a:gd name="T3" fmla="*/ 2147483646 h 44"/>
                  <a:gd name="T4" fmla="*/ 2147483646 w 66"/>
                  <a:gd name="T5" fmla="*/ 2147483646 h 44"/>
                  <a:gd name="T6" fmla="*/ 2147483646 w 66"/>
                  <a:gd name="T7" fmla="*/ 2147483646 h 44"/>
                  <a:gd name="T8" fmla="*/ 2147483646 w 66"/>
                  <a:gd name="T9" fmla="*/ 2147483646 h 44"/>
                  <a:gd name="T10" fmla="*/ 2147483646 w 66"/>
                  <a:gd name="T11" fmla="*/ 2147483646 h 44"/>
                  <a:gd name="T12" fmla="*/ 2147483646 w 66"/>
                  <a:gd name="T13" fmla="*/ 2147483646 h 44"/>
                  <a:gd name="T14" fmla="*/ 2147483646 w 66"/>
                  <a:gd name="T15" fmla="*/ 2147483646 h 44"/>
                  <a:gd name="T16" fmla="*/ 2147483646 w 66"/>
                  <a:gd name="T17" fmla="*/ 2147483646 h 44"/>
                  <a:gd name="T18" fmla="*/ 2147483646 w 66"/>
                  <a:gd name="T19" fmla="*/ 2147483646 h 44"/>
                  <a:gd name="T20" fmla="*/ 2147483646 w 66"/>
                  <a:gd name="T21" fmla="*/ 2147483646 h 44"/>
                  <a:gd name="T22" fmla="*/ 2147483646 w 66"/>
                  <a:gd name="T23" fmla="*/ 2147483646 h 44"/>
                  <a:gd name="T24" fmla="*/ 2147483646 w 66"/>
                  <a:gd name="T25" fmla="*/ 2147483646 h 44"/>
                  <a:gd name="T26" fmla="*/ 2147483646 w 66"/>
                  <a:gd name="T27" fmla="*/ 2147483646 h 44"/>
                  <a:gd name="T28" fmla="*/ 2147483646 w 66"/>
                  <a:gd name="T29" fmla="*/ 2147483646 h 44"/>
                  <a:gd name="T30" fmla="*/ 2147483646 w 66"/>
                  <a:gd name="T31" fmla="*/ 2147483646 h 44"/>
                  <a:gd name="T32" fmla="*/ 2147483646 w 66"/>
                  <a:gd name="T33" fmla="*/ 2147483646 h 44"/>
                  <a:gd name="T34" fmla="*/ 2147483646 w 66"/>
                  <a:gd name="T35" fmla="*/ 2147483646 h 44"/>
                  <a:gd name="T36" fmla="*/ 0 w 66"/>
                  <a:gd name="T37" fmla="*/ 2147483646 h 44"/>
                  <a:gd name="T38" fmla="*/ 0 w 66"/>
                  <a:gd name="T39" fmla="*/ 2147483646 h 44"/>
                  <a:gd name="T40" fmla="*/ 0 w 66"/>
                  <a:gd name="T41" fmla="*/ 2147483646 h 44"/>
                  <a:gd name="T42" fmla="*/ 0 w 66"/>
                  <a:gd name="T43" fmla="*/ 2147483646 h 44"/>
                  <a:gd name="T44" fmla="*/ 0 w 66"/>
                  <a:gd name="T45" fmla="*/ 0 h 4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66"/>
                  <a:gd name="T70" fmla="*/ 0 h 44"/>
                  <a:gd name="T71" fmla="*/ 66 w 66"/>
                  <a:gd name="T72" fmla="*/ 44 h 44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66" h="44">
                    <a:moveTo>
                      <a:pt x="0" y="0"/>
                    </a:moveTo>
                    <a:lnTo>
                      <a:pt x="13" y="1"/>
                    </a:lnTo>
                    <a:lnTo>
                      <a:pt x="23" y="2"/>
                    </a:lnTo>
                    <a:lnTo>
                      <a:pt x="32" y="4"/>
                    </a:lnTo>
                    <a:lnTo>
                      <a:pt x="38" y="7"/>
                    </a:lnTo>
                    <a:lnTo>
                      <a:pt x="44" y="9"/>
                    </a:lnTo>
                    <a:lnTo>
                      <a:pt x="50" y="11"/>
                    </a:lnTo>
                    <a:lnTo>
                      <a:pt x="57" y="12"/>
                    </a:lnTo>
                    <a:lnTo>
                      <a:pt x="66" y="13"/>
                    </a:lnTo>
                    <a:lnTo>
                      <a:pt x="65" y="17"/>
                    </a:lnTo>
                    <a:lnTo>
                      <a:pt x="62" y="21"/>
                    </a:lnTo>
                    <a:lnTo>
                      <a:pt x="60" y="25"/>
                    </a:lnTo>
                    <a:lnTo>
                      <a:pt x="57" y="28"/>
                    </a:lnTo>
                    <a:lnTo>
                      <a:pt x="49" y="34"/>
                    </a:lnTo>
                    <a:lnTo>
                      <a:pt x="40" y="39"/>
                    </a:lnTo>
                    <a:lnTo>
                      <a:pt x="31" y="42"/>
                    </a:lnTo>
                    <a:lnTo>
                      <a:pt x="21" y="44"/>
                    </a:lnTo>
                    <a:lnTo>
                      <a:pt x="10" y="44"/>
                    </a:lnTo>
                    <a:lnTo>
                      <a:pt x="0" y="43"/>
                    </a:lnTo>
                    <a:lnTo>
                      <a:pt x="0" y="31"/>
                    </a:lnTo>
                    <a:lnTo>
                      <a:pt x="0" y="22"/>
                    </a:lnTo>
                    <a:lnTo>
                      <a:pt x="0" y="1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85" name="Freeform 107">
                <a:extLst>
                  <a:ext uri="{FF2B5EF4-FFF2-40B4-BE49-F238E27FC236}">
                    <a16:creationId xmlns="" xmlns:a16="http://schemas.microsoft.com/office/drawing/2014/main" id="{77477F98-9B9E-46C6-B70D-AC19B47D40A4}"/>
                  </a:ext>
                </a:extLst>
              </p:cNvPr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auto">
              <a:xfrm>
                <a:off x="7666038" y="1978025"/>
                <a:ext cx="20637" cy="57150"/>
              </a:xfrm>
              <a:custGeom>
                <a:avLst/>
                <a:gdLst>
                  <a:gd name="T0" fmla="*/ 2147483646 w 46"/>
                  <a:gd name="T1" fmla="*/ 0 h 16"/>
                  <a:gd name="T2" fmla="*/ 2147483646 w 46"/>
                  <a:gd name="T3" fmla="*/ 2147483646 h 16"/>
                  <a:gd name="T4" fmla="*/ 2147483646 w 46"/>
                  <a:gd name="T5" fmla="*/ 2147483646 h 16"/>
                  <a:gd name="T6" fmla="*/ 2147483646 w 46"/>
                  <a:gd name="T7" fmla="*/ 2147483646 h 16"/>
                  <a:gd name="T8" fmla="*/ 2147483646 w 46"/>
                  <a:gd name="T9" fmla="*/ 2147483646 h 16"/>
                  <a:gd name="T10" fmla="*/ 2147483646 w 46"/>
                  <a:gd name="T11" fmla="*/ 2147483646 h 16"/>
                  <a:gd name="T12" fmla="*/ 2147483646 w 46"/>
                  <a:gd name="T13" fmla="*/ 2147483646 h 16"/>
                  <a:gd name="T14" fmla="*/ 2147483646 w 46"/>
                  <a:gd name="T15" fmla="*/ 2147483646 h 16"/>
                  <a:gd name="T16" fmla="*/ 2147483646 w 46"/>
                  <a:gd name="T17" fmla="*/ 2147483646 h 16"/>
                  <a:gd name="T18" fmla="*/ 2147483646 w 46"/>
                  <a:gd name="T19" fmla="*/ 2147483646 h 16"/>
                  <a:gd name="T20" fmla="*/ 0 w 46"/>
                  <a:gd name="T21" fmla="*/ 0 h 16"/>
                  <a:gd name="T22" fmla="*/ 2147483646 w 46"/>
                  <a:gd name="T23" fmla="*/ 0 h 1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6"/>
                  <a:gd name="T37" fmla="*/ 0 h 16"/>
                  <a:gd name="T38" fmla="*/ 46 w 46"/>
                  <a:gd name="T39" fmla="*/ 16 h 1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6" h="16">
                    <a:moveTo>
                      <a:pt x="46" y="0"/>
                    </a:moveTo>
                    <a:lnTo>
                      <a:pt x="40" y="7"/>
                    </a:lnTo>
                    <a:lnTo>
                      <a:pt x="35" y="13"/>
                    </a:lnTo>
                    <a:lnTo>
                      <a:pt x="31" y="14"/>
                    </a:lnTo>
                    <a:lnTo>
                      <a:pt x="29" y="15"/>
                    </a:lnTo>
                    <a:lnTo>
                      <a:pt x="26" y="16"/>
                    </a:lnTo>
                    <a:lnTo>
                      <a:pt x="23" y="16"/>
                    </a:lnTo>
                    <a:lnTo>
                      <a:pt x="16" y="14"/>
                    </a:lnTo>
                    <a:lnTo>
                      <a:pt x="11" y="11"/>
                    </a:lnTo>
                    <a:lnTo>
                      <a:pt x="5" y="6"/>
                    </a:lnTo>
                    <a:lnTo>
                      <a:pt x="0" y="0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86" name="Freeform 108">
                <a:extLst>
                  <a:ext uri="{FF2B5EF4-FFF2-40B4-BE49-F238E27FC236}">
                    <a16:creationId xmlns="" xmlns:a16="http://schemas.microsoft.com/office/drawing/2014/main" id="{A3E1BD3F-C62F-474F-B9D1-92FD8C173FE8}"/>
                  </a:ext>
                </a:extLst>
              </p:cNvPr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auto">
              <a:xfrm>
                <a:off x="7842250" y="2011363"/>
                <a:ext cx="15875" cy="57150"/>
              </a:xfrm>
              <a:custGeom>
                <a:avLst/>
                <a:gdLst>
                  <a:gd name="T0" fmla="*/ 2147483646 w 39"/>
                  <a:gd name="T1" fmla="*/ 2147483646 h 26"/>
                  <a:gd name="T2" fmla="*/ 2147483646 w 39"/>
                  <a:gd name="T3" fmla="*/ 2147483646 h 26"/>
                  <a:gd name="T4" fmla="*/ 2147483646 w 39"/>
                  <a:gd name="T5" fmla="*/ 2147483646 h 26"/>
                  <a:gd name="T6" fmla="*/ 2147483646 w 39"/>
                  <a:gd name="T7" fmla="*/ 2147483646 h 26"/>
                  <a:gd name="T8" fmla="*/ 2147483646 w 39"/>
                  <a:gd name="T9" fmla="*/ 2147483646 h 26"/>
                  <a:gd name="T10" fmla="*/ 2147483646 w 39"/>
                  <a:gd name="T11" fmla="*/ 2147483646 h 26"/>
                  <a:gd name="T12" fmla="*/ 2147483646 w 39"/>
                  <a:gd name="T13" fmla="*/ 2147483646 h 26"/>
                  <a:gd name="T14" fmla="*/ 2147483646 w 39"/>
                  <a:gd name="T15" fmla="*/ 2147483646 h 26"/>
                  <a:gd name="T16" fmla="*/ 2147483646 w 39"/>
                  <a:gd name="T17" fmla="*/ 2147483646 h 26"/>
                  <a:gd name="T18" fmla="*/ 2147483646 w 39"/>
                  <a:gd name="T19" fmla="*/ 2147483646 h 26"/>
                  <a:gd name="T20" fmla="*/ 0 w 39"/>
                  <a:gd name="T21" fmla="*/ 0 h 26"/>
                  <a:gd name="T22" fmla="*/ 2147483646 w 39"/>
                  <a:gd name="T23" fmla="*/ 2147483646 h 26"/>
                  <a:gd name="T24" fmla="*/ 2147483646 w 39"/>
                  <a:gd name="T25" fmla="*/ 2147483646 h 26"/>
                  <a:gd name="T26" fmla="*/ 2147483646 w 39"/>
                  <a:gd name="T27" fmla="*/ 2147483646 h 26"/>
                  <a:gd name="T28" fmla="*/ 2147483646 w 39"/>
                  <a:gd name="T29" fmla="*/ 2147483646 h 2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9"/>
                  <a:gd name="T46" fmla="*/ 0 h 26"/>
                  <a:gd name="T47" fmla="*/ 39 w 39"/>
                  <a:gd name="T48" fmla="*/ 26 h 2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9" h="26">
                    <a:moveTo>
                      <a:pt x="39" y="25"/>
                    </a:moveTo>
                    <a:lnTo>
                      <a:pt x="36" y="26"/>
                    </a:lnTo>
                    <a:lnTo>
                      <a:pt x="32" y="26"/>
                    </a:lnTo>
                    <a:lnTo>
                      <a:pt x="28" y="26"/>
                    </a:lnTo>
                    <a:lnTo>
                      <a:pt x="25" y="25"/>
                    </a:lnTo>
                    <a:lnTo>
                      <a:pt x="18" y="22"/>
                    </a:lnTo>
                    <a:lnTo>
                      <a:pt x="12" y="18"/>
                    </a:lnTo>
                    <a:lnTo>
                      <a:pt x="7" y="13"/>
                    </a:lnTo>
                    <a:lnTo>
                      <a:pt x="3" y="7"/>
                    </a:lnTo>
                    <a:lnTo>
                      <a:pt x="1" y="3"/>
                    </a:lnTo>
                    <a:lnTo>
                      <a:pt x="0" y="0"/>
                    </a:lnTo>
                    <a:lnTo>
                      <a:pt x="11" y="6"/>
                    </a:lnTo>
                    <a:lnTo>
                      <a:pt x="22" y="13"/>
                    </a:lnTo>
                    <a:lnTo>
                      <a:pt x="33" y="20"/>
                    </a:lnTo>
                    <a:lnTo>
                      <a:pt x="39" y="25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87" name="Freeform 109">
                <a:extLst>
                  <a:ext uri="{FF2B5EF4-FFF2-40B4-BE49-F238E27FC236}">
                    <a16:creationId xmlns="" xmlns:a16="http://schemas.microsoft.com/office/drawing/2014/main" id="{0F175951-59AE-4B69-8DDA-97A7D55F32A7}"/>
                  </a:ext>
                </a:extLst>
              </p:cNvPr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auto">
              <a:xfrm>
                <a:off x="7291388" y="2241550"/>
                <a:ext cx="4762" cy="58738"/>
              </a:xfrm>
              <a:custGeom>
                <a:avLst/>
                <a:gdLst>
                  <a:gd name="T0" fmla="*/ 2147483646 w 11"/>
                  <a:gd name="T1" fmla="*/ 0 h 25"/>
                  <a:gd name="T2" fmla="*/ 2147483646 w 11"/>
                  <a:gd name="T3" fmla="*/ 2147483646 h 25"/>
                  <a:gd name="T4" fmla="*/ 2147483646 w 11"/>
                  <a:gd name="T5" fmla="*/ 2147483646 h 25"/>
                  <a:gd name="T6" fmla="*/ 2147483646 w 11"/>
                  <a:gd name="T7" fmla="*/ 2147483646 h 25"/>
                  <a:gd name="T8" fmla="*/ 2147483646 w 11"/>
                  <a:gd name="T9" fmla="*/ 2147483646 h 25"/>
                  <a:gd name="T10" fmla="*/ 2147483646 w 11"/>
                  <a:gd name="T11" fmla="*/ 2147483646 h 25"/>
                  <a:gd name="T12" fmla="*/ 2147483646 w 11"/>
                  <a:gd name="T13" fmla="*/ 2147483646 h 25"/>
                  <a:gd name="T14" fmla="*/ 0 w 11"/>
                  <a:gd name="T15" fmla="*/ 2147483646 h 25"/>
                  <a:gd name="T16" fmla="*/ 0 w 11"/>
                  <a:gd name="T17" fmla="*/ 2147483646 h 25"/>
                  <a:gd name="T18" fmla="*/ 2147483646 w 11"/>
                  <a:gd name="T19" fmla="*/ 2147483646 h 25"/>
                  <a:gd name="T20" fmla="*/ 2147483646 w 11"/>
                  <a:gd name="T21" fmla="*/ 2147483646 h 25"/>
                  <a:gd name="T22" fmla="*/ 2147483646 w 11"/>
                  <a:gd name="T23" fmla="*/ 2147483646 h 25"/>
                  <a:gd name="T24" fmla="*/ 2147483646 w 11"/>
                  <a:gd name="T25" fmla="*/ 0 h 2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1"/>
                  <a:gd name="T40" fmla="*/ 0 h 25"/>
                  <a:gd name="T41" fmla="*/ 11 w 11"/>
                  <a:gd name="T42" fmla="*/ 25 h 25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1" h="25">
                    <a:moveTo>
                      <a:pt x="11" y="0"/>
                    </a:moveTo>
                    <a:lnTo>
                      <a:pt x="11" y="5"/>
                    </a:lnTo>
                    <a:lnTo>
                      <a:pt x="10" y="12"/>
                    </a:lnTo>
                    <a:lnTo>
                      <a:pt x="9" y="20"/>
                    </a:lnTo>
                    <a:lnTo>
                      <a:pt x="4" y="25"/>
                    </a:lnTo>
                    <a:lnTo>
                      <a:pt x="2" y="23"/>
                    </a:lnTo>
                    <a:lnTo>
                      <a:pt x="1" y="20"/>
                    </a:lnTo>
                    <a:lnTo>
                      <a:pt x="0" y="15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3" y="5"/>
                    </a:lnTo>
                    <a:lnTo>
                      <a:pt x="6" y="2"/>
                    </a:lnTo>
                    <a:lnTo>
                      <a:pt x="11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88" name="Freeform 110">
                <a:extLst>
                  <a:ext uri="{FF2B5EF4-FFF2-40B4-BE49-F238E27FC236}">
                    <a16:creationId xmlns="" xmlns:a16="http://schemas.microsoft.com/office/drawing/2014/main" id="{94A259B9-882A-4BC2-8260-58105CE8867B}"/>
                  </a:ext>
                </a:extLst>
              </p:cNvPr>
              <p:cNvSpPr>
                <a:spLocks/>
              </p:cNvSpPr>
              <p:nvPr>
                <p:custDataLst>
                  <p:tags r:id="rId81"/>
                </p:custDataLst>
              </p:nvPr>
            </p:nvSpPr>
            <p:spPr bwMode="auto">
              <a:xfrm>
                <a:off x="7105650" y="2803525"/>
                <a:ext cx="14288" cy="58738"/>
              </a:xfrm>
              <a:custGeom>
                <a:avLst/>
                <a:gdLst>
                  <a:gd name="T0" fmla="*/ 2147483646 w 20"/>
                  <a:gd name="T1" fmla="*/ 0 h 31"/>
                  <a:gd name="T2" fmla="*/ 2147483646 w 20"/>
                  <a:gd name="T3" fmla="*/ 2147483646 h 31"/>
                  <a:gd name="T4" fmla="*/ 2147483646 w 20"/>
                  <a:gd name="T5" fmla="*/ 2147483646 h 31"/>
                  <a:gd name="T6" fmla="*/ 2147483646 w 20"/>
                  <a:gd name="T7" fmla="*/ 2147483646 h 31"/>
                  <a:gd name="T8" fmla="*/ 0 w 20"/>
                  <a:gd name="T9" fmla="*/ 2147483646 h 31"/>
                  <a:gd name="T10" fmla="*/ 0 w 20"/>
                  <a:gd name="T11" fmla="*/ 2147483646 h 31"/>
                  <a:gd name="T12" fmla="*/ 2147483646 w 20"/>
                  <a:gd name="T13" fmla="*/ 2147483646 h 31"/>
                  <a:gd name="T14" fmla="*/ 2147483646 w 20"/>
                  <a:gd name="T15" fmla="*/ 2147483646 h 31"/>
                  <a:gd name="T16" fmla="*/ 2147483646 w 20"/>
                  <a:gd name="T17" fmla="*/ 2147483646 h 31"/>
                  <a:gd name="T18" fmla="*/ 2147483646 w 20"/>
                  <a:gd name="T19" fmla="*/ 2147483646 h 31"/>
                  <a:gd name="T20" fmla="*/ 2147483646 w 20"/>
                  <a:gd name="T21" fmla="*/ 2147483646 h 31"/>
                  <a:gd name="T22" fmla="*/ 2147483646 w 20"/>
                  <a:gd name="T23" fmla="*/ 0 h 31"/>
                  <a:gd name="T24" fmla="*/ 2147483646 w 20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0"/>
                  <a:gd name="T40" fmla="*/ 0 h 31"/>
                  <a:gd name="T41" fmla="*/ 20 w 20"/>
                  <a:gd name="T42" fmla="*/ 31 h 31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0" h="31">
                    <a:moveTo>
                      <a:pt x="20" y="0"/>
                    </a:moveTo>
                    <a:lnTo>
                      <a:pt x="16" y="12"/>
                    </a:lnTo>
                    <a:lnTo>
                      <a:pt x="10" y="20"/>
                    </a:lnTo>
                    <a:lnTo>
                      <a:pt x="5" y="26"/>
                    </a:lnTo>
                    <a:lnTo>
                      <a:pt x="0" y="31"/>
                    </a:lnTo>
                    <a:lnTo>
                      <a:pt x="0" y="25"/>
                    </a:lnTo>
                    <a:lnTo>
                      <a:pt x="1" y="19"/>
                    </a:lnTo>
                    <a:lnTo>
                      <a:pt x="2" y="13"/>
                    </a:lnTo>
                    <a:lnTo>
                      <a:pt x="5" y="9"/>
                    </a:lnTo>
                    <a:lnTo>
                      <a:pt x="8" y="6"/>
                    </a:lnTo>
                    <a:lnTo>
                      <a:pt x="11" y="3"/>
                    </a:lnTo>
                    <a:lnTo>
                      <a:pt x="16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89" name="Freeform 111">
                <a:extLst>
                  <a:ext uri="{FF2B5EF4-FFF2-40B4-BE49-F238E27FC236}">
                    <a16:creationId xmlns="" xmlns:a16="http://schemas.microsoft.com/office/drawing/2014/main" id="{F4125B88-8E65-405A-BAC1-220D9E9977BE}"/>
                  </a:ext>
                </a:extLst>
              </p:cNvPr>
              <p:cNvSpPr>
                <a:spLocks/>
              </p:cNvSpPr>
              <p:nvPr>
                <p:custDataLst>
                  <p:tags r:id="rId82"/>
                </p:custDataLst>
              </p:nvPr>
            </p:nvSpPr>
            <p:spPr bwMode="auto">
              <a:xfrm>
                <a:off x="7123113" y="2738438"/>
                <a:ext cx="15875" cy="57150"/>
              </a:xfrm>
              <a:custGeom>
                <a:avLst/>
                <a:gdLst>
                  <a:gd name="T0" fmla="*/ 2147483646 w 26"/>
                  <a:gd name="T1" fmla="*/ 2147483646 h 37"/>
                  <a:gd name="T2" fmla="*/ 0 w 26"/>
                  <a:gd name="T3" fmla="*/ 2147483646 h 37"/>
                  <a:gd name="T4" fmla="*/ 2147483646 w 26"/>
                  <a:gd name="T5" fmla="*/ 2147483646 h 37"/>
                  <a:gd name="T6" fmla="*/ 2147483646 w 26"/>
                  <a:gd name="T7" fmla="*/ 2147483646 h 37"/>
                  <a:gd name="T8" fmla="*/ 2147483646 w 26"/>
                  <a:gd name="T9" fmla="*/ 2147483646 h 37"/>
                  <a:gd name="T10" fmla="*/ 2147483646 w 26"/>
                  <a:gd name="T11" fmla="*/ 0 h 37"/>
                  <a:gd name="T12" fmla="*/ 2147483646 w 26"/>
                  <a:gd name="T13" fmla="*/ 2147483646 h 37"/>
                  <a:gd name="T14" fmla="*/ 2147483646 w 26"/>
                  <a:gd name="T15" fmla="*/ 2147483646 h 37"/>
                  <a:gd name="T16" fmla="*/ 2147483646 w 26"/>
                  <a:gd name="T17" fmla="*/ 2147483646 h 37"/>
                  <a:gd name="T18" fmla="*/ 2147483646 w 26"/>
                  <a:gd name="T19" fmla="*/ 2147483646 h 37"/>
                  <a:gd name="T20" fmla="*/ 2147483646 w 26"/>
                  <a:gd name="T21" fmla="*/ 2147483646 h 37"/>
                  <a:gd name="T22" fmla="*/ 2147483646 w 26"/>
                  <a:gd name="T23" fmla="*/ 2147483646 h 3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6"/>
                  <a:gd name="T37" fmla="*/ 0 h 37"/>
                  <a:gd name="T38" fmla="*/ 26 w 26"/>
                  <a:gd name="T39" fmla="*/ 37 h 3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6" h="37">
                    <a:moveTo>
                      <a:pt x="13" y="37"/>
                    </a:moveTo>
                    <a:lnTo>
                      <a:pt x="0" y="12"/>
                    </a:lnTo>
                    <a:lnTo>
                      <a:pt x="6" y="7"/>
                    </a:lnTo>
                    <a:lnTo>
                      <a:pt x="13" y="4"/>
                    </a:lnTo>
                    <a:lnTo>
                      <a:pt x="21" y="1"/>
                    </a:lnTo>
                    <a:lnTo>
                      <a:pt x="26" y="0"/>
                    </a:lnTo>
                    <a:lnTo>
                      <a:pt x="26" y="6"/>
                    </a:lnTo>
                    <a:lnTo>
                      <a:pt x="25" y="11"/>
                    </a:lnTo>
                    <a:lnTo>
                      <a:pt x="24" y="17"/>
                    </a:lnTo>
                    <a:lnTo>
                      <a:pt x="23" y="21"/>
                    </a:lnTo>
                    <a:lnTo>
                      <a:pt x="18" y="29"/>
                    </a:lnTo>
                    <a:lnTo>
                      <a:pt x="13" y="37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90" name="Freeform 112">
                <a:extLst>
                  <a:ext uri="{FF2B5EF4-FFF2-40B4-BE49-F238E27FC236}">
                    <a16:creationId xmlns="" xmlns:a16="http://schemas.microsoft.com/office/drawing/2014/main" id="{BA6E53A7-D878-4728-846F-B5675BB99446}"/>
                  </a:ext>
                </a:extLst>
              </p:cNvPr>
              <p:cNvSpPr>
                <a:spLocks/>
              </p:cNvSpPr>
              <p:nvPr>
                <p:custDataLst>
                  <p:tags r:id="rId83"/>
                </p:custDataLst>
              </p:nvPr>
            </p:nvSpPr>
            <p:spPr bwMode="auto">
              <a:xfrm>
                <a:off x="7011988" y="2587625"/>
                <a:ext cx="1587" cy="60325"/>
              </a:xfrm>
              <a:custGeom>
                <a:avLst/>
                <a:gdLst>
                  <a:gd name="T0" fmla="*/ 0 w 7"/>
                  <a:gd name="T1" fmla="*/ 2147483646 h 18"/>
                  <a:gd name="T2" fmla="*/ 0 w 7"/>
                  <a:gd name="T3" fmla="*/ 0 h 18"/>
                  <a:gd name="T4" fmla="*/ 2147483646 w 7"/>
                  <a:gd name="T5" fmla="*/ 2147483646 h 18"/>
                  <a:gd name="T6" fmla="*/ 0 w 7"/>
                  <a:gd name="T7" fmla="*/ 2147483646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"/>
                  <a:gd name="T13" fmla="*/ 0 h 18"/>
                  <a:gd name="T14" fmla="*/ 7 w 7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" h="18">
                    <a:moveTo>
                      <a:pt x="0" y="18"/>
                    </a:moveTo>
                    <a:lnTo>
                      <a:pt x="0" y="0"/>
                    </a:lnTo>
                    <a:lnTo>
                      <a:pt x="7" y="12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91" name="Freeform 113">
                <a:extLst>
                  <a:ext uri="{FF2B5EF4-FFF2-40B4-BE49-F238E27FC236}">
                    <a16:creationId xmlns="" xmlns:a16="http://schemas.microsoft.com/office/drawing/2014/main" id="{78A9E53F-B9C6-49F6-A3F8-7E0118321D09}"/>
                  </a:ext>
                </a:extLst>
              </p:cNvPr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auto">
              <a:xfrm>
                <a:off x="3863975" y="1714500"/>
                <a:ext cx="9525" cy="57150"/>
              </a:xfrm>
              <a:custGeom>
                <a:avLst/>
                <a:gdLst>
                  <a:gd name="T0" fmla="*/ 0 w 33"/>
                  <a:gd name="T1" fmla="*/ 2147483646 h 31"/>
                  <a:gd name="T2" fmla="*/ 2147483646 w 33"/>
                  <a:gd name="T3" fmla="*/ 0 h 31"/>
                  <a:gd name="T4" fmla="*/ 2147483646 w 33"/>
                  <a:gd name="T5" fmla="*/ 2147483646 h 31"/>
                  <a:gd name="T6" fmla="*/ 2147483646 w 33"/>
                  <a:gd name="T7" fmla="*/ 2147483646 h 31"/>
                  <a:gd name="T8" fmla="*/ 2147483646 w 33"/>
                  <a:gd name="T9" fmla="*/ 2147483646 h 31"/>
                  <a:gd name="T10" fmla="*/ 2147483646 w 33"/>
                  <a:gd name="T11" fmla="*/ 2147483646 h 31"/>
                  <a:gd name="T12" fmla="*/ 2147483646 w 33"/>
                  <a:gd name="T13" fmla="*/ 2147483646 h 31"/>
                  <a:gd name="T14" fmla="*/ 2147483646 w 33"/>
                  <a:gd name="T15" fmla="*/ 2147483646 h 31"/>
                  <a:gd name="T16" fmla="*/ 2147483646 w 33"/>
                  <a:gd name="T17" fmla="*/ 2147483646 h 31"/>
                  <a:gd name="T18" fmla="*/ 2147483646 w 33"/>
                  <a:gd name="T19" fmla="*/ 2147483646 h 31"/>
                  <a:gd name="T20" fmla="*/ 2147483646 w 33"/>
                  <a:gd name="T21" fmla="*/ 2147483646 h 31"/>
                  <a:gd name="T22" fmla="*/ 0 w 33"/>
                  <a:gd name="T23" fmla="*/ 2147483646 h 3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3"/>
                  <a:gd name="T37" fmla="*/ 0 h 31"/>
                  <a:gd name="T38" fmla="*/ 33 w 33"/>
                  <a:gd name="T39" fmla="*/ 31 h 31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3" h="31">
                    <a:moveTo>
                      <a:pt x="0" y="12"/>
                    </a:moveTo>
                    <a:lnTo>
                      <a:pt x="19" y="0"/>
                    </a:lnTo>
                    <a:lnTo>
                      <a:pt x="24" y="5"/>
                    </a:lnTo>
                    <a:lnTo>
                      <a:pt x="28" y="12"/>
                    </a:lnTo>
                    <a:lnTo>
                      <a:pt x="32" y="22"/>
                    </a:lnTo>
                    <a:lnTo>
                      <a:pt x="33" y="31"/>
                    </a:lnTo>
                    <a:lnTo>
                      <a:pt x="27" y="30"/>
                    </a:lnTo>
                    <a:lnTo>
                      <a:pt x="22" y="28"/>
                    </a:lnTo>
                    <a:lnTo>
                      <a:pt x="16" y="25"/>
                    </a:lnTo>
                    <a:lnTo>
                      <a:pt x="11" y="22"/>
                    </a:lnTo>
                    <a:lnTo>
                      <a:pt x="3" y="15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92" name="Freeform 114">
                <a:extLst>
                  <a:ext uri="{FF2B5EF4-FFF2-40B4-BE49-F238E27FC236}">
                    <a16:creationId xmlns="" xmlns:a16="http://schemas.microsoft.com/office/drawing/2014/main" id="{58AE0204-39EA-496C-AA3E-7EAD9FCB5D34}"/>
                  </a:ext>
                </a:extLst>
              </p:cNvPr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auto">
              <a:xfrm>
                <a:off x="3849688" y="1482725"/>
                <a:ext cx="3175" cy="57150"/>
              </a:xfrm>
              <a:custGeom>
                <a:avLst/>
                <a:gdLst>
                  <a:gd name="T0" fmla="*/ 2147483646 w 14"/>
                  <a:gd name="T1" fmla="*/ 0 h 6"/>
                  <a:gd name="T2" fmla="*/ 0 w 14"/>
                  <a:gd name="T3" fmla="*/ 2147483646 h 6"/>
                  <a:gd name="T4" fmla="*/ 2147483646 w 14"/>
                  <a:gd name="T5" fmla="*/ 0 h 6"/>
                  <a:gd name="T6" fmla="*/ 0 60000 65536"/>
                  <a:gd name="T7" fmla="*/ 0 60000 65536"/>
                  <a:gd name="T8" fmla="*/ 0 60000 65536"/>
                  <a:gd name="T9" fmla="*/ 0 w 14"/>
                  <a:gd name="T10" fmla="*/ 0 h 6"/>
                  <a:gd name="T11" fmla="*/ 14 w 14"/>
                  <a:gd name="T12" fmla="*/ 6 h 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4" h="6">
                    <a:moveTo>
                      <a:pt x="14" y="0"/>
                    </a:moveTo>
                    <a:lnTo>
                      <a:pt x="0" y="6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93" name="Freeform 115">
                <a:extLst>
                  <a:ext uri="{FF2B5EF4-FFF2-40B4-BE49-F238E27FC236}">
                    <a16:creationId xmlns="" xmlns:a16="http://schemas.microsoft.com/office/drawing/2014/main" id="{317C371A-3B6F-47F0-91A5-2D7A1EB35235}"/>
                  </a:ext>
                </a:extLst>
              </p:cNvPr>
              <p:cNvSpPr>
                <a:spLocks/>
              </p:cNvSpPr>
              <p:nvPr>
                <p:custDataLst>
                  <p:tags r:id="rId86"/>
                </p:custDataLst>
              </p:nvPr>
            </p:nvSpPr>
            <p:spPr bwMode="auto">
              <a:xfrm>
                <a:off x="5330825" y="3260725"/>
                <a:ext cx="25400" cy="55563"/>
              </a:xfrm>
              <a:custGeom>
                <a:avLst/>
                <a:gdLst>
                  <a:gd name="T0" fmla="*/ 2147483646 w 59"/>
                  <a:gd name="T1" fmla="*/ 2147483646 h 31"/>
                  <a:gd name="T2" fmla="*/ 2147483646 w 59"/>
                  <a:gd name="T3" fmla="*/ 2147483646 h 31"/>
                  <a:gd name="T4" fmla="*/ 2147483646 w 59"/>
                  <a:gd name="T5" fmla="*/ 2147483646 h 31"/>
                  <a:gd name="T6" fmla="*/ 2147483646 w 59"/>
                  <a:gd name="T7" fmla="*/ 2147483646 h 31"/>
                  <a:gd name="T8" fmla="*/ 2147483646 w 59"/>
                  <a:gd name="T9" fmla="*/ 2147483646 h 31"/>
                  <a:gd name="T10" fmla="*/ 2147483646 w 59"/>
                  <a:gd name="T11" fmla="*/ 2147483646 h 31"/>
                  <a:gd name="T12" fmla="*/ 2147483646 w 59"/>
                  <a:gd name="T13" fmla="*/ 2147483646 h 31"/>
                  <a:gd name="T14" fmla="*/ 2147483646 w 59"/>
                  <a:gd name="T15" fmla="*/ 2147483646 h 31"/>
                  <a:gd name="T16" fmla="*/ 2147483646 w 59"/>
                  <a:gd name="T17" fmla="*/ 2147483646 h 31"/>
                  <a:gd name="T18" fmla="*/ 2147483646 w 59"/>
                  <a:gd name="T19" fmla="*/ 2147483646 h 31"/>
                  <a:gd name="T20" fmla="*/ 2147483646 w 59"/>
                  <a:gd name="T21" fmla="*/ 2147483646 h 31"/>
                  <a:gd name="T22" fmla="*/ 2147483646 w 59"/>
                  <a:gd name="T23" fmla="*/ 2147483646 h 31"/>
                  <a:gd name="T24" fmla="*/ 2147483646 w 59"/>
                  <a:gd name="T25" fmla="*/ 2147483646 h 31"/>
                  <a:gd name="T26" fmla="*/ 2147483646 w 59"/>
                  <a:gd name="T27" fmla="*/ 2147483646 h 31"/>
                  <a:gd name="T28" fmla="*/ 0 w 59"/>
                  <a:gd name="T29" fmla="*/ 2147483646 h 31"/>
                  <a:gd name="T30" fmla="*/ 2147483646 w 59"/>
                  <a:gd name="T31" fmla="*/ 2147483646 h 31"/>
                  <a:gd name="T32" fmla="*/ 2147483646 w 59"/>
                  <a:gd name="T33" fmla="*/ 2147483646 h 31"/>
                  <a:gd name="T34" fmla="*/ 2147483646 w 59"/>
                  <a:gd name="T35" fmla="*/ 2147483646 h 31"/>
                  <a:gd name="T36" fmla="*/ 2147483646 w 59"/>
                  <a:gd name="T37" fmla="*/ 2147483646 h 31"/>
                  <a:gd name="T38" fmla="*/ 2147483646 w 59"/>
                  <a:gd name="T39" fmla="*/ 2147483646 h 31"/>
                  <a:gd name="T40" fmla="*/ 2147483646 w 59"/>
                  <a:gd name="T41" fmla="*/ 0 h 31"/>
                  <a:gd name="T42" fmla="*/ 2147483646 w 59"/>
                  <a:gd name="T43" fmla="*/ 0 h 31"/>
                  <a:gd name="T44" fmla="*/ 2147483646 w 59"/>
                  <a:gd name="T45" fmla="*/ 2147483646 h 31"/>
                  <a:gd name="T46" fmla="*/ 2147483646 w 59"/>
                  <a:gd name="T47" fmla="*/ 2147483646 h 31"/>
                  <a:gd name="T48" fmla="*/ 2147483646 w 59"/>
                  <a:gd name="T49" fmla="*/ 2147483646 h 3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59"/>
                  <a:gd name="T76" fmla="*/ 0 h 31"/>
                  <a:gd name="T77" fmla="*/ 59 w 59"/>
                  <a:gd name="T78" fmla="*/ 31 h 31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59" h="31">
                    <a:moveTo>
                      <a:pt x="59" y="6"/>
                    </a:moveTo>
                    <a:lnTo>
                      <a:pt x="57" y="11"/>
                    </a:lnTo>
                    <a:lnTo>
                      <a:pt x="53" y="15"/>
                    </a:lnTo>
                    <a:lnTo>
                      <a:pt x="49" y="19"/>
                    </a:lnTo>
                    <a:lnTo>
                      <a:pt x="45" y="24"/>
                    </a:lnTo>
                    <a:lnTo>
                      <a:pt x="40" y="27"/>
                    </a:lnTo>
                    <a:lnTo>
                      <a:pt x="36" y="29"/>
                    </a:lnTo>
                    <a:lnTo>
                      <a:pt x="30" y="31"/>
                    </a:lnTo>
                    <a:lnTo>
                      <a:pt x="26" y="31"/>
                    </a:lnTo>
                    <a:lnTo>
                      <a:pt x="21" y="31"/>
                    </a:lnTo>
                    <a:lnTo>
                      <a:pt x="17" y="30"/>
                    </a:lnTo>
                    <a:lnTo>
                      <a:pt x="14" y="29"/>
                    </a:lnTo>
                    <a:lnTo>
                      <a:pt x="11" y="27"/>
                    </a:lnTo>
                    <a:lnTo>
                      <a:pt x="4" y="20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3" y="6"/>
                    </a:lnTo>
                    <a:lnTo>
                      <a:pt x="5" y="4"/>
                    </a:lnTo>
                    <a:lnTo>
                      <a:pt x="8" y="3"/>
                    </a:lnTo>
                    <a:lnTo>
                      <a:pt x="16" y="1"/>
                    </a:lnTo>
                    <a:lnTo>
                      <a:pt x="24" y="0"/>
                    </a:lnTo>
                    <a:lnTo>
                      <a:pt x="34" y="0"/>
                    </a:lnTo>
                    <a:lnTo>
                      <a:pt x="42" y="2"/>
                    </a:lnTo>
                    <a:lnTo>
                      <a:pt x="51" y="4"/>
                    </a:lnTo>
                    <a:lnTo>
                      <a:pt x="59" y="6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94" name="Freeform 116">
                <a:extLst>
                  <a:ext uri="{FF2B5EF4-FFF2-40B4-BE49-F238E27FC236}">
                    <a16:creationId xmlns="" xmlns:a16="http://schemas.microsoft.com/office/drawing/2014/main" id="{6C27F13B-362E-4F43-8004-B003958E1CFD}"/>
                  </a:ext>
                </a:extLst>
              </p:cNvPr>
              <p:cNvSpPr>
                <a:spLocks/>
              </p:cNvSpPr>
              <p:nvPr>
                <p:custDataLst>
                  <p:tags r:id="rId87"/>
                </p:custDataLst>
              </p:nvPr>
            </p:nvSpPr>
            <p:spPr bwMode="auto">
              <a:xfrm>
                <a:off x="5033963" y="3122613"/>
                <a:ext cx="19050" cy="58737"/>
              </a:xfrm>
              <a:custGeom>
                <a:avLst/>
                <a:gdLst>
                  <a:gd name="T0" fmla="*/ 2147483646 w 47"/>
                  <a:gd name="T1" fmla="*/ 0 h 68"/>
                  <a:gd name="T2" fmla="*/ 2147483646 w 47"/>
                  <a:gd name="T3" fmla="*/ 2147483646 h 68"/>
                  <a:gd name="T4" fmla="*/ 2147483646 w 47"/>
                  <a:gd name="T5" fmla="*/ 2147483646 h 68"/>
                  <a:gd name="T6" fmla="*/ 2147483646 w 47"/>
                  <a:gd name="T7" fmla="*/ 2147483646 h 68"/>
                  <a:gd name="T8" fmla="*/ 0 w 47"/>
                  <a:gd name="T9" fmla="*/ 2147483646 h 68"/>
                  <a:gd name="T10" fmla="*/ 0 w 47"/>
                  <a:gd name="T11" fmla="*/ 2147483646 h 68"/>
                  <a:gd name="T12" fmla="*/ 2147483646 w 47"/>
                  <a:gd name="T13" fmla="*/ 2147483646 h 68"/>
                  <a:gd name="T14" fmla="*/ 2147483646 w 47"/>
                  <a:gd name="T15" fmla="*/ 2147483646 h 68"/>
                  <a:gd name="T16" fmla="*/ 2147483646 w 47"/>
                  <a:gd name="T17" fmla="*/ 2147483646 h 68"/>
                  <a:gd name="T18" fmla="*/ 2147483646 w 47"/>
                  <a:gd name="T19" fmla="*/ 2147483646 h 68"/>
                  <a:gd name="T20" fmla="*/ 2147483646 w 47"/>
                  <a:gd name="T21" fmla="*/ 2147483646 h 68"/>
                  <a:gd name="T22" fmla="*/ 2147483646 w 47"/>
                  <a:gd name="T23" fmla="*/ 2147483646 h 68"/>
                  <a:gd name="T24" fmla="*/ 2147483646 w 47"/>
                  <a:gd name="T25" fmla="*/ 2147483646 h 68"/>
                  <a:gd name="T26" fmla="*/ 2147483646 w 47"/>
                  <a:gd name="T27" fmla="*/ 2147483646 h 68"/>
                  <a:gd name="T28" fmla="*/ 2147483646 w 47"/>
                  <a:gd name="T29" fmla="*/ 2147483646 h 68"/>
                  <a:gd name="T30" fmla="*/ 2147483646 w 47"/>
                  <a:gd name="T31" fmla="*/ 2147483646 h 68"/>
                  <a:gd name="T32" fmla="*/ 2147483646 w 47"/>
                  <a:gd name="T33" fmla="*/ 2147483646 h 68"/>
                  <a:gd name="T34" fmla="*/ 2147483646 w 47"/>
                  <a:gd name="T35" fmla="*/ 2147483646 h 68"/>
                  <a:gd name="T36" fmla="*/ 2147483646 w 47"/>
                  <a:gd name="T37" fmla="*/ 2147483646 h 68"/>
                  <a:gd name="T38" fmla="*/ 2147483646 w 47"/>
                  <a:gd name="T39" fmla="*/ 2147483646 h 68"/>
                  <a:gd name="T40" fmla="*/ 2147483646 w 47"/>
                  <a:gd name="T41" fmla="*/ 2147483646 h 68"/>
                  <a:gd name="T42" fmla="*/ 2147483646 w 47"/>
                  <a:gd name="T43" fmla="*/ 2147483646 h 68"/>
                  <a:gd name="T44" fmla="*/ 2147483646 w 47"/>
                  <a:gd name="T45" fmla="*/ 2147483646 h 68"/>
                  <a:gd name="T46" fmla="*/ 2147483646 w 47"/>
                  <a:gd name="T47" fmla="*/ 2147483646 h 68"/>
                  <a:gd name="T48" fmla="*/ 2147483646 w 47"/>
                  <a:gd name="T49" fmla="*/ 0 h 68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47"/>
                  <a:gd name="T76" fmla="*/ 0 h 68"/>
                  <a:gd name="T77" fmla="*/ 47 w 47"/>
                  <a:gd name="T78" fmla="*/ 68 h 68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47" h="68">
                    <a:moveTo>
                      <a:pt x="14" y="0"/>
                    </a:moveTo>
                    <a:lnTo>
                      <a:pt x="8" y="10"/>
                    </a:lnTo>
                    <a:lnTo>
                      <a:pt x="4" y="19"/>
                    </a:lnTo>
                    <a:lnTo>
                      <a:pt x="2" y="28"/>
                    </a:lnTo>
                    <a:lnTo>
                      <a:pt x="0" y="37"/>
                    </a:lnTo>
                    <a:lnTo>
                      <a:pt x="0" y="42"/>
                    </a:lnTo>
                    <a:lnTo>
                      <a:pt x="2" y="47"/>
                    </a:lnTo>
                    <a:lnTo>
                      <a:pt x="3" y="51"/>
                    </a:lnTo>
                    <a:lnTo>
                      <a:pt x="5" y="55"/>
                    </a:lnTo>
                    <a:lnTo>
                      <a:pt x="7" y="58"/>
                    </a:lnTo>
                    <a:lnTo>
                      <a:pt x="9" y="60"/>
                    </a:lnTo>
                    <a:lnTo>
                      <a:pt x="13" y="62"/>
                    </a:lnTo>
                    <a:lnTo>
                      <a:pt x="16" y="64"/>
                    </a:lnTo>
                    <a:lnTo>
                      <a:pt x="22" y="67"/>
                    </a:lnTo>
                    <a:lnTo>
                      <a:pt x="31" y="68"/>
                    </a:lnTo>
                    <a:lnTo>
                      <a:pt x="39" y="68"/>
                    </a:lnTo>
                    <a:lnTo>
                      <a:pt x="47" y="68"/>
                    </a:lnTo>
                    <a:lnTo>
                      <a:pt x="41" y="58"/>
                    </a:lnTo>
                    <a:lnTo>
                      <a:pt x="38" y="48"/>
                    </a:lnTo>
                    <a:lnTo>
                      <a:pt x="36" y="43"/>
                    </a:lnTo>
                    <a:lnTo>
                      <a:pt x="35" y="38"/>
                    </a:lnTo>
                    <a:lnTo>
                      <a:pt x="33" y="31"/>
                    </a:lnTo>
                    <a:lnTo>
                      <a:pt x="33" y="25"/>
                    </a:lnTo>
                    <a:lnTo>
                      <a:pt x="24" y="13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1795" name="Group 117">
                <a:extLst>
                  <a:ext uri="{FF2B5EF4-FFF2-40B4-BE49-F238E27FC236}">
                    <a16:creationId xmlns="" xmlns:a16="http://schemas.microsoft.com/office/drawing/2014/main" id="{153D8808-2FB1-4DFE-8084-1616BFBEFD02}"/>
                  </a:ext>
                </a:extLst>
              </p:cNvPr>
              <p:cNvGrpSpPr>
                <a:grpSpLocks/>
              </p:cNvGrpSpPr>
              <p:nvPr>
                <p:custDataLst>
                  <p:tags r:id="rId88"/>
                </p:custDataLst>
              </p:nvPr>
            </p:nvGrpSpPr>
            <p:grpSpPr bwMode="auto">
              <a:xfrm>
                <a:off x="5805488" y="3309938"/>
                <a:ext cx="46037" cy="374650"/>
                <a:chOff x="3950" y="2430"/>
                <a:chExt cx="36" cy="234"/>
              </a:xfrm>
              <a:solidFill>
                <a:srgbClr val="FFFFFF">
                  <a:lumMod val="75000"/>
                </a:srgbClr>
              </a:solidFill>
            </p:grpSpPr>
            <p:sp>
              <p:nvSpPr>
                <p:cNvPr id="1796" name="Freeform 118">
                  <a:extLst>
                    <a:ext uri="{FF2B5EF4-FFF2-40B4-BE49-F238E27FC236}">
                      <a16:creationId xmlns="" xmlns:a16="http://schemas.microsoft.com/office/drawing/2014/main" id="{1D37FAA7-A98C-4F25-9511-63B031C0BD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5" y="2658"/>
                  <a:ext cx="6" cy="6"/>
                </a:xfrm>
                <a:custGeom>
                  <a:avLst/>
                  <a:gdLst>
                    <a:gd name="T0" fmla="*/ 0 w 19"/>
                    <a:gd name="T1" fmla="*/ 0 h 20"/>
                    <a:gd name="T2" fmla="*/ 0 w 19"/>
                    <a:gd name="T3" fmla="*/ 0 h 20"/>
                    <a:gd name="T4" fmla="*/ 0 w 19"/>
                    <a:gd name="T5" fmla="*/ 0 h 20"/>
                    <a:gd name="T6" fmla="*/ 0 w 19"/>
                    <a:gd name="T7" fmla="*/ 0 h 20"/>
                    <a:gd name="T8" fmla="*/ 0 w 19"/>
                    <a:gd name="T9" fmla="*/ 0 h 20"/>
                    <a:gd name="T10" fmla="*/ 0 w 19"/>
                    <a:gd name="T11" fmla="*/ 0 h 20"/>
                    <a:gd name="T12" fmla="*/ 0 w 19"/>
                    <a:gd name="T13" fmla="*/ 0 h 2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9"/>
                    <a:gd name="T22" fmla="*/ 0 h 20"/>
                    <a:gd name="T23" fmla="*/ 19 w 19"/>
                    <a:gd name="T24" fmla="*/ 20 h 2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9" h="20">
                      <a:moveTo>
                        <a:pt x="0" y="0"/>
                      </a:moveTo>
                      <a:lnTo>
                        <a:pt x="0" y="20"/>
                      </a:lnTo>
                      <a:lnTo>
                        <a:pt x="19" y="14"/>
                      </a:lnTo>
                      <a:lnTo>
                        <a:pt x="14" y="8"/>
                      </a:lnTo>
                      <a:lnTo>
                        <a:pt x="10" y="4"/>
                      </a:lnTo>
                      <a:lnTo>
                        <a:pt x="4" y="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97" name="Freeform 119">
                  <a:extLst>
                    <a:ext uri="{FF2B5EF4-FFF2-40B4-BE49-F238E27FC236}">
                      <a16:creationId xmlns="" xmlns:a16="http://schemas.microsoft.com/office/drawing/2014/main" id="{4270D84B-9DED-459B-A50A-5DB2E0A34D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5" y="2644"/>
                  <a:ext cx="6" cy="4"/>
                </a:xfrm>
                <a:custGeom>
                  <a:avLst/>
                  <a:gdLst>
                    <a:gd name="T0" fmla="*/ 0 w 19"/>
                    <a:gd name="T1" fmla="*/ 0 h 12"/>
                    <a:gd name="T2" fmla="*/ 0 w 19"/>
                    <a:gd name="T3" fmla="*/ 0 h 12"/>
                    <a:gd name="T4" fmla="*/ 0 w 19"/>
                    <a:gd name="T5" fmla="*/ 0 h 12"/>
                    <a:gd name="T6" fmla="*/ 0 w 19"/>
                    <a:gd name="T7" fmla="*/ 0 h 1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9"/>
                    <a:gd name="T13" fmla="*/ 0 h 12"/>
                    <a:gd name="T14" fmla="*/ 19 w 19"/>
                    <a:gd name="T15" fmla="*/ 12 h 1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9" h="12">
                      <a:moveTo>
                        <a:pt x="13" y="12"/>
                      </a:moveTo>
                      <a:lnTo>
                        <a:pt x="19" y="0"/>
                      </a:ln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98" name="Freeform 120">
                  <a:extLst>
                    <a:ext uri="{FF2B5EF4-FFF2-40B4-BE49-F238E27FC236}">
                      <a16:creationId xmlns="" xmlns:a16="http://schemas.microsoft.com/office/drawing/2014/main" id="{14F8CAA0-555C-4154-9061-952438EB99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5" y="2637"/>
                  <a:ext cx="6" cy="1"/>
                </a:xfrm>
                <a:custGeom>
                  <a:avLst/>
                  <a:gdLst>
                    <a:gd name="T0" fmla="*/ 0 w 19"/>
                    <a:gd name="T1" fmla="*/ 0 h 1"/>
                    <a:gd name="T2" fmla="*/ 0 w 19"/>
                    <a:gd name="T3" fmla="*/ 0 h 1"/>
                    <a:gd name="T4" fmla="*/ 0 w 19"/>
                    <a:gd name="T5" fmla="*/ 0 h 1"/>
                    <a:gd name="T6" fmla="*/ 0 w 19"/>
                    <a:gd name="T7" fmla="*/ 0 h 1"/>
                    <a:gd name="T8" fmla="*/ 0 w 19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9"/>
                    <a:gd name="T16" fmla="*/ 0 h 1"/>
                    <a:gd name="T17" fmla="*/ 19 w 19"/>
                    <a:gd name="T18" fmla="*/ 1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9" h="1">
                      <a:moveTo>
                        <a:pt x="0" y="0"/>
                      </a:moveTo>
                      <a:lnTo>
                        <a:pt x="10" y="0"/>
                      </a:lnTo>
                      <a:lnTo>
                        <a:pt x="19" y="0"/>
                      </a:ln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799" name="Rectangle 121">
                  <a:extLst>
                    <a:ext uri="{FF2B5EF4-FFF2-40B4-BE49-F238E27FC236}">
                      <a16:creationId xmlns="" xmlns:a16="http://schemas.microsoft.com/office/drawing/2014/main" id="{3D2ADA08-785F-47CC-9D8A-D6D81E2DCC7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75" y="2632"/>
                  <a:ext cx="8" cy="2"/>
                </a:xfrm>
                <a:prstGeom prst="rect">
                  <a:avLst/>
                </a:prstGeom>
                <a:grpFill/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alt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00" name="Line 122">
                  <a:extLst>
                    <a:ext uri="{FF2B5EF4-FFF2-40B4-BE49-F238E27FC236}">
                      <a16:creationId xmlns="" xmlns:a16="http://schemas.microsoft.com/office/drawing/2014/main" id="{8F4F62FE-7A1F-4A69-BAD6-4D5F82C5BBB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972" y="2595"/>
                  <a:ext cx="5" cy="4"/>
                </a:xfrm>
                <a:prstGeom prst="line">
                  <a:avLst/>
                </a:pr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01" name="Freeform 123">
                  <a:extLst>
                    <a:ext uri="{FF2B5EF4-FFF2-40B4-BE49-F238E27FC236}">
                      <a16:creationId xmlns="" xmlns:a16="http://schemas.microsoft.com/office/drawing/2014/main" id="{6746352F-8EFD-4C46-85BB-E442DE4EDA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5" y="2595"/>
                  <a:ext cx="2" cy="1"/>
                </a:xfrm>
                <a:custGeom>
                  <a:avLst/>
                  <a:gdLst>
                    <a:gd name="T0" fmla="*/ 0 w 6"/>
                    <a:gd name="T1" fmla="*/ 0 h 3"/>
                    <a:gd name="T2" fmla="*/ 0 w 6"/>
                    <a:gd name="T3" fmla="*/ 0 h 3"/>
                    <a:gd name="T4" fmla="*/ 0 w 6"/>
                    <a:gd name="T5" fmla="*/ 0 h 3"/>
                    <a:gd name="T6" fmla="*/ 0 w 6"/>
                    <a:gd name="T7" fmla="*/ 0 h 3"/>
                    <a:gd name="T8" fmla="*/ 0 w 6"/>
                    <a:gd name="T9" fmla="*/ 0 h 3"/>
                    <a:gd name="T10" fmla="*/ 0 w 6"/>
                    <a:gd name="T11" fmla="*/ 0 h 3"/>
                    <a:gd name="T12" fmla="*/ 0 w 6"/>
                    <a:gd name="T13" fmla="*/ 0 h 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"/>
                    <a:gd name="T22" fmla="*/ 0 h 3"/>
                    <a:gd name="T23" fmla="*/ 6 w 6"/>
                    <a:gd name="T24" fmla="*/ 3 h 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" h="3">
                      <a:moveTo>
                        <a:pt x="6" y="0"/>
                      </a:moveTo>
                      <a:lnTo>
                        <a:pt x="5" y="1"/>
                      </a:lnTo>
                      <a:lnTo>
                        <a:pt x="3" y="2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02" name="Freeform 124">
                  <a:extLst>
                    <a:ext uri="{FF2B5EF4-FFF2-40B4-BE49-F238E27FC236}">
                      <a16:creationId xmlns="" xmlns:a16="http://schemas.microsoft.com/office/drawing/2014/main" id="{59902A76-CBF3-4B35-A114-2BA93D1B25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81" y="2555"/>
                  <a:ext cx="5" cy="8"/>
                </a:xfrm>
                <a:custGeom>
                  <a:avLst/>
                  <a:gdLst>
                    <a:gd name="T0" fmla="*/ 0 w 14"/>
                    <a:gd name="T1" fmla="*/ 0 h 24"/>
                    <a:gd name="T2" fmla="*/ 0 w 14"/>
                    <a:gd name="T3" fmla="*/ 0 h 24"/>
                    <a:gd name="T4" fmla="*/ 0 w 14"/>
                    <a:gd name="T5" fmla="*/ 0 h 24"/>
                    <a:gd name="T6" fmla="*/ 0 w 14"/>
                    <a:gd name="T7" fmla="*/ 0 h 24"/>
                    <a:gd name="T8" fmla="*/ 0 w 14"/>
                    <a:gd name="T9" fmla="*/ 0 h 24"/>
                    <a:gd name="T10" fmla="*/ 0 w 14"/>
                    <a:gd name="T11" fmla="*/ 0 h 24"/>
                    <a:gd name="T12" fmla="*/ 0 w 14"/>
                    <a:gd name="T13" fmla="*/ 0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4"/>
                    <a:gd name="T22" fmla="*/ 0 h 24"/>
                    <a:gd name="T23" fmla="*/ 14 w 14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4" h="24">
                      <a:moveTo>
                        <a:pt x="14" y="0"/>
                      </a:moveTo>
                      <a:lnTo>
                        <a:pt x="13" y="5"/>
                      </a:lnTo>
                      <a:lnTo>
                        <a:pt x="9" y="12"/>
                      </a:lnTo>
                      <a:lnTo>
                        <a:pt x="5" y="19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0" y="12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03" name="Line 125">
                  <a:extLst>
                    <a:ext uri="{FF2B5EF4-FFF2-40B4-BE49-F238E27FC236}">
                      <a16:creationId xmlns="" xmlns:a16="http://schemas.microsoft.com/office/drawing/2014/main" id="{813C10B9-A850-47BE-86EC-BF5F96012B8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81" y="2559"/>
                  <a:ext cx="2" cy="1"/>
                </a:xfrm>
                <a:prstGeom prst="line">
                  <a:avLst/>
                </a:pr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04" name="Freeform 126">
                  <a:extLst>
                    <a:ext uri="{FF2B5EF4-FFF2-40B4-BE49-F238E27FC236}">
                      <a16:creationId xmlns="" xmlns:a16="http://schemas.microsoft.com/office/drawing/2014/main" id="{C8714E81-4CAA-4433-A18F-F8F6A4CF6B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7" y="2572"/>
                  <a:ext cx="4" cy="3"/>
                </a:xfrm>
                <a:custGeom>
                  <a:avLst/>
                  <a:gdLst>
                    <a:gd name="T0" fmla="*/ 0 w 13"/>
                    <a:gd name="T1" fmla="*/ 0 h 12"/>
                    <a:gd name="T2" fmla="*/ 0 w 13"/>
                    <a:gd name="T3" fmla="*/ 0 h 12"/>
                    <a:gd name="T4" fmla="*/ 0 w 13"/>
                    <a:gd name="T5" fmla="*/ 0 h 12"/>
                    <a:gd name="T6" fmla="*/ 0 60000 65536"/>
                    <a:gd name="T7" fmla="*/ 0 60000 65536"/>
                    <a:gd name="T8" fmla="*/ 0 60000 65536"/>
                    <a:gd name="T9" fmla="*/ 0 w 13"/>
                    <a:gd name="T10" fmla="*/ 0 h 12"/>
                    <a:gd name="T11" fmla="*/ 13 w 13"/>
                    <a:gd name="T12" fmla="*/ 12 h 12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3" h="12">
                      <a:moveTo>
                        <a:pt x="13" y="12"/>
                      </a:move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05" name="Freeform 127">
                  <a:extLst>
                    <a:ext uri="{FF2B5EF4-FFF2-40B4-BE49-F238E27FC236}">
                      <a16:creationId xmlns="" xmlns:a16="http://schemas.microsoft.com/office/drawing/2014/main" id="{09E971E2-A808-4BBE-AE49-32D4527B64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81" y="2585"/>
                  <a:ext cx="2" cy="6"/>
                </a:xfrm>
                <a:custGeom>
                  <a:avLst/>
                  <a:gdLst>
                    <a:gd name="T0" fmla="*/ 0 w 7"/>
                    <a:gd name="T1" fmla="*/ 0 h 19"/>
                    <a:gd name="T2" fmla="*/ 0 w 7"/>
                    <a:gd name="T3" fmla="*/ 0 h 19"/>
                    <a:gd name="T4" fmla="*/ 0 w 7"/>
                    <a:gd name="T5" fmla="*/ 0 h 19"/>
                    <a:gd name="T6" fmla="*/ 0 w 7"/>
                    <a:gd name="T7" fmla="*/ 0 h 1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7"/>
                    <a:gd name="T13" fmla="*/ 0 h 19"/>
                    <a:gd name="T14" fmla="*/ 7 w 7"/>
                    <a:gd name="T15" fmla="*/ 19 h 1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7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0" y="0"/>
                      </a:lnTo>
                      <a:lnTo>
                        <a:pt x="7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06" name="Line 128">
                  <a:extLst>
                    <a:ext uri="{FF2B5EF4-FFF2-40B4-BE49-F238E27FC236}">
                      <a16:creationId xmlns="" xmlns:a16="http://schemas.microsoft.com/office/drawing/2014/main" id="{08D43379-C709-48C3-8930-C94CB862B6E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981" y="2599"/>
                  <a:ext cx="1" cy="4"/>
                </a:xfrm>
                <a:prstGeom prst="line">
                  <a:avLst/>
                </a:pr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07" name="Freeform 129">
                  <a:extLst>
                    <a:ext uri="{FF2B5EF4-FFF2-40B4-BE49-F238E27FC236}">
                      <a16:creationId xmlns="" xmlns:a16="http://schemas.microsoft.com/office/drawing/2014/main" id="{ADAB6042-94A0-49A5-86D2-13236139BF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0" y="2545"/>
                  <a:ext cx="2" cy="6"/>
                </a:xfrm>
                <a:custGeom>
                  <a:avLst/>
                  <a:gdLst>
                    <a:gd name="T0" fmla="*/ 0 w 8"/>
                    <a:gd name="T1" fmla="*/ 0 h 18"/>
                    <a:gd name="T2" fmla="*/ 0 w 8"/>
                    <a:gd name="T3" fmla="*/ 0 h 18"/>
                    <a:gd name="T4" fmla="*/ 0 w 8"/>
                    <a:gd name="T5" fmla="*/ 0 h 18"/>
                    <a:gd name="T6" fmla="*/ 0 w 8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18"/>
                    <a:gd name="T14" fmla="*/ 8 w 8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18">
                      <a:moveTo>
                        <a:pt x="0" y="18"/>
                      </a:moveTo>
                      <a:lnTo>
                        <a:pt x="8" y="6"/>
                      </a:lnTo>
                      <a:lnTo>
                        <a:pt x="0" y="0"/>
                      </a:lnTo>
                      <a:lnTo>
                        <a:pt x="0" y="18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08" name="Freeform 130">
                  <a:extLst>
                    <a:ext uri="{FF2B5EF4-FFF2-40B4-BE49-F238E27FC236}">
                      <a16:creationId xmlns="" xmlns:a16="http://schemas.microsoft.com/office/drawing/2014/main" id="{20580BAF-A80D-498D-BB94-060FD6C880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68" y="2532"/>
                  <a:ext cx="2" cy="7"/>
                </a:xfrm>
                <a:custGeom>
                  <a:avLst/>
                  <a:gdLst>
                    <a:gd name="T0" fmla="*/ 0 w 6"/>
                    <a:gd name="T1" fmla="*/ 0 h 19"/>
                    <a:gd name="T2" fmla="*/ 0 w 6"/>
                    <a:gd name="T3" fmla="*/ 0 h 19"/>
                    <a:gd name="T4" fmla="*/ 0 w 6"/>
                    <a:gd name="T5" fmla="*/ 0 h 19"/>
                    <a:gd name="T6" fmla="*/ 0 60000 65536"/>
                    <a:gd name="T7" fmla="*/ 0 60000 65536"/>
                    <a:gd name="T8" fmla="*/ 0 60000 65536"/>
                    <a:gd name="T9" fmla="*/ 0 w 6"/>
                    <a:gd name="T10" fmla="*/ 0 h 19"/>
                    <a:gd name="T11" fmla="*/ 6 w 6"/>
                    <a:gd name="T12" fmla="*/ 19 h 19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6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6" y="13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09" name="Freeform 131">
                  <a:extLst>
                    <a:ext uri="{FF2B5EF4-FFF2-40B4-BE49-F238E27FC236}">
                      <a16:creationId xmlns="" xmlns:a16="http://schemas.microsoft.com/office/drawing/2014/main" id="{E25AD0F8-6409-44DB-B153-CC1B3FCD57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65" y="2513"/>
                  <a:ext cx="10" cy="5"/>
                </a:xfrm>
                <a:custGeom>
                  <a:avLst/>
                  <a:gdLst>
                    <a:gd name="T0" fmla="*/ 0 w 28"/>
                    <a:gd name="T1" fmla="*/ 0 h 19"/>
                    <a:gd name="T2" fmla="*/ 0 w 28"/>
                    <a:gd name="T3" fmla="*/ 0 h 19"/>
                    <a:gd name="T4" fmla="*/ 0 w 28"/>
                    <a:gd name="T5" fmla="*/ 0 h 19"/>
                    <a:gd name="T6" fmla="*/ 0 60000 65536"/>
                    <a:gd name="T7" fmla="*/ 0 60000 65536"/>
                    <a:gd name="T8" fmla="*/ 0 60000 65536"/>
                    <a:gd name="T9" fmla="*/ 0 w 28"/>
                    <a:gd name="T10" fmla="*/ 0 h 19"/>
                    <a:gd name="T11" fmla="*/ 28 w 28"/>
                    <a:gd name="T12" fmla="*/ 19 h 19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8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28" y="19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10" name="Freeform 132">
                  <a:extLst>
                    <a:ext uri="{FF2B5EF4-FFF2-40B4-BE49-F238E27FC236}">
                      <a16:creationId xmlns="" xmlns:a16="http://schemas.microsoft.com/office/drawing/2014/main" id="{C1DD00DD-1973-470C-B6B6-3270640D44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0" y="2513"/>
                  <a:ext cx="5" cy="5"/>
                </a:xfrm>
                <a:custGeom>
                  <a:avLst/>
                  <a:gdLst>
                    <a:gd name="T0" fmla="*/ 0 w 15"/>
                    <a:gd name="T1" fmla="*/ 0 h 19"/>
                    <a:gd name="T2" fmla="*/ 0 w 15"/>
                    <a:gd name="T3" fmla="*/ 0 h 19"/>
                    <a:gd name="T4" fmla="*/ 0 w 15"/>
                    <a:gd name="T5" fmla="*/ 0 h 19"/>
                    <a:gd name="T6" fmla="*/ 0 60000 65536"/>
                    <a:gd name="T7" fmla="*/ 0 60000 65536"/>
                    <a:gd name="T8" fmla="*/ 0 60000 65536"/>
                    <a:gd name="T9" fmla="*/ 0 w 15"/>
                    <a:gd name="T10" fmla="*/ 0 h 19"/>
                    <a:gd name="T11" fmla="*/ 15 w 15"/>
                    <a:gd name="T12" fmla="*/ 19 h 19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5" h="19">
                      <a:moveTo>
                        <a:pt x="15" y="19"/>
                      </a:moveTo>
                      <a:lnTo>
                        <a:pt x="8" y="9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11" name="Freeform 133">
                  <a:extLst>
                    <a:ext uri="{FF2B5EF4-FFF2-40B4-BE49-F238E27FC236}">
                      <a16:creationId xmlns="" xmlns:a16="http://schemas.microsoft.com/office/drawing/2014/main" id="{E01286E8-406B-4C47-9334-725F807EF4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5" y="2658"/>
                  <a:ext cx="6" cy="6"/>
                </a:xfrm>
                <a:custGeom>
                  <a:avLst/>
                  <a:gdLst>
                    <a:gd name="T0" fmla="*/ 0 w 19"/>
                    <a:gd name="T1" fmla="*/ 0 h 20"/>
                    <a:gd name="T2" fmla="*/ 0 w 19"/>
                    <a:gd name="T3" fmla="*/ 0 h 20"/>
                    <a:gd name="T4" fmla="*/ 0 w 19"/>
                    <a:gd name="T5" fmla="*/ 0 h 20"/>
                    <a:gd name="T6" fmla="*/ 0 w 19"/>
                    <a:gd name="T7" fmla="*/ 0 h 20"/>
                    <a:gd name="T8" fmla="*/ 0 w 19"/>
                    <a:gd name="T9" fmla="*/ 0 h 20"/>
                    <a:gd name="T10" fmla="*/ 0 w 19"/>
                    <a:gd name="T11" fmla="*/ 0 h 20"/>
                    <a:gd name="T12" fmla="*/ 0 w 19"/>
                    <a:gd name="T13" fmla="*/ 0 h 2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9"/>
                    <a:gd name="T22" fmla="*/ 0 h 20"/>
                    <a:gd name="T23" fmla="*/ 19 w 19"/>
                    <a:gd name="T24" fmla="*/ 20 h 2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9" h="20">
                      <a:moveTo>
                        <a:pt x="0" y="0"/>
                      </a:moveTo>
                      <a:lnTo>
                        <a:pt x="0" y="20"/>
                      </a:lnTo>
                      <a:lnTo>
                        <a:pt x="19" y="14"/>
                      </a:lnTo>
                      <a:lnTo>
                        <a:pt x="14" y="8"/>
                      </a:lnTo>
                      <a:lnTo>
                        <a:pt x="10" y="4"/>
                      </a:lnTo>
                      <a:lnTo>
                        <a:pt x="4" y="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12" name="Freeform 134">
                  <a:extLst>
                    <a:ext uri="{FF2B5EF4-FFF2-40B4-BE49-F238E27FC236}">
                      <a16:creationId xmlns="" xmlns:a16="http://schemas.microsoft.com/office/drawing/2014/main" id="{93102293-F333-4B76-84C3-A6B890D227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5" y="2644"/>
                  <a:ext cx="6" cy="4"/>
                </a:xfrm>
                <a:custGeom>
                  <a:avLst/>
                  <a:gdLst>
                    <a:gd name="T0" fmla="*/ 0 w 19"/>
                    <a:gd name="T1" fmla="*/ 0 h 12"/>
                    <a:gd name="T2" fmla="*/ 0 w 19"/>
                    <a:gd name="T3" fmla="*/ 0 h 12"/>
                    <a:gd name="T4" fmla="*/ 0 w 19"/>
                    <a:gd name="T5" fmla="*/ 0 h 12"/>
                    <a:gd name="T6" fmla="*/ 0 w 19"/>
                    <a:gd name="T7" fmla="*/ 0 h 1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9"/>
                    <a:gd name="T13" fmla="*/ 0 h 12"/>
                    <a:gd name="T14" fmla="*/ 19 w 19"/>
                    <a:gd name="T15" fmla="*/ 12 h 1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9" h="12">
                      <a:moveTo>
                        <a:pt x="13" y="12"/>
                      </a:moveTo>
                      <a:lnTo>
                        <a:pt x="19" y="0"/>
                      </a:ln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13" name="Freeform 135">
                  <a:extLst>
                    <a:ext uri="{FF2B5EF4-FFF2-40B4-BE49-F238E27FC236}">
                      <a16:creationId xmlns="" xmlns:a16="http://schemas.microsoft.com/office/drawing/2014/main" id="{EFC5A55F-3CE7-412E-890E-6172F103B2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5" y="2637"/>
                  <a:ext cx="6" cy="1"/>
                </a:xfrm>
                <a:custGeom>
                  <a:avLst/>
                  <a:gdLst>
                    <a:gd name="T0" fmla="*/ 0 w 19"/>
                    <a:gd name="T1" fmla="*/ 0 h 1"/>
                    <a:gd name="T2" fmla="*/ 0 w 19"/>
                    <a:gd name="T3" fmla="*/ 0 h 1"/>
                    <a:gd name="T4" fmla="*/ 0 w 19"/>
                    <a:gd name="T5" fmla="*/ 0 h 1"/>
                    <a:gd name="T6" fmla="*/ 0 w 19"/>
                    <a:gd name="T7" fmla="*/ 0 h 1"/>
                    <a:gd name="T8" fmla="*/ 0 w 19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9"/>
                    <a:gd name="T16" fmla="*/ 0 h 1"/>
                    <a:gd name="T17" fmla="*/ 19 w 19"/>
                    <a:gd name="T18" fmla="*/ 1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9" h="1">
                      <a:moveTo>
                        <a:pt x="0" y="0"/>
                      </a:moveTo>
                      <a:lnTo>
                        <a:pt x="10" y="0"/>
                      </a:lnTo>
                      <a:lnTo>
                        <a:pt x="19" y="0"/>
                      </a:ln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14" name="Rectangle 136">
                  <a:extLst>
                    <a:ext uri="{FF2B5EF4-FFF2-40B4-BE49-F238E27FC236}">
                      <a16:creationId xmlns="" xmlns:a16="http://schemas.microsoft.com/office/drawing/2014/main" id="{5DB38711-3F4D-4E6B-B9DF-A68EC5C547F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75" y="2632"/>
                  <a:ext cx="8" cy="2"/>
                </a:xfrm>
                <a:prstGeom prst="rect">
                  <a:avLst/>
                </a:prstGeom>
                <a:grpFill/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>
                    <a:spcBef>
                      <a:spcPct val="20000"/>
                    </a:spcBef>
                    <a:buChar char="•"/>
                    <a:defRPr sz="32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Char char="–"/>
                    <a:defRPr sz="28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Char char="•"/>
                    <a:defRPr sz="24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alt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15" name="Line 137">
                  <a:extLst>
                    <a:ext uri="{FF2B5EF4-FFF2-40B4-BE49-F238E27FC236}">
                      <a16:creationId xmlns="" xmlns:a16="http://schemas.microsoft.com/office/drawing/2014/main" id="{1BE06BB2-3057-4403-87E0-81AF174D144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972" y="2595"/>
                  <a:ext cx="5" cy="4"/>
                </a:xfrm>
                <a:prstGeom prst="line">
                  <a:avLst/>
                </a:pr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16" name="Freeform 138">
                  <a:extLst>
                    <a:ext uri="{FF2B5EF4-FFF2-40B4-BE49-F238E27FC236}">
                      <a16:creationId xmlns="" xmlns:a16="http://schemas.microsoft.com/office/drawing/2014/main" id="{1F47F560-3F00-4AF9-9EC6-4194365609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5" y="2595"/>
                  <a:ext cx="2" cy="1"/>
                </a:xfrm>
                <a:custGeom>
                  <a:avLst/>
                  <a:gdLst>
                    <a:gd name="T0" fmla="*/ 0 w 6"/>
                    <a:gd name="T1" fmla="*/ 0 h 3"/>
                    <a:gd name="T2" fmla="*/ 0 w 6"/>
                    <a:gd name="T3" fmla="*/ 0 h 3"/>
                    <a:gd name="T4" fmla="*/ 0 w 6"/>
                    <a:gd name="T5" fmla="*/ 0 h 3"/>
                    <a:gd name="T6" fmla="*/ 0 w 6"/>
                    <a:gd name="T7" fmla="*/ 0 h 3"/>
                    <a:gd name="T8" fmla="*/ 0 w 6"/>
                    <a:gd name="T9" fmla="*/ 0 h 3"/>
                    <a:gd name="T10" fmla="*/ 0 w 6"/>
                    <a:gd name="T11" fmla="*/ 0 h 3"/>
                    <a:gd name="T12" fmla="*/ 0 w 6"/>
                    <a:gd name="T13" fmla="*/ 0 h 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"/>
                    <a:gd name="T22" fmla="*/ 0 h 3"/>
                    <a:gd name="T23" fmla="*/ 6 w 6"/>
                    <a:gd name="T24" fmla="*/ 3 h 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" h="3">
                      <a:moveTo>
                        <a:pt x="6" y="0"/>
                      </a:moveTo>
                      <a:lnTo>
                        <a:pt x="5" y="1"/>
                      </a:lnTo>
                      <a:lnTo>
                        <a:pt x="3" y="2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17" name="Freeform 139">
                  <a:extLst>
                    <a:ext uri="{FF2B5EF4-FFF2-40B4-BE49-F238E27FC236}">
                      <a16:creationId xmlns="" xmlns:a16="http://schemas.microsoft.com/office/drawing/2014/main" id="{0446F10C-6925-45C5-A779-B9B369F17E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81" y="2555"/>
                  <a:ext cx="5" cy="8"/>
                </a:xfrm>
                <a:custGeom>
                  <a:avLst/>
                  <a:gdLst>
                    <a:gd name="T0" fmla="*/ 0 w 14"/>
                    <a:gd name="T1" fmla="*/ 0 h 24"/>
                    <a:gd name="T2" fmla="*/ 0 w 14"/>
                    <a:gd name="T3" fmla="*/ 0 h 24"/>
                    <a:gd name="T4" fmla="*/ 0 w 14"/>
                    <a:gd name="T5" fmla="*/ 0 h 24"/>
                    <a:gd name="T6" fmla="*/ 0 w 14"/>
                    <a:gd name="T7" fmla="*/ 0 h 24"/>
                    <a:gd name="T8" fmla="*/ 0 w 14"/>
                    <a:gd name="T9" fmla="*/ 0 h 24"/>
                    <a:gd name="T10" fmla="*/ 0 w 14"/>
                    <a:gd name="T11" fmla="*/ 0 h 24"/>
                    <a:gd name="T12" fmla="*/ 0 w 14"/>
                    <a:gd name="T13" fmla="*/ 0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4"/>
                    <a:gd name="T22" fmla="*/ 0 h 24"/>
                    <a:gd name="T23" fmla="*/ 14 w 14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4" h="24">
                      <a:moveTo>
                        <a:pt x="14" y="0"/>
                      </a:moveTo>
                      <a:lnTo>
                        <a:pt x="13" y="5"/>
                      </a:lnTo>
                      <a:lnTo>
                        <a:pt x="9" y="12"/>
                      </a:lnTo>
                      <a:lnTo>
                        <a:pt x="5" y="19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0" y="12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18" name="Line 140">
                  <a:extLst>
                    <a:ext uri="{FF2B5EF4-FFF2-40B4-BE49-F238E27FC236}">
                      <a16:creationId xmlns="" xmlns:a16="http://schemas.microsoft.com/office/drawing/2014/main" id="{D902D4F5-8FD0-4143-A058-33A0A83BFA4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81" y="2559"/>
                  <a:ext cx="2" cy="1"/>
                </a:xfrm>
                <a:prstGeom prst="line">
                  <a:avLst/>
                </a:pr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19" name="Freeform 141">
                  <a:extLst>
                    <a:ext uri="{FF2B5EF4-FFF2-40B4-BE49-F238E27FC236}">
                      <a16:creationId xmlns="" xmlns:a16="http://schemas.microsoft.com/office/drawing/2014/main" id="{CA1092DC-BA16-4323-A8B5-B5BB0879FD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7" y="2572"/>
                  <a:ext cx="4" cy="3"/>
                </a:xfrm>
                <a:custGeom>
                  <a:avLst/>
                  <a:gdLst>
                    <a:gd name="T0" fmla="*/ 0 w 13"/>
                    <a:gd name="T1" fmla="*/ 0 h 12"/>
                    <a:gd name="T2" fmla="*/ 0 w 13"/>
                    <a:gd name="T3" fmla="*/ 0 h 12"/>
                    <a:gd name="T4" fmla="*/ 0 w 13"/>
                    <a:gd name="T5" fmla="*/ 0 h 12"/>
                    <a:gd name="T6" fmla="*/ 0 60000 65536"/>
                    <a:gd name="T7" fmla="*/ 0 60000 65536"/>
                    <a:gd name="T8" fmla="*/ 0 60000 65536"/>
                    <a:gd name="T9" fmla="*/ 0 w 13"/>
                    <a:gd name="T10" fmla="*/ 0 h 12"/>
                    <a:gd name="T11" fmla="*/ 13 w 13"/>
                    <a:gd name="T12" fmla="*/ 12 h 12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3" h="12">
                      <a:moveTo>
                        <a:pt x="13" y="12"/>
                      </a:move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20" name="Freeform 142">
                  <a:extLst>
                    <a:ext uri="{FF2B5EF4-FFF2-40B4-BE49-F238E27FC236}">
                      <a16:creationId xmlns="" xmlns:a16="http://schemas.microsoft.com/office/drawing/2014/main" id="{95A938E2-7FB3-41BE-AE47-5548C5C318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81" y="2585"/>
                  <a:ext cx="2" cy="6"/>
                </a:xfrm>
                <a:custGeom>
                  <a:avLst/>
                  <a:gdLst>
                    <a:gd name="T0" fmla="*/ 0 w 7"/>
                    <a:gd name="T1" fmla="*/ 0 h 19"/>
                    <a:gd name="T2" fmla="*/ 0 w 7"/>
                    <a:gd name="T3" fmla="*/ 0 h 19"/>
                    <a:gd name="T4" fmla="*/ 0 w 7"/>
                    <a:gd name="T5" fmla="*/ 0 h 19"/>
                    <a:gd name="T6" fmla="*/ 0 w 7"/>
                    <a:gd name="T7" fmla="*/ 0 h 1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7"/>
                    <a:gd name="T13" fmla="*/ 0 h 19"/>
                    <a:gd name="T14" fmla="*/ 7 w 7"/>
                    <a:gd name="T15" fmla="*/ 19 h 1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7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0" y="0"/>
                      </a:lnTo>
                      <a:lnTo>
                        <a:pt x="7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21" name="Line 143">
                  <a:extLst>
                    <a:ext uri="{FF2B5EF4-FFF2-40B4-BE49-F238E27FC236}">
                      <a16:creationId xmlns="" xmlns:a16="http://schemas.microsoft.com/office/drawing/2014/main" id="{64820E9D-FDCC-49E1-8C42-B601FF69022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981" y="2599"/>
                  <a:ext cx="1" cy="4"/>
                </a:xfrm>
                <a:prstGeom prst="line">
                  <a:avLst/>
                </a:pr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22" name="Freeform 144">
                  <a:extLst>
                    <a:ext uri="{FF2B5EF4-FFF2-40B4-BE49-F238E27FC236}">
                      <a16:creationId xmlns="" xmlns:a16="http://schemas.microsoft.com/office/drawing/2014/main" id="{7E88F589-BE6B-4BD7-A6CA-93F97B6DCF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0" y="2545"/>
                  <a:ext cx="2" cy="6"/>
                </a:xfrm>
                <a:custGeom>
                  <a:avLst/>
                  <a:gdLst>
                    <a:gd name="T0" fmla="*/ 0 w 8"/>
                    <a:gd name="T1" fmla="*/ 0 h 18"/>
                    <a:gd name="T2" fmla="*/ 0 w 8"/>
                    <a:gd name="T3" fmla="*/ 0 h 18"/>
                    <a:gd name="T4" fmla="*/ 0 w 8"/>
                    <a:gd name="T5" fmla="*/ 0 h 18"/>
                    <a:gd name="T6" fmla="*/ 0 w 8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18"/>
                    <a:gd name="T14" fmla="*/ 8 w 8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18">
                      <a:moveTo>
                        <a:pt x="0" y="18"/>
                      </a:moveTo>
                      <a:lnTo>
                        <a:pt x="8" y="6"/>
                      </a:lnTo>
                      <a:lnTo>
                        <a:pt x="0" y="0"/>
                      </a:lnTo>
                      <a:lnTo>
                        <a:pt x="0" y="18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23" name="Freeform 145">
                  <a:extLst>
                    <a:ext uri="{FF2B5EF4-FFF2-40B4-BE49-F238E27FC236}">
                      <a16:creationId xmlns="" xmlns:a16="http://schemas.microsoft.com/office/drawing/2014/main" id="{445FF35D-846B-480D-8740-F1D26000A8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68" y="2532"/>
                  <a:ext cx="2" cy="7"/>
                </a:xfrm>
                <a:custGeom>
                  <a:avLst/>
                  <a:gdLst>
                    <a:gd name="T0" fmla="*/ 0 w 6"/>
                    <a:gd name="T1" fmla="*/ 0 h 19"/>
                    <a:gd name="T2" fmla="*/ 0 w 6"/>
                    <a:gd name="T3" fmla="*/ 0 h 19"/>
                    <a:gd name="T4" fmla="*/ 0 w 6"/>
                    <a:gd name="T5" fmla="*/ 0 h 19"/>
                    <a:gd name="T6" fmla="*/ 0 60000 65536"/>
                    <a:gd name="T7" fmla="*/ 0 60000 65536"/>
                    <a:gd name="T8" fmla="*/ 0 60000 65536"/>
                    <a:gd name="T9" fmla="*/ 0 w 6"/>
                    <a:gd name="T10" fmla="*/ 0 h 19"/>
                    <a:gd name="T11" fmla="*/ 6 w 6"/>
                    <a:gd name="T12" fmla="*/ 19 h 19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6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6" y="13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24" name="Freeform 146">
                  <a:extLst>
                    <a:ext uri="{FF2B5EF4-FFF2-40B4-BE49-F238E27FC236}">
                      <a16:creationId xmlns="" xmlns:a16="http://schemas.microsoft.com/office/drawing/2014/main" id="{E4F08C52-FDC9-455A-8328-A1FB8AB0EB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65" y="2513"/>
                  <a:ext cx="10" cy="5"/>
                </a:xfrm>
                <a:custGeom>
                  <a:avLst/>
                  <a:gdLst>
                    <a:gd name="T0" fmla="*/ 0 w 28"/>
                    <a:gd name="T1" fmla="*/ 0 h 19"/>
                    <a:gd name="T2" fmla="*/ 0 w 28"/>
                    <a:gd name="T3" fmla="*/ 0 h 19"/>
                    <a:gd name="T4" fmla="*/ 0 w 28"/>
                    <a:gd name="T5" fmla="*/ 0 h 19"/>
                    <a:gd name="T6" fmla="*/ 0 60000 65536"/>
                    <a:gd name="T7" fmla="*/ 0 60000 65536"/>
                    <a:gd name="T8" fmla="*/ 0 60000 65536"/>
                    <a:gd name="T9" fmla="*/ 0 w 28"/>
                    <a:gd name="T10" fmla="*/ 0 h 19"/>
                    <a:gd name="T11" fmla="*/ 28 w 28"/>
                    <a:gd name="T12" fmla="*/ 19 h 19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8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28" y="19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25" name="Freeform 147">
                  <a:extLst>
                    <a:ext uri="{FF2B5EF4-FFF2-40B4-BE49-F238E27FC236}">
                      <a16:creationId xmlns="" xmlns:a16="http://schemas.microsoft.com/office/drawing/2014/main" id="{45609CD7-A510-4DBF-A2E2-488F8271A7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0" y="2513"/>
                  <a:ext cx="5" cy="5"/>
                </a:xfrm>
                <a:custGeom>
                  <a:avLst/>
                  <a:gdLst>
                    <a:gd name="T0" fmla="*/ 0 w 15"/>
                    <a:gd name="T1" fmla="*/ 0 h 19"/>
                    <a:gd name="T2" fmla="*/ 0 w 15"/>
                    <a:gd name="T3" fmla="*/ 0 h 19"/>
                    <a:gd name="T4" fmla="*/ 0 w 15"/>
                    <a:gd name="T5" fmla="*/ 0 h 19"/>
                    <a:gd name="T6" fmla="*/ 0 60000 65536"/>
                    <a:gd name="T7" fmla="*/ 0 60000 65536"/>
                    <a:gd name="T8" fmla="*/ 0 60000 65536"/>
                    <a:gd name="T9" fmla="*/ 0 w 15"/>
                    <a:gd name="T10" fmla="*/ 0 h 19"/>
                    <a:gd name="T11" fmla="*/ 15 w 15"/>
                    <a:gd name="T12" fmla="*/ 19 h 19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5" h="19">
                      <a:moveTo>
                        <a:pt x="15" y="19"/>
                      </a:moveTo>
                      <a:lnTo>
                        <a:pt x="8" y="9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26" name="Freeform 148">
                  <a:extLst>
                    <a:ext uri="{FF2B5EF4-FFF2-40B4-BE49-F238E27FC236}">
                      <a16:creationId xmlns="" xmlns:a16="http://schemas.microsoft.com/office/drawing/2014/main" id="{1C861ACD-1FF0-4634-B09F-3EEB4C1C4F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50" y="2430"/>
                  <a:ext cx="7" cy="6"/>
                </a:xfrm>
                <a:custGeom>
                  <a:avLst/>
                  <a:gdLst>
                    <a:gd name="T0" fmla="*/ 0 w 20"/>
                    <a:gd name="T1" fmla="*/ 0 h 18"/>
                    <a:gd name="T2" fmla="*/ 0 w 20"/>
                    <a:gd name="T3" fmla="*/ 0 h 18"/>
                    <a:gd name="T4" fmla="*/ 0 w 20"/>
                    <a:gd name="T5" fmla="*/ 0 h 18"/>
                    <a:gd name="T6" fmla="*/ 0 w 20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0"/>
                    <a:gd name="T13" fmla="*/ 0 h 18"/>
                    <a:gd name="T14" fmla="*/ 20 w 20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0" h="18">
                      <a:moveTo>
                        <a:pt x="13" y="18"/>
                      </a:moveTo>
                      <a:lnTo>
                        <a:pt x="20" y="0"/>
                      </a:lnTo>
                      <a:lnTo>
                        <a:pt x="0" y="0"/>
                      </a:lnTo>
                      <a:lnTo>
                        <a:pt x="13" y="18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27" name="Group 149">
                <a:extLst>
                  <a:ext uri="{FF2B5EF4-FFF2-40B4-BE49-F238E27FC236}">
                    <a16:creationId xmlns="" xmlns:a16="http://schemas.microsoft.com/office/drawing/2014/main" id="{436E914D-21E7-4EBF-8888-EC0EDFC86871}"/>
                  </a:ext>
                </a:extLst>
              </p:cNvPr>
              <p:cNvGrpSpPr>
                <a:grpSpLocks/>
              </p:cNvGrpSpPr>
              <p:nvPr>
                <p:custDataLst>
                  <p:tags r:id="rId89"/>
                </p:custDataLst>
              </p:nvPr>
            </p:nvGrpSpPr>
            <p:grpSpPr bwMode="auto">
              <a:xfrm>
                <a:off x="7870825" y="3810000"/>
                <a:ext cx="185738" cy="214313"/>
                <a:chOff x="5486" y="2743"/>
                <a:chExt cx="137" cy="132"/>
              </a:xfrm>
              <a:solidFill>
                <a:srgbClr val="FFFFFF">
                  <a:lumMod val="75000"/>
                </a:srgbClr>
              </a:solidFill>
            </p:grpSpPr>
            <p:sp>
              <p:nvSpPr>
                <p:cNvPr id="1828" name="Freeform 150">
                  <a:extLst>
                    <a:ext uri="{FF2B5EF4-FFF2-40B4-BE49-F238E27FC236}">
                      <a16:creationId xmlns="" xmlns:a16="http://schemas.microsoft.com/office/drawing/2014/main" id="{3C93AEDE-87A7-47F0-B226-8DBC016CA0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95" y="2806"/>
                  <a:ext cx="13" cy="28"/>
                </a:xfrm>
                <a:custGeom>
                  <a:avLst/>
                  <a:gdLst>
                    <a:gd name="T0" fmla="*/ 0 w 40"/>
                    <a:gd name="T1" fmla="*/ 0 h 87"/>
                    <a:gd name="T2" fmla="*/ 0 w 40"/>
                    <a:gd name="T3" fmla="*/ 0 h 87"/>
                    <a:gd name="T4" fmla="*/ 0 w 40"/>
                    <a:gd name="T5" fmla="*/ 0 h 87"/>
                    <a:gd name="T6" fmla="*/ 0 w 40"/>
                    <a:gd name="T7" fmla="*/ 0 h 87"/>
                    <a:gd name="T8" fmla="*/ 0 w 40"/>
                    <a:gd name="T9" fmla="*/ 0 h 87"/>
                    <a:gd name="T10" fmla="*/ 0 w 40"/>
                    <a:gd name="T11" fmla="*/ 0 h 87"/>
                    <a:gd name="T12" fmla="*/ 0 w 40"/>
                    <a:gd name="T13" fmla="*/ 0 h 87"/>
                    <a:gd name="T14" fmla="*/ 0 w 40"/>
                    <a:gd name="T15" fmla="*/ 0 h 87"/>
                    <a:gd name="T16" fmla="*/ 0 w 40"/>
                    <a:gd name="T17" fmla="*/ 0 h 87"/>
                    <a:gd name="T18" fmla="*/ 0 w 40"/>
                    <a:gd name="T19" fmla="*/ 0 h 87"/>
                    <a:gd name="T20" fmla="*/ 0 w 40"/>
                    <a:gd name="T21" fmla="*/ 0 h 87"/>
                    <a:gd name="T22" fmla="*/ 0 w 40"/>
                    <a:gd name="T23" fmla="*/ 0 h 87"/>
                    <a:gd name="T24" fmla="*/ 0 w 40"/>
                    <a:gd name="T25" fmla="*/ 0 h 87"/>
                    <a:gd name="T26" fmla="*/ 0 w 40"/>
                    <a:gd name="T27" fmla="*/ 0 h 87"/>
                    <a:gd name="T28" fmla="*/ 0 w 40"/>
                    <a:gd name="T29" fmla="*/ 0 h 87"/>
                    <a:gd name="T30" fmla="*/ 0 w 40"/>
                    <a:gd name="T31" fmla="*/ 0 h 87"/>
                    <a:gd name="T32" fmla="*/ 0 w 40"/>
                    <a:gd name="T33" fmla="*/ 0 h 87"/>
                    <a:gd name="T34" fmla="*/ 0 w 40"/>
                    <a:gd name="T35" fmla="*/ 0 h 87"/>
                    <a:gd name="T36" fmla="*/ 0 w 40"/>
                    <a:gd name="T37" fmla="*/ 0 h 87"/>
                    <a:gd name="T38" fmla="*/ 0 w 40"/>
                    <a:gd name="T39" fmla="*/ 0 h 87"/>
                    <a:gd name="T40" fmla="*/ 0 w 40"/>
                    <a:gd name="T41" fmla="*/ 0 h 87"/>
                    <a:gd name="T42" fmla="*/ 0 w 40"/>
                    <a:gd name="T43" fmla="*/ 0 h 87"/>
                    <a:gd name="T44" fmla="*/ 0 w 40"/>
                    <a:gd name="T45" fmla="*/ 0 h 87"/>
                    <a:gd name="T46" fmla="*/ 0 w 40"/>
                    <a:gd name="T47" fmla="*/ 0 h 87"/>
                    <a:gd name="T48" fmla="*/ 0 w 40"/>
                    <a:gd name="T49" fmla="*/ 0 h 8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40"/>
                    <a:gd name="T76" fmla="*/ 0 h 87"/>
                    <a:gd name="T77" fmla="*/ 40 w 40"/>
                    <a:gd name="T78" fmla="*/ 87 h 87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40" h="87">
                      <a:moveTo>
                        <a:pt x="0" y="31"/>
                      </a:moveTo>
                      <a:lnTo>
                        <a:pt x="0" y="42"/>
                      </a:lnTo>
                      <a:lnTo>
                        <a:pt x="2" y="51"/>
                      </a:lnTo>
                      <a:lnTo>
                        <a:pt x="5" y="59"/>
                      </a:lnTo>
                      <a:lnTo>
                        <a:pt x="10" y="66"/>
                      </a:lnTo>
                      <a:lnTo>
                        <a:pt x="15" y="72"/>
                      </a:lnTo>
                      <a:lnTo>
                        <a:pt x="22" y="77"/>
                      </a:lnTo>
                      <a:lnTo>
                        <a:pt x="31" y="82"/>
                      </a:lnTo>
                      <a:lnTo>
                        <a:pt x="40" y="87"/>
                      </a:lnTo>
                      <a:lnTo>
                        <a:pt x="35" y="82"/>
                      </a:lnTo>
                      <a:lnTo>
                        <a:pt x="32" y="77"/>
                      </a:lnTo>
                      <a:lnTo>
                        <a:pt x="29" y="71"/>
                      </a:lnTo>
                      <a:lnTo>
                        <a:pt x="26" y="65"/>
                      </a:lnTo>
                      <a:lnTo>
                        <a:pt x="22" y="52"/>
                      </a:lnTo>
                      <a:lnTo>
                        <a:pt x="20" y="39"/>
                      </a:lnTo>
                      <a:lnTo>
                        <a:pt x="18" y="27"/>
                      </a:lnTo>
                      <a:lnTo>
                        <a:pt x="13" y="16"/>
                      </a:lnTo>
                      <a:lnTo>
                        <a:pt x="11" y="11"/>
                      </a:lnTo>
                      <a:lnTo>
                        <a:pt x="8" y="6"/>
                      </a:lnTo>
                      <a:lnTo>
                        <a:pt x="4" y="3"/>
                      </a:ln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0" y="16"/>
                      </a:lnTo>
                      <a:lnTo>
                        <a:pt x="0" y="23"/>
                      </a:lnTo>
                      <a:lnTo>
                        <a:pt x="0" y="31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29" name="Freeform 151">
                  <a:extLst>
                    <a:ext uri="{FF2B5EF4-FFF2-40B4-BE49-F238E27FC236}">
                      <a16:creationId xmlns="" xmlns:a16="http://schemas.microsoft.com/office/drawing/2014/main" id="{E126352F-A55A-44FE-BC78-4E654BF0A9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03" y="2842"/>
                  <a:ext cx="20" cy="12"/>
                </a:xfrm>
                <a:custGeom>
                  <a:avLst/>
                  <a:gdLst>
                    <a:gd name="T0" fmla="*/ 0 w 61"/>
                    <a:gd name="T1" fmla="*/ 0 h 37"/>
                    <a:gd name="T2" fmla="*/ 0 w 61"/>
                    <a:gd name="T3" fmla="*/ 0 h 37"/>
                    <a:gd name="T4" fmla="*/ 0 w 61"/>
                    <a:gd name="T5" fmla="*/ 0 h 37"/>
                    <a:gd name="T6" fmla="*/ 0 w 61"/>
                    <a:gd name="T7" fmla="*/ 0 h 37"/>
                    <a:gd name="T8" fmla="*/ 0 w 61"/>
                    <a:gd name="T9" fmla="*/ 0 h 37"/>
                    <a:gd name="T10" fmla="*/ 0 w 61"/>
                    <a:gd name="T11" fmla="*/ 0 h 37"/>
                    <a:gd name="T12" fmla="*/ 0 w 61"/>
                    <a:gd name="T13" fmla="*/ 0 h 37"/>
                    <a:gd name="T14" fmla="*/ 0 w 61"/>
                    <a:gd name="T15" fmla="*/ 0 h 37"/>
                    <a:gd name="T16" fmla="*/ 0 w 61"/>
                    <a:gd name="T17" fmla="*/ 0 h 37"/>
                    <a:gd name="T18" fmla="*/ 0 w 61"/>
                    <a:gd name="T19" fmla="*/ 0 h 37"/>
                    <a:gd name="T20" fmla="*/ 0 w 61"/>
                    <a:gd name="T21" fmla="*/ 0 h 37"/>
                    <a:gd name="T22" fmla="*/ 0 w 61"/>
                    <a:gd name="T23" fmla="*/ 0 h 37"/>
                    <a:gd name="T24" fmla="*/ 0 w 61"/>
                    <a:gd name="T25" fmla="*/ 0 h 37"/>
                    <a:gd name="T26" fmla="*/ 0 w 61"/>
                    <a:gd name="T27" fmla="*/ 0 h 3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61"/>
                    <a:gd name="T43" fmla="*/ 0 h 37"/>
                    <a:gd name="T44" fmla="*/ 61 w 61"/>
                    <a:gd name="T45" fmla="*/ 37 h 37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61" h="37">
                      <a:moveTo>
                        <a:pt x="0" y="31"/>
                      </a:moveTo>
                      <a:lnTo>
                        <a:pt x="19" y="32"/>
                      </a:lnTo>
                      <a:lnTo>
                        <a:pt x="35" y="34"/>
                      </a:lnTo>
                      <a:lnTo>
                        <a:pt x="49" y="36"/>
                      </a:lnTo>
                      <a:lnTo>
                        <a:pt x="61" y="37"/>
                      </a:lnTo>
                      <a:lnTo>
                        <a:pt x="55" y="29"/>
                      </a:lnTo>
                      <a:lnTo>
                        <a:pt x="49" y="22"/>
                      </a:lnTo>
                      <a:lnTo>
                        <a:pt x="42" y="17"/>
                      </a:lnTo>
                      <a:lnTo>
                        <a:pt x="35" y="12"/>
                      </a:lnTo>
                      <a:lnTo>
                        <a:pt x="28" y="9"/>
                      </a:lnTo>
                      <a:lnTo>
                        <a:pt x="19" y="5"/>
                      </a:lnTo>
                      <a:lnTo>
                        <a:pt x="10" y="2"/>
                      </a:lnTo>
                      <a:lnTo>
                        <a:pt x="0" y="0"/>
                      </a:lnTo>
                      <a:lnTo>
                        <a:pt x="0" y="31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30" name="Freeform 152">
                  <a:extLst>
                    <a:ext uri="{FF2B5EF4-FFF2-40B4-BE49-F238E27FC236}">
                      <a16:creationId xmlns="" xmlns:a16="http://schemas.microsoft.com/office/drawing/2014/main" id="{B6DA7199-5B4A-43D0-8263-DF52C80640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68" y="2865"/>
                  <a:ext cx="13" cy="10"/>
                </a:xfrm>
                <a:custGeom>
                  <a:avLst/>
                  <a:gdLst>
                    <a:gd name="T0" fmla="*/ 0 w 40"/>
                    <a:gd name="T1" fmla="*/ 0 h 30"/>
                    <a:gd name="T2" fmla="*/ 0 w 40"/>
                    <a:gd name="T3" fmla="*/ 0 h 30"/>
                    <a:gd name="T4" fmla="*/ 0 w 40"/>
                    <a:gd name="T5" fmla="*/ 0 h 30"/>
                    <a:gd name="T6" fmla="*/ 0 w 40"/>
                    <a:gd name="T7" fmla="*/ 0 h 30"/>
                    <a:gd name="T8" fmla="*/ 0 w 40"/>
                    <a:gd name="T9" fmla="*/ 0 h 30"/>
                    <a:gd name="T10" fmla="*/ 0 w 40"/>
                    <a:gd name="T11" fmla="*/ 0 h 30"/>
                    <a:gd name="T12" fmla="*/ 0 w 40"/>
                    <a:gd name="T13" fmla="*/ 0 h 30"/>
                    <a:gd name="T14" fmla="*/ 0 w 40"/>
                    <a:gd name="T15" fmla="*/ 0 h 30"/>
                    <a:gd name="T16" fmla="*/ 0 w 40"/>
                    <a:gd name="T17" fmla="*/ 0 h 30"/>
                    <a:gd name="T18" fmla="*/ 0 w 40"/>
                    <a:gd name="T19" fmla="*/ 0 h 30"/>
                    <a:gd name="T20" fmla="*/ 0 w 40"/>
                    <a:gd name="T21" fmla="*/ 0 h 30"/>
                    <a:gd name="T22" fmla="*/ 0 w 40"/>
                    <a:gd name="T23" fmla="*/ 0 h 30"/>
                    <a:gd name="T24" fmla="*/ 0 w 40"/>
                    <a:gd name="T25" fmla="*/ 0 h 30"/>
                    <a:gd name="T26" fmla="*/ 0 w 40"/>
                    <a:gd name="T27" fmla="*/ 0 h 30"/>
                    <a:gd name="T28" fmla="*/ 0 w 40"/>
                    <a:gd name="T29" fmla="*/ 0 h 30"/>
                    <a:gd name="T30" fmla="*/ 0 w 40"/>
                    <a:gd name="T31" fmla="*/ 0 h 30"/>
                    <a:gd name="T32" fmla="*/ 0 w 40"/>
                    <a:gd name="T33" fmla="*/ 0 h 30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40"/>
                    <a:gd name="T52" fmla="*/ 0 h 30"/>
                    <a:gd name="T53" fmla="*/ 40 w 40"/>
                    <a:gd name="T54" fmla="*/ 30 h 30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40" h="30">
                      <a:moveTo>
                        <a:pt x="40" y="30"/>
                      </a:moveTo>
                      <a:lnTo>
                        <a:pt x="33" y="28"/>
                      </a:lnTo>
                      <a:lnTo>
                        <a:pt x="26" y="25"/>
                      </a:lnTo>
                      <a:lnTo>
                        <a:pt x="21" y="22"/>
                      </a:lnTo>
                      <a:lnTo>
                        <a:pt x="15" y="19"/>
                      </a:lnTo>
                      <a:lnTo>
                        <a:pt x="11" y="16"/>
                      </a:lnTo>
                      <a:lnTo>
                        <a:pt x="6" y="11"/>
                      </a:lnTo>
                      <a:lnTo>
                        <a:pt x="3" y="6"/>
                      </a:lnTo>
                      <a:lnTo>
                        <a:pt x="0" y="0"/>
                      </a:lnTo>
                      <a:lnTo>
                        <a:pt x="8" y="2"/>
                      </a:lnTo>
                      <a:lnTo>
                        <a:pt x="15" y="6"/>
                      </a:lnTo>
                      <a:lnTo>
                        <a:pt x="22" y="10"/>
                      </a:lnTo>
                      <a:lnTo>
                        <a:pt x="27" y="15"/>
                      </a:lnTo>
                      <a:lnTo>
                        <a:pt x="33" y="19"/>
                      </a:lnTo>
                      <a:lnTo>
                        <a:pt x="36" y="23"/>
                      </a:lnTo>
                      <a:lnTo>
                        <a:pt x="39" y="27"/>
                      </a:lnTo>
                      <a:lnTo>
                        <a:pt x="40" y="3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31" name="Freeform 153">
                  <a:extLst>
                    <a:ext uri="{FF2B5EF4-FFF2-40B4-BE49-F238E27FC236}">
                      <a16:creationId xmlns="" xmlns:a16="http://schemas.microsoft.com/office/drawing/2014/main" id="{C18D0FE3-B64E-4A3D-81DB-E851CAE514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15" y="2789"/>
                  <a:ext cx="24" cy="26"/>
                </a:xfrm>
                <a:custGeom>
                  <a:avLst/>
                  <a:gdLst>
                    <a:gd name="T0" fmla="*/ 0 w 74"/>
                    <a:gd name="T1" fmla="*/ 0 h 80"/>
                    <a:gd name="T2" fmla="*/ 0 w 74"/>
                    <a:gd name="T3" fmla="*/ 0 h 80"/>
                    <a:gd name="T4" fmla="*/ 0 w 74"/>
                    <a:gd name="T5" fmla="*/ 0 h 80"/>
                    <a:gd name="T6" fmla="*/ 0 w 74"/>
                    <a:gd name="T7" fmla="*/ 0 h 80"/>
                    <a:gd name="T8" fmla="*/ 0 w 74"/>
                    <a:gd name="T9" fmla="*/ 0 h 80"/>
                    <a:gd name="T10" fmla="*/ 0 w 74"/>
                    <a:gd name="T11" fmla="*/ 0 h 80"/>
                    <a:gd name="T12" fmla="*/ 0 w 74"/>
                    <a:gd name="T13" fmla="*/ 0 h 80"/>
                    <a:gd name="T14" fmla="*/ 0 w 74"/>
                    <a:gd name="T15" fmla="*/ 0 h 80"/>
                    <a:gd name="T16" fmla="*/ 0 w 74"/>
                    <a:gd name="T17" fmla="*/ 0 h 80"/>
                    <a:gd name="T18" fmla="*/ 0 w 74"/>
                    <a:gd name="T19" fmla="*/ 0 h 80"/>
                    <a:gd name="T20" fmla="*/ 0 w 74"/>
                    <a:gd name="T21" fmla="*/ 0 h 80"/>
                    <a:gd name="T22" fmla="*/ 0 w 74"/>
                    <a:gd name="T23" fmla="*/ 0 h 80"/>
                    <a:gd name="T24" fmla="*/ 0 w 74"/>
                    <a:gd name="T25" fmla="*/ 0 h 80"/>
                    <a:gd name="T26" fmla="*/ 0 w 74"/>
                    <a:gd name="T27" fmla="*/ 0 h 80"/>
                    <a:gd name="T28" fmla="*/ 0 w 74"/>
                    <a:gd name="T29" fmla="*/ 0 h 80"/>
                    <a:gd name="T30" fmla="*/ 0 w 74"/>
                    <a:gd name="T31" fmla="*/ 0 h 80"/>
                    <a:gd name="T32" fmla="*/ 0 w 74"/>
                    <a:gd name="T33" fmla="*/ 0 h 80"/>
                    <a:gd name="T34" fmla="*/ 0 w 74"/>
                    <a:gd name="T35" fmla="*/ 0 h 80"/>
                    <a:gd name="T36" fmla="*/ 0 w 74"/>
                    <a:gd name="T37" fmla="*/ 0 h 80"/>
                    <a:gd name="T38" fmla="*/ 0 w 74"/>
                    <a:gd name="T39" fmla="*/ 0 h 80"/>
                    <a:gd name="T40" fmla="*/ 0 w 74"/>
                    <a:gd name="T41" fmla="*/ 0 h 80"/>
                    <a:gd name="T42" fmla="*/ 0 w 74"/>
                    <a:gd name="T43" fmla="*/ 0 h 80"/>
                    <a:gd name="T44" fmla="*/ 0 w 74"/>
                    <a:gd name="T45" fmla="*/ 0 h 80"/>
                    <a:gd name="T46" fmla="*/ 0 w 74"/>
                    <a:gd name="T47" fmla="*/ 0 h 80"/>
                    <a:gd name="T48" fmla="*/ 0 w 74"/>
                    <a:gd name="T49" fmla="*/ 0 h 80"/>
                    <a:gd name="T50" fmla="*/ 0 w 74"/>
                    <a:gd name="T51" fmla="*/ 0 h 80"/>
                    <a:gd name="T52" fmla="*/ 0 w 74"/>
                    <a:gd name="T53" fmla="*/ 0 h 80"/>
                    <a:gd name="T54" fmla="*/ 0 w 74"/>
                    <a:gd name="T55" fmla="*/ 0 h 80"/>
                    <a:gd name="T56" fmla="*/ 0 w 74"/>
                    <a:gd name="T57" fmla="*/ 0 h 80"/>
                    <a:gd name="T58" fmla="*/ 0 w 74"/>
                    <a:gd name="T59" fmla="*/ 0 h 80"/>
                    <a:gd name="T60" fmla="*/ 0 w 74"/>
                    <a:gd name="T61" fmla="*/ 0 h 80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74"/>
                    <a:gd name="T94" fmla="*/ 0 h 80"/>
                    <a:gd name="T95" fmla="*/ 74 w 74"/>
                    <a:gd name="T96" fmla="*/ 80 h 80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74" h="80">
                      <a:moveTo>
                        <a:pt x="74" y="80"/>
                      </a:moveTo>
                      <a:lnTo>
                        <a:pt x="72" y="73"/>
                      </a:lnTo>
                      <a:lnTo>
                        <a:pt x="71" y="66"/>
                      </a:lnTo>
                      <a:lnTo>
                        <a:pt x="69" y="60"/>
                      </a:lnTo>
                      <a:lnTo>
                        <a:pt x="66" y="53"/>
                      </a:lnTo>
                      <a:lnTo>
                        <a:pt x="58" y="42"/>
                      </a:lnTo>
                      <a:lnTo>
                        <a:pt x="48" y="33"/>
                      </a:lnTo>
                      <a:lnTo>
                        <a:pt x="38" y="25"/>
                      </a:lnTo>
                      <a:lnTo>
                        <a:pt x="29" y="17"/>
                      </a:lnTo>
                      <a:lnTo>
                        <a:pt x="20" y="9"/>
                      </a:lnTo>
                      <a:lnTo>
                        <a:pt x="13" y="0"/>
                      </a:lnTo>
                      <a:lnTo>
                        <a:pt x="9" y="5"/>
                      </a:lnTo>
                      <a:lnTo>
                        <a:pt x="4" y="10"/>
                      </a:lnTo>
                      <a:lnTo>
                        <a:pt x="1" y="14"/>
                      </a:lnTo>
                      <a:lnTo>
                        <a:pt x="0" y="19"/>
                      </a:lnTo>
                      <a:lnTo>
                        <a:pt x="0" y="25"/>
                      </a:lnTo>
                      <a:lnTo>
                        <a:pt x="2" y="30"/>
                      </a:lnTo>
                      <a:lnTo>
                        <a:pt x="4" y="36"/>
                      </a:lnTo>
                      <a:lnTo>
                        <a:pt x="7" y="41"/>
                      </a:lnTo>
                      <a:lnTo>
                        <a:pt x="10" y="46"/>
                      </a:lnTo>
                      <a:lnTo>
                        <a:pt x="14" y="51"/>
                      </a:lnTo>
                      <a:lnTo>
                        <a:pt x="19" y="56"/>
                      </a:lnTo>
                      <a:lnTo>
                        <a:pt x="24" y="61"/>
                      </a:lnTo>
                      <a:lnTo>
                        <a:pt x="30" y="66"/>
                      </a:lnTo>
                      <a:lnTo>
                        <a:pt x="35" y="69"/>
                      </a:lnTo>
                      <a:lnTo>
                        <a:pt x="42" y="72"/>
                      </a:lnTo>
                      <a:lnTo>
                        <a:pt x="47" y="75"/>
                      </a:lnTo>
                      <a:lnTo>
                        <a:pt x="54" y="77"/>
                      </a:lnTo>
                      <a:lnTo>
                        <a:pt x="60" y="79"/>
                      </a:lnTo>
                      <a:lnTo>
                        <a:pt x="67" y="80"/>
                      </a:lnTo>
                      <a:lnTo>
                        <a:pt x="74" y="8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32" name="Freeform 154">
                  <a:extLst>
                    <a:ext uri="{FF2B5EF4-FFF2-40B4-BE49-F238E27FC236}">
                      <a16:creationId xmlns="" xmlns:a16="http://schemas.microsoft.com/office/drawing/2014/main" id="{89A6D91B-5E32-4AC1-A25F-6CBC2F07A1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55" y="2785"/>
                  <a:ext cx="26" cy="27"/>
                </a:xfrm>
                <a:custGeom>
                  <a:avLst/>
                  <a:gdLst>
                    <a:gd name="T0" fmla="*/ 0 w 86"/>
                    <a:gd name="T1" fmla="*/ 0 h 80"/>
                    <a:gd name="T2" fmla="*/ 0 w 86"/>
                    <a:gd name="T3" fmla="*/ 0 h 80"/>
                    <a:gd name="T4" fmla="*/ 0 w 86"/>
                    <a:gd name="T5" fmla="*/ 0 h 80"/>
                    <a:gd name="T6" fmla="*/ 0 w 86"/>
                    <a:gd name="T7" fmla="*/ 0 h 80"/>
                    <a:gd name="T8" fmla="*/ 0 w 86"/>
                    <a:gd name="T9" fmla="*/ 0 h 80"/>
                    <a:gd name="T10" fmla="*/ 0 w 86"/>
                    <a:gd name="T11" fmla="*/ 0 h 80"/>
                    <a:gd name="T12" fmla="*/ 0 w 86"/>
                    <a:gd name="T13" fmla="*/ 0 h 80"/>
                    <a:gd name="T14" fmla="*/ 0 w 86"/>
                    <a:gd name="T15" fmla="*/ 0 h 80"/>
                    <a:gd name="T16" fmla="*/ 0 w 86"/>
                    <a:gd name="T17" fmla="*/ 0 h 80"/>
                    <a:gd name="T18" fmla="*/ 0 w 86"/>
                    <a:gd name="T19" fmla="*/ 0 h 80"/>
                    <a:gd name="T20" fmla="*/ 0 w 86"/>
                    <a:gd name="T21" fmla="*/ 0 h 80"/>
                    <a:gd name="T22" fmla="*/ 0 w 86"/>
                    <a:gd name="T23" fmla="*/ 0 h 80"/>
                    <a:gd name="T24" fmla="*/ 0 w 86"/>
                    <a:gd name="T25" fmla="*/ 0 h 80"/>
                    <a:gd name="T26" fmla="*/ 0 w 86"/>
                    <a:gd name="T27" fmla="*/ 0 h 80"/>
                    <a:gd name="T28" fmla="*/ 0 w 86"/>
                    <a:gd name="T29" fmla="*/ 0 h 80"/>
                    <a:gd name="T30" fmla="*/ 0 w 86"/>
                    <a:gd name="T31" fmla="*/ 0 h 80"/>
                    <a:gd name="T32" fmla="*/ 0 w 86"/>
                    <a:gd name="T33" fmla="*/ 0 h 80"/>
                    <a:gd name="T34" fmla="*/ 0 w 86"/>
                    <a:gd name="T35" fmla="*/ 0 h 80"/>
                    <a:gd name="T36" fmla="*/ 0 w 86"/>
                    <a:gd name="T37" fmla="*/ 0 h 80"/>
                    <a:gd name="T38" fmla="*/ 0 w 86"/>
                    <a:gd name="T39" fmla="*/ 0 h 80"/>
                    <a:gd name="T40" fmla="*/ 0 w 86"/>
                    <a:gd name="T41" fmla="*/ 0 h 80"/>
                    <a:gd name="T42" fmla="*/ 0 w 86"/>
                    <a:gd name="T43" fmla="*/ 0 h 80"/>
                    <a:gd name="T44" fmla="*/ 0 w 86"/>
                    <a:gd name="T45" fmla="*/ 0 h 80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86"/>
                    <a:gd name="T70" fmla="*/ 0 h 80"/>
                    <a:gd name="T71" fmla="*/ 86 w 86"/>
                    <a:gd name="T72" fmla="*/ 80 h 80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86" h="80">
                      <a:moveTo>
                        <a:pt x="52" y="80"/>
                      </a:moveTo>
                      <a:lnTo>
                        <a:pt x="86" y="80"/>
                      </a:lnTo>
                      <a:lnTo>
                        <a:pt x="86" y="61"/>
                      </a:lnTo>
                      <a:lnTo>
                        <a:pt x="79" y="59"/>
                      </a:lnTo>
                      <a:lnTo>
                        <a:pt x="72" y="56"/>
                      </a:lnTo>
                      <a:lnTo>
                        <a:pt x="67" y="53"/>
                      </a:lnTo>
                      <a:lnTo>
                        <a:pt x="61" y="49"/>
                      </a:lnTo>
                      <a:lnTo>
                        <a:pt x="51" y="41"/>
                      </a:lnTo>
                      <a:lnTo>
                        <a:pt x="43" y="33"/>
                      </a:lnTo>
                      <a:lnTo>
                        <a:pt x="34" y="25"/>
                      </a:lnTo>
                      <a:lnTo>
                        <a:pt x="24" y="16"/>
                      </a:lnTo>
                      <a:lnTo>
                        <a:pt x="13" y="7"/>
                      </a:lnTo>
                      <a:lnTo>
                        <a:pt x="0" y="0"/>
                      </a:lnTo>
                      <a:lnTo>
                        <a:pt x="1" y="8"/>
                      </a:lnTo>
                      <a:lnTo>
                        <a:pt x="5" y="20"/>
                      </a:lnTo>
                      <a:lnTo>
                        <a:pt x="11" y="32"/>
                      </a:lnTo>
                      <a:lnTo>
                        <a:pt x="18" y="44"/>
                      </a:lnTo>
                      <a:lnTo>
                        <a:pt x="27" y="57"/>
                      </a:lnTo>
                      <a:lnTo>
                        <a:pt x="36" y="67"/>
                      </a:lnTo>
                      <a:lnTo>
                        <a:pt x="40" y="72"/>
                      </a:lnTo>
                      <a:lnTo>
                        <a:pt x="45" y="76"/>
                      </a:lnTo>
                      <a:lnTo>
                        <a:pt x="49" y="79"/>
                      </a:lnTo>
                      <a:lnTo>
                        <a:pt x="52" y="8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33" name="Freeform 155">
                  <a:extLst>
                    <a:ext uri="{FF2B5EF4-FFF2-40B4-BE49-F238E27FC236}">
                      <a16:creationId xmlns="" xmlns:a16="http://schemas.microsoft.com/office/drawing/2014/main" id="{A9B8FCC0-87B3-42E3-82C8-00E4CC1E00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70" y="2825"/>
                  <a:ext cx="25" cy="11"/>
                </a:xfrm>
                <a:custGeom>
                  <a:avLst/>
                  <a:gdLst>
                    <a:gd name="T0" fmla="*/ 0 w 74"/>
                    <a:gd name="T1" fmla="*/ 0 h 31"/>
                    <a:gd name="T2" fmla="*/ 0 w 74"/>
                    <a:gd name="T3" fmla="*/ 0 h 31"/>
                    <a:gd name="T4" fmla="*/ 0 w 74"/>
                    <a:gd name="T5" fmla="*/ 0 h 31"/>
                    <a:gd name="T6" fmla="*/ 0 w 74"/>
                    <a:gd name="T7" fmla="*/ 0 h 31"/>
                    <a:gd name="T8" fmla="*/ 0 w 74"/>
                    <a:gd name="T9" fmla="*/ 0 h 31"/>
                    <a:gd name="T10" fmla="*/ 0 w 74"/>
                    <a:gd name="T11" fmla="*/ 0 h 31"/>
                    <a:gd name="T12" fmla="*/ 0 w 74"/>
                    <a:gd name="T13" fmla="*/ 0 h 31"/>
                    <a:gd name="T14" fmla="*/ 0 w 74"/>
                    <a:gd name="T15" fmla="*/ 0 h 31"/>
                    <a:gd name="T16" fmla="*/ 0 w 74"/>
                    <a:gd name="T17" fmla="*/ 0 h 31"/>
                    <a:gd name="T18" fmla="*/ 0 w 74"/>
                    <a:gd name="T19" fmla="*/ 0 h 31"/>
                    <a:gd name="T20" fmla="*/ 0 w 74"/>
                    <a:gd name="T21" fmla="*/ 0 h 31"/>
                    <a:gd name="T22" fmla="*/ 0 w 74"/>
                    <a:gd name="T23" fmla="*/ 0 h 31"/>
                    <a:gd name="T24" fmla="*/ 0 w 74"/>
                    <a:gd name="T25" fmla="*/ 0 h 31"/>
                    <a:gd name="T26" fmla="*/ 0 w 74"/>
                    <a:gd name="T27" fmla="*/ 0 h 31"/>
                    <a:gd name="T28" fmla="*/ 0 w 74"/>
                    <a:gd name="T29" fmla="*/ 0 h 31"/>
                    <a:gd name="T30" fmla="*/ 0 w 74"/>
                    <a:gd name="T31" fmla="*/ 0 h 31"/>
                    <a:gd name="T32" fmla="*/ 0 w 74"/>
                    <a:gd name="T33" fmla="*/ 0 h 31"/>
                    <a:gd name="T34" fmla="*/ 0 w 74"/>
                    <a:gd name="T35" fmla="*/ 0 h 31"/>
                    <a:gd name="T36" fmla="*/ 0 w 74"/>
                    <a:gd name="T37" fmla="*/ 0 h 31"/>
                    <a:gd name="T38" fmla="*/ 0 w 74"/>
                    <a:gd name="T39" fmla="*/ 0 h 31"/>
                    <a:gd name="T40" fmla="*/ 0 w 74"/>
                    <a:gd name="T41" fmla="*/ 0 h 31"/>
                    <a:gd name="T42" fmla="*/ 0 w 74"/>
                    <a:gd name="T43" fmla="*/ 0 h 31"/>
                    <a:gd name="T44" fmla="*/ 0 w 74"/>
                    <a:gd name="T45" fmla="*/ 0 h 31"/>
                    <a:gd name="T46" fmla="*/ 0 w 74"/>
                    <a:gd name="T47" fmla="*/ 0 h 31"/>
                    <a:gd name="T48" fmla="*/ 0 w 74"/>
                    <a:gd name="T49" fmla="*/ 0 h 31"/>
                    <a:gd name="T50" fmla="*/ 0 w 74"/>
                    <a:gd name="T51" fmla="*/ 0 h 31"/>
                    <a:gd name="T52" fmla="*/ 0 w 74"/>
                    <a:gd name="T53" fmla="*/ 0 h 31"/>
                    <a:gd name="T54" fmla="*/ 0 w 74"/>
                    <a:gd name="T55" fmla="*/ 0 h 31"/>
                    <a:gd name="T56" fmla="*/ 0 w 74"/>
                    <a:gd name="T57" fmla="*/ 0 h 31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74"/>
                    <a:gd name="T88" fmla="*/ 0 h 31"/>
                    <a:gd name="T89" fmla="*/ 74 w 74"/>
                    <a:gd name="T90" fmla="*/ 31 h 31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74" h="31">
                      <a:moveTo>
                        <a:pt x="0" y="7"/>
                      </a:moveTo>
                      <a:lnTo>
                        <a:pt x="3" y="11"/>
                      </a:lnTo>
                      <a:lnTo>
                        <a:pt x="5" y="15"/>
                      </a:lnTo>
                      <a:lnTo>
                        <a:pt x="9" y="18"/>
                      </a:lnTo>
                      <a:lnTo>
                        <a:pt x="14" y="21"/>
                      </a:lnTo>
                      <a:lnTo>
                        <a:pt x="18" y="24"/>
                      </a:lnTo>
                      <a:lnTo>
                        <a:pt x="23" y="26"/>
                      </a:lnTo>
                      <a:lnTo>
                        <a:pt x="29" y="28"/>
                      </a:lnTo>
                      <a:lnTo>
                        <a:pt x="34" y="29"/>
                      </a:lnTo>
                      <a:lnTo>
                        <a:pt x="47" y="31"/>
                      </a:lnTo>
                      <a:lnTo>
                        <a:pt x="58" y="31"/>
                      </a:lnTo>
                      <a:lnTo>
                        <a:pt x="63" y="30"/>
                      </a:lnTo>
                      <a:lnTo>
                        <a:pt x="67" y="29"/>
                      </a:lnTo>
                      <a:lnTo>
                        <a:pt x="71" y="27"/>
                      </a:lnTo>
                      <a:lnTo>
                        <a:pt x="74" y="25"/>
                      </a:lnTo>
                      <a:lnTo>
                        <a:pt x="64" y="18"/>
                      </a:lnTo>
                      <a:lnTo>
                        <a:pt x="55" y="13"/>
                      </a:lnTo>
                      <a:lnTo>
                        <a:pt x="51" y="10"/>
                      </a:lnTo>
                      <a:lnTo>
                        <a:pt x="47" y="8"/>
                      </a:lnTo>
                      <a:lnTo>
                        <a:pt x="43" y="5"/>
                      </a:lnTo>
                      <a:lnTo>
                        <a:pt x="41" y="0"/>
                      </a:lnTo>
                      <a:lnTo>
                        <a:pt x="33" y="1"/>
                      </a:lnTo>
                      <a:lnTo>
                        <a:pt x="28" y="1"/>
                      </a:lnTo>
                      <a:lnTo>
                        <a:pt x="22" y="1"/>
                      </a:lnTo>
                      <a:lnTo>
                        <a:pt x="18" y="0"/>
                      </a:lnTo>
                      <a:lnTo>
                        <a:pt x="14" y="0"/>
                      </a:lnTo>
                      <a:lnTo>
                        <a:pt x="10" y="0"/>
                      </a:lnTo>
                      <a:lnTo>
                        <a:pt x="6" y="3"/>
                      </a:lnTo>
                      <a:lnTo>
                        <a:pt x="0" y="7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34" name="Freeform 156">
                  <a:extLst>
                    <a:ext uri="{FF2B5EF4-FFF2-40B4-BE49-F238E27FC236}">
                      <a16:creationId xmlns="" xmlns:a16="http://schemas.microsoft.com/office/drawing/2014/main" id="{8FB72E6E-AF4D-4BED-B51C-07F2F1C447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62" y="2819"/>
                  <a:ext cx="6" cy="1"/>
                </a:xfrm>
                <a:custGeom>
                  <a:avLst/>
                  <a:gdLst>
                    <a:gd name="T0" fmla="*/ 0 w 20"/>
                    <a:gd name="T1" fmla="*/ 0 h 1"/>
                    <a:gd name="T2" fmla="*/ 0 w 20"/>
                    <a:gd name="T3" fmla="*/ 0 h 1"/>
                    <a:gd name="T4" fmla="*/ 0 w 20"/>
                    <a:gd name="T5" fmla="*/ 0 h 1"/>
                    <a:gd name="T6" fmla="*/ 0 w 20"/>
                    <a:gd name="T7" fmla="*/ 0 h 1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0"/>
                    <a:gd name="T13" fmla="*/ 0 h 1"/>
                    <a:gd name="T14" fmla="*/ 20 w 20"/>
                    <a:gd name="T15" fmla="*/ 1 h 1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0" h="1">
                      <a:moveTo>
                        <a:pt x="20" y="0"/>
                      </a:moveTo>
                      <a:lnTo>
                        <a:pt x="0" y="0"/>
                      </a:lnTo>
                      <a:lnTo>
                        <a:pt x="10" y="0"/>
                      </a:lnTo>
                      <a:lnTo>
                        <a:pt x="20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35" name="Freeform 157">
                  <a:extLst>
                    <a:ext uri="{FF2B5EF4-FFF2-40B4-BE49-F238E27FC236}">
                      <a16:creationId xmlns="" xmlns:a16="http://schemas.microsoft.com/office/drawing/2014/main" id="{2041F5E5-285A-4DFF-99F0-78EB6B22DE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09" y="2769"/>
                  <a:ext cx="32" cy="21"/>
                </a:xfrm>
                <a:custGeom>
                  <a:avLst/>
                  <a:gdLst>
                    <a:gd name="T0" fmla="*/ 0 w 100"/>
                    <a:gd name="T1" fmla="*/ 0 h 65"/>
                    <a:gd name="T2" fmla="*/ 0 w 100"/>
                    <a:gd name="T3" fmla="*/ 0 h 65"/>
                    <a:gd name="T4" fmla="*/ 0 w 100"/>
                    <a:gd name="T5" fmla="*/ 0 h 65"/>
                    <a:gd name="T6" fmla="*/ 0 w 100"/>
                    <a:gd name="T7" fmla="*/ 0 h 65"/>
                    <a:gd name="T8" fmla="*/ 0 w 100"/>
                    <a:gd name="T9" fmla="*/ 0 h 65"/>
                    <a:gd name="T10" fmla="*/ 0 w 100"/>
                    <a:gd name="T11" fmla="*/ 0 h 65"/>
                    <a:gd name="T12" fmla="*/ 0 w 100"/>
                    <a:gd name="T13" fmla="*/ 0 h 65"/>
                    <a:gd name="T14" fmla="*/ 0 w 100"/>
                    <a:gd name="T15" fmla="*/ 0 h 65"/>
                    <a:gd name="T16" fmla="*/ 0 w 100"/>
                    <a:gd name="T17" fmla="*/ 0 h 65"/>
                    <a:gd name="T18" fmla="*/ 0 w 100"/>
                    <a:gd name="T19" fmla="*/ 0 h 65"/>
                    <a:gd name="T20" fmla="*/ 0 w 100"/>
                    <a:gd name="T21" fmla="*/ 0 h 65"/>
                    <a:gd name="T22" fmla="*/ 0 w 100"/>
                    <a:gd name="T23" fmla="*/ 0 h 65"/>
                    <a:gd name="T24" fmla="*/ 0 w 100"/>
                    <a:gd name="T25" fmla="*/ 0 h 65"/>
                    <a:gd name="T26" fmla="*/ 0 w 100"/>
                    <a:gd name="T27" fmla="*/ 0 h 65"/>
                    <a:gd name="T28" fmla="*/ 0 w 100"/>
                    <a:gd name="T29" fmla="*/ 0 h 65"/>
                    <a:gd name="T30" fmla="*/ 0 w 100"/>
                    <a:gd name="T31" fmla="*/ 0 h 65"/>
                    <a:gd name="T32" fmla="*/ 0 w 100"/>
                    <a:gd name="T33" fmla="*/ 0 h 65"/>
                    <a:gd name="T34" fmla="*/ 0 w 100"/>
                    <a:gd name="T35" fmla="*/ 0 h 65"/>
                    <a:gd name="T36" fmla="*/ 0 w 100"/>
                    <a:gd name="T37" fmla="*/ 0 h 65"/>
                    <a:gd name="T38" fmla="*/ 0 w 100"/>
                    <a:gd name="T39" fmla="*/ 0 h 65"/>
                    <a:gd name="T40" fmla="*/ 0 w 100"/>
                    <a:gd name="T41" fmla="*/ 0 h 65"/>
                    <a:gd name="T42" fmla="*/ 0 w 100"/>
                    <a:gd name="T43" fmla="*/ 0 h 65"/>
                    <a:gd name="T44" fmla="*/ 0 w 100"/>
                    <a:gd name="T45" fmla="*/ 0 h 65"/>
                    <a:gd name="T46" fmla="*/ 0 w 100"/>
                    <a:gd name="T47" fmla="*/ 0 h 65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00"/>
                    <a:gd name="T73" fmla="*/ 0 h 65"/>
                    <a:gd name="T74" fmla="*/ 100 w 100"/>
                    <a:gd name="T75" fmla="*/ 65 h 65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00" h="65">
                      <a:moveTo>
                        <a:pt x="7" y="25"/>
                      </a:moveTo>
                      <a:lnTo>
                        <a:pt x="35" y="40"/>
                      </a:lnTo>
                      <a:lnTo>
                        <a:pt x="61" y="55"/>
                      </a:lnTo>
                      <a:lnTo>
                        <a:pt x="72" y="60"/>
                      </a:lnTo>
                      <a:lnTo>
                        <a:pt x="83" y="65"/>
                      </a:lnTo>
                      <a:lnTo>
                        <a:pt x="87" y="65"/>
                      </a:lnTo>
                      <a:lnTo>
                        <a:pt x="91" y="65"/>
                      </a:lnTo>
                      <a:lnTo>
                        <a:pt x="96" y="65"/>
                      </a:lnTo>
                      <a:lnTo>
                        <a:pt x="100" y="62"/>
                      </a:lnTo>
                      <a:lnTo>
                        <a:pt x="94" y="60"/>
                      </a:lnTo>
                      <a:lnTo>
                        <a:pt x="88" y="56"/>
                      </a:lnTo>
                      <a:lnTo>
                        <a:pt x="83" y="52"/>
                      </a:lnTo>
                      <a:lnTo>
                        <a:pt x="78" y="46"/>
                      </a:lnTo>
                      <a:lnTo>
                        <a:pt x="67" y="34"/>
                      </a:lnTo>
                      <a:lnTo>
                        <a:pt x="57" y="21"/>
                      </a:lnTo>
                      <a:lnTo>
                        <a:pt x="52" y="15"/>
                      </a:lnTo>
                      <a:lnTo>
                        <a:pt x="46" y="10"/>
                      </a:lnTo>
                      <a:lnTo>
                        <a:pt x="40" y="4"/>
                      </a:lnTo>
                      <a:lnTo>
                        <a:pt x="33" y="1"/>
                      </a:lnTo>
                      <a:lnTo>
                        <a:pt x="27" y="0"/>
                      </a:lnTo>
                      <a:lnTo>
                        <a:pt x="18" y="0"/>
                      </a:lnTo>
                      <a:lnTo>
                        <a:pt x="10" y="2"/>
                      </a:lnTo>
                      <a:lnTo>
                        <a:pt x="0" y="6"/>
                      </a:lnTo>
                      <a:lnTo>
                        <a:pt x="7" y="25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36" name="Freeform 158">
                  <a:extLst>
                    <a:ext uri="{FF2B5EF4-FFF2-40B4-BE49-F238E27FC236}">
                      <a16:creationId xmlns="" xmlns:a16="http://schemas.microsoft.com/office/drawing/2014/main" id="{43B27D14-18EE-4462-BFF6-1E2065E33D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86" y="2743"/>
                  <a:ext cx="24" cy="34"/>
                </a:xfrm>
                <a:custGeom>
                  <a:avLst/>
                  <a:gdLst>
                    <a:gd name="T0" fmla="*/ 0 w 79"/>
                    <a:gd name="T1" fmla="*/ 0 h 104"/>
                    <a:gd name="T2" fmla="*/ 0 w 79"/>
                    <a:gd name="T3" fmla="*/ 0 h 104"/>
                    <a:gd name="T4" fmla="*/ 0 w 79"/>
                    <a:gd name="T5" fmla="*/ 0 h 104"/>
                    <a:gd name="T6" fmla="*/ 0 w 79"/>
                    <a:gd name="T7" fmla="*/ 0 h 104"/>
                    <a:gd name="T8" fmla="*/ 0 w 79"/>
                    <a:gd name="T9" fmla="*/ 0 h 104"/>
                    <a:gd name="T10" fmla="*/ 0 w 79"/>
                    <a:gd name="T11" fmla="*/ 0 h 104"/>
                    <a:gd name="T12" fmla="*/ 0 w 79"/>
                    <a:gd name="T13" fmla="*/ 0 h 104"/>
                    <a:gd name="T14" fmla="*/ 0 w 79"/>
                    <a:gd name="T15" fmla="*/ 0 h 104"/>
                    <a:gd name="T16" fmla="*/ 0 w 79"/>
                    <a:gd name="T17" fmla="*/ 0 h 104"/>
                    <a:gd name="T18" fmla="*/ 0 w 79"/>
                    <a:gd name="T19" fmla="*/ 0 h 104"/>
                    <a:gd name="T20" fmla="*/ 0 w 79"/>
                    <a:gd name="T21" fmla="*/ 0 h 104"/>
                    <a:gd name="T22" fmla="*/ 0 w 79"/>
                    <a:gd name="T23" fmla="*/ 0 h 104"/>
                    <a:gd name="T24" fmla="*/ 0 w 79"/>
                    <a:gd name="T25" fmla="*/ 0 h 104"/>
                    <a:gd name="T26" fmla="*/ 0 w 79"/>
                    <a:gd name="T27" fmla="*/ 0 h 104"/>
                    <a:gd name="T28" fmla="*/ 0 w 79"/>
                    <a:gd name="T29" fmla="*/ 0 h 104"/>
                    <a:gd name="T30" fmla="*/ 0 w 79"/>
                    <a:gd name="T31" fmla="*/ 0 h 104"/>
                    <a:gd name="T32" fmla="*/ 0 w 79"/>
                    <a:gd name="T33" fmla="*/ 0 h 104"/>
                    <a:gd name="T34" fmla="*/ 0 w 79"/>
                    <a:gd name="T35" fmla="*/ 0 h 104"/>
                    <a:gd name="T36" fmla="*/ 0 w 79"/>
                    <a:gd name="T37" fmla="*/ 0 h 104"/>
                    <a:gd name="T38" fmla="*/ 0 w 79"/>
                    <a:gd name="T39" fmla="*/ 0 h 104"/>
                    <a:gd name="T40" fmla="*/ 0 w 79"/>
                    <a:gd name="T41" fmla="*/ 0 h 104"/>
                    <a:gd name="T42" fmla="*/ 0 w 79"/>
                    <a:gd name="T43" fmla="*/ 0 h 104"/>
                    <a:gd name="T44" fmla="*/ 0 w 79"/>
                    <a:gd name="T45" fmla="*/ 0 h 104"/>
                    <a:gd name="T46" fmla="*/ 0 w 79"/>
                    <a:gd name="T47" fmla="*/ 0 h 104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79"/>
                    <a:gd name="T73" fmla="*/ 0 h 104"/>
                    <a:gd name="T74" fmla="*/ 79 w 79"/>
                    <a:gd name="T75" fmla="*/ 104 h 104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79" h="104">
                      <a:moveTo>
                        <a:pt x="72" y="85"/>
                      </a:moveTo>
                      <a:lnTo>
                        <a:pt x="56" y="61"/>
                      </a:lnTo>
                      <a:lnTo>
                        <a:pt x="43" y="41"/>
                      </a:lnTo>
                      <a:lnTo>
                        <a:pt x="29" y="20"/>
                      </a:lnTo>
                      <a:lnTo>
                        <a:pt x="12" y="0"/>
                      </a:lnTo>
                      <a:lnTo>
                        <a:pt x="6" y="16"/>
                      </a:lnTo>
                      <a:lnTo>
                        <a:pt x="2" y="33"/>
                      </a:lnTo>
                      <a:lnTo>
                        <a:pt x="0" y="40"/>
                      </a:lnTo>
                      <a:lnTo>
                        <a:pt x="0" y="48"/>
                      </a:lnTo>
                      <a:lnTo>
                        <a:pt x="0" y="55"/>
                      </a:lnTo>
                      <a:lnTo>
                        <a:pt x="0" y="62"/>
                      </a:lnTo>
                      <a:lnTo>
                        <a:pt x="1" y="68"/>
                      </a:lnTo>
                      <a:lnTo>
                        <a:pt x="3" y="74"/>
                      </a:lnTo>
                      <a:lnTo>
                        <a:pt x="6" y="79"/>
                      </a:lnTo>
                      <a:lnTo>
                        <a:pt x="10" y="83"/>
                      </a:lnTo>
                      <a:lnTo>
                        <a:pt x="14" y="88"/>
                      </a:lnTo>
                      <a:lnTo>
                        <a:pt x="20" y="90"/>
                      </a:lnTo>
                      <a:lnTo>
                        <a:pt x="25" y="92"/>
                      </a:lnTo>
                      <a:lnTo>
                        <a:pt x="33" y="92"/>
                      </a:lnTo>
                      <a:lnTo>
                        <a:pt x="43" y="93"/>
                      </a:lnTo>
                      <a:lnTo>
                        <a:pt x="54" y="96"/>
                      </a:lnTo>
                      <a:lnTo>
                        <a:pt x="65" y="100"/>
                      </a:lnTo>
                      <a:lnTo>
                        <a:pt x="79" y="104"/>
                      </a:lnTo>
                      <a:lnTo>
                        <a:pt x="72" y="85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837" name="Freeform 159">
                <a:extLst>
                  <a:ext uri="{FF2B5EF4-FFF2-40B4-BE49-F238E27FC236}">
                    <a16:creationId xmlns="" xmlns:a16="http://schemas.microsoft.com/office/drawing/2014/main" id="{6EBF2865-67E2-424C-B874-BD44ED8EEB5E}"/>
                  </a:ext>
                </a:extLst>
              </p:cNvPr>
              <p:cNvSpPr>
                <a:spLocks/>
              </p:cNvSpPr>
              <p:nvPr>
                <p:custDataLst>
                  <p:tags r:id="rId90"/>
                </p:custDataLst>
              </p:nvPr>
            </p:nvSpPr>
            <p:spPr bwMode="auto">
              <a:xfrm>
                <a:off x="4216400" y="3548063"/>
                <a:ext cx="11113" cy="55562"/>
              </a:xfrm>
              <a:custGeom>
                <a:avLst/>
                <a:gdLst>
                  <a:gd name="T0" fmla="*/ 2147483646 w 27"/>
                  <a:gd name="T1" fmla="*/ 0 h 19"/>
                  <a:gd name="T2" fmla="*/ 2147483646 w 27"/>
                  <a:gd name="T3" fmla="*/ 2147483646 h 19"/>
                  <a:gd name="T4" fmla="*/ 2147483646 w 27"/>
                  <a:gd name="T5" fmla="*/ 2147483646 h 19"/>
                  <a:gd name="T6" fmla="*/ 2147483646 w 27"/>
                  <a:gd name="T7" fmla="*/ 2147483646 h 19"/>
                  <a:gd name="T8" fmla="*/ 0 w 27"/>
                  <a:gd name="T9" fmla="*/ 2147483646 h 19"/>
                  <a:gd name="T10" fmla="*/ 2147483646 w 27"/>
                  <a:gd name="T11" fmla="*/ 2147483646 h 19"/>
                  <a:gd name="T12" fmla="*/ 2147483646 w 27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7"/>
                  <a:gd name="T22" fmla="*/ 0 h 19"/>
                  <a:gd name="T23" fmla="*/ 27 w 27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7" h="19">
                    <a:moveTo>
                      <a:pt x="27" y="0"/>
                    </a:moveTo>
                    <a:lnTo>
                      <a:pt x="27" y="12"/>
                    </a:lnTo>
                    <a:lnTo>
                      <a:pt x="27" y="19"/>
                    </a:lnTo>
                    <a:lnTo>
                      <a:pt x="9" y="19"/>
                    </a:lnTo>
                    <a:lnTo>
                      <a:pt x="0" y="19"/>
                    </a:lnTo>
                    <a:lnTo>
                      <a:pt x="9" y="12"/>
                    </a:lnTo>
                    <a:lnTo>
                      <a:pt x="27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38" name="Freeform 160">
                <a:extLst>
                  <a:ext uri="{FF2B5EF4-FFF2-40B4-BE49-F238E27FC236}">
                    <a16:creationId xmlns="" xmlns:a16="http://schemas.microsoft.com/office/drawing/2014/main" id="{C96827C7-BEF2-4249-9A94-ACFBCF9955C3}"/>
                  </a:ext>
                </a:extLst>
              </p:cNvPr>
              <p:cNvSpPr>
                <a:spLocks/>
              </p:cNvSpPr>
              <p:nvPr>
                <p:custDataLst>
                  <p:tags r:id="rId91"/>
                </p:custDataLst>
              </p:nvPr>
            </p:nvSpPr>
            <p:spPr bwMode="auto">
              <a:xfrm>
                <a:off x="4140200" y="3687763"/>
                <a:ext cx="14288" cy="57150"/>
              </a:xfrm>
              <a:custGeom>
                <a:avLst/>
                <a:gdLst>
                  <a:gd name="T0" fmla="*/ 0 w 39"/>
                  <a:gd name="T1" fmla="*/ 0 h 35"/>
                  <a:gd name="T2" fmla="*/ 2147483646 w 39"/>
                  <a:gd name="T3" fmla="*/ 0 h 35"/>
                  <a:gd name="T4" fmla="*/ 2147483646 w 39"/>
                  <a:gd name="T5" fmla="*/ 2147483646 h 35"/>
                  <a:gd name="T6" fmla="*/ 2147483646 w 39"/>
                  <a:gd name="T7" fmla="*/ 2147483646 h 35"/>
                  <a:gd name="T8" fmla="*/ 2147483646 w 39"/>
                  <a:gd name="T9" fmla="*/ 2147483646 h 35"/>
                  <a:gd name="T10" fmla="*/ 2147483646 w 39"/>
                  <a:gd name="T11" fmla="*/ 2147483646 h 35"/>
                  <a:gd name="T12" fmla="*/ 2147483646 w 39"/>
                  <a:gd name="T13" fmla="*/ 2147483646 h 35"/>
                  <a:gd name="T14" fmla="*/ 2147483646 w 39"/>
                  <a:gd name="T15" fmla="*/ 2147483646 h 35"/>
                  <a:gd name="T16" fmla="*/ 2147483646 w 39"/>
                  <a:gd name="T17" fmla="*/ 2147483646 h 35"/>
                  <a:gd name="T18" fmla="*/ 2147483646 w 39"/>
                  <a:gd name="T19" fmla="*/ 2147483646 h 35"/>
                  <a:gd name="T20" fmla="*/ 2147483646 w 39"/>
                  <a:gd name="T21" fmla="*/ 2147483646 h 35"/>
                  <a:gd name="T22" fmla="*/ 2147483646 w 39"/>
                  <a:gd name="T23" fmla="*/ 2147483646 h 35"/>
                  <a:gd name="T24" fmla="*/ 2147483646 w 39"/>
                  <a:gd name="T25" fmla="*/ 2147483646 h 35"/>
                  <a:gd name="T26" fmla="*/ 0 w 39"/>
                  <a:gd name="T27" fmla="*/ 0 h 3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39"/>
                  <a:gd name="T43" fmla="*/ 0 h 35"/>
                  <a:gd name="T44" fmla="*/ 39 w 39"/>
                  <a:gd name="T45" fmla="*/ 35 h 3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39" h="35">
                    <a:moveTo>
                      <a:pt x="0" y="0"/>
                    </a:moveTo>
                    <a:lnTo>
                      <a:pt x="39" y="0"/>
                    </a:lnTo>
                    <a:lnTo>
                      <a:pt x="36" y="9"/>
                    </a:lnTo>
                    <a:lnTo>
                      <a:pt x="33" y="19"/>
                    </a:lnTo>
                    <a:lnTo>
                      <a:pt x="27" y="28"/>
                    </a:lnTo>
                    <a:lnTo>
                      <a:pt x="22" y="34"/>
                    </a:lnTo>
                    <a:lnTo>
                      <a:pt x="19" y="35"/>
                    </a:lnTo>
                    <a:lnTo>
                      <a:pt x="16" y="35"/>
                    </a:lnTo>
                    <a:lnTo>
                      <a:pt x="13" y="34"/>
                    </a:lnTo>
                    <a:lnTo>
                      <a:pt x="11" y="31"/>
                    </a:lnTo>
                    <a:lnTo>
                      <a:pt x="7" y="26"/>
                    </a:lnTo>
                    <a:lnTo>
                      <a:pt x="5" y="20"/>
                    </a:lnTo>
                    <a:lnTo>
                      <a:pt x="2" y="1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39" name="Freeform 161">
                <a:extLst>
                  <a:ext uri="{FF2B5EF4-FFF2-40B4-BE49-F238E27FC236}">
                    <a16:creationId xmlns="" xmlns:a16="http://schemas.microsoft.com/office/drawing/2014/main" id="{21F548F4-9955-4263-B893-ACFEB5E89239}"/>
                  </a:ext>
                </a:extLst>
              </p:cNvPr>
              <p:cNvSpPr>
                <a:spLocks/>
              </p:cNvSpPr>
              <p:nvPr>
                <p:custDataLst>
                  <p:tags r:id="rId92"/>
                </p:custDataLst>
              </p:nvPr>
            </p:nvSpPr>
            <p:spPr bwMode="auto">
              <a:xfrm>
                <a:off x="5938838" y="2014538"/>
                <a:ext cx="728662" cy="331787"/>
              </a:xfrm>
              <a:custGeom>
                <a:avLst/>
                <a:gdLst>
                  <a:gd name="T0" fmla="*/ 2147483646 w 1688"/>
                  <a:gd name="T1" fmla="*/ 2147483646 h 630"/>
                  <a:gd name="T2" fmla="*/ 2147483646 w 1688"/>
                  <a:gd name="T3" fmla="*/ 2147483646 h 630"/>
                  <a:gd name="T4" fmla="*/ 2147483646 w 1688"/>
                  <a:gd name="T5" fmla="*/ 2147483646 h 630"/>
                  <a:gd name="T6" fmla="*/ 2147483646 w 1688"/>
                  <a:gd name="T7" fmla="*/ 2147483646 h 630"/>
                  <a:gd name="T8" fmla="*/ 2147483646 w 1688"/>
                  <a:gd name="T9" fmla="*/ 2147483646 h 630"/>
                  <a:gd name="T10" fmla="*/ 2147483646 w 1688"/>
                  <a:gd name="T11" fmla="*/ 2147483646 h 630"/>
                  <a:gd name="T12" fmla="*/ 2147483646 w 1688"/>
                  <a:gd name="T13" fmla="*/ 2147483646 h 630"/>
                  <a:gd name="T14" fmla="*/ 2147483646 w 1688"/>
                  <a:gd name="T15" fmla="*/ 2147483646 h 630"/>
                  <a:gd name="T16" fmla="*/ 2147483646 w 1688"/>
                  <a:gd name="T17" fmla="*/ 2147483646 h 630"/>
                  <a:gd name="T18" fmla="*/ 2147483646 w 1688"/>
                  <a:gd name="T19" fmla="*/ 2147483646 h 630"/>
                  <a:gd name="T20" fmla="*/ 2147483646 w 1688"/>
                  <a:gd name="T21" fmla="*/ 2147483646 h 630"/>
                  <a:gd name="T22" fmla="*/ 2147483646 w 1688"/>
                  <a:gd name="T23" fmla="*/ 2147483646 h 630"/>
                  <a:gd name="T24" fmla="*/ 2147483646 w 1688"/>
                  <a:gd name="T25" fmla="*/ 2147483646 h 630"/>
                  <a:gd name="T26" fmla="*/ 2147483646 w 1688"/>
                  <a:gd name="T27" fmla="*/ 2147483646 h 630"/>
                  <a:gd name="T28" fmla="*/ 2147483646 w 1688"/>
                  <a:gd name="T29" fmla="*/ 2147483646 h 630"/>
                  <a:gd name="T30" fmla="*/ 2147483646 w 1688"/>
                  <a:gd name="T31" fmla="*/ 2147483646 h 630"/>
                  <a:gd name="T32" fmla="*/ 2147483646 w 1688"/>
                  <a:gd name="T33" fmla="*/ 2147483646 h 630"/>
                  <a:gd name="T34" fmla="*/ 2147483646 w 1688"/>
                  <a:gd name="T35" fmla="*/ 2147483646 h 630"/>
                  <a:gd name="T36" fmla="*/ 2147483646 w 1688"/>
                  <a:gd name="T37" fmla="*/ 2147483646 h 630"/>
                  <a:gd name="T38" fmla="*/ 2147483646 w 1688"/>
                  <a:gd name="T39" fmla="*/ 2147483646 h 630"/>
                  <a:gd name="T40" fmla="*/ 2147483646 w 1688"/>
                  <a:gd name="T41" fmla="*/ 2147483646 h 630"/>
                  <a:gd name="T42" fmla="*/ 2147483646 w 1688"/>
                  <a:gd name="T43" fmla="*/ 2147483646 h 630"/>
                  <a:gd name="T44" fmla="*/ 2147483646 w 1688"/>
                  <a:gd name="T45" fmla="*/ 2147483646 h 630"/>
                  <a:gd name="T46" fmla="*/ 2147483646 w 1688"/>
                  <a:gd name="T47" fmla="*/ 2147483646 h 630"/>
                  <a:gd name="T48" fmla="*/ 2147483646 w 1688"/>
                  <a:gd name="T49" fmla="*/ 2147483646 h 630"/>
                  <a:gd name="T50" fmla="*/ 2147483646 w 1688"/>
                  <a:gd name="T51" fmla="*/ 2147483646 h 630"/>
                  <a:gd name="T52" fmla="*/ 2147483646 w 1688"/>
                  <a:gd name="T53" fmla="*/ 2147483646 h 630"/>
                  <a:gd name="T54" fmla="*/ 2147483646 w 1688"/>
                  <a:gd name="T55" fmla="*/ 2147483646 h 630"/>
                  <a:gd name="T56" fmla="*/ 2147483646 w 1688"/>
                  <a:gd name="T57" fmla="*/ 2147483646 h 630"/>
                  <a:gd name="T58" fmla="*/ 2147483646 w 1688"/>
                  <a:gd name="T59" fmla="*/ 2147483646 h 630"/>
                  <a:gd name="T60" fmla="*/ 2147483646 w 1688"/>
                  <a:gd name="T61" fmla="*/ 2147483646 h 630"/>
                  <a:gd name="T62" fmla="*/ 2147483646 w 1688"/>
                  <a:gd name="T63" fmla="*/ 2147483646 h 630"/>
                  <a:gd name="T64" fmla="*/ 2147483646 w 1688"/>
                  <a:gd name="T65" fmla="*/ 2147483646 h 630"/>
                  <a:gd name="T66" fmla="*/ 2147483646 w 1688"/>
                  <a:gd name="T67" fmla="*/ 2147483646 h 630"/>
                  <a:gd name="T68" fmla="*/ 2147483646 w 1688"/>
                  <a:gd name="T69" fmla="*/ 2147483646 h 630"/>
                  <a:gd name="T70" fmla="*/ 2147483646 w 1688"/>
                  <a:gd name="T71" fmla="*/ 2147483646 h 630"/>
                  <a:gd name="T72" fmla="*/ 2147483646 w 1688"/>
                  <a:gd name="T73" fmla="*/ 2147483646 h 630"/>
                  <a:gd name="T74" fmla="*/ 2147483646 w 1688"/>
                  <a:gd name="T75" fmla="*/ 2147483646 h 630"/>
                  <a:gd name="T76" fmla="*/ 2147483646 w 1688"/>
                  <a:gd name="T77" fmla="*/ 2147483646 h 630"/>
                  <a:gd name="T78" fmla="*/ 2147483646 w 1688"/>
                  <a:gd name="T79" fmla="*/ 2147483646 h 630"/>
                  <a:gd name="T80" fmla="*/ 2147483646 w 1688"/>
                  <a:gd name="T81" fmla="*/ 2147483646 h 630"/>
                  <a:gd name="T82" fmla="*/ 2147483646 w 1688"/>
                  <a:gd name="T83" fmla="*/ 2147483646 h 630"/>
                  <a:gd name="T84" fmla="*/ 2147483646 w 1688"/>
                  <a:gd name="T85" fmla="*/ 2147483646 h 630"/>
                  <a:gd name="T86" fmla="*/ 2147483646 w 1688"/>
                  <a:gd name="T87" fmla="*/ 2147483646 h 630"/>
                  <a:gd name="T88" fmla="*/ 2147483646 w 1688"/>
                  <a:gd name="T89" fmla="*/ 2147483646 h 630"/>
                  <a:gd name="T90" fmla="*/ 2147483646 w 1688"/>
                  <a:gd name="T91" fmla="*/ 2147483646 h 630"/>
                  <a:gd name="T92" fmla="*/ 2147483646 w 1688"/>
                  <a:gd name="T93" fmla="*/ 2147483646 h 630"/>
                  <a:gd name="T94" fmla="*/ 2147483646 w 1688"/>
                  <a:gd name="T95" fmla="*/ 2147483646 h 630"/>
                  <a:gd name="T96" fmla="*/ 2147483646 w 1688"/>
                  <a:gd name="T97" fmla="*/ 2147483646 h 630"/>
                  <a:gd name="T98" fmla="*/ 2147483646 w 1688"/>
                  <a:gd name="T99" fmla="*/ 2147483646 h 630"/>
                  <a:gd name="T100" fmla="*/ 2147483646 w 1688"/>
                  <a:gd name="T101" fmla="*/ 2147483646 h 630"/>
                  <a:gd name="T102" fmla="*/ 2147483646 w 1688"/>
                  <a:gd name="T103" fmla="*/ 2147483646 h 630"/>
                  <a:gd name="T104" fmla="*/ 2147483646 w 1688"/>
                  <a:gd name="T105" fmla="*/ 2147483646 h 630"/>
                  <a:gd name="T106" fmla="*/ 2147483646 w 1688"/>
                  <a:gd name="T107" fmla="*/ 2147483646 h 630"/>
                  <a:gd name="T108" fmla="*/ 2147483646 w 1688"/>
                  <a:gd name="T109" fmla="*/ 2147483646 h 630"/>
                  <a:gd name="T110" fmla="*/ 2147483646 w 1688"/>
                  <a:gd name="T111" fmla="*/ 2147483646 h 630"/>
                  <a:gd name="T112" fmla="*/ 2147483646 w 1688"/>
                  <a:gd name="T113" fmla="*/ 2147483646 h 630"/>
                  <a:gd name="T114" fmla="*/ 2147483646 w 1688"/>
                  <a:gd name="T115" fmla="*/ 2147483646 h 630"/>
                  <a:gd name="T116" fmla="*/ 2147483646 w 1688"/>
                  <a:gd name="T117" fmla="*/ 2147483646 h 63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688"/>
                  <a:gd name="T178" fmla="*/ 0 h 630"/>
                  <a:gd name="T179" fmla="*/ 1688 w 1688"/>
                  <a:gd name="T180" fmla="*/ 630 h 630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688" h="630">
                    <a:moveTo>
                      <a:pt x="0" y="180"/>
                    </a:moveTo>
                    <a:lnTo>
                      <a:pt x="7" y="190"/>
                    </a:lnTo>
                    <a:lnTo>
                      <a:pt x="15" y="199"/>
                    </a:lnTo>
                    <a:lnTo>
                      <a:pt x="22" y="208"/>
                    </a:lnTo>
                    <a:lnTo>
                      <a:pt x="32" y="216"/>
                    </a:lnTo>
                    <a:lnTo>
                      <a:pt x="41" y="224"/>
                    </a:lnTo>
                    <a:lnTo>
                      <a:pt x="51" y="232"/>
                    </a:lnTo>
                    <a:lnTo>
                      <a:pt x="62" y="238"/>
                    </a:lnTo>
                    <a:lnTo>
                      <a:pt x="74" y="244"/>
                    </a:lnTo>
                    <a:lnTo>
                      <a:pt x="86" y="249"/>
                    </a:lnTo>
                    <a:lnTo>
                      <a:pt x="99" y="253"/>
                    </a:lnTo>
                    <a:lnTo>
                      <a:pt x="112" y="257"/>
                    </a:lnTo>
                    <a:lnTo>
                      <a:pt x="126" y="260"/>
                    </a:lnTo>
                    <a:lnTo>
                      <a:pt x="140" y="262"/>
                    </a:lnTo>
                    <a:lnTo>
                      <a:pt x="155" y="264"/>
                    </a:lnTo>
                    <a:lnTo>
                      <a:pt x="171" y="265"/>
                    </a:lnTo>
                    <a:lnTo>
                      <a:pt x="187" y="266"/>
                    </a:lnTo>
                    <a:lnTo>
                      <a:pt x="187" y="270"/>
                    </a:lnTo>
                    <a:lnTo>
                      <a:pt x="189" y="276"/>
                    </a:lnTo>
                    <a:lnTo>
                      <a:pt x="191" y="281"/>
                    </a:lnTo>
                    <a:lnTo>
                      <a:pt x="196" y="288"/>
                    </a:lnTo>
                    <a:lnTo>
                      <a:pt x="205" y="300"/>
                    </a:lnTo>
                    <a:lnTo>
                      <a:pt x="215" y="312"/>
                    </a:lnTo>
                    <a:lnTo>
                      <a:pt x="227" y="323"/>
                    </a:lnTo>
                    <a:lnTo>
                      <a:pt x="238" y="331"/>
                    </a:lnTo>
                    <a:lnTo>
                      <a:pt x="242" y="335"/>
                    </a:lnTo>
                    <a:lnTo>
                      <a:pt x="246" y="337"/>
                    </a:lnTo>
                    <a:lnTo>
                      <a:pt x="251" y="340"/>
                    </a:lnTo>
                    <a:lnTo>
                      <a:pt x="253" y="340"/>
                    </a:lnTo>
                    <a:lnTo>
                      <a:pt x="253" y="349"/>
                    </a:lnTo>
                    <a:lnTo>
                      <a:pt x="253" y="358"/>
                    </a:lnTo>
                    <a:lnTo>
                      <a:pt x="253" y="365"/>
                    </a:lnTo>
                    <a:lnTo>
                      <a:pt x="253" y="370"/>
                    </a:lnTo>
                    <a:lnTo>
                      <a:pt x="253" y="379"/>
                    </a:lnTo>
                    <a:lnTo>
                      <a:pt x="254" y="386"/>
                    </a:lnTo>
                    <a:lnTo>
                      <a:pt x="256" y="394"/>
                    </a:lnTo>
                    <a:lnTo>
                      <a:pt x="260" y="402"/>
                    </a:lnTo>
                    <a:lnTo>
                      <a:pt x="262" y="404"/>
                    </a:lnTo>
                    <a:lnTo>
                      <a:pt x="266" y="406"/>
                    </a:lnTo>
                    <a:lnTo>
                      <a:pt x="273" y="408"/>
                    </a:lnTo>
                    <a:lnTo>
                      <a:pt x="280" y="410"/>
                    </a:lnTo>
                    <a:lnTo>
                      <a:pt x="296" y="413"/>
                    </a:lnTo>
                    <a:lnTo>
                      <a:pt x="307" y="414"/>
                    </a:lnTo>
                    <a:lnTo>
                      <a:pt x="323" y="414"/>
                    </a:lnTo>
                    <a:lnTo>
                      <a:pt x="341" y="416"/>
                    </a:lnTo>
                    <a:lnTo>
                      <a:pt x="356" y="419"/>
                    </a:lnTo>
                    <a:lnTo>
                      <a:pt x="373" y="422"/>
                    </a:lnTo>
                    <a:lnTo>
                      <a:pt x="403" y="431"/>
                    </a:lnTo>
                    <a:lnTo>
                      <a:pt x="433" y="441"/>
                    </a:lnTo>
                    <a:lnTo>
                      <a:pt x="463" y="452"/>
                    </a:lnTo>
                    <a:lnTo>
                      <a:pt x="490" y="461"/>
                    </a:lnTo>
                    <a:lnTo>
                      <a:pt x="504" y="464"/>
                    </a:lnTo>
                    <a:lnTo>
                      <a:pt x="518" y="467"/>
                    </a:lnTo>
                    <a:lnTo>
                      <a:pt x="532" y="469"/>
                    </a:lnTo>
                    <a:lnTo>
                      <a:pt x="546" y="469"/>
                    </a:lnTo>
                    <a:lnTo>
                      <a:pt x="548" y="477"/>
                    </a:lnTo>
                    <a:lnTo>
                      <a:pt x="554" y="485"/>
                    </a:lnTo>
                    <a:lnTo>
                      <a:pt x="559" y="493"/>
                    </a:lnTo>
                    <a:lnTo>
                      <a:pt x="566" y="501"/>
                    </a:lnTo>
                    <a:lnTo>
                      <a:pt x="575" y="510"/>
                    </a:lnTo>
                    <a:lnTo>
                      <a:pt x="583" y="517"/>
                    </a:lnTo>
                    <a:lnTo>
                      <a:pt x="592" y="524"/>
                    </a:lnTo>
                    <a:lnTo>
                      <a:pt x="602" y="531"/>
                    </a:lnTo>
                    <a:lnTo>
                      <a:pt x="612" y="537"/>
                    </a:lnTo>
                    <a:lnTo>
                      <a:pt x="622" y="542"/>
                    </a:lnTo>
                    <a:lnTo>
                      <a:pt x="633" y="547"/>
                    </a:lnTo>
                    <a:lnTo>
                      <a:pt x="643" y="550"/>
                    </a:lnTo>
                    <a:lnTo>
                      <a:pt x="653" y="553"/>
                    </a:lnTo>
                    <a:lnTo>
                      <a:pt x="661" y="555"/>
                    </a:lnTo>
                    <a:lnTo>
                      <a:pt x="670" y="555"/>
                    </a:lnTo>
                    <a:lnTo>
                      <a:pt x="679" y="555"/>
                    </a:lnTo>
                    <a:lnTo>
                      <a:pt x="738" y="568"/>
                    </a:lnTo>
                    <a:lnTo>
                      <a:pt x="904" y="568"/>
                    </a:lnTo>
                    <a:lnTo>
                      <a:pt x="910" y="572"/>
                    </a:lnTo>
                    <a:lnTo>
                      <a:pt x="917" y="576"/>
                    </a:lnTo>
                    <a:lnTo>
                      <a:pt x="928" y="580"/>
                    </a:lnTo>
                    <a:lnTo>
                      <a:pt x="940" y="585"/>
                    </a:lnTo>
                    <a:lnTo>
                      <a:pt x="970" y="595"/>
                    </a:lnTo>
                    <a:lnTo>
                      <a:pt x="1003" y="605"/>
                    </a:lnTo>
                    <a:lnTo>
                      <a:pt x="1037" y="614"/>
                    </a:lnTo>
                    <a:lnTo>
                      <a:pt x="1070" y="623"/>
                    </a:lnTo>
                    <a:lnTo>
                      <a:pt x="1084" y="626"/>
                    </a:lnTo>
                    <a:lnTo>
                      <a:pt x="1097" y="628"/>
                    </a:lnTo>
                    <a:lnTo>
                      <a:pt x="1108" y="629"/>
                    </a:lnTo>
                    <a:lnTo>
                      <a:pt x="1117" y="630"/>
                    </a:lnTo>
                    <a:lnTo>
                      <a:pt x="1121" y="629"/>
                    </a:lnTo>
                    <a:lnTo>
                      <a:pt x="1127" y="627"/>
                    </a:lnTo>
                    <a:lnTo>
                      <a:pt x="1134" y="625"/>
                    </a:lnTo>
                    <a:lnTo>
                      <a:pt x="1140" y="622"/>
                    </a:lnTo>
                    <a:lnTo>
                      <a:pt x="1157" y="613"/>
                    </a:lnTo>
                    <a:lnTo>
                      <a:pt x="1174" y="603"/>
                    </a:lnTo>
                    <a:lnTo>
                      <a:pt x="1209" y="583"/>
                    </a:lnTo>
                    <a:lnTo>
                      <a:pt x="1237" y="568"/>
                    </a:lnTo>
                    <a:lnTo>
                      <a:pt x="1337" y="568"/>
                    </a:lnTo>
                    <a:lnTo>
                      <a:pt x="1344" y="564"/>
                    </a:lnTo>
                    <a:lnTo>
                      <a:pt x="1355" y="556"/>
                    </a:lnTo>
                    <a:lnTo>
                      <a:pt x="1366" y="546"/>
                    </a:lnTo>
                    <a:lnTo>
                      <a:pt x="1377" y="534"/>
                    </a:lnTo>
                    <a:lnTo>
                      <a:pt x="1387" y="522"/>
                    </a:lnTo>
                    <a:lnTo>
                      <a:pt x="1395" y="510"/>
                    </a:lnTo>
                    <a:lnTo>
                      <a:pt x="1398" y="503"/>
                    </a:lnTo>
                    <a:lnTo>
                      <a:pt x="1400" y="497"/>
                    </a:lnTo>
                    <a:lnTo>
                      <a:pt x="1403" y="492"/>
                    </a:lnTo>
                    <a:lnTo>
                      <a:pt x="1403" y="487"/>
                    </a:lnTo>
                    <a:lnTo>
                      <a:pt x="1403" y="483"/>
                    </a:lnTo>
                    <a:lnTo>
                      <a:pt x="1401" y="479"/>
                    </a:lnTo>
                    <a:lnTo>
                      <a:pt x="1399" y="475"/>
                    </a:lnTo>
                    <a:lnTo>
                      <a:pt x="1397" y="471"/>
                    </a:lnTo>
                    <a:lnTo>
                      <a:pt x="1392" y="463"/>
                    </a:lnTo>
                    <a:lnTo>
                      <a:pt x="1386" y="455"/>
                    </a:lnTo>
                    <a:lnTo>
                      <a:pt x="1379" y="445"/>
                    </a:lnTo>
                    <a:lnTo>
                      <a:pt x="1374" y="434"/>
                    </a:lnTo>
                    <a:lnTo>
                      <a:pt x="1373" y="429"/>
                    </a:lnTo>
                    <a:lnTo>
                      <a:pt x="1371" y="422"/>
                    </a:lnTo>
                    <a:lnTo>
                      <a:pt x="1370" y="415"/>
                    </a:lnTo>
                    <a:lnTo>
                      <a:pt x="1370" y="408"/>
                    </a:lnTo>
                    <a:lnTo>
                      <a:pt x="1483" y="408"/>
                    </a:lnTo>
                    <a:lnTo>
                      <a:pt x="1486" y="404"/>
                    </a:lnTo>
                    <a:lnTo>
                      <a:pt x="1491" y="399"/>
                    </a:lnTo>
                    <a:lnTo>
                      <a:pt x="1499" y="394"/>
                    </a:lnTo>
                    <a:lnTo>
                      <a:pt x="1508" y="388"/>
                    </a:lnTo>
                    <a:lnTo>
                      <a:pt x="1529" y="376"/>
                    </a:lnTo>
                    <a:lnTo>
                      <a:pt x="1551" y="364"/>
                    </a:lnTo>
                    <a:lnTo>
                      <a:pt x="1574" y="352"/>
                    </a:lnTo>
                    <a:lnTo>
                      <a:pt x="1594" y="343"/>
                    </a:lnTo>
                    <a:lnTo>
                      <a:pt x="1608" y="335"/>
                    </a:lnTo>
                    <a:lnTo>
                      <a:pt x="1616" y="333"/>
                    </a:lnTo>
                    <a:lnTo>
                      <a:pt x="1628" y="332"/>
                    </a:lnTo>
                    <a:lnTo>
                      <a:pt x="1640" y="329"/>
                    </a:lnTo>
                    <a:lnTo>
                      <a:pt x="1651" y="325"/>
                    </a:lnTo>
                    <a:lnTo>
                      <a:pt x="1662" y="319"/>
                    </a:lnTo>
                    <a:lnTo>
                      <a:pt x="1670" y="314"/>
                    </a:lnTo>
                    <a:lnTo>
                      <a:pt x="1679" y="308"/>
                    </a:lnTo>
                    <a:lnTo>
                      <a:pt x="1685" y="302"/>
                    </a:lnTo>
                    <a:lnTo>
                      <a:pt x="1688" y="297"/>
                    </a:lnTo>
                    <a:lnTo>
                      <a:pt x="1680" y="294"/>
                    </a:lnTo>
                    <a:lnTo>
                      <a:pt x="1674" y="291"/>
                    </a:lnTo>
                    <a:lnTo>
                      <a:pt x="1667" y="288"/>
                    </a:lnTo>
                    <a:lnTo>
                      <a:pt x="1661" y="284"/>
                    </a:lnTo>
                    <a:lnTo>
                      <a:pt x="1656" y="279"/>
                    </a:lnTo>
                    <a:lnTo>
                      <a:pt x="1652" y="275"/>
                    </a:lnTo>
                    <a:lnTo>
                      <a:pt x="1650" y="270"/>
                    </a:lnTo>
                    <a:lnTo>
                      <a:pt x="1648" y="266"/>
                    </a:lnTo>
                    <a:lnTo>
                      <a:pt x="1632" y="258"/>
                    </a:lnTo>
                    <a:lnTo>
                      <a:pt x="1619" y="252"/>
                    </a:lnTo>
                    <a:lnTo>
                      <a:pt x="1613" y="250"/>
                    </a:lnTo>
                    <a:lnTo>
                      <a:pt x="1608" y="249"/>
                    </a:lnTo>
                    <a:lnTo>
                      <a:pt x="1602" y="248"/>
                    </a:lnTo>
                    <a:lnTo>
                      <a:pt x="1596" y="247"/>
                    </a:lnTo>
                    <a:lnTo>
                      <a:pt x="1583" y="248"/>
                    </a:lnTo>
                    <a:lnTo>
                      <a:pt x="1574" y="249"/>
                    </a:lnTo>
                    <a:lnTo>
                      <a:pt x="1567" y="251"/>
                    </a:lnTo>
                    <a:lnTo>
                      <a:pt x="1563" y="253"/>
                    </a:lnTo>
                    <a:lnTo>
                      <a:pt x="1558" y="256"/>
                    </a:lnTo>
                    <a:lnTo>
                      <a:pt x="1553" y="258"/>
                    </a:lnTo>
                    <a:lnTo>
                      <a:pt x="1546" y="259"/>
                    </a:lnTo>
                    <a:lnTo>
                      <a:pt x="1535" y="259"/>
                    </a:lnTo>
                    <a:lnTo>
                      <a:pt x="1521" y="259"/>
                    </a:lnTo>
                    <a:lnTo>
                      <a:pt x="1509" y="258"/>
                    </a:lnTo>
                    <a:lnTo>
                      <a:pt x="1497" y="256"/>
                    </a:lnTo>
                    <a:lnTo>
                      <a:pt x="1487" y="253"/>
                    </a:lnTo>
                    <a:lnTo>
                      <a:pt x="1478" y="249"/>
                    </a:lnTo>
                    <a:lnTo>
                      <a:pt x="1471" y="245"/>
                    </a:lnTo>
                    <a:lnTo>
                      <a:pt x="1463" y="240"/>
                    </a:lnTo>
                    <a:lnTo>
                      <a:pt x="1457" y="235"/>
                    </a:lnTo>
                    <a:lnTo>
                      <a:pt x="1452" y="228"/>
                    </a:lnTo>
                    <a:lnTo>
                      <a:pt x="1448" y="220"/>
                    </a:lnTo>
                    <a:lnTo>
                      <a:pt x="1443" y="213"/>
                    </a:lnTo>
                    <a:lnTo>
                      <a:pt x="1440" y="205"/>
                    </a:lnTo>
                    <a:lnTo>
                      <a:pt x="1434" y="187"/>
                    </a:lnTo>
                    <a:lnTo>
                      <a:pt x="1429" y="167"/>
                    </a:lnTo>
                    <a:lnTo>
                      <a:pt x="1422" y="136"/>
                    </a:lnTo>
                    <a:lnTo>
                      <a:pt x="1412" y="134"/>
                    </a:lnTo>
                    <a:lnTo>
                      <a:pt x="1385" y="127"/>
                    </a:lnTo>
                    <a:lnTo>
                      <a:pt x="1367" y="124"/>
                    </a:lnTo>
                    <a:lnTo>
                      <a:pt x="1347" y="121"/>
                    </a:lnTo>
                    <a:lnTo>
                      <a:pt x="1326" y="119"/>
                    </a:lnTo>
                    <a:lnTo>
                      <a:pt x="1303" y="118"/>
                    </a:lnTo>
                    <a:lnTo>
                      <a:pt x="1294" y="119"/>
                    </a:lnTo>
                    <a:lnTo>
                      <a:pt x="1286" y="120"/>
                    </a:lnTo>
                    <a:lnTo>
                      <a:pt x="1281" y="123"/>
                    </a:lnTo>
                    <a:lnTo>
                      <a:pt x="1275" y="126"/>
                    </a:lnTo>
                    <a:lnTo>
                      <a:pt x="1267" y="134"/>
                    </a:lnTo>
                    <a:lnTo>
                      <a:pt x="1262" y="142"/>
                    </a:lnTo>
                    <a:lnTo>
                      <a:pt x="1260" y="147"/>
                    </a:lnTo>
                    <a:lnTo>
                      <a:pt x="1257" y="151"/>
                    </a:lnTo>
                    <a:lnTo>
                      <a:pt x="1252" y="156"/>
                    </a:lnTo>
                    <a:lnTo>
                      <a:pt x="1248" y="159"/>
                    </a:lnTo>
                    <a:lnTo>
                      <a:pt x="1242" y="162"/>
                    </a:lnTo>
                    <a:lnTo>
                      <a:pt x="1236" y="165"/>
                    </a:lnTo>
                    <a:lnTo>
                      <a:pt x="1227" y="166"/>
                    </a:lnTo>
                    <a:lnTo>
                      <a:pt x="1217" y="167"/>
                    </a:lnTo>
                    <a:lnTo>
                      <a:pt x="1199" y="167"/>
                    </a:lnTo>
                    <a:lnTo>
                      <a:pt x="1184" y="167"/>
                    </a:lnTo>
                    <a:lnTo>
                      <a:pt x="1168" y="167"/>
                    </a:lnTo>
                    <a:lnTo>
                      <a:pt x="1150" y="167"/>
                    </a:lnTo>
                    <a:lnTo>
                      <a:pt x="1130" y="167"/>
                    </a:lnTo>
                    <a:lnTo>
                      <a:pt x="1106" y="167"/>
                    </a:lnTo>
                    <a:lnTo>
                      <a:pt x="1078" y="167"/>
                    </a:lnTo>
                    <a:lnTo>
                      <a:pt x="1044" y="167"/>
                    </a:lnTo>
                    <a:lnTo>
                      <a:pt x="1034" y="164"/>
                    </a:lnTo>
                    <a:lnTo>
                      <a:pt x="1025" y="160"/>
                    </a:lnTo>
                    <a:lnTo>
                      <a:pt x="1015" y="156"/>
                    </a:lnTo>
                    <a:lnTo>
                      <a:pt x="1005" y="151"/>
                    </a:lnTo>
                    <a:lnTo>
                      <a:pt x="986" y="140"/>
                    </a:lnTo>
                    <a:lnTo>
                      <a:pt x="967" y="129"/>
                    </a:lnTo>
                    <a:lnTo>
                      <a:pt x="956" y="123"/>
                    </a:lnTo>
                    <a:lnTo>
                      <a:pt x="945" y="118"/>
                    </a:lnTo>
                    <a:lnTo>
                      <a:pt x="934" y="112"/>
                    </a:lnTo>
                    <a:lnTo>
                      <a:pt x="922" y="108"/>
                    </a:lnTo>
                    <a:lnTo>
                      <a:pt x="908" y="104"/>
                    </a:lnTo>
                    <a:lnTo>
                      <a:pt x="895" y="102"/>
                    </a:lnTo>
                    <a:lnTo>
                      <a:pt x="880" y="100"/>
                    </a:lnTo>
                    <a:lnTo>
                      <a:pt x="865" y="99"/>
                    </a:lnTo>
                    <a:lnTo>
                      <a:pt x="852" y="100"/>
                    </a:lnTo>
                    <a:lnTo>
                      <a:pt x="841" y="102"/>
                    </a:lnTo>
                    <a:lnTo>
                      <a:pt x="832" y="105"/>
                    </a:lnTo>
                    <a:lnTo>
                      <a:pt x="822" y="108"/>
                    </a:lnTo>
                    <a:lnTo>
                      <a:pt x="811" y="112"/>
                    </a:lnTo>
                    <a:lnTo>
                      <a:pt x="801" y="114"/>
                    </a:lnTo>
                    <a:lnTo>
                      <a:pt x="790" y="118"/>
                    </a:lnTo>
                    <a:lnTo>
                      <a:pt x="778" y="118"/>
                    </a:lnTo>
                    <a:lnTo>
                      <a:pt x="765" y="118"/>
                    </a:lnTo>
                    <a:lnTo>
                      <a:pt x="753" y="117"/>
                    </a:lnTo>
                    <a:lnTo>
                      <a:pt x="740" y="116"/>
                    </a:lnTo>
                    <a:lnTo>
                      <a:pt x="729" y="114"/>
                    </a:lnTo>
                    <a:lnTo>
                      <a:pt x="720" y="111"/>
                    </a:lnTo>
                    <a:lnTo>
                      <a:pt x="710" y="108"/>
                    </a:lnTo>
                    <a:lnTo>
                      <a:pt x="701" y="105"/>
                    </a:lnTo>
                    <a:lnTo>
                      <a:pt x="692" y="101"/>
                    </a:lnTo>
                    <a:lnTo>
                      <a:pt x="686" y="96"/>
                    </a:lnTo>
                    <a:lnTo>
                      <a:pt x="678" y="90"/>
                    </a:lnTo>
                    <a:lnTo>
                      <a:pt x="672" y="84"/>
                    </a:lnTo>
                    <a:lnTo>
                      <a:pt x="667" y="76"/>
                    </a:lnTo>
                    <a:lnTo>
                      <a:pt x="662" y="68"/>
                    </a:lnTo>
                    <a:lnTo>
                      <a:pt x="658" y="58"/>
                    </a:lnTo>
                    <a:lnTo>
                      <a:pt x="655" y="49"/>
                    </a:lnTo>
                    <a:lnTo>
                      <a:pt x="652" y="38"/>
                    </a:lnTo>
                    <a:lnTo>
                      <a:pt x="459" y="0"/>
                    </a:lnTo>
                    <a:lnTo>
                      <a:pt x="446" y="7"/>
                    </a:lnTo>
                    <a:lnTo>
                      <a:pt x="446" y="16"/>
                    </a:lnTo>
                    <a:lnTo>
                      <a:pt x="446" y="23"/>
                    </a:lnTo>
                    <a:lnTo>
                      <a:pt x="446" y="30"/>
                    </a:lnTo>
                    <a:lnTo>
                      <a:pt x="446" y="38"/>
                    </a:lnTo>
                    <a:lnTo>
                      <a:pt x="446" y="44"/>
                    </a:lnTo>
                    <a:lnTo>
                      <a:pt x="448" y="50"/>
                    </a:lnTo>
                    <a:lnTo>
                      <a:pt x="451" y="55"/>
                    </a:lnTo>
                    <a:lnTo>
                      <a:pt x="454" y="61"/>
                    </a:lnTo>
                    <a:lnTo>
                      <a:pt x="463" y="71"/>
                    </a:lnTo>
                    <a:lnTo>
                      <a:pt x="471" y="79"/>
                    </a:lnTo>
                    <a:lnTo>
                      <a:pt x="476" y="84"/>
                    </a:lnTo>
                    <a:lnTo>
                      <a:pt x="480" y="89"/>
                    </a:lnTo>
                    <a:lnTo>
                      <a:pt x="485" y="94"/>
                    </a:lnTo>
                    <a:lnTo>
                      <a:pt x="488" y="100"/>
                    </a:lnTo>
                    <a:lnTo>
                      <a:pt x="490" y="106"/>
                    </a:lnTo>
                    <a:lnTo>
                      <a:pt x="492" y="113"/>
                    </a:lnTo>
                    <a:lnTo>
                      <a:pt x="493" y="122"/>
                    </a:lnTo>
                    <a:lnTo>
                      <a:pt x="492" y="130"/>
                    </a:lnTo>
                    <a:lnTo>
                      <a:pt x="313" y="130"/>
                    </a:lnTo>
                    <a:lnTo>
                      <a:pt x="307" y="122"/>
                    </a:lnTo>
                    <a:lnTo>
                      <a:pt x="300" y="113"/>
                    </a:lnTo>
                    <a:lnTo>
                      <a:pt x="298" y="108"/>
                    </a:lnTo>
                    <a:lnTo>
                      <a:pt x="296" y="102"/>
                    </a:lnTo>
                    <a:lnTo>
                      <a:pt x="294" y="95"/>
                    </a:lnTo>
                    <a:lnTo>
                      <a:pt x="294" y="87"/>
                    </a:lnTo>
                    <a:lnTo>
                      <a:pt x="279" y="87"/>
                    </a:lnTo>
                    <a:lnTo>
                      <a:pt x="266" y="87"/>
                    </a:lnTo>
                    <a:lnTo>
                      <a:pt x="240" y="99"/>
                    </a:lnTo>
                    <a:lnTo>
                      <a:pt x="233" y="99"/>
                    </a:lnTo>
                    <a:lnTo>
                      <a:pt x="225" y="97"/>
                    </a:lnTo>
                    <a:lnTo>
                      <a:pt x="219" y="95"/>
                    </a:lnTo>
                    <a:lnTo>
                      <a:pt x="211" y="93"/>
                    </a:lnTo>
                    <a:lnTo>
                      <a:pt x="204" y="91"/>
                    </a:lnTo>
                    <a:lnTo>
                      <a:pt x="195" y="89"/>
                    </a:lnTo>
                    <a:lnTo>
                      <a:pt x="185" y="88"/>
                    </a:lnTo>
                    <a:lnTo>
                      <a:pt x="174" y="87"/>
                    </a:lnTo>
                    <a:lnTo>
                      <a:pt x="164" y="88"/>
                    </a:lnTo>
                    <a:lnTo>
                      <a:pt x="155" y="90"/>
                    </a:lnTo>
                    <a:lnTo>
                      <a:pt x="146" y="93"/>
                    </a:lnTo>
                    <a:lnTo>
                      <a:pt x="138" y="97"/>
                    </a:lnTo>
                    <a:lnTo>
                      <a:pt x="122" y="106"/>
                    </a:lnTo>
                    <a:lnTo>
                      <a:pt x="107" y="118"/>
                    </a:lnTo>
                    <a:lnTo>
                      <a:pt x="92" y="129"/>
                    </a:lnTo>
                    <a:lnTo>
                      <a:pt x="76" y="139"/>
                    </a:lnTo>
                    <a:lnTo>
                      <a:pt x="68" y="143"/>
                    </a:lnTo>
                    <a:lnTo>
                      <a:pt x="60" y="146"/>
                    </a:lnTo>
                    <a:lnTo>
                      <a:pt x="50" y="148"/>
                    </a:lnTo>
                    <a:lnTo>
                      <a:pt x="41" y="149"/>
                    </a:lnTo>
                    <a:lnTo>
                      <a:pt x="37" y="149"/>
                    </a:lnTo>
                    <a:lnTo>
                      <a:pt x="31" y="151"/>
                    </a:lnTo>
                    <a:lnTo>
                      <a:pt x="25" y="153"/>
                    </a:lnTo>
                    <a:lnTo>
                      <a:pt x="18" y="157"/>
                    </a:lnTo>
                    <a:lnTo>
                      <a:pt x="11" y="161"/>
                    </a:lnTo>
                    <a:lnTo>
                      <a:pt x="6" y="166"/>
                    </a:lnTo>
                    <a:lnTo>
                      <a:pt x="4" y="169"/>
                    </a:lnTo>
                    <a:lnTo>
                      <a:pt x="3" y="173"/>
                    </a:lnTo>
                    <a:lnTo>
                      <a:pt x="1" y="177"/>
                    </a:lnTo>
                    <a:lnTo>
                      <a:pt x="0" y="18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40" name="Freeform 162">
                <a:extLst>
                  <a:ext uri="{FF2B5EF4-FFF2-40B4-BE49-F238E27FC236}">
                    <a16:creationId xmlns="" xmlns:a16="http://schemas.microsoft.com/office/drawing/2014/main" id="{A6C2A98A-38A3-4916-856E-53AE4DBCD1E1}"/>
                  </a:ext>
                </a:extLst>
              </p:cNvPr>
              <p:cNvSpPr>
                <a:spLocks/>
              </p:cNvSpPr>
              <p:nvPr>
                <p:custDataLst>
                  <p:tags r:id="rId93"/>
                </p:custDataLst>
              </p:nvPr>
            </p:nvSpPr>
            <p:spPr bwMode="auto">
              <a:xfrm>
                <a:off x="2265363" y="3981450"/>
                <a:ext cx="328612" cy="415925"/>
              </a:xfrm>
              <a:custGeom>
                <a:avLst/>
                <a:gdLst>
                  <a:gd name="T0" fmla="*/ 2147483646 w 758"/>
                  <a:gd name="T1" fmla="*/ 2147483646 h 795"/>
                  <a:gd name="T2" fmla="*/ 2147483646 w 758"/>
                  <a:gd name="T3" fmla="*/ 2147483646 h 795"/>
                  <a:gd name="T4" fmla="*/ 2147483646 w 758"/>
                  <a:gd name="T5" fmla="*/ 2147483646 h 795"/>
                  <a:gd name="T6" fmla="*/ 2147483646 w 758"/>
                  <a:gd name="T7" fmla="*/ 2147483646 h 795"/>
                  <a:gd name="T8" fmla="*/ 2147483646 w 758"/>
                  <a:gd name="T9" fmla="*/ 2147483646 h 795"/>
                  <a:gd name="T10" fmla="*/ 2147483646 w 758"/>
                  <a:gd name="T11" fmla="*/ 2147483646 h 795"/>
                  <a:gd name="T12" fmla="*/ 2147483646 w 758"/>
                  <a:gd name="T13" fmla="*/ 2147483646 h 795"/>
                  <a:gd name="T14" fmla="*/ 2147483646 w 758"/>
                  <a:gd name="T15" fmla="*/ 2147483646 h 795"/>
                  <a:gd name="T16" fmla="*/ 2147483646 w 758"/>
                  <a:gd name="T17" fmla="*/ 2147483646 h 795"/>
                  <a:gd name="T18" fmla="*/ 2147483646 w 758"/>
                  <a:gd name="T19" fmla="*/ 2147483646 h 795"/>
                  <a:gd name="T20" fmla="*/ 2147483646 w 758"/>
                  <a:gd name="T21" fmla="*/ 2147483646 h 795"/>
                  <a:gd name="T22" fmla="*/ 2147483646 w 758"/>
                  <a:gd name="T23" fmla="*/ 2147483646 h 795"/>
                  <a:gd name="T24" fmla="*/ 2147483646 w 758"/>
                  <a:gd name="T25" fmla="*/ 2147483646 h 795"/>
                  <a:gd name="T26" fmla="*/ 2147483646 w 758"/>
                  <a:gd name="T27" fmla="*/ 2147483646 h 795"/>
                  <a:gd name="T28" fmla="*/ 2147483646 w 758"/>
                  <a:gd name="T29" fmla="*/ 2147483646 h 795"/>
                  <a:gd name="T30" fmla="*/ 2147483646 w 758"/>
                  <a:gd name="T31" fmla="*/ 2147483646 h 795"/>
                  <a:gd name="T32" fmla="*/ 2147483646 w 758"/>
                  <a:gd name="T33" fmla="*/ 2147483646 h 795"/>
                  <a:gd name="T34" fmla="*/ 2147483646 w 758"/>
                  <a:gd name="T35" fmla="*/ 2147483646 h 795"/>
                  <a:gd name="T36" fmla="*/ 2147483646 w 758"/>
                  <a:gd name="T37" fmla="*/ 2147483646 h 795"/>
                  <a:gd name="T38" fmla="*/ 2147483646 w 758"/>
                  <a:gd name="T39" fmla="*/ 2147483646 h 795"/>
                  <a:gd name="T40" fmla="*/ 2147483646 w 758"/>
                  <a:gd name="T41" fmla="*/ 2147483646 h 795"/>
                  <a:gd name="T42" fmla="*/ 2147483646 w 758"/>
                  <a:gd name="T43" fmla="*/ 2147483646 h 795"/>
                  <a:gd name="T44" fmla="*/ 2147483646 w 758"/>
                  <a:gd name="T45" fmla="*/ 2147483646 h 795"/>
                  <a:gd name="T46" fmla="*/ 2147483646 w 758"/>
                  <a:gd name="T47" fmla="*/ 2147483646 h 795"/>
                  <a:gd name="T48" fmla="*/ 2147483646 w 758"/>
                  <a:gd name="T49" fmla="*/ 2147483646 h 795"/>
                  <a:gd name="T50" fmla="*/ 2147483646 w 758"/>
                  <a:gd name="T51" fmla="*/ 2147483646 h 795"/>
                  <a:gd name="T52" fmla="*/ 2147483646 w 758"/>
                  <a:gd name="T53" fmla="*/ 2147483646 h 795"/>
                  <a:gd name="T54" fmla="*/ 2147483646 w 758"/>
                  <a:gd name="T55" fmla="*/ 2147483646 h 795"/>
                  <a:gd name="T56" fmla="*/ 2147483646 w 758"/>
                  <a:gd name="T57" fmla="*/ 2147483646 h 795"/>
                  <a:gd name="T58" fmla="*/ 2147483646 w 758"/>
                  <a:gd name="T59" fmla="*/ 2147483646 h 795"/>
                  <a:gd name="T60" fmla="*/ 2147483646 w 758"/>
                  <a:gd name="T61" fmla="*/ 2147483646 h 795"/>
                  <a:gd name="T62" fmla="*/ 2147483646 w 758"/>
                  <a:gd name="T63" fmla="*/ 2147483646 h 795"/>
                  <a:gd name="T64" fmla="*/ 2147483646 w 758"/>
                  <a:gd name="T65" fmla="*/ 2147483646 h 795"/>
                  <a:gd name="T66" fmla="*/ 2147483646 w 758"/>
                  <a:gd name="T67" fmla="*/ 2147483646 h 795"/>
                  <a:gd name="T68" fmla="*/ 2147483646 w 758"/>
                  <a:gd name="T69" fmla="*/ 2147483646 h 795"/>
                  <a:gd name="T70" fmla="*/ 2147483646 w 758"/>
                  <a:gd name="T71" fmla="*/ 2147483646 h 795"/>
                  <a:gd name="T72" fmla="*/ 2147483646 w 758"/>
                  <a:gd name="T73" fmla="*/ 2147483646 h 795"/>
                  <a:gd name="T74" fmla="*/ 2147483646 w 758"/>
                  <a:gd name="T75" fmla="*/ 2147483646 h 795"/>
                  <a:gd name="T76" fmla="*/ 2147483646 w 758"/>
                  <a:gd name="T77" fmla="*/ 2147483646 h 795"/>
                  <a:gd name="T78" fmla="*/ 2147483646 w 758"/>
                  <a:gd name="T79" fmla="*/ 2147483646 h 795"/>
                  <a:gd name="T80" fmla="*/ 2147483646 w 758"/>
                  <a:gd name="T81" fmla="*/ 2147483646 h 795"/>
                  <a:gd name="T82" fmla="*/ 2147483646 w 758"/>
                  <a:gd name="T83" fmla="*/ 2147483646 h 795"/>
                  <a:gd name="T84" fmla="*/ 2147483646 w 758"/>
                  <a:gd name="T85" fmla="*/ 2147483646 h 795"/>
                  <a:gd name="T86" fmla="*/ 2147483646 w 758"/>
                  <a:gd name="T87" fmla="*/ 2147483646 h 795"/>
                  <a:gd name="T88" fmla="*/ 2147483646 w 758"/>
                  <a:gd name="T89" fmla="*/ 2147483646 h 795"/>
                  <a:gd name="T90" fmla="*/ 2147483646 w 758"/>
                  <a:gd name="T91" fmla="*/ 2147483646 h 795"/>
                  <a:gd name="T92" fmla="*/ 2147483646 w 758"/>
                  <a:gd name="T93" fmla="*/ 2147483646 h 795"/>
                  <a:gd name="T94" fmla="*/ 2147483646 w 758"/>
                  <a:gd name="T95" fmla="*/ 2147483646 h 795"/>
                  <a:gd name="T96" fmla="*/ 2147483646 w 758"/>
                  <a:gd name="T97" fmla="*/ 2147483646 h 795"/>
                  <a:gd name="T98" fmla="*/ 2147483646 w 758"/>
                  <a:gd name="T99" fmla="*/ 2147483646 h 795"/>
                  <a:gd name="T100" fmla="*/ 2147483646 w 758"/>
                  <a:gd name="T101" fmla="*/ 2147483646 h 795"/>
                  <a:gd name="T102" fmla="*/ 2147483646 w 758"/>
                  <a:gd name="T103" fmla="*/ 2147483646 h 795"/>
                  <a:gd name="T104" fmla="*/ 2147483646 w 758"/>
                  <a:gd name="T105" fmla="*/ 2147483646 h 795"/>
                  <a:gd name="T106" fmla="*/ 2147483646 w 758"/>
                  <a:gd name="T107" fmla="*/ 2147483646 h 795"/>
                  <a:gd name="T108" fmla="*/ 2147483646 w 758"/>
                  <a:gd name="T109" fmla="*/ 2147483646 h 795"/>
                  <a:gd name="T110" fmla="*/ 2147483646 w 758"/>
                  <a:gd name="T111" fmla="*/ 2147483646 h 795"/>
                  <a:gd name="T112" fmla="*/ 2147483646 w 758"/>
                  <a:gd name="T113" fmla="*/ 2147483646 h 795"/>
                  <a:gd name="T114" fmla="*/ 2147483646 w 758"/>
                  <a:gd name="T115" fmla="*/ 2147483646 h 795"/>
                  <a:gd name="T116" fmla="*/ 2147483646 w 758"/>
                  <a:gd name="T117" fmla="*/ 2147483646 h 795"/>
                  <a:gd name="T118" fmla="*/ 0 w 758"/>
                  <a:gd name="T119" fmla="*/ 2147483646 h 795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58"/>
                  <a:gd name="T181" fmla="*/ 0 h 795"/>
                  <a:gd name="T182" fmla="*/ 758 w 758"/>
                  <a:gd name="T183" fmla="*/ 795 h 795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58" h="795">
                    <a:moveTo>
                      <a:pt x="0" y="80"/>
                    </a:moveTo>
                    <a:lnTo>
                      <a:pt x="10" y="80"/>
                    </a:lnTo>
                    <a:lnTo>
                      <a:pt x="20" y="80"/>
                    </a:lnTo>
                    <a:lnTo>
                      <a:pt x="26" y="80"/>
                    </a:lnTo>
                    <a:lnTo>
                      <a:pt x="31" y="81"/>
                    </a:lnTo>
                    <a:lnTo>
                      <a:pt x="37" y="83"/>
                    </a:lnTo>
                    <a:lnTo>
                      <a:pt x="43" y="85"/>
                    </a:lnTo>
                    <a:lnTo>
                      <a:pt x="49" y="88"/>
                    </a:lnTo>
                    <a:lnTo>
                      <a:pt x="55" y="92"/>
                    </a:lnTo>
                    <a:lnTo>
                      <a:pt x="61" y="97"/>
                    </a:lnTo>
                    <a:lnTo>
                      <a:pt x="66" y="102"/>
                    </a:lnTo>
                    <a:lnTo>
                      <a:pt x="72" y="108"/>
                    </a:lnTo>
                    <a:lnTo>
                      <a:pt x="77" y="113"/>
                    </a:lnTo>
                    <a:lnTo>
                      <a:pt x="82" y="120"/>
                    </a:lnTo>
                    <a:lnTo>
                      <a:pt x="86" y="127"/>
                    </a:lnTo>
                    <a:lnTo>
                      <a:pt x="88" y="134"/>
                    </a:lnTo>
                    <a:lnTo>
                      <a:pt x="92" y="142"/>
                    </a:lnTo>
                    <a:lnTo>
                      <a:pt x="93" y="152"/>
                    </a:lnTo>
                    <a:lnTo>
                      <a:pt x="94" y="161"/>
                    </a:lnTo>
                    <a:lnTo>
                      <a:pt x="93" y="169"/>
                    </a:lnTo>
                    <a:lnTo>
                      <a:pt x="92" y="175"/>
                    </a:lnTo>
                    <a:lnTo>
                      <a:pt x="89" y="180"/>
                    </a:lnTo>
                    <a:lnTo>
                      <a:pt x="87" y="183"/>
                    </a:lnTo>
                    <a:lnTo>
                      <a:pt x="84" y="186"/>
                    </a:lnTo>
                    <a:lnTo>
                      <a:pt x="82" y="190"/>
                    </a:lnTo>
                    <a:lnTo>
                      <a:pt x="81" y="193"/>
                    </a:lnTo>
                    <a:lnTo>
                      <a:pt x="81" y="197"/>
                    </a:lnTo>
                    <a:lnTo>
                      <a:pt x="81" y="205"/>
                    </a:lnTo>
                    <a:lnTo>
                      <a:pt x="82" y="214"/>
                    </a:lnTo>
                    <a:lnTo>
                      <a:pt x="83" y="221"/>
                    </a:lnTo>
                    <a:lnTo>
                      <a:pt x="84" y="227"/>
                    </a:lnTo>
                    <a:lnTo>
                      <a:pt x="88" y="240"/>
                    </a:lnTo>
                    <a:lnTo>
                      <a:pt x="94" y="252"/>
                    </a:lnTo>
                    <a:lnTo>
                      <a:pt x="97" y="262"/>
                    </a:lnTo>
                    <a:lnTo>
                      <a:pt x="100" y="271"/>
                    </a:lnTo>
                    <a:lnTo>
                      <a:pt x="95" y="278"/>
                    </a:lnTo>
                    <a:lnTo>
                      <a:pt x="92" y="285"/>
                    </a:lnTo>
                    <a:lnTo>
                      <a:pt x="88" y="293"/>
                    </a:lnTo>
                    <a:lnTo>
                      <a:pt x="85" y="300"/>
                    </a:lnTo>
                    <a:lnTo>
                      <a:pt x="83" y="308"/>
                    </a:lnTo>
                    <a:lnTo>
                      <a:pt x="82" y="318"/>
                    </a:lnTo>
                    <a:lnTo>
                      <a:pt x="81" y="328"/>
                    </a:lnTo>
                    <a:lnTo>
                      <a:pt x="81" y="339"/>
                    </a:lnTo>
                    <a:lnTo>
                      <a:pt x="81" y="352"/>
                    </a:lnTo>
                    <a:lnTo>
                      <a:pt x="83" y="363"/>
                    </a:lnTo>
                    <a:lnTo>
                      <a:pt x="85" y="374"/>
                    </a:lnTo>
                    <a:lnTo>
                      <a:pt x="88" y="382"/>
                    </a:lnTo>
                    <a:lnTo>
                      <a:pt x="93" y="390"/>
                    </a:lnTo>
                    <a:lnTo>
                      <a:pt x="97" y="396"/>
                    </a:lnTo>
                    <a:lnTo>
                      <a:pt x="101" y="402"/>
                    </a:lnTo>
                    <a:lnTo>
                      <a:pt x="107" y="407"/>
                    </a:lnTo>
                    <a:lnTo>
                      <a:pt x="99" y="415"/>
                    </a:lnTo>
                    <a:lnTo>
                      <a:pt x="94" y="424"/>
                    </a:lnTo>
                    <a:lnTo>
                      <a:pt x="89" y="433"/>
                    </a:lnTo>
                    <a:lnTo>
                      <a:pt x="85" y="441"/>
                    </a:lnTo>
                    <a:lnTo>
                      <a:pt x="78" y="457"/>
                    </a:lnTo>
                    <a:lnTo>
                      <a:pt x="73" y="474"/>
                    </a:lnTo>
                    <a:lnTo>
                      <a:pt x="88" y="493"/>
                    </a:lnTo>
                    <a:lnTo>
                      <a:pt x="101" y="511"/>
                    </a:lnTo>
                    <a:lnTo>
                      <a:pt x="113" y="529"/>
                    </a:lnTo>
                    <a:lnTo>
                      <a:pt x="124" y="548"/>
                    </a:lnTo>
                    <a:lnTo>
                      <a:pt x="130" y="558"/>
                    </a:lnTo>
                    <a:lnTo>
                      <a:pt x="134" y="567"/>
                    </a:lnTo>
                    <a:lnTo>
                      <a:pt x="138" y="577"/>
                    </a:lnTo>
                    <a:lnTo>
                      <a:pt x="141" y="588"/>
                    </a:lnTo>
                    <a:lnTo>
                      <a:pt x="143" y="599"/>
                    </a:lnTo>
                    <a:lnTo>
                      <a:pt x="145" y="611"/>
                    </a:lnTo>
                    <a:lnTo>
                      <a:pt x="146" y="622"/>
                    </a:lnTo>
                    <a:lnTo>
                      <a:pt x="146" y="634"/>
                    </a:lnTo>
                    <a:lnTo>
                      <a:pt x="148" y="640"/>
                    </a:lnTo>
                    <a:lnTo>
                      <a:pt x="149" y="648"/>
                    </a:lnTo>
                    <a:lnTo>
                      <a:pt x="152" y="659"/>
                    </a:lnTo>
                    <a:lnTo>
                      <a:pt x="156" y="670"/>
                    </a:lnTo>
                    <a:lnTo>
                      <a:pt x="166" y="696"/>
                    </a:lnTo>
                    <a:lnTo>
                      <a:pt x="179" y="724"/>
                    </a:lnTo>
                    <a:lnTo>
                      <a:pt x="187" y="738"/>
                    </a:lnTo>
                    <a:lnTo>
                      <a:pt x="194" y="750"/>
                    </a:lnTo>
                    <a:lnTo>
                      <a:pt x="201" y="763"/>
                    </a:lnTo>
                    <a:lnTo>
                      <a:pt x="208" y="774"/>
                    </a:lnTo>
                    <a:lnTo>
                      <a:pt x="214" y="782"/>
                    </a:lnTo>
                    <a:lnTo>
                      <a:pt x="221" y="789"/>
                    </a:lnTo>
                    <a:lnTo>
                      <a:pt x="224" y="792"/>
                    </a:lnTo>
                    <a:lnTo>
                      <a:pt x="228" y="793"/>
                    </a:lnTo>
                    <a:lnTo>
                      <a:pt x="230" y="794"/>
                    </a:lnTo>
                    <a:lnTo>
                      <a:pt x="233" y="795"/>
                    </a:lnTo>
                    <a:lnTo>
                      <a:pt x="239" y="794"/>
                    </a:lnTo>
                    <a:lnTo>
                      <a:pt x="244" y="793"/>
                    </a:lnTo>
                    <a:lnTo>
                      <a:pt x="251" y="790"/>
                    </a:lnTo>
                    <a:lnTo>
                      <a:pt x="256" y="787"/>
                    </a:lnTo>
                    <a:lnTo>
                      <a:pt x="266" y="780"/>
                    </a:lnTo>
                    <a:lnTo>
                      <a:pt x="278" y="771"/>
                    </a:lnTo>
                    <a:lnTo>
                      <a:pt x="289" y="761"/>
                    </a:lnTo>
                    <a:lnTo>
                      <a:pt x="302" y="753"/>
                    </a:lnTo>
                    <a:lnTo>
                      <a:pt x="309" y="750"/>
                    </a:lnTo>
                    <a:lnTo>
                      <a:pt x="317" y="747"/>
                    </a:lnTo>
                    <a:lnTo>
                      <a:pt x="324" y="746"/>
                    </a:lnTo>
                    <a:lnTo>
                      <a:pt x="332" y="745"/>
                    </a:lnTo>
                    <a:lnTo>
                      <a:pt x="341" y="746"/>
                    </a:lnTo>
                    <a:lnTo>
                      <a:pt x="348" y="747"/>
                    </a:lnTo>
                    <a:lnTo>
                      <a:pt x="355" y="748"/>
                    </a:lnTo>
                    <a:lnTo>
                      <a:pt x="361" y="750"/>
                    </a:lnTo>
                    <a:lnTo>
                      <a:pt x="371" y="756"/>
                    </a:lnTo>
                    <a:lnTo>
                      <a:pt x="380" y="763"/>
                    </a:lnTo>
                    <a:lnTo>
                      <a:pt x="388" y="770"/>
                    </a:lnTo>
                    <a:lnTo>
                      <a:pt x="395" y="777"/>
                    </a:lnTo>
                    <a:lnTo>
                      <a:pt x="403" y="783"/>
                    </a:lnTo>
                    <a:lnTo>
                      <a:pt x="412" y="789"/>
                    </a:lnTo>
                    <a:lnTo>
                      <a:pt x="418" y="780"/>
                    </a:lnTo>
                    <a:lnTo>
                      <a:pt x="422" y="773"/>
                    </a:lnTo>
                    <a:lnTo>
                      <a:pt x="427" y="767"/>
                    </a:lnTo>
                    <a:lnTo>
                      <a:pt x="432" y="761"/>
                    </a:lnTo>
                    <a:lnTo>
                      <a:pt x="437" y="758"/>
                    </a:lnTo>
                    <a:lnTo>
                      <a:pt x="443" y="754"/>
                    </a:lnTo>
                    <a:lnTo>
                      <a:pt x="448" y="752"/>
                    </a:lnTo>
                    <a:lnTo>
                      <a:pt x="454" y="750"/>
                    </a:lnTo>
                    <a:lnTo>
                      <a:pt x="478" y="745"/>
                    </a:lnTo>
                    <a:lnTo>
                      <a:pt x="505" y="739"/>
                    </a:lnTo>
                    <a:lnTo>
                      <a:pt x="525" y="647"/>
                    </a:lnTo>
                    <a:lnTo>
                      <a:pt x="525" y="637"/>
                    </a:lnTo>
                    <a:lnTo>
                      <a:pt x="525" y="622"/>
                    </a:lnTo>
                    <a:lnTo>
                      <a:pt x="526" y="616"/>
                    </a:lnTo>
                    <a:lnTo>
                      <a:pt x="529" y="610"/>
                    </a:lnTo>
                    <a:lnTo>
                      <a:pt x="533" y="604"/>
                    </a:lnTo>
                    <a:lnTo>
                      <a:pt x="539" y="600"/>
                    </a:lnTo>
                    <a:lnTo>
                      <a:pt x="547" y="594"/>
                    </a:lnTo>
                    <a:lnTo>
                      <a:pt x="555" y="590"/>
                    </a:lnTo>
                    <a:lnTo>
                      <a:pt x="565" y="587"/>
                    </a:lnTo>
                    <a:lnTo>
                      <a:pt x="575" y="584"/>
                    </a:lnTo>
                    <a:lnTo>
                      <a:pt x="597" y="579"/>
                    </a:lnTo>
                    <a:lnTo>
                      <a:pt x="621" y="575"/>
                    </a:lnTo>
                    <a:lnTo>
                      <a:pt x="644" y="574"/>
                    </a:lnTo>
                    <a:lnTo>
                      <a:pt x="665" y="573"/>
                    </a:lnTo>
                    <a:lnTo>
                      <a:pt x="671" y="573"/>
                    </a:lnTo>
                    <a:lnTo>
                      <a:pt x="678" y="575"/>
                    </a:lnTo>
                    <a:lnTo>
                      <a:pt x="682" y="577"/>
                    </a:lnTo>
                    <a:lnTo>
                      <a:pt x="687" y="579"/>
                    </a:lnTo>
                    <a:lnTo>
                      <a:pt x="691" y="581"/>
                    </a:lnTo>
                    <a:lnTo>
                      <a:pt x="695" y="583"/>
                    </a:lnTo>
                    <a:lnTo>
                      <a:pt x="700" y="585"/>
                    </a:lnTo>
                    <a:lnTo>
                      <a:pt x="704" y="585"/>
                    </a:lnTo>
                    <a:lnTo>
                      <a:pt x="738" y="598"/>
                    </a:lnTo>
                    <a:lnTo>
                      <a:pt x="738" y="589"/>
                    </a:lnTo>
                    <a:lnTo>
                      <a:pt x="740" y="581"/>
                    </a:lnTo>
                    <a:lnTo>
                      <a:pt x="744" y="573"/>
                    </a:lnTo>
                    <a:lnTo>
                      <a:pt x="748" y="566"/>
                    </a:lnTo>
                    <a:lnTo>
                      <a:pt x="751" y="559"/>
                    </a:lnTo>
                    <a:lnTo>
                      <a:pt x="755" y="550"/>
                    </a:lnTo>
                    <a:lnTo>
                      <a:pt x="757" y="541"/>
                    </a:lnTo>
                    <a:lnTo>
                      <a:pt x="758" y="530"/>
                    </a:lnTo>
                    <a:lnTo>
                      <a:pt x="757" y="518"/>
                    </a:lnTo>
                    <a:lnTo>
                      <a:pt x="756" y="508"/>
                    </a:lnTo>
                    <a:lnTo>
                      <a:pt x="752" y="499"/>
                    </a:lnTo>
                    <a:lnTo>
                      <a:pt x="749" y="492"/>
                    </a:lnTo>
                    <a:lnTo>
                      <a:pt x="740" y="478"/>
                    </a:lnTo>
                    <a:lnTo>
                      <a:pt x="731" y="467"/>
                    </a:lnTo>
                    <a:lnTo>
                      <a:pt x="726" y="462"/>
                    </a:lnTo>
                    <a:lnTo>
                      <a:pt x="722" y="456"/>
                    </a:lnTo>
                    <a:lnTo>
                      <a:pt x="716" y="450"/>
                    </a:lnTo>
                    <a:lnTo>
                      <a:pt x="713" y="443"/>
                    </a:lnTo>
                    <a:lnTo>
                      <a:pt x="710" y="435"/>
                    </a:lnTo>
                    <a:lnTo>
                      <a:pt x="706" y="424"/>
                    </a:lnTo>
                    <a:lnTo>
                      <a:pt x="705" y="413"/>
                    </a:lnTo>
                    <a:lnTo>
                      <a:pt x="704" y="401"/>
                    </a:lnTo>
                    <a:lnTo>
                      <a:pt x="671" y="401"/>
                    </a:lnTo>
                    <a:lnTo>
                      <a:pt x="660" y="403"/>
                    </a:lnTo>
                    <a:lnTo>
                      <a:pt x="650" y="403"/>
                    </a:lnTo>
                    <a:lnTo>
                      <a:pt x="641" y="402"/>
                    </a:lnTo>
                    <a:lnTo>
                      <a:pt x="633" y="399"/>
                    </a:lnTo>
                    <a:lnTo>
                      <a:pt x="625" y="395"/>
                    </a:lnTo>
                    <a:lnTo>
                      <a:pt x="617" y="390"/>
                    </a:lnTo>
                    <a:lnTo>
                      <a:pt x="611" y="384"/>
                    </a:lnTo>
                    <a:lnTo>
                      <a:pt x="605" y="378"/>
                    </a:lnTo>
                    <a:lnTo>
                      <a:pt x="601" y="370"/>
                    </a:lnTo>
                    <a:lnTo>
                      <a:pt x="597" y="363"/>
                    </a:lnTo>
                    <a:lnTo>
                      <a:pt x="593" y="356"/>
                    </a:lnTo>
                    <a:lnTo>
                      <a:pt x="590" y="349"/>
                    </a:lnTo>
                    <a:lnTo>
                      <a:pt x="586" y="336"/>
                    </a:lnTo>
                    <a:lnTo>
                      <a:pt x="585" y="327"/>
                    </a:lnTo>
                    <a:lnTo>
                      <a:pt x="585" y="321"/>
                    </a:lnTo>
                    <a:lnTo>
                      <a:pt x="585" y="311"/>
                    </a:lnTo>
                    <a:lnTo>
                      <a:pt x="585" y="297"/>
                    </a:lnTo>
                    <a:lnTo>
                      <a:pt x="585" y="278"/>
                    </a:lnTo>
                    <a:lnTo>
                      <a:pt x="585" y="274"/>
                    </a:lnTo>
                    <a:lnTo>
                      <a:pt x="583" y="269"/>
                    </a:lnTo>
                    <a:lnTo>
                      <a:pt x="581" y="265"/>
                    </a:lnTo>
                    <a:lnTo>
                      <a:pt x="578" y="260"/>
                    </a:lnTo>
                    <a:lnTo>
                      <a:pt x="570" y="251"/>
                    </a:lnTo>
                    <a:lnTo>
                      <a:pt x="560" y="242"/>
                    </a:lnTo>
                    <a:lnTo>
                      <a:pt x="548" y="233"/>
                    </a:lnTo>
                    <a:lnTo>
                      <a:pt x="534" y="223"/>
                    </a:lnTo>
                    <a:lnTo>
                      <a:pt x="520" y="215"/>
                    </a:lnTo>
                    <a:lnTo>
                      <a:pt x="503" y="205"/>
                    </a:lnTo>
                    <a:lnTo>
                      <a:pt x="487" y="197"/>
                    </a:lnTo>
                    <a:lnTo>
                      <a:pt x="470" y="190"/>
                    </a:lnTo>
                    <a:lnTo>
                      <a:pt x="455" y="183"/>
                    </a:lnTo>
                    <a:lnTo>
                      <a:pt x="440" y="178"/>
                    </a:lnTo>
                    <a:lnTo>
                      <a:pt x="425" y="173"/>
                    </a:lnTo>
                    <a:lnTo>
                      <a:pt x="412" y="170"/>
                    </a:lnTo>
                    <a:lnTo>
                      <a:pt x="401" y="167"/>
                    </a:lnTo>
                    <a:lnTo>
                      <a:pt x="392" y="167"/>
                    </a:lnTo>
                    <a:lnTo>
                      <a:pt x="384" y="166"/>
                    </a:lnTo>
                    <a:lnTo>
                      <a:pt x="375" y="165"/>
                    </a:lnTo>
                    <a:lnTo>
                      <a:pt x="367" y="164"/>
                    </a:lnTo>
                    <a:lnTo>
                      <a:pt x="359" y="161"/>
                    </a:lnTo>
                    <a:lnTo>
                      <a:pt x="351" y="158"/>
                    </a:lnTo>
                    <a:lnTo>
                      <a:pt x="344" y="155"/>
                    </a:lnTo>
                    <a:lnTo>
                      <a:pt x="336" y="151"/>
                    </a:lnTo>
                    <a:lnTo>
                      <a:pt x="330" y="145"/>
                    </a:lnTo>
                    <a:lnTo>
                      <a:pt x="323" y="140"/>
                    </a:lnTo>
                    <a:lnTo>
                      <a:pt x="318" y="135"/>
                    </a:lnTo>
                    <a:lnTo>
                      <a:pt x="312" y="129"/>
                    </a:lnTo>
                    <a:lnTo>
                      <a:pt x="307" y="122"/>
                    </a:lnTo>
                    <a:lnTo>
                      <a:pt x="302" y="115"/>
                    </a:lnTo>
                    <a:lnTo>
                      <a:pt x="299" y="108"/>
                    </a:lnTo>
                    <a:lnTo>
                      <a:pt x="296" y="101"/>
                    </a:lnTo>
                    <a:lnTo>
                      <a:pt x="292" y="92"/>
                    </a:lnTo>
                    <a:lnTo>
                      <a:pt x="289" y="63"/>
                    </a:lnTo>
                    <a:lnTo>
                      <a:pt x="285" y="32"/>
                    </a:lnTo>
                    <a:lnTo>
                      <a:pt x="283" y="25"/>
                    </a:lnTo>
                    <a:lnTo>
                      <a:pt x="279" y="19"/>
                    </a:lnTo>
                    <a:lnTo>
                      <a:pt x="276" y="14"/>
                    </a:lnTo>
                    <a:lnTo>
                      <a:pt x="272" y="9"/>
                    </a:lnTo>
                    <a:lnTo>
                      <a:pt x="267" y="6"/>
                    </a:lnTo>
                    <a:lnTo>
                      <a:pt x="261" y="3"/>
                    </a:lnTo>
                    <a:lnTo>
                      <a:pt x="254" y="1"/>
                    </a:lnTo>
                    <a:lnTo>
                      <a:pt x="246" y="0"/>
                    </a:lnTo>
                    <a:lnTo>
                      <a:pt x="236" y="1"/>
                    </a:lnTo>
                    <a:lnTo>
                      <a:pt x="227" y="3"/>
                    </a:lnTo>
                    <a:lnTo>
                      <a:pt x="218" y="5"/>
                    </a:lnTo>
                    <a:lnTo>
                      <a:pt x="208" y="9"/>
                    </a:lnTo>
                    <a:lnTo>
                      <a:pt x="190" y="18"/>
                    </a:lnTo>
                    <a:lnTo>
                      <a:pt x="173" y="30"/>
                    </a:lnTo>
                    <a:lnTo>
                      <a:pt x="155" y="43"/>
                    </a:lnTo>
                    <a:lnTo>
                      <a:pt x="138" y="55"/>
                    </a:lnTo>
                    <a:lnTo>
                      <a:pt x="129" y="60"/>
                    </a:lnTo>
                    <a:lnTo>
                      <a:pt x="119" y="66"/>
                    </a:lnTo>
                    <a:lnTo>
                      <a:pt x="110" y="70"/>
                    </a:lnTo>
                    <a:lnTo>
                      <a:pt x="100" y="74"/>
                    </a:lnTo>
                    <a:lnTo>
                      <a:pt x="20" y="80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41" name="Freeform 163">
                <a:extLst>
                  <a:ext uri="{FF2B5EF4-FFF2-40B4-BE49-F238E27FC236}">
                    <a16:creationId xmlns="" xmlns:a16="http://schemas.microsoft.com/office/drawing/2014/main" id="{04EF2C93-D091-427C-9059-BBF965876DA1}"/>
                  </a:ext>
                </a:extLst>
              </p:cNvPr>
              <p:cNvSpPr>
                <a:spLocks/>
              </p:cNvSpPr>
              <p:nvPr>
                <p:custDataLst>
                  <p:tags r:id="rId94"/>
                </p:custDataLst>
              </p:nvPr>
            </p:nvSpPr>
            <p:spPr bwMode="auto">
              <a:xfrm>
                <a:off x="2479675" y="3411538"/>
                <a:ext cx="119063" cy="215900"/>
              </a:xfrm>
              <a:custGeom>
                <a:avLst/>
                <a:gdLst>
                  <a:gd name="T0" fmla="*/ 2147483646 w 273"/>
                  <a:gd name="T1" fmla="*/ 2147483646 h 414"/>
                  <a:gd name="T2" fmla="*/ 2147483646 w 273"/>
                  <a:gd name="T3" fmla="*/ 2147483646 h 414"/>
                  <a:gd name="T4" fmla="*/ 2147483646 w 273"/>
                  <a:gd name="T5" fmla="*/ 2147483646 h 414"/>
                  <a:gd name="T6" fmla="*/ 2147483646 w 273"/>
                  <a:gd name="T7" fmla="*/ 2147483646 h 414"/>
                  <a:gd name="T8" fmla="*/ 2147483646 w 273"/>
                  <a:gd name="T9" fmla="*/ 2147483646 h 414"/>
                  <a:gd name="T10" fmla="*/ 2147483646 w 273"/>
                  <a:gd name="T11" fmla="*/ 2147483646 h 414"/>
                  <a:gd name="T12" fmla="*/ 2147483646 w 273"/>
                  <a:gd name="T13" fmla="*/ 2147483646 h 414"/>
                  <a:gd name="T14" fmla="*/ 2147483646 w 273"/>
                  <a:gd name="T15" fmla="*/ 2147483646 h 414"/>
                  <a:gd name="T16" fmla="*/ 2147483646 w 273"/>
                  <a:gd name="T17" fmla="*/ 2147483646 h 414"/>
                  <a:gd name="T18" fmla="*/ 2147483646 w 273"/>
                  <a:gd name="T19" fmla="*/ 2147483646 h 414"/>
                  <a:gd name="T20" fmla="*/ 2147483646 w 273"/>
                  <a:gd name="T21" fmla="*/ 2147483646 h 414"/>
                  <a:gd name="T22" fmla="*/ 2147483646 w 273"/>
                  <a:gd name="T23" fmla="*/ 2147483646 h 414"/>
                  <a:gd name="T24" fmla="*/ 2147483646 w 273"/>
                  <a:gd name="T25" fmla="*/ 2147483646 h 414"/>
                  <a:gd name="T26" fmla="*/ 2147483646 w 273"/>
                  <a:gd name="T27" fmla="*/ 2147483646 h 414"/>
                  <a:gd name="T28" fmla="*/ 2147483646 w 273"/>
                  <a:gd name="T29" fmla="*/ 2147483646 h 414"/>
                  <a:gd name="T30" fmla="*/ 2147483646 w 273"/>
                  <a:gd name="T31" fmla="*/ 2147483646 h 414"/>
                  <a:gd name="T32" fmla="*/ 2147483646 w 273"/>
                  <a:gd name="T33" fmla="*/ 2147483646 h 414"/>
                  <a:gd name="T34" fmla="*/ 2147483646 w 273"/>
                  <a:gd name="T35" fmla="*/ 2147483646 h 414"/>
                  <a:gd name="T36" fmla="*/ 2147483646 w 273"/>
                  <a:gd name="T37" fmla="*/ 2147483646 h 414"/>
                  <a:gd name="T38" fmla="*/ 2147483646 w 273"/>
                  <a:gd name="T39" fmla="*/ 2147483646 h 414"/>
                  <a:gd name="T40" fmla="*/ 2147483646 w 273"/>
                  <a:gd name="T41" fmla="*/ 2147483646 h 414"/>
                  <a:gd name="T42" fmla="*/ 2147483646 w 273"/>
                  <a:gd name="T43" fmla="*/ 2147483646 h 414"/>
                  <a:gd name="T44" fmla="*/ 2147483646 w 273"/>
                  <a:gd name="T45" fmla="*/ 2147483646 h 414"/>
                  <a:gd name="T46" fmla="*/ 2147483646 w 273"/>
                  <a:gd name="T47" fmla="*/ 2147483646 h 414"/>
                  <a:gd name="T48" fmla="*/ 2147483646 w 273"/>
                  <a:gd name="T49" fmla="*/ 2147483646 h 414"/>
                  <a:gd name="T50" fmla="*/ 2147483646 w 273"/>
                  <a:gd name="T51" fmla="*/ 2147483646 h 414"/>
                  <a:gd name="T52" fmla="*/ 2147483646 w 273"/>
                  <a:gd name="T53" fmla="*/ 2147483646 h 414"/>
                  <a:gd name="T54" fmla="*/ 2147483646 w 273"/>
                  <a:gd name="T55" fmla="*/ 2147483646 h 414"/>
                  <a:gd name="T56" fmla="*/ 2147483646 w 273"/>
                  <a:gd name="T57" fmla="*/ 2147483646 h 414"/>
                  <a:gd name="T58" fmla="*/ 2147483646 w 273"/>
                  <a:gd name="T59" fmla="*/ 2147483646 h 414"/>
                  <a:gd name="T60" fmla="*/ 2147483646 w 273"/>
                  <a:gd name="T61" fmla="*/ 2147483646 h 414"/>
                  <a:gd name="T62" fmla="*/ 2147483646 w 273"/>
                  <a:gd name="T63" fmla="*/ 2147483646 h 414"/>
                  <a:gd name="T64" fmla="*/ 2147483646 w 273"/>
                  <a:gd name="T65" fmla="*/ 2147483646 h 414"/>
                  <a:gd name="T66" fmla="*/ 2147483646 w 273"/>
                  <a:gd name="T67" fmla="*/ 2147483646 h 414"/>
                  <a:gd name="T68" fmla="*/ 2147483646 w 273"/>
                  <a:gd name="T69" fmla="*/ 2147483646 h 414"/>
                  <a:gd name="T70" fmla="*/ 2147483646 w 273"/>
                  <a:gd name="T71" fmla="*/ 2147483646 h 414"/>
                  <a:gd name="T72" fmla="*/ 2147483646 w 273"/>
                  <a:gd name="T73" fmla="*/ 2147483646 h 414"/>
                  <a:gd name="T74" fmla="*/ 2147483646 w 273"/>
                  <a:gd name="T75" fmla="*/ 2147483646 h 414"/>
                  <a:gd name="T76" fmla="*/ 2147483646 w 273"/>
                  <a:gd name="T77" fmla="*/ 2147483646 h 414"/>
                  <a:gd name="T78" fmla="*/ 2147483646 w 273"/>
                  <a:gd name="T79" fmla="*/ 2147483646 h 414"/>
                  <a:gd name="T80" fmla="*/ 2147483646 w 273"/>
                  <a:gd name="T81" fmla="*/ 2147483646 h 414"/>
                  <a:gd name="T82" fmla="*/ 2147483646 w 273"/>
                  <a:gd name="T83" fmla="*/ 2147483646 h 414"/>
                  <a:gd name="T84" fmla="*/ 2147483646 w 273"/>
                  <a:gd name="T85" fmla="*/ 2147483646 h 414"/>
                  <a:gd name="T86" fmla="*/ 2147483646 w 273"/>
                  <a:gd name="T87" fmla="*/ 2147483646 h 414"/>
                  <a:gd name="T88" fmla="*/ 2147483646 w 273"/>
                  <a:gd name="T89" fmla="*/ 2147483646 h 414"/>
                  <a:gd name="T90" fmla="*/ 2147483646 w 273"/>
                  <a:gd name="T91" fmla="*/ 2147483646 h 414"/>
                  <a:gd name="T92" fmla="*/ 2147483646 w 273"/>
                  <a:gd name="T93" fmla="*/ 2147483646 h 414"/>
                  <a:gd name="T94" fmla="*/ 2147483646 w 273"/>
                  <a:gd name="T95" fmla="*/ 2147483646 h 414"/>
                  <a:gd name="T96" fmla="*/ 2147483646 w 273"/>
                  <a:gd name="T97" fmla="*/ 2147483646 h 414"/>
                  <a:gd name="T98" fmla="*/ 2147483646 w 273"/>
                  <a:gd name="T99" fmla="*/ 2147483646 h 414"/>
                  <a:gd name="T100" fmla="*/ 2147483646 w 273"/>
                  <a:gd name="T101" fmla="*/ 2147483646 h 414"/>
                  <a:gd name="T102" fmla="*/ 2147483646 w 273"/>
                  <a:gd name="T103" fmla="*/ 2147483646 h 414"/>
                  <a:gd name="T104" fmla="*/ 2147483646 w 273"/>
                  <a:gd name="T105" fmla="*/ 2147483646 h 414"/>
                  <a:gd name="T106" fmla="*/ 2147483646 w 273"/>
                  <a:gd name="T107" fmla="*/ 2147483646 h 414"/>
                  <a:gd name="T108" fmla="*/ 2147483646 w 273"/>
                  <a:gd name="T109" fmla="*/ 2147483646 h 41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273"/>
                  <a:gd name="T166" fmla="*/ 0 h 414"/>
                  <a:gd name="T167" fmla="*/ 273 w 273"/>
                  <a:gd name="T168" fmla="*/ 414 h 41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273" h="414">
                    <a:moveTo>
                      <a:pt x="232" y="142"/>
                    </a:moveTo>
                    <a:lnTo>
                      <a:pt x="225" y="140"/>
                    </a:lnTo>
                    <a:lnTo>
                      <a:pt x="219" y="137"/>
                    </a:lnTo>
                    <a:lnTo>
                      <a:pt x="213" y="133"/>
                    </a:lnTo>
                    <a:lnTo>
                      <a:pt x="209" y="130"/>
                    </a:lnTo>
                    <a:lnTo>
                      <a:pt x="201" y="121"/>
                    </a:lnTo>
                    <a:lnTo>
                      <a:pt x="195" y="113"/>
                    </a:lnTo>
                    <a:lnTo>
                      <a:pt x="190" y="105"/>
                    </a:lnTo>
                    <a:lnTo>
                      <a:pt x="185" y="99"/>
                    </a:lnTo>
                    <a:lnTo>
                      <a:pt x="183" y="96"/>
                    </a:lnTo>
                    <a:lnTo>
                      <a:pt x="179" y="95"/>
                    </a:lnTo>
                    <a:lnTo>
                      <a:pt x="176" y="93"/>
                    </a:lnTo>
                    <a:lnTo>
                      <a:pt x="173" y="93"/>
                    </a:lnTo>
                    <a:lnTo>
                      <a:pt x="167" y="94"/>
                    </a:lnTo>
                    <a:lnTo>
                      <a:pt x="164" y="97"/>
                    </a:lnTo>
                    <a:lnTo>
                      <a:pt x="161" y="101"/>
                    </a:lnTo>
                    <a:lnTo>
                      <a:pt x="159" y="105"/>
                    </a:lnTo>
                    <a:lnTo>
                      <a:pt x="153" y="86"/>
                    </a:lnTo>
                    <a:lnTo>
                      <a:pt x="147" y="68"/>
                    </a:lnTo>
                    <a:lnTo>
                      <a:pt x="142" y="54"/>
                    </a:lnTo>
                    <a:lnTo>
                      <a:pt x="135" y="41"/>
                    </a:lnTo>
                    <a:lnTo>
                      <a:pt x="132" y="36"/>
                    </a:lnTo>
                    <a:lnTo>
                      <a:pt x="128" y="30"/>
                    </a:lnTo>
                    <a:lnTo>
                      <a:pt x="123" y="25"/>
                    </a:lnTo>
                    <a:lnTo>
                      <a:pt x="118" y="20"/>
                    </a:lnTo>
                    <a:lnTo>
                      <a:pt x="111" y="14"/>
                    </a:lnTo>
                    <a:lnTo>
                      <a:pt x="103" y="9"/>
                    </a:lnTo>
                    <a:lnTo>
                      <a:pt x="96" y="5"/>
                    </a:lnTo>
                    <a:lnTo>
                      <a:pt x="86" y="0"/>
                    </a:lnTo>
                    <a:lnTo>
                      <a:pt x="80" y="7"/>
                    </a:lnTo>
                    <a:lnTo>
                      <a:pt x="73" y="15"/>
                    </a:lnTo>
                    <a:lnTo>
                      <a:pt x="69" y="19"/>
                    </a:lnTo>
                    <a:lnTo>
                      <a:pt x="66" y="23"/>
                    </a:lnTo>
                    <a:lnTo>
                      <a:pt x="63" y="25"/>
                    </a:lnTo>
                    <a:lnTo>
                      <a:pt x="60" y="25"/>
                    </a:lnTo>
                    <a:lnTo>
                      <a:pt x="57" y="32"/>
                    </a:lnTo>
                    <a:lnTo>
                      <a:pt x="57" y="37"/>
                    </a:lnTo>
                    <a:lnTo>
                      <a:pt x="56" y="42"/>
                    </a:lnTo>
                    <a:lnTo>
                      <a:pt x="57" y="47"/>
                    </a:lnTo>
                    <a:lnTo>
                      <a:pt x="58" y="59"/>
                    </a:lnTo>
                    <a:lnTo>
                      <a:pt x="60" y="75"/>
                    </a:lnTo>
                    <a:lnTo>
                      <a:pt x="52" y="78"/>
                    </a:lnTo>
                    <a:lnTo>
                      <a:pt x="43" y="83"/>
                    </a:lnTo>
                    <a:lnTo>
                      <a:pt x="33" y="90"/>
                    </a:lnTo>
                    <a:lnTo>
                      <a:pt x="24" y="97"/>
                    </a:lnTo>
                    <a:lnTo>
                      <a:pt x="17" y="104"/>
                    </a:lnTo>
                    <a:lnTo>
                      <a:pt x="9" y="111"/>
                    </a:lnTo>
                    <a:lnTo>
                      <a:pt x="4" y="118"/>
                    </a:lnTo>
                    <a:lnTo>
                      <a:pt x="0" y="123"/>
                    </a:lnTo>
                    <a:lnTo>
                      <a:pt x="40" y="198"/>
                    </a:lnTo>
                    <a:lnTo>
                      <a:pt x="57" y="201"/>
                    </a:lnTo>
                    <a:lnTo>
                      <a:pt x="73" y="205"/>
                    </a:lnTo>
                    <a:lnTo>
                      <a:pt x="78" y="207"/>
                    </a:lnTo>
                    <a:lnTo>
                      <a:pt x="84" y="210"/>
                    </a:lnTo>
                    <a:lnTo>
                      <a:pt x="89" y="214"/>
                    </a:lnTo>
                    <a:lnTo>
                      <a:pt x="93" y="218"/>
                    </a:lnTo>
                    <a:lnTo>
                      <a:pt x="96" y="222"/>
                    </a:lnTo>
                    <a:lnTo>
                      <a:pt x="99" y="226"/>
                    </a:lnTo>
                    <a:lnTo>
                      <a:pt x="101" y="231"/>
                    </a:lnTo>
                    <a:lnTo>
                      <a:pt x="103" y="237"/>
                    </a:lnTo>
                    <a:lnTo>
                      <a:pt x="106" y="251"/>
                    </a:lnTo>
                    <a:lnTo>
                      <a:pt x="106" y="265"/>
                    </a:lnTo>
                    <a:lnTo>
                      <a:pt x="106" y="272"/>
                    </a:lnTo>
                    <a:lnTo>
                      <a:pt x="103" y="279"/>
                    </a:lnTo>
                    <a:lnTo>
                      <a:pt x="100" y="286"/>
                    </a:lnTo>
                    <a:lnTo>
                      <a:pt x="96" y="293"/>
                    </a:lnTo>
                    <a:lnTo>
                      <a:pt x="93" y="301"/>
                    </a:lnTo>
                    <a:lnTo>
                      <a:pt x="89" y="307"/>
                    </a:lnTo>
                    <a:lnTo>
                      <a:pt x="87" y="314"/>
                    </a:lnTo>
                    <a:lnTo>
                      <a:pt x="86" y="321"/>
                    </a:lnTo>
                    <a:lnTo>
                      <a:pt x="88" y="330"/>
                    </a:lnTo>
                    <a:lnTo>
                      <a:pt x="91" y="343"/>
                    </a:lnTo>
                    <a:lnTo>
                      <a:pt x="98" y="359"/>
                    </a:lnTo>
                    <a:lnTo>
                      <a:pt x="107" y="374"/>
                    </a:lnTo>
                    <a:lnTo>
                      <a:pt x="112" y="382"/>
                    </a:lnTo>
                    <a:lnTo>
                      <a:pt x="117" y="389"/>
                    </a:lnTo>
                    <a:lnTo>
                      <a:pt x="122" y="395"/>
                    </a:lnTo>
                    <a:lnTo>
                      <a:pt x="129" y="401"/>
                    </a:lnTo>
                    <a:lnTo>
                      <a:pt x="134" y="406"/>
                    </a:lnTo>
                    <a:lnTo>
                      <a:pt x="141" y="411"/>
                    </a:lnTo>
                    <a:lnTo>
                      <a:pt x="146" y="413"/>
                    </a:lnTo>
                    <a:lnTo>
                      <a:pt x="153" y="414"/>
                    </a:lnTo>
                    <a:lnTo>
                      <a:pt x="174" y="410"/>
                    </a:lnTo>
                    <a:lnTo>
                      <a:pt x="215" y="398"/>
                    </a:lnTo>
                    <a:lnTo>
                      <a:pt x="236" y="392"/>
                    </a:lnTo>
                    <a:lnTo>
                      <a:pt x="255" y="385"/>
                    </a:lnTo>
                    <a:lnTo>
                      <a:pt x="262" y="381"/>
                    </a:lnTo>
                    <a:lnTo>
                      <a:pt x="267" y="377"/>
                    </a:lnTo>
                    <a:lnTo>
                      <a:pt x="271" y="374"/>
                    </a:lnTo>
                    <a:lnTo>
                      <a:pt x="273" y="370"/>
                    </a:lnTo>
                    <a:lnTo>
                      <a:pt x="271" y="361"/>
                    </a:lnTo>
                    <a:lnTo>
                      <a:pt x="269" y="352"/>
                    </a:lnTo>
                    <a:lnTo>
                      <a:pt x="267" y="343"/>
                    </a:lnTo>
                    <a:lnTo>
                      <a:pt x="263" y="335"/>
                    </a:lnTo>
                    <a:lnTo>
                      <a:pt x="253" y="321"/>
                    </a:lnTo>
                    <a:lnTo>
                      <a:pt x="242" y="309"/>
                    </a:lnTo>
                    <a:lnTo>
                      <a:pt x="231" y="295"/>
                    </a:lnTo>
                    <a:lnTo>
                      <a:pt x="222" y="282"/>
                    </a:lnTo>
                    <a:lnTo>
                      <a:pt x="218" y="274"/>
                    </a:lnTo>
                    <a:lnTo>
                      <a:pt x="215" y="266"/>
                    </a:lnTo>
                    <a:lnTo>
                      <a:pt x="213" y="257"/>
                    </a:lnTo>
                    <a:lnTo>
                      <a:pt x="212" y="247"/>
                    </a:lnTo>
                    <a:lnTo>
                      <a:pt x="213" y="229"/>
                    </a:lnTo>
                    <a:lnTo>
                      <a:pt x="215" y="215"/>
                    </a:lnTo>
                    <a:lnTo>
                      <a:pt x="219" y="202"/>
                    </a:lnTo>
                    <a:lnTo>
                      <a:pt x="222" y="190"/>
                    </a:lnTo>
                    <a:lnTo>
                      <a:pt x="226" y="178"/>
                    </a:lnTo>
                    <a:lnTo>
                      <a:pt x="230" y="167"/>
                    </a:lnTo>
                    <a:lnTo>
                      <a:pt x="232" y="155"/>
                    </a:lnTo>
                    <a:lnTo>
                      <a:pt x="232" y="142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1842" name="Group 164">
                <a:extLst>
                  <a:ext uri="{FF2B5EF4-FFF2-40B4-BE49-F238E27FC236}">
                    <a16:creationId xmlns="" xmlns:a16="http://schemas.microsoft.com/office/drawing/2014/main" id="{61D572D5-986F-448A-B246-B0DACF09AF71}"/>
                  </a:ext>
                </a:extLst>
              </p:cNvPr>
              <p:cNvGrpSpPr>
                <a:grpSpLocks/>
              </p:cNvGrpSpPr>
              <p:nvPr>
                <p:custDataLst>
                  <p:tags r:id="rId95"/>
                </p:custDataLst>
              </p:nvPr>
            </p:nvGrpSpPr>
            <p:grpSpPr bwMode="auto">
              <a:xfrm>
                <a:off x="2193925" y="3246438"/>
                <a:ext cx="323850" cy="401637"/>
                <a:chOff x="1486" y="2412"/>
                <a:chExt cx="244" cy="256"/>
              </a:xfrm>
              <a:solidFill>
                <a:srgbClr val="FFFFFF">
                  <a:lumMod val="75000"/>
                </a:srgbClr>
              </a:solidFill>
            </p:grpSpPr>
            <p:sp>
              <p:nvSpPr>
                <p:cNvPr id="1843" name="Freeform 165">
                  <a:extLst>
                    <a:ext uri="{FF2B5EF4-FFF2-40B4-BE49-F238E27FC236}">
                      <a16:creationId xmlns="" xmlns:a16="http://schemas.microsoft.com/office/drawing/2014/main" id="{7BA66A4A-D38F-4B1A-8926-78430A0947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9" y="2457"/>
                  <a:ext cx="18" cy="7"/>
                </a:xfrm>
                <a:custGeom>
                  <a:avLst/>
                  <a:gdLst>
                    <a:gd name="T0" fmla="*/ 0 w 54"/>
                    <a:gd name="T1" fmla="*/ 0 h 22"/>
                    <a:gd name="T2" fmla="*/ 0 w 54"/>
                    <a:gd name="T3" fmla="*/ 0 h 22"/>
                    <a:gd name="T4" fmla="*/ 0 w 54"/>
                    <a:gd name="T5" fmla="*/ 0 h 22"/>
                    <a:gd name="T6" fmla="*/ 0 w 54"/>
                    <a:gd name="T7" fmla="*/ 0 h 22"/>
                    <a:gd name="T8" fmla="*/ 0 w 54"/>
                    <a:gd name="T9" fmla="*/ 0 h 22"/>
                    <a:gd name="T10" fmla="*/ 0 w 54"/>
                    <a:gd name="T11" fmla="*/ 0 h 22"/>
                    <a:gd name="T12" fmla="*/ 0 w 54"/>
                    <a:gd name="T13" fmla="*/ 0 h 22"/>
                    <a:gd name="T14" fmla="*/ 0 w 54"/>
                    <a:gd name="T15" fmla="*/ 0 h 22"/>
                    <a:gd name="T16" fmla="*/ 0 w 54"/>
                    <a:gd name="T17" fmla="*/ 0 h 22"/>
                    <a:gd name="T18" fmla="*/ 0 w 54"/>
                    <a:gd name="T19" fmla="*/ 0 h 22"/>
                    <a:gd name="T20" fmla="*/ 0 w 54"/>
                    <a:gd name="T21" fmla="*/ 0 h 22"/>
                    <a:gd name="T22" fmla="*/ 0 w 54"/>
                    <a:gd name="T23" fmla="*/ 0 h 22"/>
                    <a:gd name="T24" fmla="*/ 0 w 54"/>
                    <a:gd name="T25" fmla="*/ 0 h 22"/>
                    <a:gd name="T26" fmla="*/ 0 w 54"/>
                    <a:gd name="T27" fmla="*/ 0 h 22"/>
                    <a:gd name="T28" fmla="*/ 0 w 54"/>
                    <a:gd name="T29" fmla="*/ 0 h 22"/>
                    <a:gd name="T30" fmla="*/ 0 w 54"/>
                    <a:gd name="T31" fmla="*/ 0 h 22"/>
                    <a:gd name="T32" fmla="*/ 0 w 54"/>
                    <a:gd name="T33" fmla="*/ 0 h 22"/>
                    <a:gd name="T34" fmla="*/ 0 w 54"/>
                    <a:gd name="T35" fmla="*/ 0 h 22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54"/>
                    <a:gd name="T55" fmla="*/ 0 h 22"/>
                    <a:gd name="T56" fmla="*/ 54 w 54"/>
                    <a:gd name="T57" fmla="*/ 22 h 22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54" h="22">
                      <a:moveTo>
                        <a:pt x="0" y="0"/>
                      </a:moveTo>
                      <a:lnTo>
                        <a:pt x="0" y="18"/>
                      </a:lnTo>
                      <a:lnTo>
                        <a:pt x="6" y="20"/>
                      </a:lnTo>
                      <a:lnTo>
                        <a:pt x="10" y="21"/>
                      </a:lnTo>
                      <a:lnTo>
                        <a:pt x="14" y="22"/>
                      </a:lnTo>
                      <a:lnTo>
                        <a:pt x="20" y="22"/>
                      </a:lnTo>
                      <a:lnTo>
                        <a:pt x="23" y="22"/>
                      </a:lnTo>
                      <a:lnTo>
                        <a:pt x="27" y="21"/>
                      </a:lnTo>
                      <a:lnTo>
                        <a:pt x="31" y="20"/>
                      </a:lnTo>
                      <a:lnTo>
                        <a:pt x="33" y="18"/>
                      </a:lnTo>
                      <a:lnTo>
                        <a:pt x="35" y="16"/>
                      </a:lnTo>
                      <a:lnTo>
                        <a:pt x="41" y="12"/>
                      </a:lnTo>
                      <a:lnTo>
                        <a:pt x="47" y="8"/>
                      </a:lnTo>
                      <a:lnTo>
                        <a:pt x="54" y="6"/>
                      </a:lnTo>
                      <a:lnTo>
                        <a:pt x="36" y="5"/>
                      </a:lnTo>
                      <a:lnTo>
                        <a:pt x="20" y="3"/>
                      </a:lnTo>
                      <a:lnTo>
                        <a:pt x="6" y="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44" name="Freeform 166">
                  <a:extLst>
                    <a:ext uri="{FF2B5EF4-FFF2-40B4-BE49-F238E27FC236}">
                      <a16:creationId xmlns="" xmlns:a16="http://schemas.microsoft.com/office/drawing/2014/main" id="{8266EC17-7D68-4EB4-985F-E0A1656FB1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6" y="2412"/>
                  <a:ext cx="2" cy="8"/>
                </a:xfrm>
                <a:custGeom>
                  <a:avLst/>
                  <a:gdLst>
                    <a:gd name="T0" fmla="*/ 0 w 6"/>
                    <a:gd name="T1" fmla="*/ 0 h 24"/>
                    <a:gd name="T2" fmla="*/ 0 w 6"/>
                    <a:gd name="T3" fmla="*/ 0 h 24"/>
                    <a:gd name="T4" fmla="*/ 0 w 6"/>
                    <a:gd name="T5" fmla="*/ 0 h 24"/>
                    <a:gd name="T6" fmla="*/ 0 w 6"/>
                    <a:gd name="T7" fmla="*/ 0 h 24"/>
                    <a:gd name="T8" fmla="*/ 0 w 6"/>
                    <a:gd name="T9" fmla="*/ 0 h 24"/>
                    <a:gd name="T10" fmla="*/ 0 w 6"/>
                    <a:gd name="T11" fmla="*/ 0 h 24"/>
                    <a:gd name="T12" fmla="*/ 0 w 6"/>
                    <a:gd name="T13" fmla="*/ 0 h 24"/>
                    <a:gd name="T14" fmla="*/ 0 w 6"/>
                    <a:gd name="T15" fmla="*/ 0 h 24"/>
                    <a:gd name="T16" fmla="*/ 0 w 6"/>
                    <a:gd name="T17" fmla="*/ 0 h 24"/>
                    <a:gd name="T18" fmla="*/ 0 w 6"/>
                    <a:gd name="T19" fmla="*/ 0 h 2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"/>
                    <a:gd name="T31" fmla="*/ 0 h 24"/>
                    <a:gd name="T32" fmla="*/ 6 w 6"/>
                    <a:gd name="T33" fmla="*/ 24 h 2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" h="24">
                      <a:moveTo>
                        <a:pt x="6" y="24"/>
                      </a:moveTo>
                      <a:lnTo>
                        <a:pt x="6" y="0"/>
                      </a:lnTo>
                      <a:lnTo>
                        <a:pt x="4" y="1"/>
                      </a:lnTo>
                      <a:lnTo>
                        <a:pt x="1" y="3"/>
                      </a:lnTo>
                      <a:lnTo>
                        <a:pt x="0" y="7"/>
                      </a:lnTo>
                      <a:lnTo>
                        <a:pt x="0" y="12"/>
                      </a:lnTo>
                      <a:lnTo>
                        <a:pt x="0" y="16"/>
                      </a:lnTo>
                      <a:lnTo>
                        <a:pt x="1" y="20"/>
                      </a:lnTo>
                      <a:lnTo>
                        <a:pt x="4" y="23"/>
                      </a:lnTo>
                      <a:lnTo>
                        <a:pt x="6" y="24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45" name="Freeform 167">
                  <a:extLst>
                    <a:ext uri="{FF2B5EF4-FFF2-40B4-BE49-F238E27FC236}">
                      <a16:creationId xmlns="" xmlns:a16="http://schemas.microsoft.com/office/drawing/2014/main" id="{EDBDDD1C-712B-4411-A077-9F778EA168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57" y="2438"/>
                  <a:ext cx="8" cy="4"/>
                </a:xfrm>
                <a:custGeom>
                  <a:avLst/>
                  <a:gdLst>
                    <a:gd name="T0" fmla="*/ 0 w 27"/>
                    <a:gd name="T1" fmla="*/ 0 h 12"/>
                    <a:gd name="T2" fmla="*/ 0 w 27"/>
                    <a:gd name="T3" fmla="*/ 0 h 12"/>
                    <a:gd name="T4" fmla="*/ 0 w 27"/>
                    <a:gd name="T5" fmla="*/ 0 h 12"/>
                    <a:gd name="T6" fmla="*/ 0 w 27"/>
                    <a:gd name="T7" fmla="*/ 0 h 1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7"/>
                    <a:gd name="T13" fmla="*/ 0 h 12"/>
                    <a:gd name="T14" fmla="*/ 27 w 27"/>
                    <a:gd name="T15" fmla="*/ 12 h 1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7" h="12">
                      <a:moveTo>
                        <a:pt x="0" y="12"/>
                      </a:moveTo>
                      <a:lnTo>
                        <a:pt x="27" y="12"/>
                      </a:lnTo>
                      <a:lnTo>
                        <a:pt x="14" y="0"/>
                      </a:lnTo>
                      <a:lnTo>
                        <a:pt x="0" y="12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46" name="Freeform 168">
                  <a:extLst>
                    <a:ext uri="{FF2B5EF4-FFF2-40B4-BE49-F238E27FC236}">
                      <a16:creationId xmlns="" xmlns:a16="http://schemas.microsoft.com/office/drawing/2014/main" id="{5646524B-AAA0-4B82-85F1-0B1AA80BE2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86" y="2444"/>
                  <a:ext cx="244" cy="224"/>
                </a:xfrm>
                <a:custGeom>
                  <a:avLst/>
                  <a:gdLst>
                    <a:gd name="T0" fmla="*/ 0 w 743"/>
                    <a:gd name="T1" fmla="*/ 1 h 672"/>
                    <a:gd name="T2" fmla="*/ 0 w 743"/>
                    <a:gd name="T3" fmla="*/ 1 h 672"/>
                    <a:gd name="T4" fmla="*/ 0 w 743"/>
                    <a:gd name="T5" fmla="*/ 1 h 672"/>
                    <a:gd name="T6" fmla="*/ 1 w 743"/>
                    <a:gd name="T7" fmla="*/ 1 h 672"/>
                    <a:gd name="T8" fmla="*/ 1 w 743"/>
                    <a:gd name="T9" fmla="*/ 1 h 672"/>
                    <a:gd name="T10" fmla="*/ 1 w 743"/>
                    <a:gd name="T11" fmla="*/ 2 h 672"/>
                    <a:gd name="T12" fmla="*/ 1 w 743"/>
                    <a:gd name="T13" fmla="*/ 2 h 672"/>
                    <a:gd name="T14" fmla="*/ 1 w 743"/>
                    <a:gd name="T15" fmla="*/ 2 h 672"/>
                    <a:gd name="T16" fmla="*/ 1 w 743"/>
                    <a:gd name="T17" fmla="*/ 2 h 672"/>
                    <a:gd name="T18" fmla="*/ 1 w 743"/>
                    <a:gd name="T19" fmla="*/ 2 h 672"/>
                    <a:gd name="T20" fmla="*/ 1 w 743"/>
                    <a:gd name="T21" fmla="*/ 3 h 672"/>
                    <a:gd name="T22" fmla="*/ 1 w 743"/>
                    <a:gd name="T23" fmla="*/ 3 h 672"/>
                    <a:gd name="T24" fmla="*/ 2 w 743"/>
                    <a:gd name="T25" fmla="*/ 3 h 672"/>
                    <a:gd name="T26" fmla="*/ 2 w 743"/>
                    <a:gd name="T27" fmla="*/ 3 h 672"/>
                    <a:gd name="T28" fmla="*/ 2 w 743"/>
                    <a:gd name="T29" fmla="*/ 3 h 672"/>
                    <a:gd name="T30" fmla="*/ 2 w 743"/>
                    <a:gd name="T31" fmla="*/ 2 h 672"/>
                    <a:gd name="T32" fmla="*/ 2 w 743"/>
                    <a:gd name="T33" fmla="*/ 2 h 672"/>
                    <a:gd name="T34" fmla="*/ 2 w 743"/>
                    <a:gd name="T35" fmla="*/ 2 h 672"/>
                    <a:gd name="T36" fmla="*/ 2 w 743"/>
                    <a:gd name="T37" fmla="*/ 2 h 672"/>
                    <a:gd name="T38" fmla="*/ 3 w 743"/>
                    <a:gd name="T39" fmla="*/ 2 h 672"/>
                    <a:gd name="T40" fmla="*/ 3 w 743"/>
                    <a:gd name="T41" fmla="*/ 2 h 672"/>
                    <a:gd name="T42" fmla="*/ 3 w 743"/>
                    <a:gd name="T43" fmla="*/ 2 h 672"/>
                    <a:gd name="T44" fmla="*/ 3 w 743"/>
                    <a:gd name="T45" fmla="*/ 1 h 672"/>
                    <a:gd name="T46" fmla="*/ 3 w 743"/>
                    <a:gd name="T47" fmla="*/ 1 h 672"/>
                    <a:gd name="T48" fmla="*/ 3 w 743"/>
                    <a:gd name="T49" fmla="*/ 1 h 672"/>
                    <a:gd name="T50" fmla="*/ 3 w 743"/>
                    <a:gd name="T51" fmla="*/ 1 h 672"/>
                    <a:gd name="T52" fmla="*/ 3 w 743"/>
                    <a:gd name="T53" fmla="*/ 1 h 672"/>
                    <a:gd name="T54" fmla="*/ 3 w 743"/>
                    <a:gd name="T55" fmla="*/ 1 h 672"/>
                    <a:gd name="T56" fmla="*/ 3 w 743"/>
                    <a:gd name="T57" fmla="*/ 1 h 672"/>
                    <a:gd name="T58" fmla="*/ 3 w 743"/>
                    <a:gd name="T59" fmla="*/ 1 h 672"/>
                    <a:gd name="T60" fmla="*/ 3 w 743"/>
                    <a:gd name="T61" fmla="*/ 1 h 672"/>
                    <a:gd name="T62" fmla="*/ 2 w 743"/>
                    <a:gd name="T63" fmla="*/ 1 h 672"/>
                    <a:gd name="T64" fmla="*/ 2 w 743"/>
                    <a:gd name="T65" fmla="*/ 0 h 672"/>
                    <a:gd name="T66" fmla="*/ 2 w 743"/>
                    <a:gd name="T67" fmla="*/ 0 h 672"/>
                    <a:gd name="T68" fmla="*/ 2 w 743"/>
                    <a:gd name="T69" fmla="*/ 0 h 672"/>
                    <a:gd name="T70" fmla="*/ 2 w 743"/>
                    <a:gd name="T71" fmla="*/ 0 h 672"/>
                    <a:gd name="T72" fmla="*/ 2 w 743"/>
                    <a:gd name="T73" fmla="*/ 0 h 672"/>
                    <a:gd name="T74" fmla="*/ 2 w 743"/>
                    <a:gd name="T75" fmla="*/ 0 h 672"/>
                    <a:gd name="T76" fmla="*/ 2 w 743"/>
                    <a:gd name="T77" fmla="*/ 0 h 672"/>
                    <a:gd name="T78" fmla="*/ 2 w 743"/>
                    <a:gd name="T79" fmla="*/ 0 h 672"/>
                    <a:gd name="T80" fmla="*/ 1 w 743"/>
                    <a:gd name="T81" fmla="*/ 0 h 672"/>
                    <a:gd name="T82" fmla="*/ 1 w 743"/>
                    <a:gd name="T83" fmla="*/ 0 h 672"/>
                    <a:gd name="T84" fmla="*/ 1 w 743"/>
                    <a:gd name="T85" fmla="*/ 0 h 672"/>
                    <a:gd name="T86" fmla="*/ 1 w 743"/>
                    <a:gd name="T87" fmla="*/ 0 h 672"/>
                    <a:gd name="T88" fmla="*/ 1 w 743"/>
                    <a:gd name="T89" fmla="*/ 0 h 672"/>
                    <a:gd name="T90" fmla="*/ 1 w 743"/>
                    <a:gd name="T91" fmla="*/ 0 h 672"/>
                    <a:gd name="T92" fmla="*/ 1 w 743"/>
                    <a:gd name="T93" fmla="*/ 0 h 672"/>
                    <a:gd name="T94" fmla="*/ 1 w 743"/>
                    <a:gd name="T95" fmla="*/ 0 h 672"/>
                    <a:gd name="T96" fmla="*/ 0 w 743"/>
                    <a:gd name="T97" fmla="*/ 0 h 672"/>
                    <a:gd name="T98" fmla="*/ 0 w 743"/>
                    <a:gd name="T99" fmla="*/ 1 h 672"/>
                    <a:gd name="T100" fmla="*/ 0 w 743"/>
                    <a:gd name="T101" fmla="*/ 1 h 672"/>
                    <a:gd name="T102" fmla="*/ 0 w 743"/>
                    <a:gd name="T103" fmla="*/ 1 h 672"/>
                    <a:gd name="T104" fmla="*/ 0 w 743"/>
                    <a:gd name="T105" fmla="*/ 1 h 672"/>
                    <a:gd name="T106" fmla="*/ 0 w 743"/>
                    <a:gd name="T107" fmla="*/ 1 h 672"/>
                    <a:gd name="T108" fmla="*/ 0 w 743"/>
                    <a:gd name="T109" fmla="*/ 0 h 672"/>
                    <a:gd name="T110" fmla="*/ 0 w 743"/>
                    <a:gd name="T111" fmla="*/ 0 h 672"/>
                    <a:gd name="T112" fmla="*/ 0 w 743"/>
                    <a:gd name="T113" fmla="*/ 0 h 672"/>
                    <a:gd name="T114" fmla="*/ 0 w 743"/>
                    <a:gd name="T115" fmla="*/ 0 h 672"/>
                    <a:gd name="T116" fmla="*/ 0 w 743"/>
                    <a:gd name="T117" fmla="*/ 0 h 672"/>
                    <a:gd name="T118" fmla="*/ 0 w 743"/>
                    <a:gd name="T119" fmla="*/ 0 h 672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743"/>
                    <a:gd name="T181" fmla="*/ 0 h 672"/>
                    <a:gd name="T182" fmla="*/ 743 w 743"/>
                    <a:gd name="T183" fmla="*/ 672 h 672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743" h="672">
                      <a:moveTo>
                        <a:pt x="0" y="143"/>
                      </a:moveTo>
                      <a:lnTo>
                        <a:pt x="0" y="160"/>
                      </a:lnTo>
                      <a:lnTo>
                        <a:pt x="2" y="177"/>
                      </a:lnTo>
                      <a:lnTo>
                        <a:pt x="5" y="194"/>
                      </a:lnTo>
                      <a:lnTo>
                        <a:pt x="9" y="208"/>
                      </a:lnTo>
                      <a:lnTo>
                        <a:pt x="15" y="222"/>
                      </a:lnTo>
                      <a:lnTo>
                        <a:pt x="22" y="235"/>
                      </a:lnTo>
                      <a:lnTo>
                        <a:pt x="29" y="246"/>
                      </a:lnTo>
                      <a:lnTo>
                        <a:pt x="39" y="257"/>
                      </a:lnTo>
                      <a:lnTo>
                        <a:pt x="50" y="266"/>
                      </a:lnTo>
                      <a:lnTo>
                        <a:pt x="61" y="274"/>
                      </a:lnTo>
                      <a:lnTo>
                        <a:pt x="74" y="280"/>
                      </a:lnTo>
                      <a:lnTo>
                        <a:pt x="89" y="286"/>
                      </a:lnTo>
                      <a:lnTo>
                        <a:pt x="104" y="291"/>
                      </a:lnTo>
                      <a:lnTo>
                        <a:pt x="121" y="294"/>
                      </a:lnTo>
                      <a:lnTo>
                        <a:pt x="139" y="296"/>
                      </a:lnTo>
                      <a:lnTo>
                        <a:pt x="159" y="297"/>
                      </a:lnTo>
                      <a:lnTo>
                        <a:pt x="160" y="302"/>
                      </a:lnTo>
                      <a:lnTo>
                        <a:pt x="162" y="309"/>
                      </a:lnTo>
                      <a:lnTo>
                        <a:pt x="166" y="316"/>
                      </a:lnTo>
                      <a:lnTo>
                        <a:pt x="171" y="323"/>
                      </a:lnTo>
                      <a:lnTo>
                        <a:pt x="177" y="331"/>
                      </a:lnTo>
                      <a:lnTo>
                        <a:pt x="184" y="337"/>
                      </a:lnTo>
                      <a:lnTo>
                        <a:pt x="191" y="342"/>
                      </a:lnTo>
                      <a:lnTo>
                        <a:pt x="198" y="346"/>
                      </a:lnTo>
                      <a:lnTo>
                        <a:pt x="311" y="346"/>
                      </a:lnTo>
                      <a:lnTo>
                        <a:pt x="308" y="357"/>
                      </a:lnTo>
                      <a:lnTo>
                        <a:pt x="305" y="365"/>
                      </a:lnTo>
                      <a:lnTo>
                        <a:pt x="300" y="372"/>
                      </a:lnTo>
                      <a:lnTo>
                        <a:pt x="296" y="379"/>
                      </a:lnTo>
                      <a:lnTo>
                        <a:pt x="292" y="385"/>
                      </a:lnTo>
                      <a:lnTo>
                        <a:pt x="288" y="391"/>
                      </a:lnTo>
                      <a:lnTo>
                        <a:pt x="286" y="399"/>
                      </a:lnTo>
                      <a:lnTo>
                        <a:pt x="285" y="408"/>
                      </a:lnTo>
                      <a:lnTo>
                        <a:pt x="286" y="420"/>
                      </a:lnTo>
                      <a:lnTo>
                        <a:pt x="289" y="435"/>
                      </a:lnTo>
                      <a:lnTo>
                        <a:pt x="293" y="451"/>
                      </a:lnTo>
                      <a:lnTo>
                        <a:pt x="298" y="467"/>
                      </a:lnTo>
                      <a:lnTo>
                        <a:pt x="307" y="495"/>
                      </a:lnTo>
                      <a:lnTo>
                        <a:pt x="311" y="513"/>
                      </a:lnTo>
                      <a:lnTo>
                        <a:pt x="310" y="517"/>
                      </a:lnTo>
                      <a:lnTo>
                        <a:pt x="309" y="522"/>
                      </a:lnTo>
                      <a:lnTo>
                        <a:pt x="307" y="526"/>
                      </a:lnTo>
                      <a:lnTo>
                        <a:pt x="305" y="531"/>
                      </a:lnTo>
                      <a:lnTo>
                        <a:pt x="303" y="535"/>
                      </a:lnTo>
                      <a:lnTo>
                        <a:pt x="300" y="540"/>
                      </a:lnTo>
                      <a:lnTo>
                        <a:pt x="298" y="544"/>
                      </a:lnTo>
                      <a:lnTo>
                        <a:pt x="298" y="549"/>
                      </a:lnTo>
                      <a:lnTo>
                        <a:pt x="299" y="557"/>
                      </a:lnTo>
                      <a:lnTo>
                        <a:pt x="302" y="566"/>
                      </a:lnTo>
                      <a:lnTo>
                        <a:pt x="305" y="577"/>
                      </a:lnTo>
                      <a:lnTo>
                        <a:pt x="309" y="587"/>
                      </a:lnTo>
                      <a:lnTo>
                        <a:pt x="315" y="597"/>
                      </a:lnTo>
                      <a:lnTo>
                        <a:pt x="321" y="607"/>
                      </a:lnTo>
                      <a:lnTo>
                        <a:pt x="328" y="617"/>
                      </a:lnTo>
                      <a:lnTo>
                        <a:pt x="337" y="627"/>
                      </a:lnTo>
                      <a:lnTo>
                        <a:pt x="344" y="637"/>
                      </a:lnTo>
                      <a:lnTo>
                        <a:pt x="353" y="645"/>
                      </a:lnTo>
                      <a:lnTo>
                        <a:pt x="362" y="653"/>
                      </a:lnTo>
                      <a:lnTo>
                        <a:pt x="371" y="659"/>
                      </a:lnTo>
                      <a:lnTo>
                        <a:pt x="379" y="664"/>
                      </a:lnTo>
                      <a:lnTo>
                        <a:pt x="388" y="669"/>
                      </a:lnTo>
                      <a:lnTo>
                        <a:pt x="397" y="671"/>
                      </a:lnTo>
                      <a:lnTo>
                        <a:pt x="405" y="672"/>
                      </a:lnTo>
                      <a:lnTo>
                        <a:pt x="415" y="671"/>
                      </a:lnTo>
                      <a:lnTo>
                        <a:pt x="424" y="670"/>
                      </a:lnTo>
                      <a:lnTo>
                        <a:pt x="435" y="667"/>
                      </a:lnTo>
                      <a:lnTo>
                        <a:pt x="445" y="663"/>
                      </a:lnTo>
                      <a:lnTo>
                        <a:pt x="455" y="658"/>
                      </a:lnTo>
                      <a:lnTo>
                        <a:pt x="465" y="653"/>
                      </a:lnTo>
                      <a:lnTo>
                        <a:pt x="475" y="647"/>
                      </a:lnTo>
                      <a:lnTo>
                        <a:pt x="484" y="641"/>
                      </a:lnTo>
                      <a:lnTo>
                        <a:pt x="493" y="634"/>
                      </a:lnTo>
                      <a:lnTo>
                        <a:pt x="500" y="627"/>
                      </a:lnTo>
                      <a:lnTo>
                        <a:pt x="507" y="619"/>
                      </a:lnTo>
                      <a:lnTo>
                        <a:pt x="512" y="612"/>
                      </a:lnTo>
                      <a:lnTo>
                        <a:pt x="518" y="605"/>
                      </a:lnTo>
                      <a:lnTo>
                        <a:pt x="521" y="599"/>
                      </a:lnTo>
                      <a:lnTo>
                        <a:pt x="523" y="592"/>
                      </a:lnTo>
                      <a:lnTo>
                        <a:pt x="524" y="586"/>
                      </a:lnTo>
                      <a:lnTo>
                        <a:pt x="518" y="574"/>
                      </a:lnTo>
                      <a:lnTo>
                        <a:pt x="504" y="551"/>
                      </a:lnTo>
                      <a:lnTo>
                        <a:pt x="487" y="528"/>
                      </a:lnTo>
                      <a:lnTo>
                        <a:pt x="477" y="513"/>
                      </a:lnTo>
                      <a:lnTo>
                        <a:pt x="477" y="469"/>
                      </a:lnTo>
                      <a:lnTo>
                        <a:pt x="504" y="469"/>
                      </a:lnTo>
                      <a:lnTo>
                        <a:pt x="518" y="476"/>
                      </a:lnTo>
                      <a:lnTo>
                        <a:pt x="541" y="484"/>
                      </a:lnTo>
                      <a:lnTo>
                        <a:pt x="564" y="493"/>
                      </a:lnTo>
                      <a:lnTo>
                        <a:pt x="577" y="500"/>
                      </a:lnTo>
                      <a:lnTo>
                        <a:pt x="578" y="496"/>
                      </a:lnTo>
                      <a:lnTo>
                        <a:pt x="580" y="493"/>
                      </a:lnTo>
                      <a:lnTo>
                        <a:pt x="584" y="489"/>
                      </a:lnTo>
                      <a:lnTo>
                        <a:pt x="589" y="485"/>
                      </a:lnTo>
                      <a:lnTo>
                        <a:pt x="600" y="477"/>
                      </a:lnTo>
                      <a:lnTo>
                        <a:pt x="614" y="469"/>
                      </a:lnTo>
                      <a:lnTo>
                        <a:pt x="629" y="461"/>
                      </a:lnTo>
                      <a:lnTo>
                        <a:pt x="642" y="453"/>
                      </a:lnTo>
                      <a:lnTo>
                        <a:pt x="647" y="449"/>
                      </a:lnTo>
                      <a:lnTo>
                        <a:pt x="652" y="445"/>
                      </a:lnTo>
                      <a:lnTo>
                        <a:pt x="655" y="442"/>
                      </a:lnTo>
                      <a:lnTo>
                        <a:pt x="657" y="438"/>
                      </a:lnTo>
                      <a:lnTo>
                        <a:pt x="662" y="440"/>
                      </a:lnTo>
                      <a:lnTo>
                        <a:pt x="666" y="441"/>
                      </a:lnTo>
                      <a:lnTo>
                        <a:pt x="669" y="441"/>
                      </a:lnTo>
                      <a:lnTo>
                        <a:pt x="674" y="441"/>
                      </a:lnTo>
                      <a:lnTo>
                        <a:pt x="677" y="440"/>
                      </a:lnTo>
                      <a:lnTo>
                        <a:pt x="679" y="439"/>
                      </a:lnTo>
                      <a:lnTo>
                        <a:pt x="681" y="437"/>
                      </a:lnTo>
                      <a:lnTo>
                        <a:pt x="685" y="435"/>
                      </a:lnTo>
                      <a:lnTo>
                        <a:pt x="691" y="424"/>
                      </a:lnTo>
                      <a:lnTo>
                        <a:pt x="697" y="414"/>
                      </a:lnTo>
                      <a:lnTo>
                        <a:pt x="657" y="339"/>
                      </a:lnTo>
                      <a:lnTo>
                        <a:pt x="661" y="334"/>
                      </a:lnTo>
                      <a:lnTo>
                        <a:pt x="666" y="327"/>
                      </a:lnTo>
                      <a:lnTo>
                        <a:pt x="674" y="320"/>
                      </a:lnTo>
                      <a:lnTo>
                        <a:pt x="681" y="313"/>
                      </a:lnTo>
                      <a:lnTo>
                        <a:pt x="690" y="306"/>
                      </a:lnTo>
                      <a:lnTo>
                        <a:pt x="700" y="299"/>
                      </a:lnTo>
                      <a:lnTo>
                        <a:pt x="709" y="294"/>
                      </a:lnTo>
                      <a:lnTo>
                        <a:pt x="717" y="291"/>
                      </a:lnTo>
                      <a:lnTo>
                        <a:pt x="715" y="275"/>
                      </a:lnTo>
                      <a:lnTo>
                        <a:pt x="714" y="263"/>
                      </a:lnTo>
                      <a:lnTo>
                        <a:pt x="713" y="258"/>
                      </a:lnTo>
                      <a:lnTo>
                        <a:pt x="714" y="253"/>
                      </a:lnTo>
                      <a:lnTo>
                        <a:pt x="714" y="248"/>
                      </a:lnTo>
                      <a:lnTo>
                        <a:pt x="717" y="241"/>
                      </a:lnTo>
                      <a:lnTo>
                        <a:pt x="720" y="241"/>
                      </a:lnTo>
                      <a:lnTo>
                        <a:pt x="723" y="239"/>
                      </a:lnTo>
                      <a:lnTo>
                        <a:pt x="726" y="235"/>
                      </a:lnTo>
                      <a:lnTo>
                        <a:pt x="730" y="231"/>
                      </a:lnTo>
                      <a:lnTo>
                        <a:pt x="737" y="223"/>
                      </a:lnTo>
                      <a:lnTo>
                        <a:pt x="743" y="216"/>
                      </a:lnTo>
                      <a:lnTo>
                        <a:pt x="735" y="215"/>
                      </a:lnTo>
                      <a:lnTo>
                        <a:pt x="728" y="213"/>
                      </a:lnTo>
                      <a:lnTo>
                        <a:pt x="721" y="210"/>
                      </a:lnTo>
                      <a:lnTo>
                        <a:pt x="714" y="207"/>
                      </a:lnTo>
                      <a:lnTo>
                        <a:pt x="709" y="204"/>
                      </a:lnTo>
                      <a:lnTo>
                        <a:pt x="703" y="200"/>
                      </a:lnTo>
                      <a:lnTo>
                        <a:pt x="700" y="196"/>
                      </a:lnTo>
                      <a:lnTo>
                        <a:pt x="696" y="191"/>
                      </a:lnTo>
                      <a:lnTo>
                        <a:pt x="692" y="186"/>
                      </a:lnTo>
                      <a:lnTo>
                        <a:pt x="690" y="181"/>
                      </a:lnTo>
                      <a:lnTo>
                        <a:pt x="688" y="174"/>
                      </a:lnTo>
                      <a:lnTo>
                        <a:pt x="686" y="168"/>
                      </a:lnTo>
                      <a:lnTo>
                        <a:pt x="684" y="156"/>
                      </a:lnTo>
                      <a:lnTo>
                        <a:pt x="684" y="143"/>
                      </a:lnTo>
                      <a:lnTo>
                        <a:pt x="679" y="143"/>
                      </a:lnTo>
                      <a:lnTo>
                        <a:pt x="675" y="144"/>
                      </a:lnTo>
                      <a:lnTo>
                        <a:pt x="670" y="145"/>
                      </a:lnTo>
                      <a:lnTo>
                        <a:pt x="667" y="146"/>
                      </a:lnTo>
                      <a:lnTo>
                        <a:pt x="662" y="150"/>
                      </a:lnTo>
                      <a:lnTo>
                        <a:pt x="657" y="155"/>
                      </a:lnTo>
                      <a:lnTo>
                        <a:pt x="646" y="154"/>
                      </a:lnTo>
                      <a:lnTo>
                        <a:pt x="639" y="152"/>
                      </a:lnTo>
                      <a:lnTo>
                        <a:pt x="636" y="150"/>
                      </a:lnTo>
                      <a:lnTo>
                        <a:pt x="634" y="148"/>
                      </a:lnTo>
                      <a:lnTo>
                        <a:pt x="632" y="146"/>
                      </a:lnTo>
                      <a:lnTo>
                        <a:pt x="631" y="144"/>
                      </a:lnTo>
                      <a:lnTo>
                        <a:pt x="630" y="134"/>
                      </a:lnTo>
                      <a:lnTo>
                        <a:pt x="630" y="124"/>
                      </a:lnTo>
                      <a:lnTo>
                        <a:pt x="624" y="124"/>
                      </a:lnTo>
                      <a:lnTo>
                        <a:pt x="618" y="121"/>
                      </a:lnTo>
                      <a:lnTo>
                        <a:pt x="610" y="119"/>
                      </a:lnTo>
                      <a:lnTo>
                        <a:pt x="602" y="115"/>
                      </a:lnTo>
                      <a:lnTo>
                        <a:pt x="595" y="111"/>
                      </a:lnTo>
                      <a:lnTo>
                        <a:pt x="589" y="106"/>
                      </a:lnTo>
                      <a:lnTo>
                        <a:pt x="587" y="103"/>
                      </a:lnTo>
                      <a:lnTo>
                        <a:pt x="585" y="100"/>
                      </a:lnTo>
                      <a:lnTo>
                        <a:pt x="584" y="97"/>
                      </a:lnTo>
                      <a:lnTo>
                        <a:pt x="584" y="93"/>
                      </a:lnTo>
                      <a:lnTo>
                        <a:pt x="587" y="83"/>
                      </a:lnTo>
                      <a:lnTo>
                        <a:pt x="590" y="69"/>
                      </a:lnTo>
                      <a:lnTo>
                        <a:pt x="544" y="69"/>
                      </a:lnTo>
                      <a:lnTo>
                        <a:pt x="536" y="75"/>
                      </a:lnTo>
                      <a:lnTo>
                        <a:pt x="530" y="80"/>
                      </a:lnTo>
                      <a:lnTo>
                        <a:pt x="523" y="83"/>
                      </a:lnTo>
                      <a:lnTo>
                        <a:pt x="518" y="85"/>
                      </a:lnTo>
                      <a:lnTo>
                        <a:pt x="505" y="87"/>
                      </a:lnTo>
                      <a:lnTo>
                        <a:pt x="490" y="87"/>
                      </a:lnTo>
                      <a:lnTo>
                        <a:pt x="485" y="88"/>
                      </a:lnTo>
                      <a:lnTo>
                        <a:pt x="478" y="92"/>
                      </a:lnTo>
                      <a:lnTo>
                        <a:pt x="475" y="94"/>
                      </a:lnTo>
                      <a:lnTo>
                        <a:pt x="473" y="97"/>
                      </a:lnTo>
                      <a:lnTo>
                        <a:pt x="472" y="101"/>
                      </a:lnTo>
                      <a:lnTo>
                        <a:pt x="471" y="105"/>
                      </a:lnTo>
                      <a:lnTo>
                        <a:pt x="457" y="111"/>
                      </a:lnTo>
                      <a:lnTo>
                        <a:pt x="444" y="117"/>
                      </a:lnTo>
                      <a:lnTo>
                        <a:pt x="439" y="117"/>
                      </a:lnTo>
                      <a:lnTo>
                        <a:pt x="434" y="116"/>
                      </a:lnTo>
                      <a:lnTo>
                        <a:pt x="430" y="115"/>
                      </a:lnTo>
                      <a:lnTo>
                        <a:pt x="426" y="113"/>
                      </a:lnTo>
                      <a:lnTo>
                        <a:pt x="422" y="110"/>
                      </a:lnTo>
                      <a:lnTo>
                        <a:pt x="420" y="107"/>
                      </a:lnTo>
                      <a:lnTo>
                        <a:pt x="418" y="104"/>
                      </a:lnTo>
                      <a:lnTo>
                        <a:pt x="418" y="99"/>
                      </a:lnTo>
                      <a:lnTo>
                        <a:pt x="410" y="103"/>
                      </a:lnTo>
                      <a:lnTo>
                        <a:pt x="404" y="104"/>
                      </a:lnTo>
                      <a:lnTo>
                        <a:pt x="398" y="104"/>
                      </a:lnTo>
                      <a:lnTo>
                        <a:pt x="393" y="102"/>
                      </a:lnTo>
                      <a:lnTo>
                        <a:pt x="388" y="98"/>
                      </a:lnTo>
                      <a:lnTo>
                        <a:pt x="384" y="93"/>
                      </a:lnTo>
                      <a:lnTo>
                        <a:pt x="381" y="88"/>
                      </a:lnTo>
                      <a:lnTo>
                        <a:pt x="378" y="81"/>
                      </a:lnTo>
                      <a:lnTo>
                        <a:pt x="359" y="83"/>
                      </a:lnTo>
                      <a:lnTo>
                        <a:pt x="340" y="86"/>
                      </a:lnTo>
                      <a:lnTo>
                        <a:pt x="331" y="86"/>
                      </a:lnTo>
                      <a:lnTo>
                        <a:pt x="323" y="86"/>
                      </a:lnTo>
                      <a:lnTo>
                        <a:pt x="320" y="86"/>
                      </a:lnTo>
                      <a:lnTo>
                        <a:pt x="317" y="85"/>
                      </a:lnTo>
                      <a:lnTo>
                        <a:pt x="314" y="83"/>
                      </a:lnTo>
                      <a:lnTo>
                        <a:pt x="311" y="81"/>
                      </a:lnTo>
                      <a:lnTo>
                        <a:pt x="305" y="86"/>
                      </a:lnTo>
                      <a:lnTo>
                        <a:pt x="298" y="89"/>
                      </a:lnTo>
                      <a:lnTo>
                        <a:pt x="291" y="92"/>
                      </a:lnTo>
                      <a:lnTo>
                        <a:pt x="285" y="93"/>
                      </a:lnTo>
                      <a:lnTo>
                        <a:pt x="275" y="93"/>
                      </a:lnTo>
                      <a:lnTo>
                        <a:pt x="265" y="93"/>
                      </a:lnTo>
                      <a:lnTo>
                        <a:pt x="258" y="93"/>
                      </a:lnTo>
                      <a:lnTo>
                        <a:pt x="252" y="93"/>
                      </a:lnTo>
                      <a:lnTo>
                        <a:pt x="251" y="83"/>
                      </a:lnTo>
                      <a:lnTo>
                        <a:pt x="249" y="73"/>
                      </a:lnTo>
                      <a:lnTo>
                        <a:pt x="244" y="65"/>
                      </a:lnTo>
                      <a:lnTo>
                        <a:pt x="240" y="58"/>
                      </a:lnTo>
                      <a:lnTo>
                        <a:pt x="233" y="52"/>
                      </a:lnTo>
                      <a:lnTo>
                        <a:pt x="227" y="47"/>
                      </a:lnTo>
                      <a:lnTo>
                        <a:pt x="219" y="42"/>
                      </a:lnTo>
                      <a:lnTo>
                        <a:pt x="211" y="38"/>
                      </a:lnTo>
                      <a:lnTo>
                        <a:pt x="195" y="30"/>
                      </a:lnTo>
                      <a:lnTo>
                        <a:pt x="179" y="22"/>
                      </a:lnTo>
                      <a:lnTo>
                        <a:pt x="171" y="18"/>
                      </a:lnTo>
                      <a:lnTo>
                        <a:pt x="164" y="13"/>
                      </a:lnTo>
                      <a:lnTo>
                        <a:pt x="158" y="7"/>
                      </a:lnTo>
                      <a:lnTo>
                        <a:pt x="152" y="0"/>
                      </a:lnTo>
                      <a:lnTo>
                        <a:pt x="148" y="10"/>
                      </a:lnTo>
                      <a:lnTo>
                        <a:pt x="146" y="20"/>
                      </a:lnTo>
                      <a:lnTo>
                        <a:pt x="146" y="31"/>
                      </a:lnTo>
                      <a:lnTo>
                        <a:pt x="146" y="44"/>
                      </a:lnTo>
                      <a:lnTo>
                        <a:pt x="140" y="44"/>
                      </a:lnTo>
                      <a:lnTo>
                        <a:pt x="136" y="46"/>
                      </a:lnTo>
                      <a:lnTo>
                        <a:pt x="131" y="49"/>
                      </a:lnTo>
                      <a:lnTo>
                        <a:pt x="127" y="52"/>
                      </a:lnTo>
                      <a:lnTo>
                        <a:pt x="124" y="57"/>
                      </a:lnTo>
                      <a:lnTo>
                        <a:pt x="121" y="62"/>
                      </a:lnTo>
                      <a:lnTo>
                        <a:pt x="119" y="69"/>
                      </a:lnTo>
                      <a:lnTo>
                        <a:pt x="119" y="75"/>
                      </a:lnTo>
                      <a:lnTo>
                        <a:pt x="119" y="96"/>
                      </a:lnTo>
                      <a:lnTo>
                        <a:pt x="119" y="108"/>
                      </a:lnTo>
                      <a:lnTo>
                        <a:pt x="119" y="118"/>
                      </a:lnTo>
                      <a:lnTo>
                        <a:pt x="119" y="137"/>
                      </a:lnTo>
                      <a:lnTo>
                        <a:pt x="116" y="150"/>
                      </a:lnTo>
                      <a:lnTo>
                        <a:pt x="109" y="169"/>
                      </a:lnTo>
                      <a:lnTo>
                        <a:pt x="107" y="180"/>
                      </a:lnTo>
                      <a:lnTo>
                        <a:pt x="105" y="188"/>
                      </a:lnTo>
                      <a:lnTo>
                        <a:pt x="104" y="194"/>
                      </a:lnTo>
                      <a:lnTo>
                        <a:pt x="105" y="198"/>
                      </a:lnTo>
                      <a:lnTo>
                        <a:pt x="99" y="197"/>
                      </a:lnTo>
                      <a:lnTo>
                        <a:pt x="93" y="194"/>
                      </a:lnTo>
                      <a:lnTo>
                        <a:pt x="90" y="193"/>
                      </a:lnTo>
                      <a:lnTo>
                        <a:pt x="87" y="190"/>
                      </a:lnTo>
                      <a:lnTo>
                        <a:pt x="86" y="188"/>
                      </a:lnTo>
                      <a:lnTo>
                        <a:pt x="85" y="186"/>
                      </a:lnTo>
                      <a:lnTo>
                        <a:pt x="80" y="186"/>
                      </a:lnTo>
                      <a:lnTo>
                        <a:pt x="74" y="185"/>
                      </a:lnTo>
                      <a:lnTo>
                        <a:pt x="70" y="184"/>
                      </a:lnTo>
                      <a:lnTo>
                        <a:pt x="67" y="182"/>
                      </a:lnTo>
                      <a:lnTo>
                        <a:pt x="63" y="179"/>
                      </a:lnTo>
                      <a:lnTo>
                        <a:pt x="60" y="176"/>
                      </a:lnTo>
                      <a:lnTo>
                        <a:pt x="58" y="173"/>
                      </a:lnTo>
                      <a:lnTo>
                        <a:pt x="57" y="169"/>
                      </a:lnTo>
                      <a:lnTo>
                        <a:pt x="54" y="161"/>
                      </a:lnTo>
                      <a:lnTo>
                        <a:pt x="52" y="152"/>
                      </a:lnTo>
                      <a:lnTo>
                        <a:pt x="52" y="142"/>
                      </a:lnTo>
                      <a:lnTo>
                        <a:pt x="52" y="131"/>
                      </a:lnTo>
                      <a:lnTo>
                        <a:pt x="52" y="119"/>
                      </a:lnTo>
                      <a:lnTo>
                        <a:pt x="54" y="109"/>
                      </a:lnTo>
                      <a:lnTo>
                        <a:pt x="56" y="100"/>
                      </a:lnTo>
                      <a:lnTo>
                        <a:pt x="59" y="91"/>
                      </a:lnTo>
                      <a:lnTo>
                        <a:pt x="65" y="76"/>
                      </a:lnTo>
                      <a:lnTo>
                        <a:pt x="73" y="61"/>
                      </a:lnTo>
                      <a:lnTo>
                        <a:pt x="81" y="49"/>
                      </a:lnTo>
                      <a:lnTo>
                        <a:pt x="89" y="36"/>
                      </a:lnTo>
                      <a:lnTo>
                        <a:pt x="92" y="29"/>
                      </a:lnTo>
                      <a:lnTo>
                        <a:pt x="95" y="22"/>
                      </a:lnTo>
                      <a:lnTo>
                        <a:pt x="97" y="15"/>
                      </a:lnTo>
                      <a:lnTo>
                        <a:pt x="98" y="7"/>
                      </a:lnTo>
                      <a:lnTo>
                        <a:pt x="85" y="12"/>
                      </a:lnTo>
                      <a:lnTo>
                        <a:pt x="73" y="18"/>
                      </a:lnTo>
                      <a:lnTo>
                        <a:pt x="62" y="24"/>
                      </a:lnTo>
                      <a:lnTo>
                        <a:pt x="52" y="30"/>
                      </a:lnTo>
                      <a:lnTo>
                        <a:pt x="43" y="37"/>
                      </a:lnTo>
                      <a:lnTo>
                        <a:pt x="35" y="44"/>
                      </a:lnTo>
                      <a:lnTo>
                        <a:pt x="28" y="52"/>
                      </a:lnTo>
                      <a:lnTo>
                        <a:pt x="22" y="60"/>
                      </a:lnTo>
                      <a:lnTo>
                        <a:pt x="16" y="70"/>
                      </a:lnTo>
                      <a:lnTo>
                        <a:pt x="12" y="79"/>
                      </a:lnTo>
                      <a:lnTo>
                        <a:pt x="7" y="89"/>
                      </a:lnTo>
                      <a:lnTo>
                        <a:pt x="4" y="99"/>
                      </a:lnTo>
                      <a:lnTo>
                        <a:pt x="2" y="109"/>
                      </a:lnTo>
                      <a:lnTo>
                        <a:pt x="1" y="120"/>
                      </a:lnTo>
                      <a:lnTo>
                        <a:pt x="0" y="131"/>
                      </a:lnTo>
                      <a:lnTo>
                        <a:pt x="0" y="143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847" name="Freeform 169">
                <a:extLst>
                  <a:ext uri="{FF2B5EF4-FFF2-40B4-BE49-F238E27FC236}">
                    <a16:creationId xmlns="" xmlns:a16="http://schemas.microsoft.com/office/drawing/2014/main" id="{E2CA6C58-6846-4932-8699-90F5489A2683}"/>
                  </a:ext>
                </a:extLst>
              </p:cNvPr>
              <p:cNvSpPr>
                <a:spLocks/>
              </p:cNvSpPr>
              <p:nvPr>
                <p:custDataLst>
                  <p:tags r:id="rId96"/>
                </p:custDataLst>
              </p:nvPr>
            </p:nvSpPr>
            <p:spPr bwMode="auto">
              <a:xfrm>
                <a:off x="7215188" y="4786313"/>
                <a:ext cx="31750" cy="11112"/>
              </a:xfrm>
              <a:custGeom>
                <a:avLst/>
                <a:gdLst>
                  <a:gd name="T0" fmla="*/ 0 w 79"/>
                  <a:gd name="T1" fmla="*/ 2147483646 h 23"/>
                  <a:gd name="T2" fmla="*/ 2147483646 w 79"/>
                  <a:gd name="T3" fmla="*/ 2147483646 h 23"/>
                  <a:gd name="T4" fmla="*/ 2147483646 w 79"/>
                  <a:gd name="T5" fmla="*/ 2147483646 h 23"/>
                  <a:gd name="T6" fmla="*/ 2147483646 w 79"/>
                  <a:gd name="T7" fmla="*/ 2147483646 h 23"/>
                  <a:gd name="T8" fmla="*/ 2147483646 w 79"/>
                  <a:gd name="T9" fmla="*/ 0 h 23"/>
                  <a:gd name="T10" fmla="*/ 2147483646 w 79"/>
                  <a:gd name="T11" fmla="*/ 0 h 23"/>
                  <a:gd name="T12" fmla="*/ 2147483646 w 79"/>
                  <a:gd name="T13" fmla="*/ 2147483646 h 23"/>
                  <a:gd name="T14" fmla="*/ 2147483646 w 79"/>
                  <a:gd name="T15" fmla="*/ 2147483646 h 23"/>
                  <a:gd name="T16" fmla="*/ 2147483646 w 79"/>
                  <a:gd name="T17" fmla="*/ 2147483646 h 23"/>
                  <a:gd name="T18" fmla="*/ 2147483646 w 79"/>
                  <a:gd name="T19" fmla="*/ 2147483646 h 23"/>
                  <a:gd name="T20" fmla="*/ 2147483646 w 79"/>
                  <a:gd name="T21" fmla="*/ 2147483646 h 23"/>
                  <a:gd name="T22" fmla="*/ 2147483646 w 79"/>
                  <a:gd name="T23" fmla="*/ 2147483646 h 23"/>
                  <a:gd name="T24" fmla="*/ 2147483646 w 79"/>
                  <a:gd name="T25" fmla="*/ 2147483646 h 23"/>
                  <a:gd name="T26" fmla="*/ 2147483646 w 79"/>
                  <a:gd name="T27" fmla="*/ 2147483646 h 23"/>
                  <a:gd name="T28" fmla="*/ 2147483646 w 79"/>
                  <a:gd name="T29" fmla="*/ 2147483646 h 23"/>
                  <a:gd name="T30" fmla="*/ 2147483646 w 79"/>
                  <a:gd name="T31" fmla="*/ 2147483646 h 23"/>
                  <a:gd name="T32" fmla="*/ 2147483646 w 79"/>
                  <a:gd name="T33" fmla="*/ 2147483646 h 23"/>
                  <a:gd name="T34" fmla="*/ 2147483646 w 79"/>
                  <a:gd name="T35" fmla="*/ 2147483646 h 23"/>
                  <a:gd name="T36" fmla="*/ 2147483646 w 79"/>
                  <a:gd name="T37" fmla="*/ 2147483646 h 23"/>
                  <a:gd name="T38" fmla="*/ 2147483646 w 79"/>
                  <a:gd name="T39" fmla="*/ 2147483646 h 23"/>
                  <a:gd name="T40" fmla="*/ 2147483646 w 79"/>
                  <a:gd name="T41" fmla="*/ 2147483646 h 23"/>
                  <a:gd name="T42" fmla="*/ 2147483646 w 79"/>
                  <a:gd name="T43" fmla="*/ 2147483646 h 23"/>
                  <a:gd name="T44" fmla="*/ 2147483646 w 79"/>
                  <a:gd name="T45" fmla="*/ 2147483646 h 23"/>
                  <a:gd name="T46" fmla="*/ 2147483646 w 79"/>
                  <a:gd name="T47" fmla="*/ 2147483646 h 23"/>
                  <a:gd name="T48" fmla="*/ 0 w 79"/>
                  <a:gd name="T49" fmla="*/ 2147483646 h 23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79"/>
                  <a:gd name="T76" fmla="*/ 0 h 23"/>
                  <a:gd name="T77" fmla="*/ 79 w 79"/>
                  <a:gd name="T78" fmla="*/ 23 h 23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79" h="23">
                    <a:moveTo>
                      <a:pt x="0" y="23"/>
                    </a:moveTo>
                    <a:lnTo>
                      <a:pt x="22" y="13"/>
                    </a:lnTo>
                    <a:lnTo>
                      <a:pt x="45" y="4"/>
                    </a:lnTo>
                    <a:lnTo>
                      <a:pt x="56" y="1"/>
                    </a:lnTo>
                    <a:lnTo>
                      <a:pt x="65" y="0"/>
                    </a:lnTo>
                    <a:lnTo>
                      <a:pt x="69" y="0"/>
                    </a:lnTo>
                    <a:lnTo>
                      <a:pt x="74" y="1"/>
                    </a:lnTo>
                    <a:lnTo>
                      <a:pt x="77" y="2"/>
                    </a:lnTo>
                    <a:lnTo>
                      <a:pt x="79" y="4"/>
                    </a:lnTo>
                    <a:lnTo>
                      <a:pt x="77" y="8"/>
                    </a:lnTo>
                    <a:lnTo>
                      <a:pt x="75" y="13"/>
                    </a:lnTo>
                    <a:lnTo>
                      <a:pt x="72" y="16"/>
                    </a:lnTo>
                    <a:lnTo>
                      <a:pt x="68" y="19"/>
                    </a:lnTo>
                    <a:lnTo>
                      <a:pt x="64" y="21"/>
                    </a:lnTo>
                    <a:lnTo>
                      <a:pt x="59" y="22"/>
                    </a:lnTo>
                    <a:lnTo>
                      <a:pt x="53" y="23"/>
                    </a:lnTo>
                    <a:lnTo>
                      <a:pt x="46" y="23"/>
                    </a:lnTo>
                    <a:lnTo>
                      <a:pt x="37" y="23"/>
                    </a:lnTo>
                    <a:lnTo>
                      <a:pt x="32" y="21"/>
                    </a:lnTo>
                    <a:lnTo>
                      <a:pt x="26" y="20"/>
                    </a:lnTo>
                    <a:lnTo>
                      <a:pt x="23" y="19"/>
                    </a:lnTo>
                    <a:lnTo>
                      <a:pt x="19" y="18"/>
                    </a:lnTo>
                    <a:lnTo>
                      <a:pt x="14" y="18"/>
                    </a:lnTo>
                    <a:lnTo>
                      <a:pt x="9" y="20"/>
                    </a:lnTo>
                    <a:lnTo>
                      <a:pt x="0" y="23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48" name="Freeform 170">
                <a:extLst>
                  <a:ext uri="{FF2B5EF4-FFF2-40B4-BE49-F238E27FC236}">
                    <a16:creationId xmlns="" xmlns:a16="http://schemas.microsoft.com/office/drawing/2014/main" id="{3A39E43D-D105-4E37-AF38-6EA3CEB9F9B5}"/>
                  </a:ext>
                </a:extLst>
              </p:cNvPr>
              <p:cNvSpPr>
                <a:spLocks/>
              </p:cNvSpPr>
              <p:nvPr>
                <p:custDataLst>
                  <p:tags r:id="rId97"/>
                </p:custDataLst>
              </p:nvPr>
            </p:nvSpPr>
            <p:spPr bwMode="auto">
              <a:xfrm>
                <a:off x="7331075" y="4919663"/>
                <a:ext cx="1588" cy="4762"/>
              </a:xfrm>
              <a:custGeom>
                <a:avLst/>
                <a:gdLst>
                  <a:gd name="T0" fmla="*/ 0 w 1588"/>
                  <a:gd name="T1" fmla="*/ 0 h 6"/>
                  <a:gd name="T2" fmla="*/ 0 w 1588"/>
                  <a:gd name="T3" fmla="*/ 2147483646 h 6"/>
                  <a:gd name="T4" fmla="*/ 0 w 1588"/>
                  <a:gd name="T5" fmla="*/ 0 h 6"/>
                  <a:gd name="T6" fmla="*/ 0 60000 65536"/>
                  <a:gd name="T7" fmla="*/ 0 60000 65536"/>
                  <a:gd name="T8" fmla="*/ 0 60000 65536"/>
                  <a:gd name="T9" fmla="*/ 0 w 1588"/>
                  <a:gd name="T10" fmla="*/ 0 h 6"/>
                  <a:gd name="T11" fmla="*/ 1588 w 1588"/>
                  <a:gd name="T12" fmla="*/ 6 h 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588" h="6">
                    <a:moveTo>
                      <a:pt x="0" y="0"/>
                    </a:moveTo>
                    <a:lnTo>
                      <a:pt x="0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49" name="Line 171">
                <a:extLst>
                  <a:ext uri="{FF2B5EF4-FFF2-40B4-BE49-F238E27FC236}">
                    <a16:creationId xmlns="" xmlns:a16="http://schemas.microsoft.com/office/drawing/2014/main" id="{8F5036A1-AFFC-4F74-AC1E-6792E73100BC}"/>
                  </a:ext>
                </a:extLst>
              </p:cNvPr>
              <p:cNvSpPr>
                <a:spLocks noChangeShapeType="1"/>
              </p:cNvSpPr>
              <p:nvPr>
                <p:custDataLst>
                  <p:tags r:id="rId98"/>
                </p:custDataLst>
              </p:nvPr>
            </p:nvSpPr>
            <p:spPr bwMode="auto">
              <a:xfrm flipV="1">
                <a:off x="7421563" y="4918075"/>
                <a:ext cx="1587" cy="1270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s-ES" sz="1800" kern="1200"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50" name="Freeform 172">
                <a:extLst>
                  <a:ext uri="{FF2B5EF4-FFF2-40B4-BE49-F238E27FC236}">
                    <a16:creationId xmlns="" xmlns:a16="http://schemas.microsoft.com/office/drawing/2014/main" id="{392775AE-9B82-478E-BD52-3EBAB6FE4574}"/>
                  </a:ext>
                </a:extLst>
              </p:cNvPr>
              <p:cNvSpPr>
                <a:spLocks/>
              </p:cNvSpPr>
              <p:nvPr>
                <p:custDataLst>
                  <p:tags r:id="rId99"/>
                </p:custDataLst>
              </p:nvPr>
            </p:nvSpPr>
            <p:spPr bwMode="auto">
              <a:xfrm>
                <a:off x="7421563" y="4918075"/>
                <a:ext cx="3175" cy="15875"/>
              </a:xfrm>
              <a:custGeom>
                <a:avLst/>
                <a:gdLst>
                  <a:gd name="T0" fmla="*/ 0 w 5"/>
                  <a:gd name="T1" fmla="*/ 0 h 30"/>
                  <a:gd name="T2" fmla="*/ 2147483646 w 5"/>
                  <a:gd name="T3" fmla="*/ 2147483646 h 30"/>
                  <a:gd name="T4" fmla="*/ 2147483646 w 5"/>
                  <a:gd name="T5" fmla="*/ 2147483646 h 30"/>
                  <a:gd name="T6" fmla="*/ 2147483646 w 5"/>
                  <a:gd name="T7" fmla="*/ 2147483646 h 30"/>
                  <a:gd name="T8" fmla="*/ 2147483646 w 5"/>
                  <a:gd name="T9" fmla="*/ 2147483646 h 30"/>
                  <a:gd name="T10" fmla="*/ 2147483646 w 5"/>
                  <a:gd name="T11" fmla="*/ 2147483646 h 30"/>
                  <a:gd name="T12" fmla="*/ 2147483646 w 5"/>
                  <a:gd name="T13" fmla="*/ 2147483646 h 30"/>
                  <a:gd name="T14" fmla="*/ 2147483646 w 5"/>
                  <a:gd name="T15" fmla="*/ 2147483646 h 30"/>
                  <a:gd name="T16" fmla="*/ 0 w 5"/>
                  <a:gd name="T17" fmla="*/ 2147483646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30"/>
                  <a:gd name="T29" fmla="*/ 5 w 5"/>
                  <a:gd name="T30" fmla="*/ 30 h 3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30">
                    <a:moveTo>
                      <a:pt x="0" y="0"/>
                    </a:moveTo>
                    <a:lnTo>
                      <a:pt x="2" y="1"/>
                    </a:lnTo>
                    <a:lnTo>
                      <a:pt x="4" y="4"/>
                    </a:lnTo>
                    <a:lnTo>
                      <a:pt x="5" y="8"/>
                    </a:lnTo>
                    <a:lnTo>
                      <a:pt x="5" y="13"/>
                    </a:lnTo>
                    <a:lnTo>
                      <a:pt x="5" y="18"/>
                    </a:lnTo>
                    <a:lnTo>
                      <a:pt x="4" y="23"/>
                    </a:lnTo>
                    <a:lnTo>
                      <a:pt x="2" y="27"/>
                    </a:lnTo>
                    <a:lnTo>
                      <a:pt x="0" y="3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51" name="Freeform 173">
                <a:extLst>
                  <a:ext uri="{FF2B5EF4-FFF2-40B4-BE49-F238E27FC236}">
                    <a16:creationId xmlns="" xmlns:a16="http://schemas.microsoft.com/office/drawing/2014/main" id="{C56B2945-A448-4693-83E1-83EF74DA6EA0}"/>
                  </a:ext>
                </a:extLst>
              </p:cNvPr>
              <p:cNvSpPr>
                <a:spLocks/>
              </p:cNvSpPr>
              <p:nvPr>
                <p:custDataLst>
                  <p:tags r:id="rId100"/>
                </p:custDataLst>
              </p:nvPr>
            </p:nvSpPr>
            <p:spPr bwMode="auto">
              <a:xfrm>
                <a:off x="7720013" y="4387850"/>
                <a:ext cx="22225" cy="28575"/>
              </a:xfrm>
              <a:custGeom>
                <a:avLst/>
                <a:gdLst>
                  <a:gd name="T0" fmla="*/ 0 w 53"/>
                  <a:gd name="T1" fmla="*/ 2147483646 h 55"/>
                  <a:gd name="T2" fmla="*/ 2147483646 w 53"/>
                  <a:gd name="T3" fmla="*/ 2147483646 h 55"/>
                  <a:gd name="T4" fmla="*/ 2147483646 w 53"/>
                  <a:gd name="T5" fmla="*/ 2147483646 h 55"/>
                  <a:gd name="T6" fmla="*/ 2147483646 w 53"/>
                  <a:gd name="T7" fmla="*/ 2147483646 h 55"/>
                  <a:gd name="T8" fmla="*/ 2147483646 w 53"/>
                  <a:gd name="T9" fmla="*/ 2147483646 h 55"/>
                  <a:gd name="T10" fmla="*/ 2147483646 w 53"/>
                  <a:gd name="T11" fmla="*/ 2147483646 h 55"/>
                  <a:gd name="T12" fmla="*/ 2147483646 w 53"/>
                  <a:gd name="T13" fmla="*/ 2147483646 h 55"/>
                  <a:gd name="T14" fmla="*/ 2147483646 w 53"/>
                  <a:gd name="T15" fmla="*/ 2147483646 h 55"/>
                  <a:gd name="T16" fmla="*/ 2147483646 w 53"/>
                  <a:gd name="T17" fmla="*/ 2147483646 h 55"/>
                  <a:gd name="T18" fmla="*/ 2147483646 w 53"/>
                  <a:gd name="T19" fmla="*/ 2147483646 h 55"/>
                  <a:gd name="T20" fmla="*/ 2147483646 w 53"/>
                  <a:gd name="T21" fmla="*/ 2147483646 h 55"/>
                  <a:gd name="T22" fmla="*/ 2147483646 w 53"/>
                  <a:gd name="T23" fmla="*/ 2147483646 h 55"/>
                  <a:gd name="T24" fmla="*/ 2147483646 w 53"/>
                  <a:gd name="T25" fmla="*/ 2147483646 h 55"/>
                  <a:gd name="T26" fmla="*/ 2147483646 w 53"/>
                  <a:gd name="T27" fmla="*/ 0 h 55"/>
                  <a:gd name="T28" fmla="*/ 2147483646 w 53"/>
                  <a:gd name="T29" fmla="*/ 2147483646 h 55"/>
                  <a:gd name="T30" fmla="*/ 0 w 53"/>
                  <a:gd name="T31" fmla="*/ 2147483646 h 5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53"/>
                  <a:gd name="T49" fmla="*/ 0 h 55"/>
                  <a:gd name="T50" fmla="*/ 53 w 53"/>
                  <a:gd name="T51" fmla="*/ 55 h 55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53" h="55">
                    <a:moveTo>
                      <a:pt x="0" y="12"/>
                    </a:moveTo>
                    <a:lnTo>
                      <a:pt x="1" y="17"/>
                    </a:lnTo>
                    <a:lnTo>
                      <a:pt x="5" y="22"/>
                    </a:lnTo>
                    <a:lnTo>
                      <a:pt x="9" y="27"/>
                    </a:lnTo>
                    <a:lnTo>
                      <a:pt x="15" y="33"/>
                    </a:lnTo>
                    <a:lnTo>
                      <a:pt x="26" y="44"/>
                    </a:lnTo>
                    <a:lnTo>
                      <a:pt x="33" y="55"/>
                    </a:lnTo>
                    <a:lnTo>
                      <a:pt x="53" y="55"/>
                    </a:lnTo>
                    <a:lnTo>
                      <a:pt x="40" y="41"/>
                    </a:lnTo>
                    <a:lnTo>
                      <a:pt x="28" y="29"/>
                    </a:lnTo>
                    <a:lnTo>
                      <a:pt x="23" y="23"/>
                    </a:lnTo>
                    <a:lnTo>
                      <a:pt x="19" y="16"/>
                    </a:lnTo>
                    <a:lnTo>
                      <a:pt x="16" y="8"/>
                    </a:lnTo>
                    <a:lnTo>
                      <a:pt x="14" y="0"/>
                    </a:lnTo>
                    <a:lnTo>
                      <a:pt x="7" y="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52" name="Freeform 174">
                <a:extLst>
                  <a:ext uri="{FF2B5EF4-FFF2-40B4-BE49-F238E27FC236}">
                    <a16:creationId xmlns="" xmlns:a16="http://schemas.microsoft.com/office/drawing/2014/main" id="{71534348-0108-4A78-8C17-4CEDE881CB4F}"/>
                  </a:ext>
                </a:extLst>
              </p:cNvPr>
              <p:cNvSpPr>
                <a:spLocks/>
              </p:cNvSpPr>
              <p:nvPr>
                <p:custDataLst>
                  <p:tags r:id="rId101"/>
                </p:custDataLst>
              </p:nvPr>
            </p:nvSpPr>
            <p:spPr bwMode="auto">
              <a:xfrm>
                <a:off x="7726363" y="4314825"/>
                <a:ext cx="26987" cy="39688"/>
              </a:xfrm>
              <a:custGeom>
                <a:avLst/>
                <a:gdLst>
                  <a:gd name="T0" fmla="*/ 0 w 65"/>
                  <a:gd name="T1" fmla="*/ 2147483646 h 75"/>
                  <a:gd name="T2" fmla="*/ 2147483646 w 65"/>
                  <a:gd name="T3" fmla="*/ 2147483646 h 75"/>
                  <a:gd name="T4" fmla="*/ 2147483646 w 65"/>
                  <a:gd name="T5" fmla="*/ 2147483646 h 75"/>
                  <a:gd name="T6" fmla="*/ 2147483646 w 65"/>
                  <a:gd name="T7" fmla="*/ 2147483646 h 75"/>
                  <a:gd name="T8" fmla="*/ 2147483646 w 65"/>
                  <a:gd name="T9" fmla="*/ 2147483646 h 75"/>
                  <a:gd name="T10" fmla="*/ 2147483646 w 65"/>
                  <a:gd name="T11" fmla="*/ 2147483646 h 75"/>
                  <a:gd name="T12" fmla="*/ 2147483646 w 65"/>
                  <a:gd name="T13" fmla="*/ 2147483646 h 75"/>
                  <a:gd name="T14" fmla="*/ 2147483646 w 65"/>
                  <a:gd name="T15" fmla="*/ 2147483646 h 75"/>
                  <a:gd name="T16" fmla="*/ 2147483646 w 65"/>
                  <a:gd name="T17" fmla="*/ 2147483646 h 75"/>
                  <a:gd name="T18" fmla="*/ 2147483646 w 65"/>
                  <a:gd name="T19" fmla="*/ 2147483646 h 75"/>
                  <a:gd name="T20" fmla="*/ 2147483646 w 65"/>
                  <a:gd name="T21" fmla="*/ 2147483646 h 75"/>
                  <a:gd name="T22" fmla="*/ 2147483646 w 65"/>
                  <a:gd name="T23" fmla="*/ 2147483646 h 75"/>
                  <a:gd name="T24" fmla="*/ 2147483646 w 65"/>
                  <a:gd name="T25" fmla="*/ 2147483646 h 75"/>
                  <a:gd name="T26" fmla="*/ 2147483646 w 65"/>
                  <a:gd name="T27" fmla="*/ 2147483646 h 75"/>
                  <a:gd name="T28" fmla="*/ 2147483646 w 65"/>
                  <a:gd name="T29" fmla="*/ 2147483646 h 75"/>
                  <a:gd name="T30" fmla="*/ 2147483646 w 65"/>
                  <a:gd name="T31" fmla="*/ 2147483646 h 75"/>
                  <a:gd name="T32" fmla="*/ 2147483646 w 65"/>
                  <a:gd name="T33" fmla="*/ 2147483646 h 75"/>
                  <a:gd name="T34" fmla="*/ 2147483646 w 65"/>
                  <a:gd name="T35" fmla="*/ 2147483646 h 75"/>
                  <a:gd name="T36" fmla="*/ 2147483646 w 65"/>
                  <a:gd name="T37" fmla="*/ 0 h 75"/>
                  <a:gd name="T38" fmla="*/ 2147483646 w 65"/>
                  <a:gd name="T39" fmla="*/ 0 h 75"/>
                  <a:gd name="T40" fmla="*/ 2147483646 w 65"/>
                  <a:gd name="T41" fmla="*/ 0 h 75"/>
                  <a:gd name="T42" fmla="*/ 2147483646 w 65"/>
                  <a:gd name="T43" fmla="*/ 2147483646 h 75"/>
                  <a:gd name="T44" fmla="*/ 2147483646 w 65"/>
                  <a:gd name="T45" fmla="*/ 2147483646 h 75"/>
                  <a:gd name="T46" fmla="*/ 2147483646 w 65"/>
                  <a:gd name="T47" fmla="*/ 2147483646 h 75"/>
                  <a:gd name="T48" fmla="*/ 2147483646 w 65"/>
                  <a:gd name="T49" fmla="*/ 2147483646 h 75"/>
                  <a:gd name="T50" fmla="*/ 2147483646 w 65"/>
                  <a:gd name="T51" fmla="*/ 2147483646 h 75"/>
                  <a:gd name="T52" fmla="*/ 2147483646 w 65"/>
                  <a:gd name="T53" fmla="*/ 2147483646 h 75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65"/>
                  <a:gd name="T82" fmla="*/ 0 h 75"/>
                  <a:gd name="T83" fmla="*/ 65 w 65"/>
                  <a:gd name="T84" fmla="*/ 75 h 75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65" h="75">
                    <a:moveTo>
                      <a:pt x="0" y="32"/>
                    </a:moveTo>
                    <a:lnTo>
                      <a:pt x="9" y="43"/>
                    </a:lnTo>
                    <a:lnTo>
                      <a:pt x="20" y="55"/>
                    </a:lnTo>
                    <a:lnTo>
                      <a:pt x="26" y="61"/>
                    </a:lnTo>
                    <a:lnTo>
                      <a:pt x="32" y="67"/>
                    </a:lnTo>
                    <a:lnTo>
                      <a:pt x="39" y="71"/>
                    </a:lnTo>
                    <a:lnTo>
                      <a:pt x="46" y="75"/>
                    </a:lnTo>
                    <a:lnTo>
                      <a:pt x="51" y="61"/>
                    </a:lnTo>
                    <a:lnTo>
                      <a:pt x="58" y="48"/>
                    </a:lnTo>
                    <a:lnTo>
                      <a:pt x="61" y="42"/>
                    </a:lnTo>
                    <a:lnTo>
                      <a:pt x="63" y="36"/>
                    </a:lnTo>
                    <a:lnTo>
                      <a:pt x="65" y="31"/>
                    </a:lnTo>
                    <a:lnTo>
                      <a:pt x="65" y="26"/>
                    </a:lnTo>
                    <a:lnTo>
                      <a:pt x="65" y="21"/>
                    </a:lnTo>
                    <a:lnTo>
                      <a:pt x="63" y="18"/>
                    </a:lnTo>
                    <a:lnTo>
                      <a:pt x="61" y="13"/>
                    </a:lnTo>
                    <a:lnTo>
                      <a:pt x="58" y="10"/>
                    </a:lnTo>
                    <a:lnTo>
                      <a:pt x="51" y="5"/>
                    </a:lnTo>
                    <a:lnTo>
                      <a:pt x="46" y="0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25" y="2"/>
                    </a:lnTo>
                    <a:lnTo>
                      <a:pt x="24" y="7"/>
                    </a:lnTo>
                    <a:lnTo>
                      <a:pt x="23" y="9"/>
                    </a:lnTo>
                    <a:lnTo>
                      <a:pt x="23" y="11"/>
                    </a:lnTo>
                    <a:lnTo>
                      <a:pt x="24" y="12"/>
                    </a:lnTo>
                    <a:lnTo>
                      <a:pt x="26" y="13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53" name="Freeform 175">
                <a:extLst>
                  <a:ext uri="{FF2B5EF4-FFF2-40B4-BE49-F238E27FC236}">
                    <a16:creationId xmlns="" xmlns:a16="http://schemas.microsoft.com/office/drawing/2014/main" id="{B46E1A9A-523E-49CD-9C99-4A617BDA3E90}"/>
                  </a:ext>
                </a:extLst>
              </p:cNvPr>
              <p:cNvSpPr>
                <a:spLocks/>
              </p:cNvSpPr>
              <p:nvPr>
                <p:custDataLst>
                  <p:tags r:id="rId102"/>
                </p:custDataLst>
              </p:nvPr>
            </p:nvSpPr>
            <p:spPr bwMode="auto">
              <a:xfrm>
                <a:off x="7702550" y="4291013"/>
                <a:ext cx="17463" cy="30162"/>
              </a:xfrm>
              <a:custGeom>
                <a:avLst/>
                <a:gdLst>
                  <a:gd name="T0" fmla="*/ 0 w 40"/>
                  <a:gd name="T1" fmla="*/ 2147483646 h 62"/>
                  <a:gd name="T2" fmla="*/ 2147483646 w 40"/>
                  <a:gd name="T3" fmla="*/ 2147483646 h 62"/>
                  <a:gd name="T4" fmla="*/ 2147483646 w 40"/>
                  <a:gd name="T5" fmla="*/ 2147483646 h 62"/>
                  <a:gd name="T6" fmla="*/ 2147483646 w 40"/>
                  <a:gd name="T7" fmla="*/ 2147483646 h 62"/>
                  <a:gd name="T8" fmla="*/ 2147483646 w 40"/>
                  <a:gd name="T9" fmla="*/ 2147483646 h 62"/>
                  <a:gd name="T10" fmla="*/ 2147483646 w 40"/>
                  <a:gd name="T11" fmla="*/ 2147483646 h 62"/>
                  <a:gd name="T12" fmla="*/ 2147483646 w 40"/>
                  <a:gd name="T13" fmla="*/ 2147483646 h 62"/>
                  <a:gd name="T14" fmla="*/ 2147483646 w 40"/>
                  <a:gd name="T15" fmla="*/ 2147483646 h 62"/>
                  <a:gd name="T16" fmla="*/ 2147483646 w 40"/>
                  <a:gd name="T17" fmla="*/ 0 h 6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0"/>
                  <a:gd name="T28" fmla="*/ 0 h 62"/>
                  <a:gd name="T29" fmla="*/ 40 w 40"/>
                  <a:gd name="T30" fmla="*/ 62 h 6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0" h="62">
                    <a:moveTo>
                      <a:pt x="0" y="62"/>
                    </a:moveTo>
                    <a:lnTo>
                      <a:pt x="3" y="52"/>
                    </a:lnTo>
                    <a:lnTo>
                      <a:pt x="7" y="43"/>
                    </a:lnTo>
                    <a:lnTo>
                      <a:pt x="12" y="33"/>
                    </a:lnTo>
                    <a:lnTo>
                      <a:pt x="17" y="25"/>
                    </a:lnTo>
                    <a:lnTo>
                      <a:pt x="23" y="17"/>
                    </a:lnTo>
                    <a:lnTo>
                      <a:pt x="29" y="9"/>
                    </a:lnTo>
                    <a:lnTo>
                      <a:pt x="35" y="3"/>
                    </a:lnTo>
                    <a:lnTo>
                      <a:pt x="4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54" name="Freeform 176">
                <a:extLst>
                  <a:ext uri="{FF2B5EF4-FFF2-40B4-BE49-F238E27FC236}">
                    <a16:creationId xmlns="" xmlns:a16="http://schemas.microsoft.com/office/drawing/2014/main" id="{A492F900-E87D-4E30-BAAD-B37828326576}"/>
                  </a:ext>
                </a:extLst>
              </p:cNvPr>
              <p:cNvSpPr>
                <a:spLocks/>
              </p:cNvSpPr>
              <p:nvPr>
                <p:custDataLst>
                  <p:tags r:id="rId103"/>
                </p:custDataLst>
              </p:nvPr>
            </p:nvSpPr>
            <p:spPr bwMode="auto">
              <a:xfrm>
                <a:off x="7621588" y="4168775"/>
                <a:ext cx="68262" cy="138113"/>
              </a:xfrm>
              <a:custGeom>
                <a:avLst/>
                <a:gdLst>
                  <a:gd name="T0" fmla="*/ 2147483646 w 159"/>
                  <a:gd name="T1" fmla="*/ 2147483646 h 259"/>
                  <a:gd name="T2" fmla="*/ 2147483646 w 159"/>
                  <a:gd name="T3" fmla="*/ 2147483646 h 259"/>
                  <a:gd name="T4" fmla="*/ 2147483646 w 159"/>
                  <a:gd name="T5" fmla="*/ 2147483646 h 259"/>
                  <a:gd name="T6" fmla="*/ 2147483646 w 159"/>
                  <a:gd name="T7" fmla="*/ 2147483646 h 259"/>
                  <a:gd name="T8" fmla="*/ 2147483646 w 159"/>
                  <a:gd name="T9" fmla="*/ 2147483646 h 259"/>
                  <a:gd name="T10" fmla="*/ 2147483646 w 159"/>
                  <a:gd name="T11" fmla="*/ 2147483646 h 259"/>
                  <a:gd name="T12" fmla="*/ 2147483646 w 159"/>
                  <a:gd name="T13" fmla="*/ 2147483646 h 259"/>
                  <a:gd name="T14" fmla="*/ 2147483646 w 159"/>
                  <a:gd name="T15" fmla="*/ 2147483646 h 259"/>
                  <a:gd name="T16" fmla="*/ 2147483646 w 159"/>
                  <a:gd name="T17" fmla="*/ 2147483646 h 259"/>
                  <a:gd name="T18" fmla="*/ 2147483646 w 159"/>
                  <a:gd name="T19" fmla="*/ 2147483646 h 259"/>
                  <a:gd name="T20" fmla="*/ 2147483646 w 159"/>
                  <a:gd name="T21" fmla="*/ 2147483646 h 259"/>
                  <a:gd name="T22" fmla="*/ 2147483646 w 159"/>
                  <a:gd name="T23" fmla="*/ 2147483646 h 259"/>
                  <a:gd name="T24" fmla="*/ 2147483646 w 159"/>
                  <a:gd name="T25" fmla="*/ 2147483646 h 259"/>
                  <a:gd name="T26" fmla="*/ 2147483646 w 159"/>
                  <a:gd name="T27" fmla="*/ 2147483646 h 259"/>
                  <a:gd name="T28" fmla="*/ 2147483646 w 159"/>
                  <a:gd name="T29" fmla="*/ 2147483646 h 259"/>
                  <a:gd name="T30" fmla="*/ 2147483646 w 159"/>
                  <a:gd name="T31" fmla="*/ 2147483646 h 259"/>
                  <a:gd name="T32" fmla="*/ 2147483646 w 159"/>
                  <a:gd name="T33" fmla="*/ 2147483646 h 259"/>
                  <a:gd name="T34" fmla="*/ 2147483646 w 159"/>
                  <a:gd name="T35" fmla="*/ 2147483646 h 259"/>
                  <a:gd name="T36" fmla="*/ 2147483646 w 159"/>
                  <a:gd name="T37" fmla="*/ 2147483646 h 259"/>
                  <a:gd name="T38" fmla="*/ 2147483646 w 159"/>
                  <a:gd name="T39" fmla="*/ 2147483646 h 259"/>
                  <a:gd name="T40" fmla="*/ 2147483646 w 159"/>
                  <a:gd name="T41" fmla="*/ 2147483646 h 259"/>
                  <a:gd name="T42" fmla="*/ 2147483646 w 159"/>
                  <a:gd name="T43" fmla="*/ 2147483646 h 259"/>
                  <a:gd name="T44" fmla="*/ 2147483646 w 159"/>
                  <a:gd name="T45" fmla="*/ 2147483646 h 259"/>
                  <a:gd name="T46" fmla="*/ 2147483646 w 159"/>
                  <a:gd name="T47" fmla="*/ 2147483646 h 259"/>
                  <a:gd name="T48" fmla="*/ 2147483646 w 159"/>
                  <a:gd name="T49" fmla="*/ 2147483646 h 259"/>
                  <a:gd name="T50" fmla="*/ 2147483646 w 159"/>
                  <a:gd name="T51" fmla="*/ 2147483646 h 259"/>
                  <a:gd name="T52" fmla="*/ 2147483646 w 159"/>
                  <a:gd name="T53" fmla="*/ 2147483646 h 259"/>
                  <a:gd name="T54" fmla="*/ 2147483646 w 159"/>
                  <a:gd name="T55" fmla="*/ 2147483646 h 259"/>
                  <a:gd name="T56" fmla="*/ 2147483646 w 159"/>
                  <a:gd name="T57" fmla="*/ 2147483646 h 259"/>
                  <a:gd name="T58" fmla="*/ 2147483646 w 159"/>
                  <a:gd name="T59" fmla="*/ 2147483646 h 259"/>
                  <a:gd name="T60" fmla="*/ 2147483646 w 159"/>
                  <a:gd name="T61" fmla="*/ 2147483646 h 259"/>
                  <a:gd name="T62" fmla="*/ 2147483646 w 159"/>
                  <a:gd name="T63" fmla="*/ 2147483646 h 259"/>
                  <a:gd name="T64" fmla="*/ 2147483646 w 159"/>
                  <a:gd name="T65" fmla="*/ 2147483646 h 259"/>
                  <a:gd name="T66" fmla="*/ 2147483646 w 159"/>
                  <a:gd name="T67" fmla="*/ 2147483646 h 259"/>
                  <a:gd name="T68" fmla="*/ 2147483646 w 159"/>
                  <a:gd name="T69" fmla="*/ 2147483646 h 259"/>
                  <a:gd name="T70" fmla="*/ 0 w 159"/>
                  <a:gd name="T71" fmla="*/ 2147483646 h 259"/>
                  <a:gd name="T72" fmla="*/ 0 w 159"/>
                  <a:gd name="T73" fmla="*/ 0 h 259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59"/>
                  <a:gd name="T112" fmla="*/ 0 h 259"/>
                  <a:gd name="T113" fmla="*/ 159 w 159"/>
                  <a:gd name="T114" fmla="*/ 259 h 259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59" h="259">
                    <a:moveTo>
                      <a:pt x="159" y="259"/>
                    </a:moveTo>
                    <a:lnTo>
                      <a:pt x="159" y="251"/>
                    </a:lnTo>
                    <a:lnTo>
                      <a:pt x="159" y="244"/>
                    </a:lnTo>
                    <a:lnTo>
                      <a:pt x="159" y="236"/>
                    </a:lnTo>
                    <a:lnTo>
                      <a:pt x="159" y="228"/>
                    </a:lnTo>
                    <a:lnTo>
                      <a:pt x="159" y="224"/>
                    </a:lnTo>
                    <a:lnTo>
                      <a:pt x="158" y="219"/>
                    </a:lnTo>
                    <a:lnTo>
                      <a:pt x="156" y="215"/>
                    </a:lnTo>
                    <a:lnTo>
                      <a:pt x="153" y="210"/>
                    </a:lnTo>
                    <a:lnTo>
                      <a:pt x="145" y="202"/>
                    </a:lnTo>
                    <a:lnTo>
                      <a:pt x="135" y="195"/>
                    </a:lnTo>
                    <a:lnTo>
                      <a:pt x="124" y="189"/>
                    </a:lnTo>
                    <a:lnTo>
                      <a:pt x="112" y="184"/>
                    </a:lnTo>
                    <a:lnTo>
                      <a:pt x="99" y="180"/>
                    </a:lnTo>
                    <a:lnTo>
                      <a:pt x="87" y="179"/>
                    </a:lnTo>
                    <a:lnTo>
                      <a:pt x="85" y="178"/>
                    </a:lnTo>
                    <a:lnTo>
                      <a:pt x="82" y="177"/>
                    </a:lnTo>
                    <a:lnTo>
                      <a:pt x="81" y="175"/>
                    </a:lnTo>
                    <a:lnTo>
                      <a:pt x="80" y="173"/>
                    </a:lnTo>
                    <a:lnTo>
                      <a:pt x="80" y="167"/>
                    </a:lnTo>
                    <a:lnTo>
                      <a:pt x="81" y="161"/>
                    </a:lnTo>
                    <a:lnTo>
                      <a:pt x="85" y="148"/>
                    </a:lnTo>
                    <a:lnTo>
                      <a:pt x="87" y="142"/>
                    </a:lnTo>
                    <a:lnTo>
                      <a:pt x="73" y="141"/>
                    </a:lnTo>
                    <a:lnTo>
                      <a:pt x="59" y="139"/>
                    </a:lnTo>
                    <a:lnTo>
                      <a:pt x="48" y="135"/>
                    </a:lnTo>
                    <a:lnTo>
                      <a:pt x="40" y="129"/>
                    </a:lnTo>
                    <a:lnTo>
                      <a:pt x="31" y="121"/>
                    </a:lnTo>
                    <a:lnTo>
                      <a:pt x="24" y="113"/>
                    </a:lnTo>
                    <a:lnTo>
                      <a:pt x="18" y="104"/>
                    </a:lnTo>
                    <a:lnTo>
                      <a:pt x="13" y="94"/>
                    </a:lnTo>
                    <a:lnTo>
                      <a:pt x="9" y="84"/>
                    </a:lnTo>
                    <a:lnTo>
                      <a:pt x="7" y="73"/>
                    </a:lnTo>
                    <a:lnTo>
                      <a:pt x="5" y="60"/>
                    </a:lnTo>
                    <a:lnTo>
                      <a:pt x="2" y="48"/>
                    </a:lnTo>
                    <a:lnTo>
                      <a:pt x="0" y="25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55" name="Line 177">
                <a:extLst>
                  <a:ext uri="{FF2B5EF4-FFF2-40B4-BE49-F238E27FC236}">
                    <a16:creationId xmlns="" xmlns:a16="http://schemas.microsoft.com/office/drawing/2014/main" id="{E4E2142D-9FB8-492F-861A-4FD909325230}"/>
                  </a:ext>
                </a:extLst>
              </p:cNvPr>
              <p:cNvSpPr>
                <a:spLocks noChangeShapeType="1"/>
              </p:cNvSpPr>
              <p:nvPr>
                <p:custDataLst>
                  <p:tags r:id="rId104"/>
                </p:custDataLst>
              </p:nvPr>
            </p:nvSpPr>
            <p:spPr bwMode="auto">
              <a:xfrm flipH="1" flipV="1">
                <a:off x="7615238" y="4135438"/>
                <a:ext cx="6350" cy="33337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s-ES" sz="1800" kern="1200"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56" name="Freeform 178">
                <a:extLst>
                  <a:ext uri="{FF2B5EF4-FFF2-40B4-BE49-F238E27FC236}">
                    <a16:creationId xmlns="" xmlns:a16="http://schemas.microsoft.com/office/drawing/2014/main" id="{130E49E2-C358-47AB-97C3-8169413E4E99}"/>
                  </a:ext>
                </a:extLst>
              </p:cNvPr>
              <p:cNvSpPr>
                <a:spLocks/>
              </p:cNvSpPr>
              <p:nvPr>
                <p:custDataLst>
                  <p:tags r:id="rId105"/>
                </p:custDataLst>
              </p:nvPr>
            </p:nvSpPr>
            <p:spPr bwMode="auto">
              <a:xfrm>
                <a:off x="7615238" y="4119563"/>
                <a:ext cx="6350" cy="15875"/>
              </a:xfrm>
              <a:custGeom>
                <a:avLst/>
                <a:gdLst>
                  <a:gd name="T0" fmla="*/ 0 w 13"/>
                  <a:gd name="T1" fmla="*/ 2147483646 h 25"/>
                  <a:gd name="T2" fmla="*/ 2147483646 w 13"/>
                  <a:gd name="T3" fmla="*/ 2147483646 h 25"/>
                  <a:gd name="T4" fmla="*/ 2147483646 w 13"/>
                  <a:gd name="T5" fmla="*/ 2147483646 h 25"/>
                  <a:gd name="T6" fmla="*/ 2147483646 w 13"/>
                  <a:gd name="T7" fmla="*/ 2147483646 h 25"/>
                  <a:gd name="T8" fmla="*/ 2147483646 w 13"/>
                  <a:gd name="T9" fmla="*/ 0 h 2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"/>
                  <a:gd name="T16" fmla="*/ 0 h 25"/>
                  <a:gd name="T17" fmla="*/ 13 w 13"/>
                  <a:gd name="T18" fmla="*/ 25 h 2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" h="25">
                    <a:moveTo>
                      <a:pt x="0" y="25"/>
                    </a:moveTo>
                    <a:lnTo>
                      <a:pt x="1" y="19"/>
                    </a:lnTo>
                    <a:lnTo>
                      <a:pt x="4" y="13"/>
                    </a:lnTo>
                    <a:lnTo>
                      <a:pt x="8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57" name="Line 179">
                <a:extLst>
                  <a:ext uri="{FF2B5EF4-FFF2-40B4-BE49-F238E27FC236}">
                    <a16:creationId xmlns="" xmlns:a16="http://schemas.microsoft.com/office/drawing/2014/main" id="{2F9AEFD3-13F8-4B69-9951-11845B3BBC7F}"/>
                  </a:ext>
                </a:extLst>
              </p:cNvPr>
              <p:cNvSpPr>
                <a:spLocks noChangeShapeType="1"/>
              </p:cNvSpPr>
              <p:nvPr>
                <p:custDataLst>
                  <p:tags r:id="rId106"/>
                </p:custDataLst>
              </p:nvPr>
            </p:nvSpPr>
            <p:spPr bwMode="auto">
              <a:xfrm flipV="1">
                <a:off x="7621588" y="4106863"/>
                <a:ext cx="0" cy="1270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s-ES" sz="1800" kern="1200"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58" name="Freeform 180">
                <a:extLst>
                  <a:ext uri="{FF2B5EF4-FFF2-40B4-BE49-F238E27FC236}">
                    <a16:creationId xmlns="" xmlns:a16="http://schemas.microsoft.com/office/drawing/2014/main" id="{84A7FB05-71BA-44EC-AA41-33178A59DF6F}"/>
                  </a:ext>
                </a:extLst>
              </p:cNvPr>
              <p:cNvSpPr>
                <a:spLocks/>
              </p:cNvSpPr>
              <p:nvPr>
                <p:custDataLst>
                  <p:tags r:id="rId107"/>
                </p:custDataLst>
              </p:nvPr>
            </p:nvSpPr>
            <p:spPr bwMode="auto">
              <a:xfrm>
                <a:off x="7575550" y="4040188"/>
                <a:ext cx="46038" cy="66675"/>
              </a:xfrm>
              <a:custGeom>
                <a:avLst/>
                <a:gdLst>
                  <a:gd name="T0" fmla="*/ 2147483646 w 100"/>
                  <a:gd name="T1" fmla="*/ 2147483646 h 123"/>
                  <a:gd name="T2" fmla="*/ 2147483646 w 100"/>
                  <a:gd name="T3" fmla="*/ 2147483646 h 123"/>
                  <a:gd name="T4" fmla="*/ 2147483646 w 100"/>
                  <a:gd name="T5" fmla="*/ 2147483646 h 123"/>
                  <a:gd name="T6" fmla="*/ 2147483646 w 100"/>
                  <a:gd name="T7" fmla="*/ 2147483646 h 123"/>
                  <a:gd name="T8" fmla="*/ 2147483646 w 100"/>
                  <a:gd name="T9" fmla="*/ 2147483646 h 123"/>
                  <a:gd name="T10" fmla="*/ 2147483646 w 100"/>
                  <a:gd name="T11" fmla="*/ 2147483646 h 123"/>
                  <a:gd name="T12" fmla="*/ 2147483646 w 100"/>
                  <a:gd name="T13" fmla="*/ 2147483646 h 123"/>
                  <a:gd name="T14" fmla="*/ 2147483646 w 100"/>
                  <a:gd name="T15" fmla="*/ 2147483646 h 123"/>
                  <a:gd name="T16" fmla="*/ 2147483646 w 100"/>
                  <a:gd name="T17" fmla="*/ 2147483646 h 123"/>
                  <a:gd name="T18" fmla="*/ 2147483646 w 100"/>
                  <a:gd name="T19" fmla="*/ 2147483646 h 123"/>
                  <a:gd name="T20" fmla="*/ 2147483646 w 100"/>
                  <a:gd name="T21" fmla="*/ 2147483646 h 123"/>
                  <a:gd name="T22" fmla="*/ 2147483646 w 100"/>
                  <a:gd name="T23" fmla="*/ 2147483646 h 123"/>
                  <a:gd name="T24" fmla="*/ 0 w 100"/>
                  <a:gd name="T25" fmla="*/ 2147483646 h 123"/>
                  <a:gd name="T26" fmla="*/ 2147483646 w 100"/>
                  <a:gd name="T27" fmla="*/ 2147483646 h 123"/>
                  <a:gd name="T28" fmla="*/ 2147483646 w 100"/>
                  <a:gd name="T29" fmla="*/ 2147483646 h 123"/>
                  <a:gd name="T30" fmla="*/ 2147483646 w 100"/>
                  <a:gd name="T31" fmla="*/ 2147483646 h 123"/>
                  <a:gd name="T32" fmla="*/ 2147483646 w 100"/>
                  <a:gd name="T33" fmla="*/ 0 h 12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00"/>
                  <a:gd name="T52" fmla="*/ 0 h 123"/>
                  <a:gd name="T53" fmla="*/ 100 w 100"/>
                  <a:gd name="T54" fmla="*/ 123 h 123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00" h="123">
                    <a:moveTo>
                      <a:pt x="100" y="123"/>
                    </a:moveTo>
                    <a:lnTo>
                      <a:pt x="90" y="122"/>
                    </a:lnTo>
                    <a:lnTo>
                      <a:pt x="76" y="119"/>
                    </a:lnTo>
                    <a:lnTo>
                      <a:pt x="60" y="114"/>
                    </a:lnTo>
                    <a:lnTo>
                      <a:pt x="43" y="107"/>
                    </a:lnTo>
                    <a:lnTo>
                      <a:pt x="34" y="103"/>
                    </a:lnTo>
                    <a:lnTo>
                      <a:pt x="27" y="99"/>
                    </a:lnTo>
                    <a:lnTo>
                      <a:pt x="20" y="94"/>
                    </a:lnTo>
                    <a:lnTo>
                      <a:pt x="13" y="89"/>
                    </a:lnTo>
                    <a:lnTo>
                      <a:pt x="8" y="84"/>
                    </a:lnTo>
                    <a:lnTo>
                      <a:pt x="4" y="79"/>
                    </a:lnTo>
                    <a:lnTo>
                      <a:pt x="1" y="73"/>
                    </a:lnTo>
                    <a:lnTo>
                      <a:pt x="0" y="68"/>
                    </a:lnTo>
                    <a:lnTo>
                      <a:pt x="2" y="55"/>
                    </a:lnTo>
                    <a:lnTo>
                      <a:pt x="7" y="36"/>
                    </a:lnTo>
                    <a:lnTo>
                      <a:pt x="11" y="17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59" name="Freeform 181">
                <a:extLst>
                  <a:ext uri="{FF2B5EF4-FFF2-40B4-BE49-F238E27FC236}">
                    <a16:creationId xmlns="" xmlns:a16="http://schemas.microsoft.com/office/drawing/2014/main" id="{EF018F8D-431F-4CC6-9FA7-CFBA9665D895}"/>
                  </a:ext>
                </a:extLst>
              </p:cNvPr>
              <p:cNvSpPr>
                <a:spLocks/>
              </p:cNvSpPr>
              <p:nvPr>
                <p:custDataLst>
                  <p:tags r:id="rId108"/>
                </p:custDataLst>
              </p:nvPr>
            </p:nvSpPr>
            <p:spPr bwMode="auto">
              <a:xfrm>
                <a:off x="7589838" y="3983038"/>
                <a:ext cx="1587" cy="50800"/>
              </a:xfrm>
              <a:custGeom>
                <a:avLst/>
                <a:gdLst>
                  <a:gd name="T0" fmla="*/ 2147483646 w 5"/>
                  <a:gd name="T1" fmla="*/ 0 h 99"/>
                  <a:gd name="T2" fmla="*/ 2147483646 w 5"/>
                  <a:gd name="T3" fmla="*/ 2147483646 h 99"/>
                  <a:gd name="T4" fmla="*/ 2147483646 w 5"/>
                  <a:gd name="T5" fmla="*/ 2147483646 h 99"/>
                  <a:gd name="T6" fmla="*/ 0 w 5"/>
                  <a:gd name="T7" fmla="*/ 2147483646 h 99"/>
                  <a:gd name="T8" fmla="*/ 0 w 5"/>
                  <a:gd name="T9" fmla="*/ 2147483646 h 99"/>
                  <a:gd name="T10" fmla="*/ 2147483646 w 5"/>
                  <a:gd name="T11" fmla="*/ 2147483646 h 99"/>
                  <a:gd name="T12" fmla="*/ 2147483646 w 5"/>
                  <a:gd name="T13" fmla="*/ 2147483646 h 9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"/>
                  <a:gd name="T22" fmla="*/ 0 h 99"/>
                  <a:gd name="T23" fmla="*/ 5 w 5"/>
                  <a:gd name="T24" fmla="*/ 99 h 9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" h="99">
                    <a:moveTo>
                      <a:pt x="5" y="0"/>
                    </a:moveTo>
                    <a:lnTo>
                      <a:pt x="4" y="34"/>
                    </a:lnTo>
                    <a:lnTo>
                      <a:pt x="1" y="59"/>
                    </a:lnTo>
                    <a:lnTo>
                      <a:pt x="0" y="69"/>
                    </a:lnTo>
                    <a:lnTo>
                      <a:pt x="0" y="78"/>
                    </a:lnTo>
                    <a:lnTo>
                      <a:pt x="2" y="87"/>
                    </a:lnTo>
                    <a:lnTo>
                      <a:pt x="5" y="99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60" name="Freeform 182">
                <a:extLst>
                  <a:ext uri="{FF2B5EF4-FFF2-40B4-BE49-F238E27FC236}">
                    <a16:creationId xmlns="" xmlns:a16="http://schemas.microsoft.com/office/drawing/2014/main" id="{7718E7E0-91AE-46C3-A8FE-3E2521FCE187}"/>
                  </a:ext>
                </a:extLst>
              </p:cNvPr>
              <p:cNvSpPr>
                <a:spLocks/>
              </p:cNvSpPr>
              <p:nvPr>
                <p:custDataLst>
                  <p:tags r:id="rId109"/>
                </p:custDataLst>
              </p:nvPr>
            </p:nvSpPr>
            <p:spPr bwMode="auto">
              <a:xfrm>
                <a:off x="7596188" y="3976688"/>
                <a:ext cx="7937" cy="36512"/>
              </a:xfrm>
              <a:custGeom>
                <a:avLst/>
                <a:gdLst>
                  <a:gd name="T0" fmla="*/ 2147483646 w 14"/>
                  <a:gd name="T1" fmla="*/ 0 h 68"/>
                  <a:gd name="T2" fmla="*/ 2147483646 w 14"/>
                  <a:gd name="T3" fmla="*/ 2147483646 h 68"/>
                  <a:gd name="T4" fmla="*/ 2147483646 w 14"/>
                  <a:gd name="T5" fmla="*/ 2147483646 h 68"/>
                  <a:gd name="T6" fmla="*/ 2147483646 w 14"/>
                  <a:gd name="T7" fmla="*/ 2147483646 h 68"/>
                  <a:gd name="T8" fmla="*/ 0 w 14"/>
                  <a:gd name="T9" fmla="*/ 2147483646 h 6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"/>
                  <a:gd name="T16" fmla="*/ 0 h 68"/>
                  <a:gd name="T17" fmla="*/ 14 w 14"/>
                  <a:gd name="T18" fmla="*/ 68 h 6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" h="68">
                    <a:moveTo>
                      <a:pt x="14" y="0"/>
                    </a:moveTo>
                    <a:lnTo>
                      <a:pt x="8" y="16"/>
                    </a:lnTo>
                    <a:lnTo>
                      <a:pt x="4" y="33"/>
                    </a:lnTo>
                    <a:lnTo>
                      <a:pt x="2" y="52"/>
                    </a:lnTo>
                    <a:lnTo>
                      <a:pt x="0" y="68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61" name="Freeform 183">
                <a:extLst>
                  <a:ext uri="{FF2B5EF4-FFF2-40B4-BE49-F238E27FC236}">
                    <a16:creationId xmlns="" xmlns:a16="http://schemas.microsoft.com/office/drawing/2014/main" id="{CD9A61C1-B8A9-4885-B8CF-B7D39637C26A}"/>
                  </a:ext>
                </a:extLst>
              </p:cNvPr>
              <p:cNvSpPr>
                <a:spLocks/>
              </p:cNvSpPr>
              <p:nvPr>
                <p:custDataLst>
                  <p:tags r:id="rId110"/>
                </p:custDataLst>
              </p:nvPr>
            </p:nvSpPr>
            <p:spPr bwMode="auto">
              <a:xfrm>
                <a:off x="7612063" y="3957638"/>
                <a:ext cx="1587" cy="22225"/>
              </a:xfrm>
              <a:custGeom>
                <a:avLst/>
                <a:gdLst>
                  <a:gd name="T0" fmla="*/ 0 w 1587"/>
                  <a:gd name="T1" fmla="*/ 0 h 43"/>
                  <a:gd name="T2" fmla="*/ 0 w 1587"/>
                  <a:gd name="T3" fmla="*/ 2147483646 h 43"/>
                  <a:gd name="T4" fmla="*/ 0 w 1587"/>
                  <a:gd name="T5" fmla="*/ 2147483646 h 43"/>
                  <a:gd name="T6" fmla="*/ 0 w 1587"/>
                  <a:gd name="T7" fmla="*/ 2147483646 h 43"/>
                  <a:gd name="T8" fmla="*/ 0 w 1587"/>
                  <a:gd name="T9" fmla="*/ 2147483646 h 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587"/>
                  <a:gd name="T16" fmla="*/ 0 h 43"/>
                  <a:gd name="T17" fmla="*/ 1587 w 1587"/>
                  <a:gd name="T18" fmla="*/ 43 h 4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587" h="43">
                    <a:moveTo>
                      <a:pt x="0" y="0"/>
                    </a:moveTo>
                    <a:lnTo>
                      <a:pt x="0" y="13"/>
                    </a:lnTo>
                    <a:lnTo>
                      <a:pt x="0" y="26"/>
                    </a:lnTo>
                    <a:lnTo>
                      <a:pt x="0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62" name="Line 184">
                <a:extLst>
                  <a:ext uri="{FF2B5EF4-FFF2-40B4-BE49-F238E27FC236}">
                    <a16:creationId xmlns="" xmlns:a16="http://schemas.microsoft.com/office/drawing/2014/main" id="{31A22F4E-2573-4962-A10C-3F0C634C82C6}"/>
                  </a:ext>
                </a:extLst>
              </p:cNvPr>
              <p:cNvSpPr>
                <a:spLocks noChangeShapeType="1"/>
              </p:cNvSpPr>
              <p:nvPr>
                <p:custDataLst>
                  <p:tags r:id="rId111"/>
                </p:custDataLst>
              </p:nvPr>
            </p:nvSpPr>
            <p:spPr bwMode="auto">
              <a:xfrm flipV="1">
                <a:off x="7612063" y="3976688"/>
                <a:ext cx="1587" cy="3175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s-ES" sz="1800" kern="1200"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63" name="Freeform 185">
                <a:extLst>
                  <a:ext uri="{FF2B5EF4-FFF2-40B4-BE49-F238E27FC236}">
                    <a16:creationId xmlns="" xmlns:a16="http://schemas.microsoft.com/office/drawing/2014/main" id="{EF8DDDC5-9319-43BA-9B8F-45F7C9109B75}"/>
                  </a:ext>
                </a:extLst>
              </p:cNvPr>
              <p:cNvSpPr>
                <a:spLocks/>
              </p:cNvSpPr>
              <p:nvPr>
                <p:custDataLst>
                  <p:tags r:id="rId112"/>
                </p:custDataLst>
              </p:nvPr>
            </p:nvSpPr>
            <p:spPr bwMode="auto">
              <a:xfrm>
                <a:off x="7596188" y="3960813"/>
                <a:ext cx="1587" cy="15875"/>
              </a:xfrm>
              <a:custGeom>
                <a:avLst/>
                <a:gdLst>
                  <a:gd name="T0" fmla="*/ 0 w 1587"/>
                  <a:gd name="T1" fmla="*/ 2147483646 h 31"/>
                  <a:gd name="T2" fmla="*/ 0 w 1587"/>
                  <a:gd name="T3" fmla="*/ 2147483646 h 31"/>
                  <a:gd name="T4" fmla="*/ 0 w 1587"/>
                  <a:gd name="T5" fmla="*/ 2147483646 h 31"/>
                  <a:gd name="T6" fmla="*/ 0 w 1587"/>
                  <a:gd name="T7" fmla="*/ 2147483646 h 31"/>
                  <a:gd name="T8" fmla="*/ 0 w 1587"/>
                  <a:gd name="T9" fmla="*/ 0 h 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587"/>
                  <a:gd name="T16" fmla="*/ 0 h 31"/>
                  <a:gd name="T17" fmla="*/ 1587 w 1587"/>
                  <a:gd name="T18" fmla="*/ 31 h 3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587" h="31">
                    <a:moveTo>
                      <a:pt x="0" y="31"/>
                    </a:moveTo>
                    <a:lnTo>
                      <a:pt x="0" y="22"/>
                    </a:lnTo>
                    <a:lnTo>
                      <a:pt x="0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64" name="Freeform 186">
                <a:extLst>
                  <a:ext uri="{FF2B5EF4-FFF2-40B4-BE49-F238E27FC236}">
                    <a16:creationId xmlns="" xmlns:a16="http://schemas.microsoft.com/office/drawing/2014/main" id="{24A60A14-B7EE-4F56-8609-CDC1627E5C06}"/>
                  </a:ext>
                </a:extLst>
              </p:cNvPr>
              <p:cNvSpPr>
                <a:spLocks/>
              </p:cNvSpPr>
              <p:nvPr>
                <p:custDataLst>
                  <p:tags r:id="rId113"/>
                </p:custDataLst>
              </p:nvPr>
            </p:nvSpPr>
            <p:spPr bwMode="auto">
              <a:xfrm>
                <a:off x="7316788" y="4949825"/>
                <a:ext cx="96837" cy="87313"/>
              </a:xfrm>
              <a:custGeom>
                <a:avLst/>
                <a:gdLst>
                  <a:gd name="T0" fmla="*/ 2147483646 w 225"/>
                  <a:gd name="T1" fmla="*/ 2147483646 h 167"/>
                  <a:gd name="T2" fmla="*/ 2147483646 w 225"/>
                  <a:gd name="T3" fmla="*/ 2147483646 h 167"/>
                  <a:gd name="T4" fmla="*/ 0 w 225"/>
                  <a:gd name="T5" fmla="*/ 2147483646 h 167"/>
                  <a:gd name="T6" fmla="*/ 2147483646 w 225"/>
                  <a:gd name="T7" fmla="*/ 2147483646 h 167"/>
                  <a:gd name="T8" fmla="*/ 2147483646 w 225"/>
                  <a:gd name="T9" fmla="*/ 2147483646 h 167"/>
                  <a:gd name="T10" fmla="*/ 2147483646 w 225"/>
                  <a:gd name="T11" fmla="*/ 2147483646 h 167"/>
                  <a:gd name="T12" fmla="*/ 2147483646 w 225"/>
                  <a:gd name="T13" fmla="*/ 2147483646 h 167"/>
                  <a:gd name="T14" fmla="*/ 2147483646 w 225"/>
                  <a:gd name="T15" fmla="*/ 2147483646 h 167"/>
                  <a:gd name="T16" fmla="*/ 2147483646 w 225"/>
                  <a:gd name="T17" fmla="*/ 2147483646 h 167"/>
                  <a:gd name="T18" fmla="*/ 2147483646 w 225"/>
                  <a:gd name="T19" fmla="*/ 2147483646 h 167"/>
                  <a:gd name="T20" fmla="*/ 2147483646 w 225"/>
                  <a:gd name="T21" fmla="*/ 2147483646 h 167"/>
                  <a:gd name="T22" fmla="*/ 2147483646 w 225"/>
                  <a:gd name="T23" fmla="*/ 2147483646 h 167"/>
                  <a:gd name="T24" fmla="*/ 2147483646 w 225"/>
                  <a:gd name="T25" fmla="*/ 2147483646 h 167"/>
                  <a:gd name="T26" fmla="*/ 2147483646 w 225"/>
                  <a:gd name="T27" fmla="*/ 2147483646 h 167"/>
                  <a:gd name="T28" fmla="*/ 2147483646 w 225"/>
                  <a:gd name="T29" fmla="*/ 2147483646 h 167"/>
                  <a:gd name="T30" fmla="*/ 2147483646 w 225"/>
                  <a:gd name="T31" fmla="*/ 2147483646 h 167"/>
                  <a:gd name="T32" fmla="*/ 2147483646 w 225"/>
                  <a:gd name="T33" fmla="*/ 2147483646 h 167"/>
                  <a:gd name="T34" fmla="*/ 2147483646 w 225"/>
                  <a:gd name="T35" fmla="*/ 0 h 167"/>
                  <a:gd name="T36" fmla="*/ 2147483646 w 225"/>
                  <a:gd name="T37" fmla="*/ 2147483646 h 167"/>
                  <a:gd name="T38" fmla="*/ 2147483646 w 225"/>
                  <a:gd name="T39" fmla="*/ 2147483646 h 167"/>
                  <a:gd name="T40" fmla="*/ 2147483646 w 225"/>
                  <a:gd name="T41" fmla="*/ 2147483646 h 167"/>
                  <a:gd name="T42" fmla="*/ 2147483646 w 225"/>
                  <a:gd name="T43" fmla="*/ 2147483646 h 167"/>
                  <a:gd name="T44" fmla="*/ 2147483646 w 225"/>
                  <a:gd name="T45" fmla="*/ 2147483646 h 167"/>
                  <a:gd name="T46" fmla="*/ 2147483646 w 225"/>
                  <a:gd name="T47" fmla="*/ 2147483646 h 167"/>
                  <a:gd name="T48" fmla="*/ 2147483646 w 225"/>
                  <a:gd name="T49" fmla="*/ 2147483646 h 167"/>
                  <a:gd name="T50" fmla="*/ 2147483646 w 225"/>
                  <a:gd name="T51" fmla="*/ 2147483646 h 167"/>
                  <a:gd name="T52" fmla="*/ 2147483646 w 225"/>
                  <a:gd name="T53" fmla="*/ 2147483646 h 167"/>
                  <a:gd name="T54" fmla="*/ 2147483646 w 225"/>
                  <a:gd name="T55" fmla="*/ 2147483646 h 167"/>
                  <a:gd name="T56" fmla="*/ 2147483646 w 225"/>
                  <a:gd name="T57" fmla="*/ 2147483646 h 167"/>
                  <a:gd name="T58" fmla="*/ 2147483646 w 225"/>
                  <a:gd name="T59" fmla="*/ 2147483646 h 167"/>
                  <a:gd name="T60" fmla="*/ 2147483646 w 225"/>
                  <a:gd name="T61" fmla="*/ 2147483646 h 167"/>
                  <a:gd name="T62" fmla="*/ 2147483646 w 225"/>
                  <a:gd name="T63" fmla="*/ 2147483646 h 167"/>
                  <a:gd name="T64" fmla="*/ 2147483646 w 225"/>
                  <a:gd name="T65" fmla="*/ 2147483646 h 16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25"/>
                  <a:gd name="T100" fmla="*/ 0 h 167"/>
                  <a:gd name="T101" fmla="*/ 225 w 225"/>
                  <a:gd name="T102" fmla="*/ 167 h 167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25" h="167">
                    <a:moveTo>
                      <a:pt x="26" y="167"/>
                    </a:moveTo>
                    <a:lnTo>
                      <a:pt x="19" y="158"/>
                    </a:lnTo>
                    <a:lnTo>
                      <a:pt x="10" y="148"/>
                    </a:lnTo>
                    <a:lnTo>
                      <a:pt x="7" y="142"/>
                    </a:lnTo>
                    <a:lnTo>
                      <a:pt x="3" y="136"/>
                    </a:lnTo>
                    <a:lnTo>
                      <a:pt x="0" y="130"/>
                    </a:lnTo>
                    <a:lnTo>
                      <a:pt x="0" y="123"/>
                    </a:lnTo>
                    <a:lnTo>
                      <a:pt x="1" y="108"/>
                    </a:lnTo>
                    <a:lnTo>
                      <a:pt x="5" y="89"/>
                    </a:lnTo>
                    <a:lnTo>
                      <a:pt x="11" y="68"/>
                    </a:lnTo>
                    <a:lnTo>
                      <a:pt x="20" y="48"/>
                    </a:lnTo>
                    <a:lnTo>
                      <a:pt x="24" y="39"/>
                    </a:lnTo>
                    <a:lnTo>
                      <a:pt x="28" y="29"/>
                    </a:lnTo>
                    <a:lnTo>
                      <a:pt x="34" y="21"/>
                    </a:lnTo>
                    <a:lnTo>
                      <a:pt x="38" y="14"/>
                    </a:lnTo>
                    <a:lnTo>
                      <a:pt x="44" y="9"/>
                    </a:lnTo>
                    <a:lnTo>
                      <a:pt x="49" y="4"/>
                    </a:lnTo>
                    <a:lnTo>
                      <a:pt x="54" y="1"/>
                    </a:lnTo>
                    <a:lnTo>
                      <a:pt x="59" y="0"/>
                    </a:lnTo>
                    <a:lnTo>
                      <a:pt x="65" y="1"/>
                    </a:lnTo>
                    <a:lnTo>
                      <a:pt x="70" y="1"/>
                    </a:lnTo>
                    <a:lnTo>
                      <a:pt x="76" y="3"/>
                    </a:lnTo>
                    <a:lnTo>
                      <a:pt x="80" y="4"/>
                    </a:lnTo>
                    <a:lnTo>
                      <a:pt x="88" y="8"/>
                    </a:lnTo>
                    <a:lnTo>
                      <a:pt x="94" y="13"/>
                    </a:lnTo>
                    <a:lnTo>
                      <a:pt x="100" y="17"/>
                    </a:lnTo>
                    <a:lnTo>
                      <a:pt x="106" y="21"/>
                    </a:lnTo>
                    <a:lnTo>
                      <a:pt x="112" y="24"/>
                    </a:lnTo>
                    <a:lnTo>
                      <a:pt x="120" y="25"/>
                    </a:lnTo>
                    <a:lnTo>
                      <a:pt x="128" y="24"/>
                    </a:lnTo>
                    <a:lnTo>
                      <a:pt x="137" y="22"/>
                    </a:lnTo>
                    <a:lnTo>
                      <a:pt x="145" y="19"/>
                    </a:lnTo>
                    <a:lnTo>
                      <a:pt x="151" y="15"/>
                    </a:lnTo>
                    <a:lnTo>
                      <a:pt x="165" y="7"/>
                    </a:lnTo>
                    <a:lnTo>
                      <a:pt x="179" y="0"/>
                    </a:lnTo>
                    <a:lnTo>
                      <a:pt x="225" y="0"/>
                    </a:lnTo>
                    <a:lnTo>
                      <a:pt x="221" y="11"/>
                    </a:lnTo>
                    <a:lnTo>
                      <a:pt x="215" y="22"/>
                    </a:lnTo>
                    <a:lnTo>
                      <a:pt x="209" y="31"/>
                    </a:lnTo>
                    <a:lnTo>
                      <a:pt x="201" y="41"/>
                    </a:lnTo>
                    <a:lnTo>
                      <a:pt x="185" y="57"/>
                    </a:lnTo>
                    <a:lnTo>
                      <a:pt x="168" y="72"/>
                    </a:lnTo>
                    <a:lnTo>
                      <a:pt x="151" y="86"/>
                    </a:lnTo>
                    <a:lnTo>
                      <a:pt x="138" y="100"/>
                    </a:lnTo>
                    <a:lnTo>
                      <a:pt x="133" y="107"/>
                    </a:lnTo>
                    <a:lnTo>
                      <a:pt x="129" y="114"/>
                    </a:lnTo>
                    <a:lnTo>
                      <a:pt x="126" y="122"/>
                    </a:lnTo>
                    <a:lnTo>
                      <a:pt x="126" y="130"/>
                    </a:lnTo>
                    <a:lnTo>
                      <a:pt x="125" y="129"/>
                    </a:lnTo>
                    <a:lnTo>
                      <a:pt x="123" y="126"/>
                    </a:lnTo>
                    <a:lnTo>
                      <a:pt x="120" y="122"/>
                    </a:lnTo>
                    <a:lnTo>
                      <a:pt x="120" y="117"/>
                    </a:lnTo>
                    <a:lnTo>
                      <a:pt x="112" y="119"/>
                    </a:lnTo>
                    <a:lnTo>
                      <a:pt x="106" y="121"/>
                    </a:lnTo>
                    <a:lnTo>
                      <a:pt x="101" y="124"/>
                    </a:lnTo>
                    <a:lnTo>
                      <a:pt x="97" y="128"/>
                    </a:lnTo>
                    <a:lnTo>
                      <a:pt x="88" y="135"/>
                    </a:lnTo>
                    <a:lnTo>
                      <a:pt x="80" y="145"/>
                    </a:lnTo>
                    <a:lnTo>
                      <a:pt x="76" y="149"/>
                    </a:lnTo>
                    <a:lnTo>
                      <a:pt x="71" y="153"/>
                    </a:lnTo>
                    <a:lnTo>
                      <a:pt x="66" y="157"/>
                    </a:lnTo>
                    <a:lnTo>
                      <a:pt x="60" y="160"/>
                    </a:lnTo>
                    <a:lnTo>
                      <a:pt x="54" y="163"/>
                    </a:lnTo>
                    <a:lnTo>
                      <a:pt x="46" y="165"/>
                    </a:lnTo>
                    <a:lnTo>
                      <a:pt x="36" y="166"/>
                    </a:lnTo>
                    <a:lnTo>
                      <a:pt x="26" y="167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65" name="Freeform 187">
                <a:extLst>
                  <a:ext uri="{FF2B5EF4-FFF2-40B4-BE49-F238E27FC236}">
                    <a16:creationId xmlns="" xmlns:a16="http://schemas.microsoft.com/office/drawing/2014/main" id="{278AC9CB-2CAC-42E9-9B1E-3C1C887763D9}"/>
                  </a:ext>
                </a:extLst>
              </p:cNvPr>
              <p:cNvSpPr>
                <a:spLocks/>
              </p:cNvSpPr>
              <p:nvPr>
                <p:custDataLst>
                  <p:tags r:id="rId114"/>
                </p:custDataLst>
              </p:nvPr>
            </p:nvSpPr>
            <p:spPr bwMode="auto">
              <a:xfrm>
                <a:off x="7454900" y="4168775"/>
                <a:ext cx="3175" cy="17463"/>
              </a:xfrm>
              <a:custGeom>
                <a:avLst/>
                <a:gdLst>
                  <a:gd name="T0" fmla="*/ 0 w 7"/>
                  <a:gd name="T1" fmla="*/ 2147483646 h 31"/>
                  <a:gd name="T2" fmla="*/ 2147483646 w 7"/>
                  <a:gd name="T3" fmla="*/ 2147483646 h 31"/>
                  <a:gd name="T4" fmla="*/ 2147483646 w 7"/>
                  <a:gd name="T5" fmla="*/ 2147483646 h 31"/>
                  <a:gd name="T6" fmla="*/ 2147483646 w 7"/>
                  <a:gd name="T7" fmla="*/ 2147483646 h 31"/>
                  <a:gd name="T8" fmla="*/ 2147483646 w 7"/>
                  <a:gd name="T9" fmla="*/ 0 h 31"/>
                  <a:gd name="T10" fmla="*/ 2147483646 w 7"/>
                  <a:gd name="T11" fmla="*/ 2147483646 h 31"/>
                  <a:gd name="T12" fmla="*/ 2147483646 w 7"/>
                  <a:gd name="T13" fmla="*/ 2147483646 h 31"/>
                  <a:gd name="T14" fmla="*/ 2147483646 w 7"/>
                  <a:gd name="T15" fmla="*/ 2147483646 h 31"/>
                  <a:gd name="T16" fmla="*/ 0 w 7"/>
                  <a:gd name="T17" fmla="*/ 2147483646 h 3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7"/>
                  <a:gd name="T28" fmla="*/ 0 h 31"/>
                  <a:gd name="T29" fmla="*/ 7 w 7"/>
                  <a:gd name="T30" fmla="*/ 31 h 3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7" h="31">
                    <a:moveTo>
                      <a:pt x="0" y="31"/>
                    </a:moveTo>
                    <a:lnTo>
                      <a:pt x="5" y="22"/>
                    </a:lnTo>
                    <a:lnTo>
                      <a:pt x="6" y="13"/>
                    </a:lnTo>
                    <a:lnTo>
                      <a:pt x="7" y="6"/>
                    </a:lnTo>
                    <a:lnTo>
                      <a:pt x="7" y="0"/>
                    </a:lnTo>
                    <a:lnTo>
                      <a:pt x="6" y="6"/>
                    </a:lnTo>
                    <a:lnTo>
                      <a:pt x="4" y="13"/>
                    </a:lnTo>
                    <a:lnTo>
                      <a:pt x="1" y="22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66" name="Freeform 188">
                <a:extLst>
                  <a:ext uri="{FF2B5EF4-FFF2-40B4-BE49-F238E27FC236}">
                    <a16:creationId xmlns="" xmlns:a16="http://schemas.microsoft.com/office/drawing/2014/main" id="{A0AFAFE1-6032-4153-8134-A9A11A553E80}"/>
                  </a:ext>
                </a:extLst>
              </p:cNvPr>
              <p:cNvSpPr>
                <a:spLocks/>
              </p:cNvSpPr>
              <p:nvPr>
                <p:custDataLst>
                  <p:tags r:id="rId115"/>
                </p:custDataLst>
              </p:nvPr>
            </p:nvSpPr>
            <p:spPr bwMode="auto">
              <a:xfrm>
                <a:off x="7388225" y="4090988"/>
                <a:ext cx="15875" cy="15875"/>
              </a:xfrm>
              <a:custGeom>
                <a:avLst/>
                <a:gdLst>
                  <a:gd name="T0" fmla="*/ 2147483646 w 33"/>
                  <a:gd name="T1" fmla="*/ 2147483646 h 31"/>
                  <a:gd name="T2" fmla="*/ 2147483646 w 33"/>
                  <a:gd name="T3" fmla="*/ 0 h 31"/>
                  <a:gd name="T4" fmla="*/ 2147483646 w 33"/>
                  <a:gd name="T5" fmla="*/ 0 h 31"/>
                  <a:gd name="T6" fmla="*/ 2147483646 w 33"/>
                  <a:gd name="T7" fmla="*/ 2147483646 h 31"/>
                  <a:gd name="T8" fmla="*/ 2147483646 w 33"/>
                  <a:gd name="T9" fmla="*/ 2147483646 h 31"/>
                  <a:gd name="T10" fmla="*/ 2147483646 w 33"/>
                  <a:gd name="T11" fmla="*/ 2147483646 h 31"/>
                  <a:gd name="T12" fmla="*/ 2147483646 w 33"/>
                  <a:gd name="T13" fmla="*/ 2147483646 h 31"/>
                  <a:gd name="T14" fmla="*/ 2147483646 w 33"/>
                  <a:gd name="T15" fmla="*/ 2147483646 h 31"/>
                  <a:gd name="T16" fmla="*/ 2147483646 w 33"/>
                  <a:gd name="T17" fmla="*/ 2147483646 h 31"/>
                  <a:gd name="T18" fmla="*/ 0 w 33"/>
                  <a:gd name="T19" fmla="*/ 2147483646 h 31"/>
                  <a:gd name="T20" fmla="*/ 2147483646 w 33"/>
                  <a:gd name="T21" fmla="*/ 2147483646 h 31"/>
                  <a:gd name="T22" fmla="*/ 2147483646 w 33"/>
                  <a:gd name="T23" fmla="*/ 2147483646 h 31"/>
                  <a:gd name="T24" fmla="*/ 2147483646 w 33"/>
                  <a:gd name="T25" fmla="*/ 2147483646 h 31"/>
                  <a:gd name="T26" fmla="*/ 2147483646 w 33"/>
                  <a:gd name="T27" fmla="*/ 2147483646 h 31"/>
                  <a:gd name="T28" fmla="*/ 2147483646 w 33"/>
                  <a:gd name="T29" fmla="*/ 2147483646 h 31"/>
                  <a:gd name="T30" fmla="*/ 2147483646 w 33"/>
                  <a:gd name="T31" fmla="*/ 2147483646 h 3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3"/>
                  <a:gd name="T49" fmla="*/ 0 h 31"/>
                  <a:gd name="T50" fmla="*/ 33 w 33"/>
                  <a:gd name="T51" fmla="*/ 31 h 3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3" h="31">
                    <a:moveTo>
                      <a:pt x="33" y="31"/>
                    </a:moveTo>
                    <a:lnTo>
                      <a:pt x="33" y="0"/>
                    </a:lnTo>
                    <a:lnTo>
                      <a:pt x="27" y="0"/>
                    </a:lnTo>
                    <a:lnTo>
                      <a:pt x="22" y="2"/>
                    </a:lnTo>
                    <a:lnTo>
                      <a:pt x="16" y="5"/>
                    </a:lnTo>
                    <a:lnTo>
                      <a:pt x="11" y="8"/>
                    </a:lnTo>
                    <a:lnTo>
                      <a:pt x="6" y="12"/>
                    </a:lnTo>
                    <a:lnTo>
                      <a:pt x="3" y="16"/>
                    </a:lnTo>
                    <a:lnTo>
                      <a:pt x="1" y="21"/>
                    </a:lnTo>
                    <a:lnTo>
                      <a:pt x="0" y="25"/>
                    </a:lnTo>
                    <a:lnTo>
                      <a:pt x="1" y="27"/>
                    </a:lnTo>
                    <a:lnTo>
                      <a:pt x="3" y="29"/>
                    </a:lnTo>
                    <a:lnTo>
                      <a:pt x="6" y="30"/>
                    </a:lnTo>
                    <a:lnTo>
                      <a:pt x="11" y="30"/>
                    </a:lnTo>
                    <a:lnTo>
                      <a:pt x="22" y="31"/>
                    </a:lnTo>
                    <a:lnTo>
                      <a:pt x="33" y="31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67" name="Freeform 189">
                <a:extLst>
                  <a:ext uri="{FF2B5EF4-FFF2-40B4-BE49-F238E27FC236}">
                    <a16:creationId xmlns="" xmlns:a16="http://schemas.microsoft.com/office/drawing/2014/main" id="{2595500A-A1D8-4201-8954-58C6DD31CEBF}"/>
                  </a:ext>
                </a:extLst>
              </p:cNvPr>
              <p:cNvSpPr>
                <a:spLocks/>
              </p:cNvSpPr>
              <p:nvPr>
                <p:custDataLst>
                  <p:tags r:id="rId116"/>
                </p:custDataLst>
              </p:nvPr>
            </p:nvSpPr>
            <p:spPr bwMode="auto">
              <a:xfrm>
                <a:off x="7404100" y="4003675"/>
                <a:ext cx="3175" cy="9525"/>
              </a:xfrm>
              <a:custGeom>
                <a:avLst/>
                <a:gdLst>
                  <a:gd name="T0" fmla="*/ 0 w 13"/>
                  <a:gd name="T1" fmla="*/ 2147483646 h 19"/>
                  <a:gd name="T2" fmla="*/ 2147483646 w 13"/>
                  <a:gd name="T3" fmla="*/ 2147483646 h 19"/>
                  <a:gd name="T4" fmla="*/ 2147483646 w 13"/>
                  <a:gd name="T5" fmla="*/ 2147483646 h 19"/>
                  <a:gd name="T6" fmla="*/ 2147483646 w 13"/>
                  <a:gd name="T7" fmla="*/ 2147483646 h 19"/>
                  <a:gd name="T8" fmla="*/ 2147483646 w 13"/>
                  <a:gd name="T9" fmla="*/ 2147483646 h 19"/>
                  <a:gd name="T10" fmla="*/ 2147483646 w 13"/>
                  <a:gd name="T11" fmla="*/ 2147483646 h 19"/>
                  <a:gd name="T12" fmla="*/ 2147483646 w 13"/>
                  <a:gd name="T13" fmla="*/ 0 h 19"/>
                  <a:gd name="T14" fmla="*/ 0 w 13"/>
                  <a:gd name="T15" fmla="*/ 2147483646 h 1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3"/>
                  <a:gd name="T25" fmla="*/ 0 h 19"/>
                  <a:gd name="T26" fmla="*/ 13 w 13"/>
                  <a:gd name="T27" fmla="*/ 19 h 1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3" h="19">
                    <a:moveTo>
                      <a:pt x="0" y="19"/>
                    </a:moveTo>
                    <a:lnTo>
                      <a:pt x="2" y="18"/>
                    </a:lnTo>
                    <a:lnTo>
                      <a:pt x="5" y="17"/>
                    </a:lnTo>
                    <a:lnTo>
                      <a:pt x="7" y="15"/>
                    </a:lnTo>
                    <a:lnTo>
                      <a:pt x="8" y="12"/>
                    </a:lnTo>
                    <a:lnTo>
                      <a:pt x="12" y="6"/>
                    </a:lnTo>
                    <a:lnTo>
                      <a:pt x="13" y="0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68" name="Freeform 190">
                <a:extLst>
                  <a:ext uri="{FF2B5EF4-FFF2-40B4-BE49-F238E27FC236}">
                    <a16:creationId xmlns="" xmlns:a16="http://schemas.microsoft.com/office/drawing/2014/main" id="{EA727CF2-41AB-437A-9F3E-8F1E937BB26E}"/>
                  </a:ext>
                </a:extLst>
              </p:cNvPr>
              <p:cNvSpPr>
                <a:spLocks/>
              </p:cNvSpPr>
              <p:nvPr>
                <p:custDataLst>
                  <p:tags r:id="rId117"/>
                </p:custDataLst>
              </p:nvPr>
            </p:nvSpPr>
            <p:spPr bwMode="auto">
              <a:xfrm>
                <a:off x="7243763" y="4006850"/>
                <a:ext cx="36512" cy="22225"/>
              </a:xfrm>
              <a:custGeom>
                <a:avLst/>
                <a:gdLst>
                  <a:gd name="T0" fmla="*/ 2147483646 w 87"/>
                  <a:gd name="T1" fmla="*/ 2147483646 h 42"/>
                  <a:gd name="T2" fmla="*/ 2147483646 w 87"/>
                  <a:gd name="T3" fmla="*/ 2147483646 h 42"/>
                  <a:gd name="T4" fmla="*/ 2147483646 w 87"/>
                  <a:gd name="T5" fmla="*/ 2147483646 h 42"/>
                  <a:gd name="T6" fmla="*/ 2147483646 w 87"/>
                  <a:gd name="T7" fmla="*/ 2147483646 h 42"/>
                  <a:gd name="T8" fmla="*/ 2147483646 w 87"/>
                  <a:gd name="T9" fmla="*/ 2147483646 h 42"/>
                  <a:gd name="T10" fmla="*/ 2147483646 w 87"/>
                  <a:gd name="T11" fmla="*/ 2147483646 h 42"/>
                  <a:gd name="T12" fmla="*/ 2147483646 w 87"/>
                  <a:gd name="T13" fmla="*/ 2147483646 h 42"/>
                  <a:gd name="T14" fmla="*/ 2147483646 w 87"/>
                  <a:gd name="T15" fmla="*/ 2147483646 h 42"/>
                  <a:gd name="T16" fmla="*/ 2147483646 w 87"/>
                  <a:gd name="T17" fmla="*/ 2147483646 h 42"/>
                  <a:gd name="T18" fmla="*/ 2147483646 w 87"/>
                  <a:gd name="T19" fmla="*/ 2147483646 h 42"/>
                  <a:gd name="T20" fmla="*/ 2147483646 w 87"/>
                  <a:gd name="T21" fmla="*/ 2147483646 h 42"/>
                  <a:gd name="T22" fmla="*/ 2147483646 w 87"/>
                  <a:gd name="T23" fmla="*/ 2147483646 h 42"/>
                  <a:gd name="T24" fmla="*/ 2147483646 w 87"/>
                  <a:gd name="T25" fmla="*/ 0 h 42"/>
                  <a:gd name="T26" fmla="*/ 2147483646 w 87"/>
                  <a:gd name="T27" fmla="*/ 0 h 42"/>
                  <a:gd name="T28" fmla="*/ 2147483646 w 87"/>
                  <a:gd name="T29" fmla="*/ 0 h 42"/>
                  <a:gd name="T30" fmla="*/ 2147483646 w 87"/>
                  <a:gd name="T31" fmla="*/ 0 h 42"/>
                  <a:gd name="T32" fmla="*/ 2147483646 w 87"/>
                  <a:gd name="T33" fmla="*/ 2147483646 h 42"/>
                  <a:gd name="T34" fmla="*/ 2147483646 w 87"/>
                  <a:gd name="T35" fmla="*/ 2147483646 h 42"/>
                  <a:gd name="T36" fmla="*/ 2147483646 w 87"/>
                  <a:gd name="T37" fmla="*/ 2147483646 h 42"/>
                  <a:gd name="T38" fmla="*/ 2147483646 w 87"/>
                  <a:gd name="T39" fmla="*/ 2147483646 h 42"/>
                  <a:gd name="T40" fmla="*/ 0 w 87"/>
                  <a:gd name="T41" fmla="*/ 2147483646 h 42"/>
                  <a:gd name="T42" fmla="*/ 2147483646 w 87"/>
                  <a:gd name="T43" fmla="*/ 2147483646 h 42"/>
                  <a:gd name="T44" fmla="*/ 2147483646 w 87"/>
                  <a:gd name="T45" fmla="*/ 2147483646 h 42"/>
                  <a:gd name="T46" fmla="*/ 2147483646 w 87"/>
                  <a:gd name="T47" fmla="*/ 2147483646 h 42"/>
                  <a:gd name="T48" fmla="*/ 2147483646 w 87"/>
                  <a:gd name="T49" fmla="*/ 2147483646 h 42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87"/>
                  <a:gd name="T76" fmla="*/ 0 h 42"/>
                  <a:gd name="T77" fmla="*/ 87 w 87"/>
                  <a:gd name="T78" fmla="*/ 42 h 42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87" h="42">
                    <a:moveTo>
                      <a:pt x="54" y="42"/>
                    </a:moveTo>
                    <a:lnTo>
                      <a:pt x="59" y="42"/>
                    </a:lnTo>
                    <a:lnTo>
                      <a:pt x="64" y="41"/>
                    </a:lnTo>
                    <a:lnTo>
                      <a:pt x="68" y="40"/>
                    </a:lnTo>
                    <a:lnTo>
                      <a:pt x="71" y="38"/>
                    </a:lnTo>
                    <a:lnTo>
                      <a:pt x="75" y="34"/>
                    </a:lnTo>
                    <a:lnTo>
                      <a:pt x="78" y="28"/>
                    </a:lnTo>
                    <a:lnTo>
                      <a:pt x="79" y="22"/>
                    </a:lnTo>
                    <a:lnTo>
                      <a:pt x="80" y="16"/>
                    </a:lnTo>
                    <a:lnTo>
                      <a:pt x="82" y="11"/>
                    </a:lnTo>
                    <a:lnTo>
                      <a:pt x="87" y="6"/>
                    </a:lnTo>
                    <a:lnTo>
                      <a:pt x="77" y="2"/>
                    </a:lnTo>
                    <a:lnTo>
                      <a:pt x="67" y="0"/>
                    </a:lnTo>
                    <a:lnTo>
                      <a:pt x="57" y="0"/>
                    </a:lnTo>
                    <a:lnTo>
                      <a:pt x="47" y="0"/>
                    </a:lnTo>
                    <a:lnTo>
                      <a:pt x="40" y="0"/>
                    </a:lnTo>
                    <a:lnTo>
                      <a:pt x="32" y="2"/>
                    </a:lnTo>
                    <a:lnTo>
                      <a:pt x="25" y="4"/>
                    </a:lnTo>
                    <a:lnTo>
                      <a:pt x="19" y="6"/>
                    </a:lnTo>
                    <a:lnTo>
                      <a:pt x="8" y="12"/>
                    </a:lnTo>
                    <a:lnTo>
                      <a:pt x="0" y="18"/>
                    </a:lnTo>
                    <a:lnTo>
                      <a:pt x="11" y="24"/>
                    </a:lnTo>
                    <a:lnTo>
                      <a:pt x="27" y="32"/>
                    </a:lnTo>
                    <a:lnTo>
                      <a:pt x="43" y="39"/>
                    </a:lnTo>
                    <a:lnTo>
                      <a:pt x="54" y="42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69" name="Freeform 191">
                <a:extLst>
                  <a:ext uri="{FF2B5EF4-FFF2-40B4-BE49-F238E27FC236}">
                    <a16:creationId xmlns="" xmlns:a16="http://schemas.microsoft.com/office/drawing/2014/main" id="{EA35E2D1-2553-41D5-9D17-E3E3AD9B1A68}"/>
                  </a:ext>
                </a:extLst>
              </p:cNvPr>
              <p:cNvSpPr>
                <a:spLocks/>
              </p:cNvSpPr>
              <p:nvPr>
                <p:custDataLst>
                  <p:tags r:id="rId118"/>
                </p:custDataLst>
              </p:nvPr>
            </p:nvSpPr>
            <p:spPr bwMode="auto">
              <a:xfrm>
                <a:off x="7488238" y="4470400"/>
                <a:ext cx="1587" cy="14288"/>
              </a:xfrm>
              <a:custGeom>
                <a:avLst/>
                <a:gdLst>
                  <a:gd name="T0" fmla="*/ 0 w 7"/>
                  <a:gd name="T1" fmla="*/ 0 h 31"/>
                  <a:gd name="T2" fmla="*/ 2147483646 w 7"/>
                  <a:gd name="T3" fmla="*/ 0 h 31"/>
                  <a:gd name="T4" fmla="*/ 2147483646 w 7"/>
                  <a:gd name="T5" fmla="*/ 2147483646 h 31"/>
                  <a:gd name="T6" fmla="*/ 0 w 7"/>
                  <a:gd name="T7" fmla="*/ 2147483646 h 31"/>
                  <a:gd name="T8" fmla="*/ 0 w 7"/>
                  <a:gd name="T9" fmla="*/ 0 h 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31"/>
                  <a:gd name="T17" fmla="*/ 7 w 7"/>
                  <a:gd name="T18" fmla="*/ 31 h 3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31">
                    <a:moveTo>
                      <a:pt x="0" y="0"/>
                    </a:moveTo>
                    <a:lnTo>
                      <a:pt x="7" y="0"/>
                    </a:lnTo>
                    <a:lnTo>
                      <a:pt x="7" y="18"/>
                    </a:lnTo>
                    <a:lnTo>
                      <a:pt x="0" y="3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70" name="Freeform 192">
                <a:extLst>
                  <a:ext uri="{FF2B5EF4-FFF2-40B4-BE49-F238E27FC236}">
                    <a16:creationId xmlns="" xmlns:a16="http://schemas.microsoft.com/office/drawing/2014/main" id="{853DC17B-5F3A-46A0-A33E-711FFD4F5B39}"/>
                  </a:ext>
                </a:extLst>
              </p:cNvPr>
              <p:cNvSpPr>
                <a:spLocks/>
              </p:cNvSpPr>
              <p:nvPr>
                <p:custDataLst>
                  <p:tags r:id="rId119"/>
                </p:custDataLst>
              </p:nvPr>
            </p:nvSpPr>
            <p:spPr bwMode="auto">
              <a:xfrm>
                <a:off x="6724650" y="3976688"/>
                <a:ext cx="1019175" cy="908050"/>
              </a:xfrm>
              <a:custGeom>
                <a:avLst/>
                <a:gdLst>
                  <a:gd name="T0" fmla="*/ 2147483646 w 2332"/>
                  <a:gd name="T1" fmla="*/ 2147483646 h 1731"/>
                  <a:gd name="T2" fmla="*/ 2147483646 w 2332"/>
                  <a:gd name="T3" fmla="*/ 2147483646 h 1731"/>
                  <a:gd name="T4" fmla="*/ 2147483646 w 2332"/>
                  <a:gd name="T5" fmla="*/ 2147483646 h 1731"/>
                  <a:gd name="T6" fmla="*/ 2147483646 w 2332"/>
                  <a:gd name="T7" fmla="*/ 2147483646 h 1731"/>
                  <a:gd name="T8" fmla="*/ 2147483646 w 2332"/>
                  <a:gd name="T9" fmla="*/ 2147483646 h 1731"/>
                  <a:gd name="T10" fmla="*/ 2147483646 w 2332"/>
                  <a:gd name="T11" fmla="*/ 2147483646 h 1731"/>
                  <a:gd name="T12" fmla="*/ 2147483646 w 2332"/>
                  <a:gd name="T13" fmla="*/ 2147483646 h 1731"/>
                  <a:gd name="T14" fmla="*/ 2147483646 w 2332"/>
                  <a:gd name="T15" fmla="*/ 2147483646 h 1731"/>
                  <a:gd name="T16" fmla="*/ 2147483646 w 2332"/>
                  <a:gd name="T17" fmla="*/ 2147483646 h 1731"/>
                  <a:gd name="T18" fmla="*/ 2147483646 w 2332"/>
                  <a:gd name="T19" fmla="*/ 2147483646 h 1731"/>
                  <a:gd name="T20" fmla="*/ 2147483646 w 2332"/>
                  <a:gd name="T21" fmla="*/ 2147483646 h 1731"/>
                  <a:gd name="T22" fmla="*/ 2147483646 w 2332"/>
                  <a:gd name="T23" fmla="*/ 2147483646 h 1731"/>
                  <a:gd name="T24" fmla="*/ 2147483646 w 2332"/>
                  <a:gd name="T25" fmla="*/ 2147483646 h 1731"/>
                  <a:gd name="T26" fmla="*/ 2147483646 w 2332"/>
                  <a:gd name="T27" fmla="*/ 2147483646 h 1731"/>
                  <a:gd name="T28" fmla="*/ 2147483646 w 2332"/>
                  <a:gd name="T29" fmla="*/ 2147483646 h 1731"/>
                  <a:gd name="T30" fmla="*/ 2147483646 w 2332"/>
                  <a:gd name="T31" fmla="*/ 2147483646 h 1731"/>
                  <a:gd name="T32" fmla="*/ 2147483646 w 2332"/>
                  <a:gd name="T33" fmla="*/ 2147483646 h 1731"/>
                  <a:gd name="T34" fmla="*/ 2147483646 w 2332"/>
                  <a:gd name="T35" fmla="*/ 2147483646 h 1731"/>
                  <a:gd name="T36" fmla="*/ 2147483646 w 2332"/>
                  <a:gd name="T37" fmla="*/ 2147483646 h 1731"/>
                  <a:gd name="T38" fmla="*/ 2147483646 w 2332"/>
                  <a:gd name="T39" fmla="*/ 2147483646 h 1731"/>
                  <a:gd name="T40" fmla="*/ 2147483646 w 2332"/>
                  <a:gd name="T41" fmla="*/ 2147483646 h 1731"/>
                  <a:gd name="T42" fmla="*/ 2147483646 w 2332"/>
                  <a:gd name="T43" fmla="*/ 2147483646 h 1731"/>
                  <a:gd name="T44" fmla="*/ 2147483646 w 2332"/>
                  <a:gd name="T45" fmla="*/ 2147483646 h 1731"/>
                  <a:gd name="T46" fmla="*/ 2147483646 w 2332"/>
                  <a:gd name="T47" fmla="*/ 2147483646 h 1731"/>
                  <a:gd name="T48" fmla="*/ 2147483646 w 2332"/>
                  <a:gd name="T49" fmla="*/ 2147483646 h 1731"/>
                  <a:gd name="T50" fmla="*/ 2147483646 w 2332"/>
                  <a:gd name="T51" fmla="*/ 2147483646 h 1731"/>
                  <a:gd name="T52" fmla="*/ 2147483646 w 2332"/>
                  <a:gd name="T53" fmla="*/ 2147483646 h 1731"/>
                  <a:gd name="T54" fmla="*/ 2147483646 w 2332"/>
                  <a:gd name="T55" fmla="*/ 2147483646 h 1731"/>
                  <a:gd name="T56" fmla="*/ 2147483646 w 2332"/>
                  <a:gd name="T57" fmla="*/ 2147483646 h 1731"/>
                  <a:gd name="T58" fmla="*/ 2147483646 w 2332"/>
                  <a:gd name="T59" fmla="*/ 2147483646 h 1731"/>
                  <a:gd name="T60" fmla="*/ 2147483646 w 2332"/>
                  <a:gd name="T61" fmla="*/ 2147483646 h 1731"/>
                  <a:gd name="T62" fmla="*/ 2147483646 w 2332"/>
                  <a:gd name="T63" fmla="*/ 2147483646 h 1731"/>
                  <a:gd name="T64" fmla="*/ 2147483646 w 2332"/>
                  <a:gd name="T65" fmla="*/ 2147483646 h 1731"/>
                  <a:gd name="T66" fmla="*/ 2147483646 w 2332"/>
                  <a:gd name="T67" fmla="*/ 2147483646 h 1731"/>
                  <a:gd name="T68" fmla="*/ 2147483646 w 2332"/>
                  <a:gd name="T69" fmla="*/ 2147483646 h 1731"/>
                  <a:gd name="T70" fmla="*/ 2147483646 w 2332"/>
                  <a:gd name="T71" fmla="*/ 2147483646 h 1731"/>
                  <a:gd name="T72" fmla="*/ 2147483646 w 2332"/>
                  <a:gd name="T73" fmla="*/ 2147483646 h 1731"/>
                  <a:gd name="T74" fmla="*/ 2147483646 w 2332"/>
                  <a:gd name="T75" fmla="*/ 2147483646 h 1731"/>
                  <a:gd name="T76" fmla="*/ 2147483646 w 2332"/>
                  <a:gd name="T77" fmla="*/ 2147483646 h 1731"/>
                  <a:gd name="T78" fmla="*/ 2147483646 w 2332"/>
                  <a:gd name="T79" fmla="*/ 2147483646 h 1731"/>
                  <a:gd name="T80" fmla="*/ 2147483646 w 2332"/>
                  <a:gd name="T81" fmla="*/ 2147483646 h 1731"/>
                  <a:gd name="T82" fmla="*/ 2147483646 w 2332"/>
                  <a:gd name="T83" fmla="*/ 2147483646 h 1731"/>
                  <a:gd name="T84" fmla="*/ 2147483646 w 2332"/>
                  <a:gd name="T85" fmla="*/ 2147483646 h 1731"/>
                  <a:gd name="T86" fmla="*/ 2147483646 w 2332"/>
                  <a:gd name="T87" fmla="*/ 2147483646 h 1731"/>
                  <a:gd name="T88" fmla="*/ 2147483646 w 2332"/>
                  <a:gd name="T89" fmla="*/ 2147483646 h 1731"/>
                  <a:gd name="T90" fmla="*/ 2147483646 w 2332"/>
                  <a:gd name="T91" fmla="*/ 2147483646 h 1731"/>
                  <a:gd name="T92" fmla="*/ 2147483646 w 2332"/>
                  <a:gd name="T93" fmla="*/ 2147483646 h 1731"/>
                  <a:gd name="T94" fmla="*/ 2147483646 w 2332"/>
                  <a:gd name="T95" fmla="*/ 2147483646 h 1731"/>
                  <a:gd name="T96" fmla="*/ 2147483646 w 2332"/>
                  <a:gd name="T97" fmla="*/ 2147483646 h 1731"/>
                  <a:gd name="T98" fmla="*/ 2147483646 w 2332"/>
                  <a:gd name="T99" fmla="*/ 2147483646 h 1731"/>
                  <a:gd name="T100" fmla="*/ 2147483646 w 2332"/>
                  <a:gd name="T101" fmla="*/ 2147483646 h 1731"/>
                  <a:gd name="T102" fmla="*/ 2147483646 w 2332"/>
                  <a:gd name="T103" fmla="*/ 2147483646 h 1731"/>
                  <a:gd name="T104" fmla="*/ 2147483646 w 2332"/>
                  <a:gd name="T105" fmla="*/ 2147483646 h 1731"/>
                  <a:gd name="T106" fmla="*/ 2147483646 w 2332"/>
                  <a:gd name="T107" fmla="*/ 2147483646 h 1731"/>
                  <a:gd name="T108" fmla="*/ 2147483646 w 2332"/>
                  <a:gd name="T109" fmla="*/ 2147483646 h 1731"/>
                  <a:gd name="T110" fmla="*/ 2147483646 w 2332"/>
                  <a:gd name="T111" fmla="*/ 2147483646 h 1731"/>
                  <a:gd name="T112" fmla="*/ 2147483646 w 2332"/>
                  <a:gd name="T113" fmla="*/ 2147483646 h 1731"/>
                  <a:gd name="T114" fmla="*/ 2147483646 w 2332"/>
                  <a:gd name="T115" fmla="*/ 2147483646 h 1731"/>
                  <a:gd name="T116" fmla="*/ 2147483646 w 2332"/>
                  <a:gd name="T117" fmla="*/ 2147483646 h 173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332"/>
                  <a:gd name="T178" fmla="*/ 0 h 1731"/>
                  <a:gd name="T179" fmla="*/ 2332 w 2332"/>
                  <a:gd name="T180" fmla="*/ 1731 h 1731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332" h="1731">
                    <a:moveTo>
                      <a:pt x="153" y="721"/>
                    </a:moveTo>
                    <a:lnTo>
                      <a:pt x="156" y="727"/>
                    </a:lnTo>
                    <a:lnTo>
                      <a:pt x="159" y="732"/>
                    </a:lnTo>
                    <a:lnTo>
                      <a:pt x="162" y="735"/>
                    </a:lnTo>
                    <a:lnTo>
                      <a:pt x="167" y="738"/>
                    </a:lnTo>
                    <a:lnTo>
                      <a:pt x="173" y="744"/>
                    </a:lnTo>
                    <a:lnTo>
                      <a:pt x="180" y="751"/>
                    </a:lnTo>
                    <a:lnTo>
                      <a:pt x="189" y="744"/>
                    </a:lnTo>
                    <a:lnTo>
                      <a:pt x="195" y="737"/>
                    </a:lnTo>
                    <a:lnTo>
                      <a:pt x="201" y="729"/>
                    </a:lnTo>
                    <a:lnTo>
                      <a:pt x="205" y="722"/>
                    </a:lnTo>
                    <a:lnTo>
                      <a:pt x="210" y="714"/>
                    </a:lnTo>
                    <a:lnTo>
                      <a:pt x="214" y="707"/>
                    </a:lnTo>
                    <a:lnTo>
                      <a:pt x="219" y="701"/>
                    </a:lnTo>
                    <a:lnTo>
                      <a:pt x="226" y="696"/>
                    </a:lnTo>
                    <a:lnTo>
                      <a:pt x="234" y="690"/>
                    </a:lnTo>
                    <a:lnTo>
                      <a:pt x="241" y="685"/>
                    </a:lnTo>
                    <a:lnTo>
                      <a:pt x="249" y="680"/>
                    </a:lnTo>
                    <a:lnTo>
                      <a:pt x="258" y="677"/>
                    </a:lnTo>
                    <a:lnTo>
                      <a:pt x="274" y="672"/>
                    </a:lnTo>
                    <a:lnTo>
                      <a:pt x="290" y="667"/>
                    </a:lnTo>
                    <a:lnTo>
                      <a:pt x="297" y="665"/>
                    </a:lnTo>
                    <a:lnTo>
                      <a:pt x="305" y="661"/>
                    </a:lnTo>
                    <a:lnTo>
                      <a:pt x="312" y="658"/>
                    </a:lnTo>
                    <a:lnTo>
                      <a:pt x="318" y="654"/>
                    </a:lnTo>
                    <a:lnTo>
                      <a:pt x="325" y="649"/>
                    </a:lnTo>
                    <a:lnTo>
                      <a:pt x="330" y="644"/>
                    </a:lnTo>
                    <a:lnTo>
                      <a:pt x="335" y="637"/>
                    </a:lnTo>
                    <a:lnTo>
                      <a:pt x="339" y="628"/>
                    </a:lnTo>
                    <a:lnTo>
                      <a:pt x="360" y="631"/>
                    </a:lnTo>
                    <a:lnTo>
                      <a:pt x="370" y="631"/>
                    </a:lnTo>
                    <a:lnTo>
                      <a:pt x="375" y="629"/>
                    </a:lnTo>
                    <a:lnTo>
                      <a:pt x="385" y="628"/>
                    </a:lnTo>
                    <a:lnTo>
                      <a:pt x="393" y="628"/>
                    </a:lnTo>
                    <a:lnTo>
                      <a:pt x="400" y="627"/>
                    </a:lnTo>
                    <a:lnTo>
                      <a:pt x="405" y="624"/>
                    </a:lnTo>
                    <a:lnTo>
                      <a:pt x="412" y="622"/>
                    </a:lnTo>
                    <a:lnTo>
                      <a:pt x="423" y="615"/>
                    </a:lnTo>
                    <a:lnTo>
                      <a:pt x="435" y="606"/>
                    </a:lnTo>
                    <a:lnTo>
                      <a:pt x="447" y="598"/>
                    </a:lnTo>
                    <a:lnTo>
                      <a:pt x="461" y="592"/>
                    </a:lnTo>
                    <a:lnTo>
                      <a:pt x="469" y="589"/>
                    </a:lnTo>
                    <a:lnTo>
                      <a:pt x="478" y="587"/>
                    </a:lnTo>
                    <a:lnTo>
                      <a:pt x="487" y="585"/>
                    </a:lnTo>
                    <a:lnTo>
                      <a:pt x="498" y="585"/>
                    </a:lnTo>
                    <a:lnTo>
                      <a:pt x="520" y="585"/>
                    </a:lnTo>
                    <a:lnTo>
                      <a:pt x="544" y="584"/>
                    </a:lnTo>
                    <a:lnTo>
                      <a:pt x="558" y="584"/>
                    </a:lnTo>
                    <a:lnTo>
                      <a:pt x="570" y="582"/>
                    </a:lnTo>
                    <a:lnTo>
                      <a:pt x="581" y="581"/>
                    </a:lnTo>
                    <a:lnTo>
                      <a:pt x="592" y="579"/>
                    </a:lnTo>
                    <a:lnTo>
                      <a:pt x="605" y="570"/>
                    </a:lnTo>
                    <a:lnTo>
                      <a:pt x="619" y="558"/>
                    </a:lnTo>
                    <a:lnTo>
                      <a:pt x="635" y="542"/>
                    </a:lnTo>
                    <a:lnTo>
                      <a:pt x="650" y="525"/>
                    </a:lnTo>
                    <a:lnTo>
                      <a:pt x="664" y="508"/>
                    </a:lnTo>
                    <a:lnTo>
                      <a:pt x="677" y="490"/>
                    </a:lnTo>
                    <a:lnTo>
                      <a:pt x="688" y="475"/>
                    </a:lnTo>
                    <a:lnTo>
                      <a:pt x="698" y="462"/>
                    </a:lnTo>
                    <a:lnTo>
                      <a:pt x="695" y="461"/>
                    </a:lnTo>
                    <a:lnTo>
                      <a:pt x="693" y="459"/>
                    </a:lnTo>
                    <a:lnTo>
                      <a:pt x="691" y="456"/>
                    </a:lnTo>
                    <a:lnTo>
                      <a:pt x="688" y="452"/>
                    </a:lnTo>
                    <a:lnTo>
                      <a:pt x="683" y="444"/>
                    </a:lnTo>
                    <a:lnTo>
                      <a:pt x="677" y="437"/>
                    </a:lnTo>
                    <a:lnTo>
                      <a:pt x="688" y="432"/>
                    </a:lnTo>
                    <a:lnTo>
                      <a:pt x="697" y="426"/>
                    </a:lnTo>
                    <a:lnTo>
                      <a:pt x="705" y="419"/>
                    </a:lnTo>
                    <a:lnTo>
                      <a:pt x="710" y="413"/>
                    </a:lnTo>
                    <a:lnTo>
                      <a:pt x="716" y="406"/>
                    </a:lnTo>
                    <a:lnTo>
                      <a:pt x="721" y="399"/>
                    </a:lnTo>
                    <a:lnTo>
                      <a:pt x="729" y="393"/>
                    </a:lnTo>
                    <a:lnTo>
                      <a:pt x="738" y="388"/>
                    </a:lnTo>
                    <a:lnTo>
                      <a:pt x="739" y="399"/>
                    </a:lnTo>
                    <a:lnTo>
                      <a:pt x="741" y="409"/>
                    </a:lnTo>
                    <a:lnTo>
                      <a:pt x="744" y="418"/>
                    </a:lnTo>
                    <a:lnTo>
                      <a:pt x="749" y="425"/>
                    </a:lnTo>
                    <a:lnTo>
                      <a:pt x="758" y="439"/>
                    </a:lnTo>
                    <a:lnTo>
                      <a:pt x="764" y="450"/>
                    </a:lnTo>
                    <a:lnTo>
                      <a:pt x="768" y="437"/>
                    </a:lnTo>
                    <a:lnTo>
                      <a:pt x="770" y="428"/>
                    </a:lnTo>
                    <a:lnTo>
                      <a:pt x="771" y="418"/>
                    </a:lnTo>
                    <a:lnTo>
                      <a:pt x="771" y="406"/>
                    </a:lnTo>
                    <a:lnTo>
                      <a:pt x="775" y="402"/>
                    </a:lnTo>
                    <a:lnTo>
                      <a:pt x="776" y="397"/>
                    </a:lnTo>
                    <a:lnTo>
                      <a:pt x="777" y="391"/>
                    </a:lnTo>
                    <a:lnTo>
                      <a:pt x="777" y="385"/>
                    </a:lnTo>
                    <a:lnTo>
                      <a:pt x="777" y="379"/>
                    </a:lnTo>
                    <a:lnTo>
                      <a:pt x="778" y="373"/>
                    </a:lnTo>
                    <a:lnTo>
                      <a:pt x="781" y="368"/>
                    </a:lnTo>
                    <a:lnTo>
                      <a:pt x="784" y="363"/>
                    </a:lnTo>
                    <a:lnTo>
                      <a:pt x="787" y="370"/>
                    </a:lnTo>
                    <a:lnTo>
                      <a:pt x="790" y="381"/>
                    </a:lnTo>
                    <a:lnTo>
                      <a:pt x="838" y="381"/>
                    </a:lnTo>
                    <a:lnTo>
                      <a:pt x="833" y="369"/>
                    </a:lnTo>
                    <a:lnTo>
                      <a:pt x="832" y="358"/>
                    </a:lnTo>
                    <a:lnTo>
                      <a:pt x="831" y="349"/>
                    </a:lnTo>
                    <a:lnTo>
                      <a:pt x="832" y="341"/>
                    </a:lnTo>
                    <a:lnTo>
                      <a:pt x="835" y="327"/>
                    </a:lnTo>
                    <a:lnTo>
                      <a:pt x="838" y="314"/>
                    </a:lnTo>
                    <a:lnTo>
                      <a:pt x="852" y="315"/>
                    </a:lnTo>
                    <a:lnTo>
                      <a:pt x="860" y="316"/>
                    </a:lnTo>
                    <a:lnTo>
                      <a:pt x="863" y="316"/>
                    </a:lnTo>
                    <a:lnTo>
                      <a:pt x="866" y="316"/>
                    </a:lnTo>
                    <a:lnTo>
                      <a:pt x="871" y="315"/>
                    </a:lnTo>
                    <a:lnTo>
                      <a:pt x="877" y="314"/>
                    </a:lnTo>
                    <a:lnTo>
                      <a:pt x="885" y="295"/>
                    </a:lnTo>
                    <a:lnTo>
                      <a:pt x="891" y="281"/>
                    </a:lnTo>
                    <a:lnTo>
                      <a:pt x="898" y="268"/>
                    </a:lnTo>
                    <a:lnTo>
                      <a:pt x="910" y="252"/>
                    </a:lnTo>
                    <a:lnTo>
                      <a:pt x="916" y="255"/>
                    </a:lnTo>
                    <a:lnTo>
                      <a:pt x="921" y="256"/>
                    </a:lnTo>
                    <a:lnTo>
                      <a:pt x="925" y="256"/>
                    </a:lnTo>
                    <a:lnTo>
                      <a:pt x="930" y="255"/>
                    </a:lnTo>
                    <a:lnTo>
                      <a:pt x="933" y="253"/>
                    </a:lnTo>
                    <a:lnTo>
                      <a:pt x="935" y="250"/>
                    </a:lnTo>
                    <a:lnTo>
                      <a:pt x="939" y="246"/>
                    </a:lnTo>
                    <a:lnTo>
                      <a:pt x="940" y="242"/>
                    </a:lnTo>
                    <a:lnTo>
                      <a:pt x="946" y="224"/>
                    </a:lnTo>
                    <a:lnTo>
                      <a:pt x="951" y="209"/>
                    </a:lnTo>
                    <a:lnTo>
                      <a:pt x="957" y="212"/>
                    </a:lnTo>
                    <a:lnTo>
                      <a:pt x="965" y="214"/>
                    </a:lnTo>
                    <a:lnTo>
                      <a:pt x="973" y="215"/>
                    </a:lnTo>
                    <a:lnTo>
                      <a:pt x="980" y="214"/>
                    </a:lnTo>
                    <a:lnTo>
                      <a:pt x="989" y="214"/>
                    </a:lnTo>
                    <a:lnTo>
                      <a:pt x="998" y="213"/>
                    </a:lnTo>
                    <a:lnTo>
                      <a:pt x="1007" y="213"/>
                    </a:lnTo>
                    <a:lnTo>
                      <a:pt x="1017" y="215"/>
                    </a:lnTo>
                    <a:lnTo>
                      <a:pt x="1022" y="219"/>
                    </a:lnTo>
                    <a:lnTo>
                      <a:pt x="1027" y="223"/>
                    </a:lnTo>
                    <a:lnTo>
                      <a:pt x="1031" y="227"/>
                    </a:lnTo>
                    <a:lnTo>
                      <a:pt x="1033" y="232"/>
                    </a:lnTo>
                    <a:lnTo>
                      <a:pt x="1037" y="244"/>
                    </a:lnTo>
                    <a:lnTo>
                      <a:pt x="1040" y="257"/>
                    </a:lnTo>
                    <a:lnTo>
                      <a:pt x="1043" y="269"/>
                    </a:lnTo>
                    <a:lnTo>
                      <a:pt x="1046" y="280"/>
                    </a:lnTo>
                    <a:lnTo>
                      <a:pt x="1050" y="284"/>
                    </a:lnTo>
                    <a:lnTo>
                      <a:pt x="1053" y="287"/>
                    </a:lnTo>
                    <a:lnTo>
                      <a:pt x="1057" y="289"/>
                    </a:lnTo>
                    <a:lnTo>
                      <a:pt x="1063" y="290"/>
                    </a:lnTo>
                    <a:lnTo>
                      <a:pt x="1069" y="289"/>
                    </a:lnTo>
                    <a:lnTo>
                      <a:pt x="1076" y="286"/>
                    </a:lnTo>
                    <a:lnTo>
                      <a:pt x="1078" y="284"/>
                    </a:lnTo>
                    <a:lnTo>
                      <a:pt x="1081" y="282"/>
                    </a:lnTo>
                    <a:lnTo>
                      <a:pt x="1083" y="280"/>
                    </a:lnTo>
                    <a:lnTo>
                      <a:pt x="1084" y="277"/>
                    </a:lnTo>
                    <a:lnTo>
                      <a:pt x="1088" y="279"/>
                    </a:lnTo>
                    <a:lnTo>
                      <a:pt x="1092" y="280"/>
                    </a:lnTo>
                    <a:lnTo>
                      <a:pt x="1096" y="280"/>
                    </a:lnTo>
                    <a:lnTo>
                      <a:pt x="1099" y="280"/>
                    </a:lnTo>
                    <a:lnTo>
                      <a:pt x="1104" y="278"/>
                    </a:lnTo>
                    <a:lnTo>
                      <a:pt x="1110" y="277"/>
                    </a:lnTo>
                    <a:lnTo>
                      <a:pt x="1120" y="277"/>
                    </a:lnTo>
                    <a:lnTo>
                      <a:pt x="1128" y="276"/>
                    </a:lnTo>
                    <a:lnTo>
                      <a:pt x="1133" y="274"/>
                    </a:lnTo>
                    <a:lnTo>
                      <a:pt x="1135" y="270"/>
                    </a:lnTo>
                    <a:lnTo>
                      <a:pt x="1136" y="261"/>
                    </a:lnTo>
                    <a:lnTo>
                      <a:pt x="1136" y="246"/>
                    </a:lnTo>
                    <a:lnTo>
                      <a:pt x="1136" y="240"/>
                    </a:lnTo>
                    <a:lnTo>
                      <a:pt x="1137" y="234"/>
                    </a:lnTo>
                    <a:lnTo>
                      <a:pt x="1140" y="228"/>
                    </a:lnTo>
                    <a:lnTo>
                      <a:pt x="1143" y="223"/>
                    </a:lnTo>
                    <a:lnTo>
                      <a:pt x="1148" y="212"/>
                    </a:lnTo>
                    <a:lnTo>
                      <a:pt x="1156" y="204"/>
                    </a:lnTo>
                    <a:lnTo>
                      <a:pt x="1164" y="195"/>
                    </a:lnTo>
                    <a:lnTo>
                      <a:pt x="1170" y="186"/>
                    </a:lnTo>
                    <a:lnTo>
                      <a:pt x="1173" y="182"/>
                    </a:lnTo>
                    <a:lnTo>
                      <a:pt x="1175" y="177"/>
                    </a:lnTo>
                    <a:lnTo>
                      <a:pt x="1176" y="172"/>
                    </a:lnTo>
                    <a:lnTo>
                      <a:pt x="1176" y="167"/>
                    </a:lnTo>
                    <a:lnTo>
                      <a:pt x="1189" y="154"/>
                    </a:lnTo>
                    <a:lnTo>
                      <a:pt x="1201" y="146"/>
                    </a:lnTo>
                    <a:lnTo>
                      <a:pt x="1213" y="139"/>
                    </a:lnTo>
                    <a:lnTo>
                      <a:pt x="1225" y="134"/>
                    </a:lnTo>
                    <a:lnTo>
                      <a:pt x="1237" y="131"/>
                    </a:lnTo>
                    <a:lnTo>
                      <a:pt x="1248" y="128"/>
                    </a:lnTo>
                    <a:lnTo>
                      <a:pt x="1259" y="127"/>
                    </a:lnTo>
                    <a:lnTo>
                      <a:pt x="1270" y="126"/>
                    </a:lnTo>
                    <a:lnTo>
                      <a:pt x="1289" y="125"/>
                    </a:lnTo>
                    <a:lnTo>
                      <a:pt x="1305" y="123"/>
                    </a:lnTo>
                    <a:lnTo>
                      <a:pt x="1313" y="121"/>
                    </a:lnTo>
                    <a:lnTo>
                      <a:pt x="1320" y="117"/>
                    </a:lnTo>
                    <a:lnTo>
                      <a:pt x="1324" y="112"/>
                    </a:lnTo>
                    <a:lnTo>
                      <a:pt x="1328" y="104"/>
                    </a:lnTo>
                    <a:lnTo>
                      <a:pt x="1322" y="94"/>
                    </a:lnTo>
                    <a:lnTo>
                      <a:pt x="1314" y="86"/>
                    </a:lnTo>
                    <a:lnTo>
                      <a:pt x="1308" y="80"/>
                    </a:lnTo>
                    <a:lnTo>
                      <a:pt x="1301" y="75"/>
                    </a:lnTo>
                    <a:lnTo>
                      <a:pt x="1297" y="69"/>
                    </a:lnTo>
                    <a:lnTo>
                      <a:pt x="1292" y="64"/>
                    </a:lnTo>
                    <a:lnTo>
                      <a:pt x="1290" y="58"/>
                    </a:lnTo>
                    <a:lnTo>
                      <a:pt x="1289" y="49"/>
                    </a:lnTo>
                    <a:lnTo>
                      <a:pt x="1305" y="48"/>
                    </a:lnTo>
                    <a:lnTo>
                      <a:pt x="1322" y="45"/>
                    </a:lnTo>
                    <a:lnTo>
                      <a:pt x="1336" y="41"/>
                    </a:lnTo>
                    <a:lnTo>
                      <a:pt x="1349" y="36"/>
                    </a:lnTo>
                    <a:lnTo>
                      <a:pt x="1352" y="46"/>
                    </a:lnTo>
                    <a:lnTo>
                      <a:pt x="1356" y="56"/>
                    </a:lnTo>
                    <a:lnTo>
                      <a:pt x="1360" y="64"/>
                    </a:lnTo>
                    <a:lnTo>
                      <a:pt x="1366" y="72"/>
                    </a:lnTo>
                    <a:lnTo>
                      <a:pt x="1372" y="78"/>
                    </a:lnTo>
                    <a:lnTo>
                      <a:pt x="1379" y="84"/>
                    </a:lnTo>
                    <a:lnTo>
                      <a:pt x="1387" y="90"/>
                    </a:lnTo>
                    <a:lnTo>
                      <a:pt x="1394" y="94"/>
                    </a:lnTo>
                    <a:lnTo>
                      <a:pt x="1403" y="98"/>
                    </a:lnTo>
                    <a:lnTo>
                      <a:pt x="1412" y="101"/>
                    </a:lnTo>
                    <a:lnTo>
                      <a:pt x="1422" y="104"/>
                    </a:lnTo>
                    <a:lnTo>
                      <a:pt x="1432" y="107"/>
                    </a:lnTo>
                    <a:lnTo>
                      <a:pt x="1443" y="109"/>
                    </a:lnTo>
                    <a:lnTo>
                      <a:pt x="1453" y="110"/>
                    </a:lnTo>
                    <a:lnTo>
                      <a:pt x="1464" y="111"/>
                    </a:lnTo>
                    <a:lnTo>
                      <a:pt x="1476" y="111"/>
                    </a:lnTo>
                    <a:lnTo>
                      <a:pt x="1481" y="110"/>
                    </a:lnTo>
                    <a:lnTo>
                      <a:pt x="1489" y="108"/>
                    </a:lnTo>
                    <a:lnTo>
                      <a:pt x="1499" y="105"/>
                    </a:lnTo>
                    <a:lnTo>
                      <a:pt x="1509" y="104"/>
                    </a:lnTo>
                    <a:lnTo>
                      <a:pt x="1514" y="109"/>
                    </a:lnTo>
                    <a:lnTo>
                      <a:pt x="1523" y="113"/>
                    </a:lnTo>
                    <a:lnTo>
                      <a:pt x="1532" y="116"/>
                    </a:lnTo>
                    <a:lnTo>
                      <a:pt x="1541" y="117"/>
                    </a:lnTo>
                    <a:lnTo>
                      <a:pt x="1544" y="117"/>
                    </a:lnTo>
                    <a:lnTo>
                      <a:pt x="1547" y="115"/>
                    </a:lnTo>
                    <a:lnTo>
                      <a:pt x="1549" y="113"/>
                    </a:lnTo>
                    <a:lnTo>
                      <a:pt x="1551" y="110"/>
                    </a:lnTo>
                    <a:lnTo>
                      <a:pt x="1557" y="103"/>
                    </a:lnTo>
                    <a:lnTo>
                      <a:pt x="1561" y="98"/>
                    </a:lnTo>
                    <a:lnTo>
                      <a:pt x="1561" y="135"/>
                    </a:lnTo>
                    <a:lnTo>
                      <a:pt x="1556" y="146"/>
                    </a:lnTo>
                    <a:lnTo>
                      <a:pt x="1545" y="163"/>
                    </a:lnTo>
                    <a:lnTo>
                      <a:pt x="1530" y="183"/>
                    </a:lnTo>
                    <a:lnTo>
                      <a:pt x="1513" y="205"/>
                    </a:lnTo>
                    <a:lnTo>
                      <a:pt x="1495" y="228"/>
                    </a:lnTo>
                    <a:lnTo>
                      <a:pt x="1479" y="247"/>
                    </a:lnTo>
                    <a:lnTo>
                      <a:pt x="1465" y="262"/>
                    </a:lnTo>
                    <a:lnTo>
                      <a:pt x="1455" y="270"/>
                    </a:lnTo>
                    <a:lnTo>
                      <a:pt x="1464" y="275"/>
                    </a:lnTo>
                    <a:lnTo>
                      <a:pt x="1470" y="278"/>
                    </a:lnTo>
                    <a:lnTo>
                      <a:pt x="1474" y="282"/>
                    </a:lnTo>
                    <a:lnTo>
                      <a:pt x="1479" y="286"/>
                    </a:lnTo>
                    <a:lnTo>
                      <a:pt x="1485" y="294"/>
                    </a:lnTo>
                    <a:lnTo>
                      <a:pt x="1489" y="302"/>
                    </a:lnTo>
                    <a:lnTo>
                      <a:pt x="1492" y="310"/>
                    </a:lnTo>
                    <a:lnTo>
                      <a:pt x="1495" y="317"/>
                    </a:lnTo>
                    <a:lnTo>
                      <a:pt x="1498" y="321"/>
                    </a:lnTo>
                    <a:lnTo>
                      <a:pt x="1500" y="325"/>
                    </a:lnTo>
                    <a:lnTo>
                      <a:pt x="1504" y="328"/>
                    </a:lnTo>
                    <a:lnTo>
                      <a:pt x="1509" y="333"/>
                    </a:lnTo>
                    <a:lnTo>
                      <a:pt x="1514" y="336"/>
                    </a:lnTo>
                    <a:lnTo>
                      <a:pt x="1520" y="338"/>
                    </a:lnTo>
                    <a:lnTo>
                      <a:pt x="1525" y="339"/>
                    </a:lnTo>
                    <a:lnTo>
                      <a:pt x="1532" y="338"/>
                    </a:lnTo>
                    <a:lnTo>
                      <a:pt x="1538" y="338"/>
                    </a:lnTo>
                    <a:lnTo>
                      <a:pt x="1544" y="337"/>
                    </a:lnTo>
                    <a:lnTo>
                      <a:pt x="1549" y="337"/>
                    </a:lnTo>
                    <a:lnTo>
                      <a:pt x="1555" y="339"/>
                    </a:lnTo>
                    <a:lnTo>
                      <a:pt x="1560" y="340"/>
                    </a:lnTo>
                    <a:lnTo>
                      <a:pt x="1566" y="342"/>
                    </a:lnTo>
                    <a:lnTo>
                      <a:pt x="1570" y="345"/>
                    </a:lnTo>
                    <a:lnTo>
                      <a:pt x="1574" y="347"/>
                    </a:lnTo>
                    <a:lnTo>
                      <a:pt x="1582" y="354"/>
                    </a:lnTo>
                    <a:lnTo>
                      <a:pt x="1588" y="361"/>
                    </a:lnTo>
                    <a:lnTo>
                      <a:pt x="1594" y="368"/>
                    </a:lnTo>
                    <a:lnTo>
                      <a:pt x="1602" y="376"/>
                    </a:lnTo>
                    <a:lnTo>
                      <a:pt x="1605" y="379"/>
                    </a:lnTo>
                    <a:lnTo>
                      <a:pt x="1611" y="382"/>
                    </a:lnTo>
                    <a:lnTo>
                      <a:pt x="1615" y="386"/>
                    </a:lnTo>
                    <a:lnTo>
                      <a:pt x="1622" y="388"/>
                    </a:lnTo>
                    <a:lnTo>
                      <a:pt x="1629" y="391"/>
                    </a:lnTo>
                    <a:lnTo>
                      <a:pt x="1637" y="394"/>
                    </a:lnTo>
                    <a:lnTo>
                      <a:pt x="1644" y="398"/>
                    </a:lnTo>
                    <a:lnTo>
                      <a:pt x="1649" y="403"/>
                    </a:lnTo>
                    <a:lnTo>
                      <a:pt x="1659" y="413"/>
                    </a:lnTo>
                    <a:lnTo>
                      <a:pt x="1668" y="423"/>
                    </a:lnTo>
                    <a:lnTo>
                      <a:pt x="1677" y="433"/>
                    </a:lnTo>
                    <a:lnTo>
                      <a:pt x="1686" y="442"/>
                    </a:lnTo>
                    <a:lnTo>
                      <a:pt x="1692" y="445"/>
                    </a:lnTo>
                    <a:lnTo>
                      <a:pt x="1698" y="448"/>
                    </a:lnTo>
                    <a:lnTo>
                      <a:pt x="1706" y="449"/>
                    </a:lnTo>
                    <a:lnTo>
                      <a:pt x="1714" y="450"/>
                    </a:lnTo>
                    <a:lnTo>
                      <a:pt x="1719" y="449"/>
                    </a:lnTo>
                    <a:lnTo>
                      <a:pt x="1724" y="448"/>
                    </a:lnTo>
                    <a:lnTo>
                      <a:pt x="1729" y="446"/>
                    </a:lnTo>
                    <a:lnTo>
                      <a:pt x="1735" y="444"/>
                    </a:lnTo>
                    <a:lnTo>
                      <a:pt x="1745" y="435"/>
                    </a:lnTo>
                    <a:lnTo>
                      <a:pt x="1754" y="425"/>
                    </a:lnTo>
                    <a:lnTo>
                      <a:pt x="1764" y="413"/>
                    </a:lnTo>
                    <a:lnTo>
                      <a:pt x="1773" y="400"/>
                    </a:lnTo>
                    <a:lnTo>
                      <a:pt x="1782" y="385"/>
                    </a:lnTo>
                    <a:lnTo>
                      <a:pt x="1791" y="368"/>
                    </a:lnTo>
                    <a:lnTo>
                      <a:pt x="1798" y="351"/>
                    </a:lnTo>
                    <a:lnTo>
                      <a:pt x="1805" y="334"/>
                    </a:lnTo>
                    <a:lnTo>
                      <a:pt x="1812" y="316"/>
                    </a:lnTo>
                    <a:lnTo>
                      <a:pt x="1817" y="299"/>
                    </a:lnTo>
                    <a:lnTo>
                      <a:pt x="1821" y="283"/>
                    </a:lnTo>
                    <a:lnTo>
                      <a:pt x="1825" y="266"/>
                    </a:lnTo>
                    <a:lnTo>
                      <a:pt x="1827" y="252"/>
                    </a:lnTo>
                    <a:lnTo>
                      <a:pt x="1827" y="240"/>
                    </a:lnTo>
                    <a:lnTo>
                      <a:pt x="1828" y="223"/>
                    </a:lnTo>
                    <a:lnTo>
                      <a:pt x="1830" y="205"/>
                    </a:lnTo>
                    <a:lnTo>
                      <a:pt x="1834" y="189"/>
                    </a:lnTo>
                    <a:lnTo>
                      <a:pt x="1839" y="174"/>
                    </a:lnTo>
                    <a:lnTo>
                      <a:pt x="1845" y="159"/>
                    </a:lnTo>
                    <a:lnTo>
                      <a:pt x="1850" y="145"/>
                    </a:lnTo>
                    <a:lnTo>
                      <a:pt x="1857" y="131"/>
                    </a:lnTo>
                    <a:lnTo>
                      <a:pt x="1863" y="118"/>
                    </a:lnTo>
                    <a:lnTo>
                      <a:pt x="1877" y="90"/>
                    </a:lnTo>
                    <a:lnTo>
                      <a:pt x="1888" y="63"/>
                    </a:lnTo>
                    <a:lnTo>
                      <a:pt x="1894" y="47"/>
                    </a:lnTo>
                    <a:lnTo>
                      <a:pt x="1897" y="32"/>
                    </a:lnTo>
                    <a:lnTo>
                      <a:pt x="1899" y="17"/>
                    </a:lnTo>
                    <a:lnTo>
                      <a:pt x="1901" y="0"/>
                    </a:lnTo>
                    <a:lnTo>
                      <a:pt x="1904" y="10"/>
                    </a:lnTo>
                    <a:lnTo>
                      <a:pt x="1909" y="21"/>
                    </a:lnTo>
                    <a:lnTo>
                      <a:pt x="1917" y="32"/>
                    </a:lnTo>
                    <a:lnTo>
                      <a:pt x="1925" y="43"/>
                    </a:lnTo>
                    <a:lnTo>
                      <a:pt x="1932" y="55"/>
                    </a:lnTo>
                    <a:lnTo>
                      <a:pt x="1940" y="63"/>
                    </a:lnTo>
                    <a:lnTo>
                      <a:pt x="1948" y="70"/>
                    </a:lnTo>
                    <a:lnTo>
                      <a:pt x="1953" y="74"/>
                    </a:lnTo>
                    <a:lnTo>
                      <a:pt x="1952" y="76"/>
                    </a:lnTo>
                    <a:lnTo>
                      <a:pt x="1950" y="77"/>
                    </a:lnTo>
                    <a:lnTo>
                      <a:pt x="1947" y="78"/>
                    </a:lnTo>
                    <a:lnTo>
                      <a:pt x="1943" y="79"/>
                    </a:lnTo>
                    <a:lnTo>
                      <a:pt x="1937" y="80"/>
                    </a:lnTo>
                    <a:lnTo>
                      <a:pt x="1933" y="80"/>
                    </a:lnTo>
                    <a:lnTo>
                      <a:pt x="1935" y="90"/>
                    </a:lnTo>
                    <a:lnTo>
                      <a:pt x="1937" y="98"/>
                    </a:lnTo>
                    <a:lnTo>
                      <a:pt x="1940" y="104"/>
                    </a:lnTo>
                    <a:lnTo>
                      <a:pt x="1943" y="110"/>
                    </a:lnTo>
                    <a:lnTo>
                      <a:pt x="1947" y="115"/>
                    </a:lnTo>
                    <a:lnTo>
                      <a:pt x="1950" y="121"/>
                    </a:lnTo>
                    <a:lnTo>
                      <a:pt x="1952" y="127"/>
                    </a:lnTo>
                    <a:lnTo>
                      <a:pt x="1953" y="135"/>
                    </a:lnTo>
                    <a:lnTo>
                      <a:pt x="1953" y="144"/>
                    </a:lnTo>
                    <a:lnTo>
                      <a:pt x="1951" y="152"/>
                    </a:lnTo>
                    <a:lnTo>
                      <a:pt x="1949" y="160"/>
                    </a:lnTo>
                    <a:lnTo>
                      <a:pt x="1947" y="169"/>
                    </a:lnTo>
                    <a:lnTo>
                      <a:pt x="1944" y="176"/>
                    </a:lnTo>
                    <a:lnTo>
                      <a:pt x="1942" y="183"/>
                    </a:lnTo>
                    <a:lnTo>
                      <a:pt x="1941" y="190"/>
                    </a:lnTo>
                    <a:lnTo>
                      <a:pt x="1940" y="197"/>
                    </a:lnTo>
                    <a:lnTo>
                      <a:pt x="1940" y="201"/>
                    </a:lnTo>
                    <a:lnTo>
                      <a:pt x="1941" y="206"/>
                    </a:lnTo>
                    <a:lnTo>
                      <a:pt x="1942" y="210"/>
                    </a:lnTo>
                    <a:lnTo>
                      <a:pt x="1944" y="214"/>
                    </a:lnTo>
                    <a:lnTo>
                      <a:pt x="1950" y="222"/>
                    </a:lnTo>
                    <a:lnTo>
                      <a:pt x="1955" y="228"/>
                    </a:lnTo>
                    <a:lnTo>
                      <a:pt x="1963" y="233"/>
                    </a:lnTo>
                    <a:lnTo>
                      <a:pt x="1971" y="237"/>
                    </a:lnTo>
                    <a:lnTo>
                      <a:pt x="1978" y="239"/>
                    </a:lnTo>
                    <a:lnTo>
                      <a:pt x="1986" y="240"/>
                    </a:lnTo>
                    <a:lnTo>
                      <a:pt x="1987" y="244"/>
                    </a:lnTo>
                    <a:lnTo>
                      <a:pt x="1989" y="248"/>
                    </a:lnTo>
                    <a:lnTo>
                      <a:pt x="1993" y="251"/>
                    </a:lnTo>
                    <a:lnTo>
                      <a:pt x="1997" y="254"/>
                    </a:lnTo>
                    <a:lnTo>
                      <a:pt x="2006" y="257"/>
                    </a:lnTo>
                    <a:lnTo>
                      <a:pt x="2014" y="258"/>
                    </a:lnTo>
                    <a:lnTo>
                      <a:pt x="2014" y="278"/>
                    </a:lnTo>
                    <a:lnTo>
                      <a:pt x="2015" y="297"/>
                    </a:lnTo>
                    <a:lnTo>
                      <a:pt x="2017" y="314"/>
                    </a:lnTo>
                    <a:lnTo>
                      <a:pt x="2019" y="332"/>
                    </a:lnTo>
                    <a:lnTo>
                      <a:pt x="2026" y="365"/>
                    </a:lnTo>
                    <a:lnTo>
                      <a:pt x="2033" y="398"/>
                    </a:lnTo>
                    <a:lnTo>
                      <a:pt x="2040" y="429"/>
                    </a:lnTo>
                    <a:lnTo>
                      <a:pt x="2047" y="461"/>
                    </a:lnTo>
                    <a:lnTo>
                      <a:pt x="2050" y="476"/>
                    </a:lnTo>
                    <a:lnTo>
                      <a:pt x="2051" y="491"/>
                    </a:lnTo>
                    <a:lnTo>
                      <a:pt x="2053" y="508"/>
                    </a:lnTo>
                    <a:lnTo>
                      <a:pt x="2053" y="523"/>
                    </a:lnTo>
                    <a:lnTo>
                      <a:pt x="2053" y="526"/>
                    </a:lnTo>
                    <a:lnTo>
                      <a:pt x="2054" y="528"/>
                    </a:lnTo>
                    <a:lnTo>
                      <a:pt x="2056" y="529"/>
                    </a:lnTo>
                    <a:lnTo>
                      <a:pt x="2060" y="531"/>
                    </a:lnTo>
                    <a:lnTo>
                      <a:pt x="2066" y="533"/>
                    </a:lnTo>
                    <a:lnTo>
                      <a:pt x="2074" y="536"/>
                    </a:lnTo>
                    <a:lnTo>
                      <a:pt x="2082" y="538"/>
                    </a:lnTo>
                    <a:lnTo>
                      <a:pt x="2089" y="540"/>
                    </a:lnTo>
                    <a:lnTo>
                      <a:pt x="2096" y="544"/>
                    </a:lnTo>
                    <a:lnTo>
                      <a:pt x="2099" y="548"/>
                    </a:lnTo>
                    <a:lnTo>
                      <a:pt x="2108" y="562"/>
                    </a:lnTo>
                    <a:lnTo>
                      <a:pt x="2116" y="574"/>
                    </a:lnTo>
                    <a:lnTo>
                      <a:pt x="2120" y="578"/>
                    </a:lnTo>
                    <a:lnTo>
                      <a:pt x="2123" y="582"/>
                    </a:lnTo>
                    <a:lnTo>
                      <a:pt x="2128" y="584"/>
                    </a:lnTo>
                    <a:lnTo>
                      <a:pt x="2133" y="585"/>
                    </a:lnTo>
                    <a:lnTo>
                      <a:pt x="2134" y="596"/>
                    </a:lnTo>
                    <a:lnTo>
                      <a:pt x="2139" y="615"/>
                    </a:lnTo>
                    <a:lnTo>
                      <a:pt x="2146" y="637"/>
                    </a:lnTo>
                    <a:lnTo>
                      <a:pt x="2154" y="661"/>
                    </a:lnTo>
                    <a:lnTo>
                      <a:pt x="2163" y="686"/>
                    </a:lnTo>
                    <a:lnTo>
                      <a:pt x="2172" y="707"/>
                    </a:lnTo>
                    <a:lnTo>
                      <a:pt x="2179" y="724"/>
                    </a:lnTo>
                    <a:lnTo>
                      <a:pt x="2186" y="733"/>
                    </a:lnTo>
                    <a:lnTo>
                      <a:pt x="2188" y="735"/>
                    </a:lnTo>
                    <a:lnTo>
                      <a:pt x="2194" y="737"/>
                    </a:lnTo>
                    <a:lnTo>
                      <a:pt x="2201" y="738"/>
                    </a:lnTo>
                    <a:lnTo>
                      <a:pt x="2211" y="739"/>
                    </a:lnTo>
                    <a:lnTo>
                      <a:pt x="2231" y="742"/>
                    </a:lnTo>
                    <a:lnTo>
                      <a:pt x="2245" y="745"/>
                    </a:lnTo>
                    <a:lnTo>
                      <a:pt x="2242" y="756"/>
                    </a:lnTo>
                    <a:lnTo>
                      <a:pt x="2238" y="762"/>
                    </a:lnTo>
                    <a:lnTo>
                      <a:pt x="2231" y="766"/>
                    </a:lnTo>
                    <a:lnTo>
                      <a:pt x="2219" y="769"/>
                    </a:lnTo>
                    <a:lnTo>
                      <a:pt x="2223" y="781"/>
                    </a:lnTo>
                    <a:lnTo>
                      <a:pt x="2228" y="790"/>
                    </a:lnTo>
                    <a:lnTo>
                      <a:pt x="2233" y="800"/>
                    </a:lnTo>
                    <a:lnTo>
                      <a:pt x="2239" y="809"/>
                    </a:lnTo>
                    <a:lnTo>
                      <a:pt x="2251" y="827"/>
                    </a:lnTo>
                    <a:lnTo>
                      <a:pt x="2263" y="846"/>
                    </a:lnTo>
                    <a:lnTo>
                      <a:pt x="2289" y="879"/>
                    </a:lnTo>
                    <a:lnTo>
                      <a:pt x="2312" y="912"/>
                    </a:lnTo>
                    <a:lnTo>
                      <a:pt x="2318" y="907"/>
                    </a:lnTo>
                    <a:lnTo>
                      <a:pt x="2324" y="902"/>
                    </a:lnTo>
                    <a:lnTo>
                      <a:pt x="2328" y="899"/>
                    </a:lnTo>
                    <a:lnTo>
                      <a:pt x="2330" y="896"/>
                    </a:lnTo>
                    <a:lnTo>
                      <a:pt x="2332" y="892"/>
                    </a:lnTo>
                    <a:lnTo>
                      <a:pt x="2332" y="887"/>
                    </a:lnTo>
                    <a:lnTo>
                      <a:pt x="2332" y="896"/>
                    </a:lnTo>
                    <a:lnTo>
                      <a:pt x="2332" y="903"/>
                    </a:lnTo>
                    <a:lnTo>
                      <a:pt x="2332" y="910"/>
                    </a:lnTo>
                    <a:lnTo>
                      <a:pt x="2332" y="918"/>
                    </a:lnTo>
                    <a:lnTo>
                      <a:pt x="2293" y="1010"/>
                    </a:lnTo>
                    <a:lnTo>
                      <a:pt x="2295" y="1024"/>
                    </a:lnTo>
                    <a:lnTo>
                      <a:pt x="2296" y="1038"/>
                    </a:lnTo>
                    <a:lnTo>
                      <a:pt x="2295" y="1051"/>
                    </a:lnTo>
                    <a:lnTo>
                      <a:pt x="2291" y="1066"/>
                    </a:lnTo>
                    <a:lnTo>
                      <a:pt x="2288" y="1079"/>
                    </a:lnTo>
                    <a:lnTo>
                      <a:pt x="2283" y="1092"/>
                    </a:lnTo>
                    <a:lnTo>
                      <a:pt x="2276" y="1105"/>
                    </a:lnTo>
                    <a:lnTo>
                      <a:pt x="2269" y="1118"/>
                    </a:lnTo>
                    <a:lnTo>
                      <a:pt x="2253" y="1143"/>
                    </a:lnTo>
                    <a:lnTo>
                      <a:pt x="2237" y="1167"/>
                    </a:lnTo>
                    <a:lnTo>
                      <a:pt x="2220" y="1188"/>
                    </a:lnTo>
                    <a:lnTo>
                      <a:pt x="2206" y="1207"/>
                    </a:lnTo>
                    <a:lnTo>
                      <a:pt x="2188" y="1233"/>
                    </a:lnTo>
                    <a:lnTo>
                      <a:pt x="2172" y="1260"/>
                    </a:lnTo>
                    <a:lnTo>
                      <a:pt x="2153" y="1289"/>
                    </a:lnTo>
                    <a:lnTo>
                      <a:pt x="2133" y="1317"/>
                    </a:lnTo>
                    <a:lnTo>
                      <a:pt x="2123" y="1329"/>
                    </a:lnTo>
                    <a:lnTo>
                      <a:pt x="2111" y="1342"/>
                    </a:lnTo>
                    <a:lnTo>
                      <a:pt x="2100" y="1352"/>
                    </a:lnTo>
                    <a:lnTo>
                      <a:pt x="2087" y="1362"/>
                    </a:lnTo>
                    <a:lnTo>
                      <a:pt x="2081" y="1366"/>
                    </a:lnTo>
                    <a:lnTo>
                      <a:pt x="2074" y="1369"/>
                    </a:lnTo>
                    <a:lnTo>
                      <a:pt x="2066" y="1372"/>
                    </a:lnTo>
                    <a:lnTo>
                      <a:pt x="2059" y="1375"/>
                    </a:lnTo>
                    <a:lnTo>
                      <a:pt x="2051" y="1377"/>
                    </a:lnTo>
                    <a:lnTo>
                      <a:pt x="2043" y="1378"/>
                    </a:lnTo>
                    <a:lnTo>
                      <a:pt x="2036" y="1379"/>
                    </a:lnTo>
                    <a:lnTo>
                      <a:pt x="2027" y="1380"/>
                    </a:lnTo>
                    <a:lnTo>
                      <a:pt x="2026" y="1393"/>
                    </a:lnTo>
                    <a:lnTo>
                      <a:pt x="2022" y="1404"/>
                    </a:lnTo>
                    <a:lnTo>
                      <a:pt x="2018" y="1414"/>
                    </a:lnTo>
                    <a:lnTo>
                      <a:pt x="2013" y="1423"/>
                    </a:lnTo>
                    <a:lnTo>
                      <a:pt x="2005" y="1432"/>
                    </a:lnTo>
                    <a:lnTo>
                      <a:pt x="1997" y="1440"/>
                    </a:lnTo>
                    <a:lnTo>
                      <a:pt x="1988" y="1449"/>
                    </a:lnTo>
                    <a:lnTo>
                      <a:pt x="1978" y="1456"/>
                    </a:lnTo>
                    <a:lnTo>
                      <a:pt x="1958" y="1470"/>
                    </a:lnTo>
                    <a:lnTo>
                      <a:pt x="1937" y="1483"/>
                    </a:lnTo>
                    <a:lnTo>
                      <a:pt x="1917" y="1495"/>
                    </a:lnTo>
                    <a:lnTo>
                      <a:pt x="1901" y="1510"/>
                    </a:lnTo>
                    <a:lnTo>
                      <a:pt x="1885" y="1525"/>
                    </a:lnTo>
                    <a:lnTo>
                      <a:pt x="1873" y="1539"/>
                    </a:lnTo>
                    <a:lnTo>
                      <a:pt x="1864" y="1553"/>
                    </a:lnTo>
                    <a:lnTo>
                      <a:pt x="1857" y="1565"/>
                    </a:lnTo>
                    <a:lnTo>
                      <a:pt x="1848" y="1578"/>
                    </a:lnTo>
                    <a:lnTo>
                      <a:pt x="1838" y="1591"/>
                    </a:lnTo>
                    <a:lnTo>
                      <a:pt x="1825" y="1604"/>
                    </a:lnTo>
                    <a:lnTo>
                      <a:pt x="1807" y="1621"/>
                    </a:lnTo>
                    <a:lnTo>
                      <a:pt x="1801" y="1630"/>
                    </a:lnTo>
                    <a:lnTo>
                      <a:pt x="1796" y="1639"/>
                    </a:lnTo>
                    <a:lnTo>
                      <a:pt x="1793" y="1648"/>
                    </a:lnTo>
                    <a:lnTo>
                      <a:pt x="1790" y="1657"/>
                    </a:lnTo>
                    <a:lnTo>
                      <a:pt x="1786" y="1665"/>
                    </a:lnTo>
                    <a:lnTo>
                      <a:pt x="1782" y="1671"/>
                    </a:lnTo>
                    <a:lnTo>
                      <a:pt x="1780" y="1673"/>
                    </a:lnTo>
                    <a:lnTo>
                      <a:pt x="1776" y="1675"/>
                    </a:lnTo>
                    <a:lnTo>
                      <a:pt x="1772" y="1676"/>
                    </a:lnTo>
                    <a:lnTo>
                      <a:pt x="1768" y="1676"/>
                    </a:lnTo>
                    <a:lnTo>
                      <a:pt x="1749" y="1676"/>
                    </a:lnTo>
                    <a:lnTo>
                      <a:pt x="1733" y="1676"/>
                    </a:lnTo>
                    <a:lnTo>
                      <a:pt x="1718" y="1676"/>
                    </a:lnTo>
                    <a:lnTo>
                      <a:pt x="1707" y="1676"/>
                    </a:lnTo>
                    <a:lnTo>
                      <a:pt x="1702" y="1676"/>
                    </a:lnTo>
                    <a:lnTo>
                      <a:pt x="1695" y="1678"/>
                    </a:lnTo>
                    <a:lnTo>
                      <a:pt x="1689" y="1680"/>
                    </a:lnTo>
                    <a:lnTo>
                      <a:pt x="1682" y="1683"/>
                    </a:lnTo>
                    <a:lnTo>
                      <a:pt x="1668" y="1690"/>
                    </a:lnTo>
                    <a:lnTo>
                      <a:pt x="1652" y="1699"/>
                    </a:lnTo>
                    <a:lnTo>
                      <a:pt x="1634" y="1708"/>
                    </a:lnTo>
                    <a:lnTo>
                      <a:pt x="1613" y="1717"/>
                    </a:lnTo>
                    <a:lnTo>
                      <a:pt x="1602" y="1722"/>
                    </a:lnTo>
                    <a:lnTo>
                      <a:pt x="1589" y="1726"/>
                    </a:lnTo>
                    <a:lnTo>
                      <a:pt x="1576" y="1729"/>
                    </a:lnTo>
                    <a:lnTo>
                      <a:pt x="1561" y="1731"/>
                    </a:lnTo>
                    <a:lnTo>
                      <a:pt x="1558" y="1725"/>
                    </a:lnTo>
                    <a:lnTo>
                      <a:pt x="1555" y="1718"/>
                    </a:lnTo>
                    <a:lnTo>
                      <a:pt x="1548" y="1718"/>
                    </a:lnTo>
                    <a:lnTo>
                      <a:pt x="1541" y="1717"/>
                    </a:lnTo>
                    <a:lnTo>
                      <a:pt x="1536" y="1715"/>
                    </a:lnTo>
                    <a:lnTo>
                      <a:pt x="1532" y="1713"/>
                    </a:lnTo>
                    <a:lnTo>
                      <a:pt x="1528" y="1711"/>
                    </a:lnTo>
                    <a:lnTo>
                      <a:pt x="1525" y="1708"/>
                    </a:lnTo>
                    <a:lnTo>
                      <a:pt x="1522" y="1705"/>
                    </a:lnTo>
                    <a:lnTo>
                      <a:pt x="1520" y="1701"/>
                    </a:lnTo>
                    <a:lnTo>
                      <a:pt x="1517" y="1693"/>
                    </a:lnTo>
                    <a:lnTo>
                      <a:pt x="1515" y="1685"/>
                    </a:lnTo>
                    <a:lnTo>
                      <a:pt x="1515" y="1677"/>
                    </a:lnTo>
                    <a:lnTo>
                      <a:pt x="1515" y="1670"/>
                    </a:lnTo>
                    <a:lnTo>
                      <a:pt x="1489" y="1690"/>
                    </a:lnTo>
                    <a:lnTo>
                      <a:pt x="1462" y="1709"/>
                    </a:lnTo>
                    <a:lnTo>
                      <a:pt x="1449" y="1718"/>
                    </a:lnTo>
                    <a:lnTo>
                      <a:pt x="1437" y="1725"/>
                    </a:lnTo>
                    <a:lnTo>
                      <a:pt x="1432" y="1728"/>
                    </a:lnTo>
                    <a:lnTo>
                      <a:pt x="1426" y="1730"/>
                    </a:lnTo>
                    <a:lnTo>
                      <a:pt x="1421" y="1731"/>
                    </a:lnTo>
                    <a:lnTo>
                      <a:pt x="1415" y="1731"/>
                    </a:lnTo>
                    <a:lnTo>
                      <a:pt x="1413" y="1731"/>
                    </a:lnTo>
                    <a:lnTo>
                      <a:pt x="1410" y="1729"/>
                    </a:lnTo>
                    <a:lnTo>
                      <a:pt x="1406" y="1727"/>
                    </a:lnTo>
                    <a:lnTo>
                      <a:pt x="1403" y="1725"/>
                    </a:lnTo>
                    <a:lnTo>
                      <a:pt x="1400" y="1722"/>
                    </a:lnTo>
                    <a:lnTo>
                      <a:pt x="1398" y="1718"/>
                    </a:lnTo>
                    <a:lnTo>
                      <a:pt x="1395" y="1715"/>
                    </a:lnTo>
                    <a:lnTo>
                      <a:pt x="1395" y="1712"/>
                    </a:lnTo>
                    <a:lnTo>
                      <a:pt x="1372" y="1711"/>
                    </a:lnTo>
                    <a:lnTo>
                      <a:pt x="1349" y="1709"/>
                    </a:lnTo>
                    <a:lnTo>
                      <a:pt x="1338" y="1707"/>
                    </a:lnTo>
                    <a:lnTo>
                      <a:pt x="1327" y="1704"/>
                    </a:lnTo>
                    <a:lnTo>
                      <a:pt x="1316" y="1701"/>
                    </a:lnTo>
                    <a:lnTo>
                      <a:pt x="1307" y="1697"/>
                    </a:lnTo>
                    <a:lnTo>
                      <a:pt x="1297" y="1693"/>
                    </a:lnTo>
                    <a:lnTo>
                      <a:pt x="1289" y="1688"/>
                    </a:lnTo>
                    <a:lnTo>
                      <a:pt x="1281" y="1683"/>
                    </a:lnTo>
                    <a:lnTo>
                      <a:pt x="1275" y="1677"/>
                    </a:lnTo>
                    <a:lnTo>
                      <a:pt x="1269" y="1670"/>
                    </a:lnTo>
                    <a:lnTo>
                      <a:pt x="1266" y="1662"/>
                    </a:lnTo>
                    <a:lnTo>
                      <a:pt x="1264" y="1653"/>
                    </a:lnTo>
                    <a:lnTo>
                      <a:pt x="1263" y="1645"/>
                    </a:lnTo>
                    <a:lnTo>
                      <a:pt x="1263" y="1639"/>
                    </a:lnTo>
                    <a:lnTo>
                      <a:pt x="1264" y="1635"/>
                    </a:lnTo>
                    <a:lnTo>
                      <a:pt x="1266" y="1631"/>
                    </a:lnTo>
                    <a:lnTo>
                      <a:pt x="1268" y="1627"/>
                    </a:lnTo>
                    <a:lnTo>
                      <a:pt x="1272" y="1620"/>
                    </a:lnTo>
                    <a:lnTo>
                      <a:pt x="1279" y="1614"/>
                    </a:lnTo>
                    <a:lnTo>
                      <a:pt x="1286" y="1609"/>
                    </a:lnTo>
                    <a:lnTo>
                      <a:pt x="1290" y="1601"/>
                    </a:lnTo>
                    <a:lnTo>
                      <a:pt x="1292" y="1597"/>
                    </a:lnTo>
                    <a:lnTo>
                      <a:pt x="1294" y="1593"/>
                    </a:lnTo>
                    <a:lnTo>
                      <a:pt x="1296" y="1589"/>
                    </a:lnTo>
                    <a:lnTo>
                      <a:pt x="1296" y="1583"/>
                    </a:lnTo>
                    <a:lnTo>
                      <a:pt x="1296" y="1546"/>
                    </a:lnTo>
                    <a:lnTo>
                      <a:pt x="1309" y="1528"/>
                    </a:lnTo>
                    <a:lnTo>
                      <a:pt x="1309" y="1522"/>
                    </a:lnTo>
                    <a:lnTo>
                      <a:pt x="1256" y="1522"/>
                    </a:lnTo>
                    <a:lnTo>
                      <a:pt x="1249" y="1534"/>
                    </a:lnTo>
                    <a:lnTo>
                      <a:pt x="1255" y="1525"/>
                    </a:lnTo>
                    <a:lnTo>
                      <a:pt x="1263" y="1516"/>
                    </a:lnTo>
                    <a:lnTo>
                      <a:pt x="1269" y="1509"/>
                    </a:lnTo>
                    <a:lnTo>
                      <a:pt x="1276" y="1504"/>
                    </a:lnTo>
                    <a:lnTo>
                      <a:pt x="1276" y="1460"/>
                    </a:lnTo>
                    <a:lnTo>
                      <a:pt x="1270" y="1462"/>
                    </a:lnTo>
                    <a:lnTo>
                      <a:pt x="1265" y="1464"/>
                    </a:lnTo>
                    <a:lnTo>
                      <a:pt x="1260" y="1466"/>
                    </a:lnTo>
                    <a:lnTo>
                      <a:pt x="1256" y="1469"/>
                    </a:lnTo>
                    <a:lnTo>
                      <a:pt x="1249" y="1475"/>
                    </a:lnTo>
                    <a:lnTo>
                      <a:pt x="1243" y="1481"/>
                    </a:lnTo>
                    <a:lnTo>
                      <a:pt x="1237" y="1488"/>
                    </a:lnTo>
                    <a:lnTo>
                      <a:pt x="1232" y="1494"/>
                    </a:lnTo>
                    <a:lnTo>
                      <a:pt x="1229" y="1498"/>
                    </a:lnTo>
                    <a:lnTo>
                      <a:pt x="1225" y="1500"/>
                    </a:lnTo>
                    <a:lnTo>
                      <a:pt x="1221" y="1502"/>
                    </a:lnTo>
                    <a:lnTo>
                      <a:pt x="1216" y="1504"/>
                    </a:lnTo>
                    <a:lnTo>
                      <a:pt x="1189" y="1504"/>
                    </a:lnTo>
                    <a:lnTo>
                      <a:pt x="1222" y="1472"/>
                    </a:lnTo>
                    <a:lnTo>
                      <a:pt x="1252" y="1442"/>
                    </a:lnTo>
                    <a:lnTo>
                      <a:pt x="1280" y="1411"/>
                    </a:lnTo>
                    <a:lnTo>
                      <a:pt x="1309" y="1380"/>
                    </a:lnTo>
                    <a:lnTo>
                      <a:pt x="1305" y="1378"/>
                    </a:lnTo>
                    <a:lnTo>
                      <a:pt x="1301" y="1377"/>
                    </a:lnTo>
                    <a:lnTo>
                      <a:pt x="1298" y="1376"/>
                    </a:lnTo>
                    <a:lnTo>
                      <a:pt x="1294" y="1376"/>
                    </a:lnTo>
                    <a:lnTo>
                      <a:pt x="1287" y="1378"/>
                    </a:lnTo>
                    <a:lnTo>
                      <a:pt x="1280" y="1382"/>
                    </a:lnTo>
                    <a:lnTo>
                      <a:pt x="1267" y="1392"/>
                    </a:lnTo>
                    <a:lnTo>
                      <a:pt x="1256" y="1399"/>
                    </a:lnTo>
                    <a:lnTo>
                      <a:pt x="1230" y="1418"/>
                    </a:lnTo>
                    <a:lnTo>
                      <a:pt x="1185" y="1450"/>
                    </a:lnTo>
                    <a:lnTo>
                      <a:pt x="1142" y="1478"/>
                    </a:lnTo>
                    <a:lnTo>
                      <a:pt x="1123" y="1490"/>
                    </a:lnTo>
                    <a:lnTo>
                      <a:pt x="1123" y="1380"/>
                    </a:lnTo>
                    <a:lnTo>
                      <a:pt x="1113" y="1379"/>
                    </a:lnTo>
                    <a:lnTo>
                      <a:pt x="1106" y="1377"/>
                    </a:lnTo>
                    <a:lnTo>
                      <a:pt x="1099" y="1375"/>
                    </a:lnTo>
                    <a:lnTo>
                      <a:pt x="1093" y="1371"/>
                    </a:lnTo>
                    <a:lnTo>
                      <a:pt x="1090" y="1367"/>
                    </a:lnTo>
                    <a:lnTo>
                      <a:pt x="1088" y="1362"/>
                    </a:lnTo>
                    <a:lnTo>
                      <a:pt x="1088" y="1356"/>
                    </a:lnTo>
                    <a:lnTo>
                      <a:pt x="1090" y="1349"/>
                    </a:lnTo>
                    <a:lnTo>
                      <a:pt x="1078" y="1338"/>
                    </a:lnTo>
                    <a:lnTo>
                      <a:pt x="1064" y="1325"/>
                    </a:lnTo>
                    <a:lnTo>
                      <a:pt x="1047" y="1314"/>
                    </a:lnTo>
                    <a:lnTo>
                      <a:pt x="1030" y="1304"/>
                    </a:lnTo>
                    <a:lnTo>
                      <a:pt x="1020" y="1299"/>
                    </a:lnTo>
                    <a:lnTo>
                      <a:pt x="1011" y="1295"/>
                    </a:lnTo>
                    <a:lnTo>
                      <a:pt x="1001" y="1291"/>
                    </a:lnTo>
                    <a:lnTo>
                      <a:pt x="990" y="1288"/>
                    </a:lnTo>
                    <a:lnTo>
                      <a:pt x="980" y="1285"/>
                    </a:lnTo>
                    <a:lnTo>
                      <a:pt x="971" y="1283"/>
                    </a:lnTo>
                    <a:lnTo>
                      <a:pt x="961" y="1282"/>
                    </a:lnTo>
                    <a:lnTo>
                      <a:pt x="951" y="1282"/>
                    </a:lnTo>
                    <a:lnTo>
                      <a:pt x="941" y="1283"/>
                    </a:lnTo>
                    <a:lnTo>
                      <a:pt x="931" y="1285"/>
                    </a:lnTo>
                    <a:lnTo>
                      <a:pt x="923" y="1289"/>
                    </a:lnTo>
                    <a:lnTo>
                      <a:pt x="917" y="1294"/>
                    </a:lnTo>
                    <a:lnTo>
                      <a:pt x="831" y="1294"/>
                    </a:lnTo>
                    <a:lnTo>
                      <a:pt x="819" y="1301"/>
                    </a:lnTo>
                    <a:lnTo>
                      <a:pt x="807" y="1307"/>
                    </a:lnTo>
                    <a:lnTo>
                      <a:pt x="796" y="1312"/>
                    </a:lnTo>
                    <a:lnTo>
                      <a:pt x="785" y="1316"/>
                    </a:lnTo>
                    <a:lnTo>
                      <a:pt x="775" y="1319"/>
                    </a:lnTo>
                    <a:lnTo>
                      <a:pt x="764" y="1321"/>
                    </a:lnTo>
                    <a:lnTo>
                      <a:pt x="754" y="1323"/>
                    </a:lnTo>
                    <a:lnTo>
                      <a:pt x="745" y="1324"/>
                    </a:lnTo>
                    <a:lnTo>
                      <a:pt x="726" y="1326"/>
                    </a:lnTo>
                    <a:lnTo>
                      <a:pt x="706" y="1328"/>
                    </a:lnTo>
                    <a:lnTo>
                      <a:pt x="686" y="1332"/>
                    </a:lnTo>
                    <a:lnTo>
                      <a:pt x="664" y="1337"/>
                    </a:lnTo>
                    <a:lnTo>
                      <a:pt x="636" y="1345"/>
                    </a:lnTo>
                    <a:lnTo>
                      <a:pt x="596" y="1356"/>
                    </a:lnTo>
                    <a:lnTo>
                      <a:pt x="577" y="1362"/>
                    </a:lnTo>
                    <a:lnTo>
                      <a:pt x="560" y="1369"/>
                    </a:lnTo>
                    <a:lnTo>
                      <a:pt x="547" y="1374"/>
                    </a:lnTo>
                    <a:lnTo>
                      <a:pt x="538" y="1380"/>
                    </a:lnTo>
                    <a:lnTo>
                      <a:pt x="521" y="1402"/>
                    </a:lnTo>
                    <a:lnTo>
                      <a:pt x="507" y="1419"/>
                    </a:lnTo>
                    <a:lnTo>
                      <a:pt x="501" y="1426"/>
                    </a:lnTo>
                    <a:lnTo>
                      <a:pt x="493" y="1431"/>
                    </a:lnTo>
                    <a:lnTo>
                      <a:pt x="488" y="1433"/>
                    </a:lnTo>
                    <a:lnTo>
                      <a:pt x="483" y="1434"/>
                    </a:lnTo>
                    <a:lnTo>
                      <a:pt x="478" y="1435"/>
                    </a:lnTo>
                    <a:lnTo>
                      <a:pt x="472" y="1435"/>
                    </a:lnTo>
                    <a:lnTo>
                      <a:pt x="306" y="1435"/>
                    </a:lnTo>
                    <a:lnTo>
                      <a:pt x="291" y="1439"/>
                    </a:lnTo>
                    <a:lnTo>
                      <a:pt x="277" y="1444"/>
                    </a:lnTo>
                    <a:lnTo>
                      <a:pt x="265" y="1448"/>
                    </a:lnTo>
                    <a:lnTo>
                      <a:pt x="254" y="1453"/>
                    </a:lnTo>
                    <a:lnTo>
                      <a:pt x="233" y="1463"/>
                    </a:lnTo>
                    <a:lnTo>
                      <a:pt x="214" y="1473"/>
                    </a:lnTo>
                    <a:lnTo>
                      <a:pt x="204" y="1478"/>
                    </a:lnTo>
                    <a:lnTo>
                      <a:pt x="193" y="1482"/>
                    </a:lnTo>
                    <a:lnTo>
                      <a:pt x="182" y="1486"/>
                    </a:lnTo>
                    <a:lnTo>
                      <a:pt x="170" y="1490"/>
                    </a:lnTo>
                    <a:lnTo>
                      <a:pt x="157" y="1493"/>
                    </a:lnTo>
                    <a:lnTo>
                      <a:pt x="142" y="1495"/>
                    </a:lnTo>
                    <a:lnTo>
                      <a:pt x="125" y="1496"/>
                    </a:lnTo>
                    <a:lnTo>
                      <a:pt x="106" y="1496"/>
                    </a:lnTo>
                    <a:lnTo>
                      <a:pt x="95" y="1496"/>
                    </a:lnTo>
                    <a:lnTo>
                      <a:pt x="84" y="1495"/>
                    </a:lnTo>
                    <a:lnTo>
                      <a:pt x="75" y="1494"/>
                    </a:lnTo>
                    <a:lnTo>
                      <a:pt x="65" y="1492"/>
                    </a:lnTo>
                    <a:lnTo>
                      <a:pt x="55" y="1490"/>
                    </a:lnTo>
                    <a:lnTo>
                      <a:pt x="46" y="1487"/>
                    </a:lnTo>
                    <a:lnTo>
                      <a:pt x="38" y="1483"/>
                    </a:lnTo>
                    <a:lnTo>
                      <a:pt x="31" y="1479"/>
                    </a:lnTo>
                    <a:lnTo>
                      <a:pt x="24" y="1475"/>
                    </a:lnTo>
                    <a:lnTo>
                      <a:pt x="19" y="1470"/>
                    </a:lnTo>
                    <a:lnTo>
                      <a:pt x="13" y="1464"/>
                    </a:lnTo>
                    <a:lnTo>
                      <a:pt x="9" y="1458"/>
                    </a:lnTo>
                    <a:lnTo>
                      <a:pt x="4" y="1452"/>
                    </a:lnTo>
                    <a:lnTo>
                      <a:pt x="2" y="1445"/>
                    </a:lnTo>
                    <a:lnTo>
                      <a:pt x="1" y="1437"/>
                    </a:lnTo>
                    <a:lnTo>
                      <a:pt x="0" y="1429"/>
                    </a:lnTo>
                    <a:lnTo>
                      <a:pt x="1" y="1426"/>
                    </a:lnTo>
                    <a:lnTo>
                      <a:pt x="2" y="1423"/>
                    </a:lnTo>
                    <a:lnTo>
                      <a:pt x="4" y="1421"/>
                    </a:lnTo>
                    <a:lnTo>
                      <a:pt x="6" y="1418"/>
                    </a:lnTo>
                    <a:lnTo>
                      <a:pt x="13" y="1415"/>
                    </a:lnTo>
                    <a:lnTo>
                      <a:pt x="22" y="1413"/>
                    </a:lnTo>
                    <a:lnTo>
                      <a:pt x="39" y="1411"/>
                    </a:lnTo>
                    <a:lnTo>
                      <a:pt x="54" y="1411"/>
                    </a:lnTo>
                    <a:lnTo>
                      <a:pt x="58" y="1408"/>
                    </a:lnTo>
                    <a:lnTo>
                      <a:pt x="64" y="1404"/>
                    </a:lnTo>
                    <a:lnTo>
                      <a:pt x="68" y="1399"/>
                    </a:lnTo>
                    <a:lnTo>
                      <a:pt x="72" y="1393"/>
                    </a:lnTo>
                    <a:lnTo>
                      <a:pt x="82" y="1378"/>
                    </a:lnTo>
                    <a:lnTo>
                      <a:pt x="90" y="1361"/>
                    </a:lnTo>
                    <a:lnTo>
                      <a:pt x="97" y="1344"/>
                    </a:lnTo>
                    <a:lnTo>
                      <a:pt x="102" y="1325"/>
                    </a:lnTo>
                    <a:lnTo>
                      <a:pt x="105" y="1309"/>
                    </a:lnTo>
                    <a:lnTo>
                      <a:pt x="106" y="1294"/>
                    </a:lnTo>
                    <a:lnTo>
                      <a:pt x="106" y="1288"/>
                    </a:lnTo>
                    <a:lnTo>
                      <a:pt x="105" y="1284"/>
                    </a:lnTo>
                    <a:lnTo>
                      <a:pt x="103" y="1279"/>
                    </a:lnTo>
                    <a:lnTo>
                      <a:pt x="101" y="1275"/>
                    </a:lnTo>
                    <a:lnTo>
                      <a:pt x="95" y="1267"/>
                    </a:lnTo>
                    <a:lnTo>
                      <a:pt x="90" y="1260"/>
                    </a:lnTo>
                    <a:lnTo>
                      <a:pt x="83" y="1254"/>
                    </a:lnTo>
                    <a:lnTo>
                      <a:pt x="79" y="1248"/>
                    </a:lnTo>
                    <a:lnTo>
                      <a:pt x="77" y="1244"/>
                    </a:lnTo>
                    <a:lnTo>
                      <a:pt x="75" y="1241"/>
                    </a:lnTo>
                    <a:lnTo>
                      <a:pt x="73" y="1237"/>
                    </a:lnTo>
                    <a:lnTo>
                      <a:pt x="73" y="1232"/>
                    </a:lnTo>
                    <a:lnTo>
                      <a:pt x="73" y="1225"/>
                    </a:lnTo>
                    <a:lnTo>
                      <a:pt x="75" y="1218"/>
                    </a:lnTo>
                    <a:lnTo>
                      <a:pt x="77" y="1212"/>
                    </a:lnTo>
                    <a:lnTo>
                      <a:pt x="79" y="1207"/>
                    </a:lnTo>
                    <a:lnTo>
                      <a:pt x="86" y="1200"/>
                    </a:lnTo>
                    <a:lnTo>
                      <a:pt x="93" y="1193"/>
                    </a:lnTo>
                    <a:lnTo>
                      <a:pt x="101" y="1188"/>
                    </a:lnTo>
                    <a:lnTo>
                      <a:pt x="106" y="1182"/>
                    </a:lnTo>
                    <a:lnTo>
                      <a:pt x="110" y="1179"/>
                    </a:lnTo>
                    <a:lnTo>
                      <a:pt x="112" y="1175"/>
                    </a:lnTo>
                    <a:lnTo>
                      <a:pt x="113" y="1170"/>
                    </a:lnTo>
                    <a:lnTo>
                      <a:pt x="113" y="1165"/>
                    </a:lnTo>
                    <a:lnTo>
                      <a:pt x="113" y="1150"/>
                    </a:lnTo>
                    <a:lnTo>
                      <a:pt x="111" y="1137"/>
                    </a:lnTo>
                    <a:lnTo>
                      <a:pt x="109" y="1123"/>
                    </a:lnTo>
                    <a:lnTo>
                      <a:pt x="105" y="1110"/>
                    </a:lnTo>
                    <a:lnTo>
                      <a:pt x="98" y="1082"/>
                    </a:lnTo>
                    <a:lnTo>
                      <a:pt x="88" y="1056"/>
                    </a:lnTo>
                    <a:lnTo>
                      <a:pt x="78" y="1030"/>
                    </a:lnTo>
                    <a:lnTo>
                      <a:pt x="68" y="1006"/>
                    </a:lnTo>
                    <a:lnTo>
                      <a:pt x="59" y="982"/>
                    </a:lnTo>
                    <a:lnTo>
                      <a:pt x="54" y="961"/>
                    </a:lnTo>
                    <a:lnTo>
                      <a:pt x="54" y="930"/>
                    </a:lnTo>
                    <a:lnTo>
                      <a:pt x="58" y="943"/>
                    </a:lnTo>
                    <a:lnTo>
                      <a:pt x="64" y="954"/>
                    </a:lnTo>
                    <a:lnTo>
                      <a:pt x="71" y="964"/>
                    </a:lnTo>
                    <a:lnTo>
                      <a:pt x="80" y="973"/>
                    </a:lnTo>
                    <a:lnTo>
                      <a:pt x="80" y="949"/>
                    </a:lnTo>
                    <a:lnTo>
                      <a:pt x="80" y="954"/>
                    </a:lnTo>
                    <a:lnTo>
                      <a:pt x="82" y="958"/>
                    </a:lnTo>
                    <a:lnTo>
                      <a:pt x="84" y="962"/>
                    </a:lnTo>
                    <a:lnTo>
                      <a:pt x="88" y="966"/>
                    </a:lnTo>
                    <a:lnTo>
                      <a:pt x="92" y="969"/>
                    </a:lnTo>
                    <a:lnTo>
                      <a:pt x="97" y="971"/>
                    </a:lnTo>
                    <a:lnTo>
                      <a:pt x="102" y="973"/>
                    </a:lnTo>
                    <a:lnTo>
                      <a:pt x="106" y="973"/>
                    </a:lnTo>
                    <a:lnTo>
                      <a:pt x="113" y="964"/>
                    </a:lnTo>
                    <a:lnTo>
                      <a:pt x="122" y="955"/>
                    </a:lnTo>
                    <a:lnTo>
                      <a:pt x="126" y="951"/>
                    </a:lnTo>
                    <a:lnTo>
                      <a:pt x="129" y="946"/>
                    </a:lnTo>
                    <a:lnTo>
                      <a:pt x="132" y="940"/>
                    </a:lnTo>
                    <a:lnTo>
                      <a:pt x="133" y="936"/>
                    </a:lnTo>
                    <a:lnTo>
                      <a:pt x="132" y="923"/>
                    </a:lnTo>
                    <a:lnTo>
                      <a:pt x="128" y="913"/>
                    </a:lnTo>
                    <a:lnTo>
                      <a:pt x="125" y="903"/>
                    </a:lnTo>
                    <a:lnTo>
                      <a:pt x="120" y="895"/>
                    </a:lnTo>
                    <a:lnTo>
                      <a:pt x="115" y="887"/>
                    </a:lnTo>
                    <a:lnTo>
                      <a:pt x="111" y="879"/>
                    </a:lnTo>
                    <a:lnTo>
                      <a:pt x="107" y="871"/>
                    </a:lnTo>
                    <a:lnTo>
                      <a:pt x="106" y="862"/>
                    </a:lnTo>
                    <a:lnTo>
                      <a:pt x="107" y="855"/>
                    </a:lnTo>
                    <a:lnTo>
                      <a:pt x="111" y="847"/>
                    </a:lnTo>
                    <a:lnTo>
                      <a:pt x="115" y="839"/>
                    </a:lnTo>
                    <a:lnTo>
                      <a:pt x="121" y="831"/>
                    </a:lnTo>
                    <a:lnTo>
                      <a:pt x="126" y="823"/>
                    </a:lnTo>
                    <a:lnTo>
                      <a:pt x="132" y="818"/>
                    </a:lnTo>
                    <a:lnTo>
                      <a:pt x="136" y="814"/>
                    </a:lnTo>
                    <a:lnTo>
                      <a:pt x="139" y="813"/>
                    </a:lnTo>
                    <a:lnTo>
                      <a:pt x="139" y="807"/>
                    </a:lnTo>
                    <a:lnTo>
                      <a:pt x="140" y="800"/>
                    </a:lnTo>
                    <a:lnTo>
                      <a:pt x="143" y="792"/>
                    </a:lnTo>
                    <a:lnTo>
                      <a:pt x="146" y="783"/>
                    </a:lnTo>
                    <a:lnTo>
                      <a:pt x="147" y="765"/>
                    </a:lnTo>
                    <a:lnTo>
                      <a:pt x="149" y="751"/>
                    </a:lnTo>
                    <a:lnTo>
                      <a:pt x="151" y="737"/>
                    </a:lnTo>
                    <a:lnTo>
                      <a:pt x="153" y="721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71" name="Freeform 193">
                <a:extLst>
                  <a:ext uri="{FF2B5EF4-FFF2-40B4-BE49-F238E27FC236}">
                    <a16:creationId xmlns="" xmlns:a16="http://schemas.microsoft.com/office/drawing/2014/main" id="{60221AA8-60E1-463E-8BE0-62BFD4AFB2BF}"/>
                  </a:ext>
                </a:extLst>
              </p:cNvPr>
              <p:cNvSpPr>
                <a:spLocks/>
              </p:cNvSpPr>
              <p:nvPr>
                <p:custDataLst>
                  <p:tags r:id="rId120"/>
                </p:custDataLst>
              </p:nvPr>
            </p:nvSpPr>
            <p:spPr bwMode="auto">
              <a:xfrm>
                <a:off x="1211263" y="2643188"/>
                <a:ext cx="668337" cy="581025"/>
              </a:xfrm>
              <a:custGeom>
                <a:avLst/>
                <a:gdLst>
                  <a:gd name="T0" fmla="*/ 2147483646 w 1535"/>
                  <a:gd name="T1" fmla="*/ 2147483646 h 1109"/>
                  <a:gd name="T2" fmla="*/ 2147483646 w 1535"/>
                  <a:gd name="T3" fmla="*/ 2147483646 h 1109"/>
                  <a:gd name="T4" fmla="*/ 2147483646 w 1535"/>
                  <a:gd name="T5" fmla="*/ 2147483646 h 1109"/>
                  <a:gd name="T6" fmla="*/ 2147483646 w 1535"/>
                  <a:gd name="T7" fmla="*/ 2147483646 h 1109"/>
                  <a:gd name="T8" fmla="*/ 2147483646 w 1535"/>
                  <a:gd name="T9" fmla="*/ 2147483646 h 1109"/>
                  <a:gd name="T10" fmla="*/ 2147483646 w 1535"/>
                  <a:gd name="T11" fmla="*/ 2147483646 h 1109"/>
                  <a:gd name="T12" fmla="*/ 2147483646 w 1535"/>
                  <a:gd name="T13" fmla="*/ 2147483646 h 1109"/>
                  <a:gd name="T14" fmla="*/ 2147483646 w 1535"/>
                  <a:gd name="T15" fmla="*/ 2147483646 h 1109"/>
                  <a:gd name="T16" fmla="*/ 2147483646 w 1535"/>
                  <a:gd name="T17" fmla="*/ 2147483646 h 1109"/>
                  <a:gd name="T18" fmla="*/ 2147483646 w 1535"/>
                  <a:gd name="T19" fmla="*/ 2147483646 h 1109"/>
                  <a:gd name="T20" fmla="*/ 2147483646 w 1535"/>
                  <a:gd name="T21" fmla="*/ 2147483646 h 1109"/>
                  <a:gd name="T22" fmla="*/ 2147483646 w 1535"/>
                  <a:gd name="T23" fmla="*/ 2147483646 h 1109"/>
                  <a:gd name="T24" fmla="*/ 2147483646 w 1535"/>
                  <a:gd name="T25" fmla="*/ 2147483646 h 1109"/>
                  <a:gd name="T26" fmla="*/ 2147483646 w 1535"/>
                  <a:gd name="T27" fmla="*/ 2147483646 h 1109"/>
                  <a:gd name="T28" fmla="*/ 2147483646 w 1535"/>
                  <a:gd name="T29" fmla="*/ 2147483646 h 1109"/>
                  <a:gd name="T30" fmla="*/ 2147483646 w 1535"/>
                  <a:gd name="T31" fmla="*/ 2147483646 h 1109"/>
                  <a:gd name="T32" fmla="*/ 2147483646 w 1535"/>
                  <a:gd name="T33" fmla="*/ 2147483646 h 1109"/>
                  <a:gd name="T34" fmla="*/ 2147483646 w 1535"/>
                  <a:gd name="T35" fmla="*/ 2147483646 h 1109"/>
                  <a:gd name="T36" fmla="*/ 2147483646 w 1535"/>
                  <a:gd name="T37" fmla="*/ 2147483646 h 1109"/>
                  <a:gd name="T38" fmla="*/ 2147483646 w 1535"/>
                  <a:gd name="T39" fmla="*/ 2147483646 h 1109"/>
                  <a:gd name="T40" fmla="*/ 2147483646 w 1535"/>
                  <a:gd name="T41" fmla="*/ 2147483646 h 1109"/>
                  <a:gd name="T42" fmla="*/ 2147483646 w 1535"/>
                  <a:gd name="T43" fmla="*/ 2147483646 h 1109"/>
                  <a:gd name="T44" fmla="*/ 2147483646 w 1535"/>
                  <a:gd name="T45" fmla="*/ 2147483646 h 1109"/>
                  <a:gd name="T46" fmla="*/ 2147483646 w 1535"/>
                  <a:gd name="T47" fmla="*/ 2147483646 h 1109"/>
                  <a:gd name="T48" fmla="*/ 2147483646 w 1535"/>
                  <a:gd name="T49" fmla="*/ 2147483646 h 1109"/>
                  <a:gd name="T50" fmla="*/ 2147483646 w 1535"/>
                  <a:gd name="T51" fmla="*/ 2147483646 h 1109"/>
                  <a:gd name="T52" fmla="*/ 2147483646 w 1535"/>
                  <a:gd name="T53" fmla="*/ 2147483646 h 1109"/>
                  <a:gd name="T54" fmla="*/ 2147483646 w 1535"/>
                  <a:gd name="T55" fmla="*/ 2147483646 h 1109"/>
                  <a:gd name="T56" fmla="*/ 2147483646 w 1535"/>
                  <a:gd name="T57" fmla="*/ 2147483646 h 1109"/>
                  <a:gd name="T58" fmla="*/ 2147483646 w 1535"/>
                  <a:gd name="T59" fmla="*/ 2147483646 h 1109"/>
                  <a:gd name="T60" fmla="*/ 2147483646 w 1535"/>
                  <a:gd name="T61" fmla="*/ 2147483646 h 1109"/>
                  <a:gd name="T62" fmla="*/ 2147483646 w 1535"/>
                  <a:gd name="T63" fmla="*/ 2147483646 h 1109"/>
                  <a:gd name="T64" fmla="*/ 2147483646 w 1535"/>
                  <a:gd name="T65" fmla="*/ 2147483646 h 1109"/>
                  <a:gd name="T66" fmla="*/ 2147483646 w 1535"/>
                  <a:gd name="T67" fmla="*/ 2147483646 h 1109"/>
                  <a:gd name="T68" fmla="*/ 2147483646 w 1535"/>
                  <a:gd name="T69" fmla="*/ 2147483646 h 1109"/>
                  <a:gd name="T70" fmla="*/ 2147483646 w 1535"/>
                  <a:gd name="T71" fmla="*/ 2147483646 h 1109"/>
                  <a:gd name="T72" fmla="*/ 2147483646 w 1535"/>
                  <a:gd name="T73" fmla="*/ 2147483646 h 1109"/>
                  <a:gd name="T74" fmla="*/ 2147483646 w 1535"/>
                  <a:gd name="T75" fmla="*/ 2147483646 h 1109"/>
                  <a:gd name="T76" fmla="*/ 2147483646 w 1535"/>
                  <a:gd name="T77" fmla="*/ 2147483646 h 1109"/>
                  <a:gd name="T78" fmla="*/ 2147483646 w 1535"/>
                  <a:gd name="T79" fmla="*/ 2147483646 h 1109"/>
                  <a:gd name="T80" fmla="*/ 2147483646 w 1535"/>
                  <a:gd name="T81" fmla="*/ 2147483646 h 1109"/>
                  <a:gd name="T82" fmla="*/ 2147483646 w 1535"/>
                  <a:gd name="T83" fmla="*/ 2147483646 h 1109"/>
                  <a:gd name="T84" fmla="*/ 2147483646 w 1535"/>
                  <a:gd name="T85" fmla="*/ 2147483646 h 1109"/>
                  <a:gd name="T86" fmla="*/ 2147483646 w 1535"/>
                  <a:gd name="T87" fmla="*/ 2147483646 h 1109"/>
                  <a:gd name="T88" fmla="*/ 2147483646 w 1535"/>
                  <a:gd name="T89" fmla="*/ 2147483646 h 1109"/>
                  <a:gd name="T90" fmla="*/ 2147483646 w 1535"/>
                  <a:gd name="T91" fmla="*/ 2147483646 h 1109"/>
                  <a:gd name="T92" fmla="*/ 2147483646 w 1535"/>
                  <a:gd name="T93" fmla="*/ 2147483646 h 1109"/>
                  <a:gd name="T94" fmla="*/ 2147483646 w 1535"/>
                  <a:gd name="T95" fmla="*/ 2147483646 h 1109"/>
                  <a:gd name="T96" fmla="*/ 2147483646 w 1535"/>
                  <a:gd name="T97" fmla="*/ 2147483646 h 1109"/>
                  <a:gd name="T98" fmla="*/ 2147483646 w 1535"/>
                  <a:gd name="T99" fmla="*/ 2147483646 h 1109"/>
                  <a:gd name="T100" fmla="*/ 2147483646 w 1535"/>
                  <a:gd name="T101" fmla="*/ 2147483646 h 1109"/>
                  <a:gd name="T102" fmla="*/ 2147483646 w 1535"/>
                  <a:gd name="T103" fmla="*/ 2147483646 h 1109"/>
                  <a:gd name="T104" fmla="*/ 2147483646 w 1535"/>
                  <a:gd name="T105" fmla="*/ 2147483646 h 1109"/>
                  <a:gd name="T106" fmla="*/ 2147483646 w 1535"/>
                  <a:gd name="T107" fmla="*/ 2147483646 h 1109"/>
                  <a:gd name="T108" fmla="*/ 2147483646 w 1535"/>
                  <a:gd name="T109" fmla="*/ 2147483646 h 1109"/>
                  <a:gd name="T110" fmla="*/ 2147483646 w 1535"/>
                  <a:gd name="T111" fmla="*/ 2147483646 h 1109"/>
                  <a:gd name="T112" fmla="*/ 2147483646 w 1535"/>
                  <a:gd name="T113" fmla="*/ 2147483646 h 1109"/>
                  <a:gd name="T114" fmla="*/ 2147483646 w 1535"/>
                  <a:gd name="T115" fmla="*/ 2147483646 h 1109"/>
                  <a:gd name="T116" fmla="*/ 2147483646 w 1535"/>
                  <a:gd name="T117" fmla="*/ 2147483646 h 1109"/>
                  <a:gd name="T118" fmla="*/ 2147483646 w 1535"/>
                  <a:gd name="T119" fmla="*/ 2147483646 h 1109"/>
                  <a:gd name="T120" fmla="*/ 2147483646 w 1535"/>
                  <a:gd name="T121" fmla="*/ 2147483646 h 110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535"/>
                  <a:gd name="T184" fmla="*/ 0 h 1109"/>
                  <a:gd name="T185" fmla="*/ 1535 w 1535"/>
                  <a:gd name="T186" fmla="*/ 1109 h 110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535" h="1109">
                    <a:moveTo>
                      <a:pt x="1336" y="888"/>
                    </a:moveTo>
                    <a:lnTo>
                      <a:pt x="1319" y="891"/>
                    </a:lnTo>
                    <a:lnTo>
                      <a:pt x="1287" y="901"/>
                    </a:lnTo>
                    <a:lnTo>
                      <a:pt x="1270" y="907"/>
                    </a:lnTo>
                    <a:lnTo>
                      <a:pt x="1256" y="913"/>
                    </a:lnTo>
                    <a:lnTo>
                      <a:pt x="1251" y="916"/>
                    </a:lnTo>
                    <a:lnTo>
                      <a:pt x="1246" y="919"/>
                    </a:lnTo>
                    <a:lnTo>
                      <a:pt x="1244" y="922"/>
                    </a:lnTo>
                    <a:lnTo>
                      <a:pt x="1243" y="925"/>
                    </a:lnTo>
                    <a:lnTo>
                      <a:pt x="1243" y="929"/>
                    </a:lnTo>
                    <a:lnTo>
                      <a:pt x="1244" y="933"/>
                    </a:lnTo>
                    <a:lnTo>
                      <a:pt x="1246" y="937"/>
                    </a:lnTo>
                    <a:lnTo>
                      <a:pt x="1248" y="940"/>
                    </a:lnTo>
                    <a:lnTo>
                      <a:pt x="1255" y="946"/>
                    </a:lnTo>
                    <a:lnTo>
                      <a:pt x="1263" y="951"/>
                    </a:lnTo>
                    <a:lnTo>
                      <a:pt x="1282" y="961"/>
                    </a:lnTo>
                    <a:lnTo>
                      <a:pt x="1302" y="973"/>
                    </a:lnTo>
                    <a:lnTo>
                      <a:pt x="1299" y="982"/>
                    </a:lnTo>
                    <a:lnTo>
                      <a:pt x="1294" y="988"/>
                    </a:lnTo>
                    <a:lnTo>
                      <a:pt x="1289" y="993"/>
                    </a:lnTo>
                    <a:lnTo>
                      <a:pt x="1282" y="996"/>
                    </a:lnTo>
                    <a:lnTo>
                      <a:pt x="1275" y="998"/>
                    </a:lnTo>
                    <a:lnTo>
                      <a:pt x="1267" y="999"/>
                    </a:lnTo>
                    <a:lnTo>
                      <a:pt x="1258" y="999"/>
                    </a:lnTo>
                    <a:lnTo>
                      <a:pt x="1251" y="999"/>
                    </a:lnTo>
                    <a:lnTo>
                      <a:pt x="1234" y="999"/>
                    </a:lnTo>
                    <a:lnTo>
                      <a:pt x="1220" y="999"/>
                    </a:lnTo>
                    <a:lnTo>
                      <a:pt x="1213" y="1000"/>
                    </a:lnTo>
                    <a:lnTo>
                      <a:pt x="1209" y="1002"/>
                    </a:lnTo>
                    <a:lnTo>
                      <a:pt x="1204" y="1006"/>
                    </a:lnTo>
                    <a:lnTo>
                      <a:pt x="1203" y="1011"/>
                    </a:lnTo>
                    <a:lnTo>
                      <a:pt x="1193" y="1036"/>
                    </a:lnTo>
                    <a:lnTo>
                      <a:pt x="1185" y="1058"/>
                    </a:lnTo>
                    <a:lnTo>
                      <a:pt x="1181" y="1069"/>
                    </a:lnTo>
                    <a:lnTo>
                      <a:pt x="1178" y="1080"/>
                    </a:lnTo>
                    <a:lnTo>
                      <a:pt x="1177" y="1095"/>
                    </a:lnTo>
                    <a:lnTo>
                      <a:pt x="1176" y="1109"/>
                    </a:lnTo>
                    <a:lnTo>
                      <a:pt x="1165" y="1100"/>
                    </a:lnTo>
                    <a:lnTo>
                      <a:pt x="1153" y="1091"/>
                    </a:lnTo>
                    <a:lnTo>
                      <a:pt x="1141" y="1081"/>
                    </a:lnTo>
                    <a:lnTo>
                      <a:pt x="1130" y="1072"/>
                    </a:lnTo>
                    <a:lnTo>
                      <a:pt x="1112" y="1051"/>
                    </a:lnTo>
                    <a:lnTo>
                      <a:pt x="1090" y="1026"/>
                    </a:lnTo>
                    <a:lnTo>
                      <a:pt x="1078" y="1015"/>
                    </a:lnTo>
                    <a:lnTo>
                      <a:pt x="1065" y="1006"/>
                    </a:lnTo>
                    <a:lnTo>
                      <a:pt x="1058" y="1003"/>
                    </a:lnTo>
                    <a:lnTo>
                      <a:pt x="1052" y="1001"/>
                    </a:lnTo>
                    <a:lnTo>
                      <a:pt x="1044" y="999"/>
                    </a:lnTo>
                    <a:lnTo>
                      <a:pt x="1036" y="998"/>
                    </a:lnTo>
                    <a:lnTo>
                      <a:pt x="1028" y="999"/>
                    </a:lnTo>
                    <a:lnTo>
                      <a:pt x="1019" y="1000"/>
                    </a:lnTo>
                    <a:lnTo>
                      <a:pt x="1011" y="1002"/>
                    </a:lnTo>
                    <a:lnTo>
                      <a:pt x="1006" y="1005"/>
                    </a:lnTo>
                    <a:lnTo>
                      <a:pt x="994" y="1012"/>
                    </a:lnTo>
                    <a:lnTo>
                      <a:pt x="984" y="1020"/>
                    </a:lnTo>
                    <a:lnTo>
                      <a:pt x="974" y="1027"/>
                    </a:lnTo>
                    <a:lnTo>
                      <a:pt x="962" y="1035"/>
                    </a:lnTo>
                    <a:lnTo>
                      <a:pt x="955" y="1038"/>
                    </a:lnTo>
                    <a:lnTo>
                      <a:pt x="949" y="1040"/>
                    </a:lnTo>
                    <a:lnTo>
                      <a:pt x="940" y="1041"/>
                    </a:lnTo>
                    <a:lnTo>
                      <a:pt x="930" y="1042"/>
                    </a:lnTo>
                    <a:lnTo>
                      <a:pt x="922" y="1041"/>
                    </a:lnTo>
                    <a:lnTo>
                      <a:pt x="913" y="1039"/>
                    </a:lnTo>
                    <a:lnTo>
                      <a:pt x="902" y="1037"/>
                    </a:lnTo>
                    <a:lnTo>
                      <a:pt x="891" y="1032"/>
                    </a:lnTo>
                    <a:lnTo>
                      <a:pt x="868" y="1023"/>
                    </a:lnTo>
                    <a:lnTo>
                      <a:pt x="845" y="1011"/>
                    </a:lnTo>
                    <a:lnTo>
                      <a:pt x="823" y="999"/>
                    </a:lnTo>
                    <a:lnTo>
                      <a:pt x="805" y="987"/>
                    </a:lnTo>
                    <a:lnTo>
                      <a:pt x="797" y="982"/>
                    </a:lnTo>
                    <a:lnTo>
                      <a:pt x="790" y="976"/>
                    </a:lnTo>
                    <a:lnTo>
                      <a:pt x="786" y="971"/>
                    </a:lnTo>
                    <a:lnTo>
                      <a:pt x="784" y="967"/>
                    </a:lnTo>
                    <a:lnTo>
                      <a:pt x="731" y="973"/>
                    </a:lnTo>
                    <a:lnTo>
                      <a:pt x="714" y="962"/>
                    </a:lnTo>
                    <a:lnTo>
                      <a:pt x="697" y="953"/>
                    </a:lnTo>
                    <a:lnTo>
                      <a:pt x="680" y="945"/>
                    </a:lnTo>
                    <a:lnTo>
                      <a:pt x="658" y="937"/>
                    </a:lnTo>
                    <a:lnTo>
                      <a:pt x="653" y="932"/>
                    </a:lnTo>
                    <a:lnTo>
                      <a:pt x="650" y="925"/>
                    </a:lnTo>
                    <a:lnTo>
                      <a:pt x="648" y="917"/>
                    </a:lnTo>
                    <a:lnTo>
                      <a:pt x="644" y="910"/>
                    </a:lnTo>
                    <a:lnTo>
                      <a:pt x="642" y="904"/>
                    </a:lnTo>
                    <a:lnTo>
                      <a:pt x="639" y="898"/>
                    </a:lnTo>
                    <a:lnTo>
                      <a:pt x="638" y="896"/>
                    </a:lnTo>
                    <a:lnTo>
                      <a:pt x="636" y="895"/>
                    </a:lnTo>
                    <a:lnTo>
                      <a:pt x="633" y="894"/>
                    </a:lnTo>
                    <a:lnTo>
                      <a:pt x="631" y="894"/>
                    </a:lnTo>
                    <a:lnTo>
                      <a:pt x="607" y="887"/>
                    </a:lnTo>
                    <a:lnTo>
                      <a:pt x="588" y="883"/>
                    </a:lnTo>
                    <a:lnTo>
                      <a:pt x="575" y="882"/>
                    </a:lnTo>
                    <a:lnTo>
                      <a:pt x="565" y="880"/>
                    </a:lnTo>
                    <a:lnTo>
                      <a:pt x="561" y="879"/>
                    </a:lnTo>
                    <a:lnTo>
                      <a:pt x="558" y="877"/>
                    </a:lnTo>
                    <a:lnTo>
                      <a:pt x="554" y="874"/>
                    </a:lnTo>
                    <a:lnTo>
                      <a:pt x="551" y="870"/>
                    </a:lnTo>
                    <a:lnTo>
                      <a:pt x="546" y="857"/>
                    </a:lnTo>
                    <a:lnTo>
                      <a:pt x="538" y="838"/>
                    </a:lnTo>
                    <a:lnTo>
                      <a:pt x="537" y="835"/>
                    </a:lnTo>
                    <a:lnTo>
                      <a:pt x="535" y="833"/>
                    </a:lnTo>
                    <a:lnTo>
                      <a:pt x="532" y="831"/>
                    </a:lnTo>
                    <a:lnTo>
                      <a:pt x="530" y="829"/>
                    </a:lnTo>
                    <a:lnTo>
                      <a:pt x="524" y="828"/>
                    </a:lnTo>
                    <a:lnTo>
                      <a:pt x="517" y="828"/>
                    </a:lnTo>
                    <a:lnTo>
                      <a:pt x="509" y="828"/>
                    </a:lnTo>
                    <a:lnTo>
                      <a:pt x="501" y="828"/>
                    </a:lnTo>
                    <a:lnTo>
                      <a:pt x="493" y="828"/>
                    </a:lnTo>
                    <a:lnTo>
                      <a:pt x="485" y="826"/>
                    </a:lnTo>
                    <a:lnTo>
                      <a:pt x="480" y="822"/>
                    </a:lnTo>
                    <a:lnTo>
                      <a:pt x="472" y="816"/>
                    </a:lnTo>
                    <a:lnTo>
                      <a:pt x="464" y="806"/>
                    </a:lnTo>
                    <a:lnTo>
                      <a:pt x="457" y="796"/>
                    </a:lnTo>
                    <a:lnTo>
                      <a:pt x="450" y="784"/>
                    </a:lnTo>
                    <a:lnTo>
                      <a:pt x="445" y="773"/>
                    </a:lnTo>
                    <a:lnTo>
                      <a:pt x="442" y="768"/>
                    </a:lnTo>
                    <a:lnTo>
                      <a:pt x="440" y="762"/>
                    </a:lnTo>
                    <a:lnTo>
                      <a:pt x="439" y="757"/>
                    </a:lnTo>
                    <a:lnTo>
                      <a:pt x="439" y="751"/>
                    </a:lnTo>
                    <a:lnTo>
                      <a:pt x="439" y="747"/>
                    </a:lnTo>
                    <a:lnTo>
                      <a:pt x="440" y="743"/>
                    </a:lnTo>
                    <a:lnTo>
                      <a:pt x="441" y="739"/>
                    </a:lnTo>
                    <a:lnTo>
                      <a:pt x="443" y="735"/>
                    </a:lnTo>
                    <a:lnTo>
                      <a:pt x="449" y="728"/>
                    </a:lnTo>
                    <a:lnTo>
                      <a:pt x="456" y="720"/>
                    </a:lnTo>
                    <a:lnTo>
                      <a:pt x="461" y="713"/>
                    </a:lnTo>
                    <a:lnTo>
                      <a:pt x="467" y="705"/>
                    </a:lnTo>
                    <a:lnTo>
                      <a:pt x="469" y="700"/>
                    </a:lnTo>
                    <a:lnTo>
                      <a:pt x="471" y="694"/>
                    </a:lnTo>
                    <a:lnTo>
                      <a:pt x="472" y="689"/>
                    </a:lnTo>
                    <a:lnTo>
                      <a:pt x="472" y="684"/>
                    </a:lnTo>
                    <a:lnTo>
                      <a:pt x="471" y="664"/>
                    </a:lnTo>
                    <a:lnTo>
                      <a:pt x="468" y="647"/>
                    </a:lnTo>
                    <a:lnTo>
                      <a:pt x="463" y="630"/>
                    </a:lnTo>
                    <a:lnTo>
                      <a:pt x="457" y="615"/>
                    </a:lnTo>
                    <a:lnTo>
                      <a:pt x="450" y="601"/>
                    </a:lnTo>
                    <a:lnTo>
                      <a:pt x="441" y="589"/>
                    </a:lnTo>
                    <a:lnTo>
                      <a:pt x="431" y="576"/>
                    </a:lnTo>
                    <a:lnTo>
                      <a:pt x="423" y="565"/>
                    </a:lnTo>
                    <a:lnTo>
                      <a:pt x="402" y="543"/>
                    </a:lnTo>
                    <a:lnTo>
                      <a:pt x="382" y="520"/>
                    </a:lnTo>
                    <a:lnTo>
                      <a:pt x="373" y="509"/>
                    </a:lnTo>
                    <a:lnTo>
                      <a:pt x="366" y="496"/>
                    </a:lnTo>
                    <a:lnTo>
                      <a:pt x="358" y="483"/>
                    </a:lnTo>
                    <a:lnTo>
                      <a:pt x="352" y="468"/>
                    </a:lnTo>
                    <a:lnTo>
                      <a:pt x="350" y="464"/>
                    </a:lnTo>
                    <a:lnTo>
                      <a:pt x="348" y="460"/>
                    </a:lnTo>
                    <a:lnTo>
                      <a:pt x="345" y="456"/>
                    </a:lnTo>
                    <a:lnTo>
                      <a:pt x="341" y="453"/>
                    </a:lnTo>
                    <a:lnTo>
                      <a:pt x="333" y="447"/>
                    </a:lnTo>
                    <a:lnTo>
                      <a:pt x="324" y="441"/>
                    </a:lnTo>
                    <a:lnTo>
                      <a:pt x="314" y="435"/>
                    </a:lnTo>
                    <a:lnTo>
                      <a:pt x="306" y="429"/>
                    </a:lnTo>
                    <a:lnTo>
                      <a:pt x="304" y="426"/>
                    </a:lnTo>
                    <a:lnTo>
                      <a:pt x="301" y="422"/>
                    </a:lnTo>
                    <a:lnTo>
                      <a:pt x="300" y="417"/>
                    </a:lnTo>
                    <a:lnTo>
                      <a:pt x="300" y="413"/>
                    </a:lnTo>
                    <a:lnTo>
                      <a:pt x="306" y="404"/>
                    </a:lnTo>
                    <a:lnTo>
                      <a:pt x="313" y="394"/>
                    </a:lnTo>
                    <a:lnTo>
                      <a:pt x="306" y="391"/>
                    </a:lnTo>
                    <a:lnTo>
                      <a:pt x="300" y="388"/>
                    </a:lnTo>
                    <a:lnTo>
                      <a:pt x="297" y="380"/>
                    </a:lnTo>
                    <a:lnTo>
                      <a:pt x="293" y="369"/>
                    </a:lnTo>
                    <a:lnTo>
                      <a:pt x="286" y="356"/>
                    </a:lnTo>
                    <a:lnTo>
                      <a:pt x="279" y="344"/>
                    </a:lnTo>
                    <a:lnTo>
                      <a:pt x="262" y="321"/>
                    </a:lnTo>
                    <a:lnTo>
                      <a:pt x="252" y="308"/>
                    </a:lnTo>
                    <a:lnTo>
                      <a:pt x="245" y="291"/>
                    </a:lnTo>
                    <a:lnTo>
                      <a:pt x="238" y="278"/>
                    </a:lnTo>
                    <a:lnTo>
                      <a:pt x="230" y="267"/>
                    </a:lnTo>
                    <a:lnTo>
                      <a:pt x="224" y="258"/>
                    </a:lnTo>
                    <a:lnTo>
                      <a:pt x="217" y="248"/>
                    </a:lnTo>
                    <a:lnTo>
                      <a:pt x="211" y="239"/>
                    </a:lnTo>
                    <a:lnTo>
                      <a:pt x="205" y="228"/>
                    </a:lnTo>
                    <a:lnTo>
                      <a:pt x="200" y="216"/>
                    </a:lnTo>
                    <a:lnTo>
                      <a:pt x="193" y="195"/>
                    </a:lnTo>
                    <a:lnTo>
                      <a:pt x="187" y="176"/>
                    </a:lnTo>
                    <a:lnTo>
                      <a:pt x="182" y="158"/>
                    </a:lnTo>
                    <a:lnTo>
                      <a:pt x="178" y="140"/>
                    </a:lnTo>
                    <a:lnTo>
                      <a:pt x="171" y="107"/>
                    </a:lnTo>
                    <a:lnTo>
                      <a:pt x="167" y="74"/>
                    </a:lnTo>
                    <a:lnTo>
                      <a:pt x="155" y="74"/>
                    </a:lnTo>
                    <a:lnTo>
                      <a:pt x="146" y="73"/>
                    </a:lnTo>
                    <a:lnTo>
                      <a:pt x="138" y="71"/>
                    </a:lnTo>
                    <a:lnTo>
                      <a:pt x="132" y="69"/>
                    </a:lnTo>
                    <a:lnTo>
                      <a:pt x="120" y="64"/>
                    </a:lnTo>
                    <a:lnTo>
                      <a:pt x="106" y="56"/>
                    </a:lnTo>
                    <a:lnTo>
                      <a:pt x="97" y="74"/>
                    </a:lnTo>
                    <a:lnTo>
                      <a:pt x="89" y="94"/>
                    </a:lnTo>
                    <a:lnTo>
                      <a:pt x="84" y="104"/>
                    </a:lnTo>
                    <a:lnTo>
                      <a:pt x="82" y="114"/>
                    </a:lnTo>
                    <a:lnTo>
                      <a:pt x="80" y="124"/>
                    </a:lnTo>
                    <a:lnTo>
                      <a:pt x="80" y="135"/>
                    </a:lnTo>
                    <a:lnTo>
                      <a:pt x="81" y="148"/>
                    </a:lnTo>
                    <a:lnTo>
                      <a:pt x="83" y="160"/>
                    </a:lnTo>
                    <a:lnTo>
                      <a:pt x="87" y="171"/>
                    </a:lnTo>
                    <a:lnTo>
                      <a:pt x="90" y="182"/>
                    </a:lnTo>
                    <a:lnTo>
                      <a:pt x="101" y="203"/>
                    </a:lnTo>
                    <a:lnTo>
                      <a:pt x="113" y="222"/>
                    </a:lnTo>
                    <a:lnTo>
                      <a:pt x="125" y="241"/>
                    </a:lnTo>
                    <a:lnTo>
                      <a:pt x="136" y="263"/>
                    </a:lnTo>
                    <a:lnTo>
                      <a:pt x="140" y="273"/>
                    </a:lnTo>
                    <a:lnTo>
                      <a:pt x="144" y="284"/>
                    </a:lnTo>
                    <a:lnTo>
                      <a:pt x="146" y="296"/>
                    </a:lnTo>
                    <a:lnTo>
                      <a:pt x="146" y="308"/>
                    </a:lnTo>
                    <a:lnTo>
                      <a:pt x="147" y="314"/>
                    </a:lnTo>
                    <a:lnTo>
                      <a:pt x="148" y="320"/>
                    </a:lnTo>
                    <a:lnTo>
                      <a:pt x="150" y="326"/>
                    </a:lnTo>
                    <a:lnTo>
                      <a:pt x="154" y="332"/>
                    </a:lnTo>
                    <a:lnTo>
                      <a:pt x="161" y="344"/>
                    </a:lnTo>
                    <a:lnTo>
                      <a:pt x="170" y="355"/>
                    </a:lnTo>
                    <a:lnTo>
                      <a:pt x="178" y="366"/>
                    </a:lnTo>
                    <a:lnTo>
                      <a:pt x="185" y="375"/>
                    </a:lnTo>
                    <a:lnTo>
                      <a:pt x="191" y="383"/>
                    </a:lnTo>
                    <a:lnTo>
                      <a:pt x="193" y="388"/>
                    </a:lnTo>
                    <a:lnTo>
                      <a:pt x="195" y="395"/>
                    </a:lnTo>
                    <a:lnTo>
                      <a:pt x="196" y="402"/>
                    </a:lnTo>
                    <a:lnTo>
                      <a:pt x="196" y="409"/>
                    </a:lnTo>
                    <a:lnTo>
                      <a:pt x="198" y="415"/>
                    </a:lnTo>
                    <a:lnTo>
                      <a:pt x="196" y="429"/>
                    </a:lnTo>
                    <a:lnTo>
                      <a:pt x="195" y="441"/>
                    </a:lnTo>
                    <a:lnTo>
                      <a:pt x="195" y="446"/>
                    </a:lnTo>
                    <a:lnTo>
                      <a:pt x="195" y="452"/>
                    </a:lnTo>
                    <a:lnTo>
                      <a:pt x="196" y="456"/>
                    </a:lnTo>
                    <a:lnTo>
                      <a:pt x="198" y="461"/>
                    </a:lnTo>
                    <a:lnTo>
                      <a:pt x="200" y="465"/>
                    </a:lnTo>
                    <a:lnTo>
                      <a:pt x="203" y="469"/>
                    </a:lnTo>
                    <a:lnTo>
                      <a:pt x="207" y="472"/>
                    </a:lnTo>
                    <a:lnTo>
                      <a:pt x="213" y="474"/>
                    </a:lnTo>
                    <a:lnTo>
                      <a:pt x="211" y="483"/>
                    </a:lnTo>
                    <a:lnTo>
                      <a:pt x="210" y="489"/>
                    </a:lnTo>
                    <a:lnTo>
                      <a:pt x="210" y="495"/>
                    </a:lnTo>
                    <a:lnTo>
                      <a:pt x="211" y="499"/>
                    </a:lnTo>
                    <a:lnTo>
                      <a:pt x="212" y="509"/>
                    </a:lnTo>
                    <a:lnTo>
                      <a:pt x="213" y="524"/>
                    </a:lnTo>
                    <a:lnTo>
                      <a:pt x="221" y="525"/>
                    </a:lnTo>
                    <a:lnTo>
                      <a:pt x="228" y="528"/>
                    </a:lnTo>
                    <a:lnTo>
                      <a:pt x="236" y="533"/>
                    </a:lnTo>
                    <a:lnTo>
                      <a:pt x="244" y="539"/>
                    </a:lnTo>
                    <a:lnTo>
                      <a:pt x="250" y="546"/>
                    </a:lnTo>
                    <a:lnTo>
                      <a:pt x="255" y="553"/>
                    </a:lnTo>
                    <a:lnTo>
                      <a:pt x="258" y="560"/>
                    </a:lnTo>
                    <a:lnTo>
                      <a:pt x="259" y="567"/>
                    </a:lnTo>
                    <a:lnTo>
                      <a:pt x="259" y="571"/>
                    </a:lnTo>
                    <a:lnTo>
                      <a:pt x="258" y="575"/>
                    </a:lnTo>
                    <a:lnTo>
                      <a:pt x="257" y="579"/>
                    </a:lnTo>
                    <a:lnTo>
                      <a:pt x="255" y="583"/>
                    </a:lnTo>
                    <a:lnTo>
                      <a:pt x="250" y="590"/>
                    </a:lnTo>
                    <a:lnTo>
                      <a:pt x="245" y="596"/>
                    </a:lnTo>
                    <a:lnTo>
                      <a:pt x="232" y="604"/>
                    </a:lnTo>
                    <a:lnTo>
                      <a:pt x="219" y="610"/>
                    </a:lnTo>
                    <a:lnTo>
                      <a:pt x="216" y="603"/>
                    </a:lnTo>
                    <a:lnTo>
                      <a:pt x="214" y="596"/>
                    </a:lnTo>
                    <a:lnTo>
                      <a:pt x="213" y="587"/>
                    </a:lnTo>
                    <a:lnTo>
                      <a:pt x="213" y="580"/>
                    </a:lnTo>
                    <a:lnTo>
                      <a:pt x="213" y="573"/>
                    </a:lnTo>
                    <a:lnTo>
                      <a:pt x="212" y="566"/>
                    </a:lnTo>
                    <a:lnTo>
                      <a:pt x="210" y="560"/>
                    </a:lnTo>
                    <a:lnTo>
                      <a:pt x="206" y="555"/>
                    </a:lnTo>
                    <a:lnTo>
                      <a:pt x="203" y="550"/>
                    </a:lnTo>
                    <a:lnTo>
                      <a:pt x="199" y="546"/>
                    </a:lnTo>
                    <a:lnTo>
                      <a:pt x="193" y="542"/>
                    </a:lnTo>
                    <a:lnTo>
                      <a:pt x="188" y="537"/>
                    </a:lnTo>
                    <a:lnTo>
                      <a:pt x="173" y="528"/>
                    </a:lnTo>
                    <a:lnTo>
                      <a:pt x="158" y="519"/>
                    </a:lnTo>
                    <a:lnTo>
                      <a:pt x="144" y="510"/>
                    </a:lnTo>
                    <a:lnTo>
                      <a:pt x="132" y="499"/>
                    </a:lnTo>
                    <a:lnTo>
                      <a:pt x="126" y="494"/>
                    </a:lnTo>
                    <a:lnTo>
                      <a:pt x="123" y="488"/>
                    </a:lnTo>
                    <a:lnTo>
                      <a:pt x="121" y="482"/>
                    </a:lnTo>
                    <a:lnTo>
                      <a:pt x="120" y="474"/>
                    </a:lnTo>
                    <a:lnTo>
                      <a:pt x="121" y="468"/>
                    </a:lnTo>
                    <a:lnTo>
                      <a:pt x="124" y="461"/>
                    </a:lnTo>
                    <a:lnTo>
                      <a:pt x="128" y="456"/>
                    </a:lnTo>
                    <a:lnTo>
                      <a:pt x="133" y="450"/>
                    </a:lnTo>
                    <a:lnTo>
                      <a:pt x="138" y="444"/>
                    </a:lnTo>
                    <a:lnTo>
                      <a:pt x="143" y="438"/>
                    </a:lnTo>
                    <a:lnTo>
                      <a:pt x="145" y="432"/>
                    </a:lnTo>
                    <a:lnTo>
                      <a:pt x="146" y="426"/>
                    </a:lnTo>
                    <a:lnTo>
                      <a:pt x="146" y="420"/>
                    </a:lnTo>
                    <a:lnTo>
                      <a:pt x="145" y="415"/>
                    </a:lnTo>
                    <a:lnTo>
                      <a:pt x="144" y="411"/>
                    </a:lnTo>
                    <a:lnTo>
                      <a:pt x="142" y="406"/>
                    </a:lnTo>
                    <a:lnTo>
                      <a:pt x="136" y="399"/>
                    </a:lnTo>
                    <a:lnTo>
                      <a:pt x="128" y="391"/>
                    </a:lnTo>
                    <a:lnTo>
                      <a:pt x="120" y="385"/>
                    </a:lnTo>
                    <a:lnTo>
                      <a:pt x="111" y="378"/>
                    </a:lnTo>
                    <a:lnTo>
                      <a:pt x="100" y="372"/>
                    </a:lnTo>
                    <a:lnTo>
                      <a:pt x="89" y="366"/>
                    </a:lnTo>
                    <a:lnTo>
                      <a:pt x="78" y="359"/>
                    </a:lnTo>
                    <a:lnTo>
                      <a:pt x="68" y="353"/>
                    </a:lnTo>
                    <a:lnTo>
                      <a:pt x="57" y="347"/>
                    </a:lnTo>
                    <a:lnTo>
                      <a:pt x="48" y="339"/>
                    </a:lnTo>
                    <a:lnTo>
                      <a:pt x="41" y="332"/>
                    </a:lnTo>
                    <a:lnTo>
                      <a:pt x="34" y="323"/>
                    </a:lnTo>
                    <a:lnTo>
                      <a:pt x="32" y="318"/>
                    </a:lnTo>
                    <a:lnTo>
                      <a:pt x="30" y="313"/>
                    </a:lnTo>
                    <a:lnTo>
                      <a:pt x="27" y="307"/>
                    </a:lnTo>
                    <a:lnTo>
                      <a:pt x="27" y="302"/>
                    </a:lnTo>
                    <a:lnTo>
                      <a:pt x="34" y="302"/>
                    </a:lnTo>
                    <a:lnTo>
                      <a:pt x="41" y="301"/>
                    </a:lnTo>
                    <a:lnTo>
                      <a:pt x="46" y="300"/>
                    </a:lnTo>
                    <a:lnTo>
                      <a:pt x="50" y="298"/>
                    </a:lnTo>
                    <a:lnTo>
                      <a:pt x="55" y="297"/>
                    </a:lnTo>
                    <a:lnTo>
                      <a:pt x="59" y="294"/>
                    </a:lnTo>
                    <a:lnTo>
                      <a:pt x="62" y="292"/>
                    </a:lnTo>
                    <a:lnTo>
                      <a:pt x="65" y="289"/>
                    </a:lnTo>
                    <a:lnTo>
                      <a:pt x="69" y="282"/>
                    </a:lnTo>
                    <a:lnTo>
                      <a:pt x="71" y="274"/>
                    </a:lnTo>
                    <a:lnTo>
                      <a:pt x="73" y="264"/>
                    </a:lnTo>
                    <a:lnTo>
                      <a:pt x="73" y="252"/>
                    </a:lnTo>
                    <a:lnTo>
                      <a:pt x="73" y="247"/>
                    </a:lnTo>
                    <a:lnTo>
                      <a:pt x="72" y="242"/>
                    </a:lnTo>
                    <a:lnTo>
                      <a:pt x="71" y="237"/>
                    </a:lnTo>
                    <a:lnTo>
                      <a:pt x="69" y="233"/>
                    </a:lnTo>
                    <a:lnTo>
                      <a:pt x="64" y="225"/>
                    </a:lnTo>
                    <a:lnTo>
                      <a:pt x="58" y="217"/>
                    </a:lnTo>
                    <a:lnTo>
                      <a:pt x="43" y="205"/>
                    </a:lnTo>
                    <a:lnTo>
                      <a:pt x="27" y="191"/>
                    </a:lnTo>
                    <a:lnTo>
                      <a:pt x="19" y="176"/>
                    </a:lnTo>
                    <a:lnTo>
                      <a:pt x="13" y="163"/>
                    </a:lnTo>
                    <a:lnTo>
                      <a:pt x="10" y="151"/>
                    </a:lnTo>
                    <a:lnTo>
                      <a:pt x="9" y="139"/>
                    </a:lnTo>
                    <a:lnTo>
                      <a:pt x="8" y="128"/>
                    </a:lnTo>
                    <a:lnTo>
                      <a:pt x="6" y="117"/>
                    </a:lnTo>
                    <a:lnTo>
                      <a:pt x="4" y="106"/>
                    </a:lnTo>
                    <a:lnTo>
                      <a:pt x="0" y="93"/>
                    </a:lnTo>
                    <a:lnTo>
                      <a:pt x="0" y="50"/>
                    </a:lnTo>
                    <a:lnTo>
                      <a:pt x="1" y="36"/>
                    </a:lnTo>
                    <a:lnTo>
                      <a:pt x="3" y="22"/>
                    </a:lnTo>
                    <a:lnTo>
                      <a:pt x="5" y="10"/>
                    </a:lnTo>
                    <a:lnTo>
                      <a:pt x="6" y="0"/>
                    </a:lnTo>
                    <a:lnTo>
                      <a:pt x="23" y="4"/>
                    </a:lnTo>
                    <a:lnTo>
                      <a:pt x="38" y="5"/>
                    </a:lnTo>
                    <a:lnTo>
                      <a:pt x="53" y="6"/>
                    </a:lnTo>
                    <a:lnTo>
                      <a:pt x="66" y="5"/>
                    </a:lnTo>
                    <a:lnTo>
                      <a:pt x="92" y="2"/>
                    </a:lnTo>
                    <a:lnTo>
                      <a:pt x="120" y="0"/>
                    </a:lnTo>
                    <a:lnTo>
                      <a:pt x="140" y="1"/>
                    </a:lnTo>
                    <a:lnTo>
                      <a:pt x="159" y="4"/>
                    </a:lnTo>
                    <a:lnTo>
                      <a:pt x="178" y="7"/>
                    </a:lnTo>
                    <a:lnTo>
                      <a:pt x="194" y="13"/>
                    </a:lnTo>
                    <a:lnTo>
                      <a:pt x="211" y="18"/>
                    </a:lnTo>
                    <a:lnTo>
                      <a:pt x="226" y="25"/>
                    </a:lnTo>
                    <a:lnTo>
                      <a:pt x="243" y="33"/>
                    </a:lnTo>
                    <a:lnTo>
                      <a:pt x="258" y="41"/>
                    </a:lnTo>
                    <a:lnTo>
                      <a:pt x="273" y="48"/>
                    </a:lnTo>
                    <a:lnTo>
                      <a:pt x="290" y="55"/>
                    </a:lnTo>
                    <a:lnTo>
                      <a:pt x="306" y="62"/>
                    </a:lnTo>
                    <a:lnTo>
                      <a:pt x="324" y="68"/>
                    </a:lnTo>
                    <a:lnTo>
                      <a:pt x="342" y="73"/>
                    </a:lnTo>
                    <a:lnTo>
                      <a:pt x="361" y="76"/>
                    </a:lnTo>
                    <a:lnTo>
                      <a:pt x="383" y="79"/>
                    </a:lnTo>
                    <a:lnTo>
                      <a:pt x="405" y="80"/>
                    </a:lnTo>
                    <a:lnTo>
                      <a:pt x="419" y="79"/>
                    </a:lnTo>
                    <a:lnTo>
                      <a:pt x="432" y="78"/>
                    </a:lnTo>
                    <a:lnTo>
                      <a:pt x="443" y="77"/>
                    </a:lnTo>
                    <a:lnTo>
                      <a:pt x="452" y="74"/>
                    </a:lnTo>
                    <a:lnTo>
                      <a:pt x="470" y="68"/>
                    </a:lnTo>
                    <a:lnTo>
                      <a:pt x="484" y="62"/>
                    </a:lnTo>
                    <a:lnTo>
                      <a:pt x="498" y="55"/>
                    </a:lnTo>
                    <a:lnTo>
                      <a:pt x="515" y="49"/>
                    </a:lnTo>
                    <a:lnTo>
                      <a:pt x="524" y="47"/>
                    </a:lnTo>
                    <a:lnTo>
                      <a:pt x="534" y="45"/>
                    </a:lnTo>
                    <a:lnTo>
                      <a:pt x="546" y="44"/>
                    </a:lnTo>
                    <a:lnTo>
                      <a:pt x="559" y="44"/>
                    </a:lnTo>
                    <a:lnTo>
                      <a:pt x="569" y="44"/>
                    </a:lnTo>
                    <a:lnTo>
                      <a:pt x="577" y="46"/>
                    </a:lnTo>
                    <a:lnTo>
                      <a:pt x="585" y="50"/>
                    </a:lnTo>
                    <a:lnTo>
                      <a:pt x="593" y="54"/>
                    </a:lnTo>
                    <a:lnTo>
                      <a:pt x="598" y="59"/>
                    </a:lnTo>
                    <a:lnTo>
                      <a:pt x="603" y="65"/>
                    </a:lnTo>
                    <a:lnTo>
                      <a:pt x="607" y="71"/>
                    </a:lnTo>
                    <a:lnTo>
                      <a:pt x="610" y="77"/>
                    </a:lnTo>
                    <a:lnTo>
                      <a:pt x="617" y="90"/>
                    </a:lnTo>
                    <a:lnTo>
                      <a:pt x="622" y="101"/>
                    </a:lnTo>
                    <a:lnTo>
                      <a:pt x="626" y="105"/>
                    </a:lnTo>
                    <a:lnTo>
                      <a:pt x="629" y="108"/>
                    </a:lnTo>
                    <a:lnTo>
                      <a:pt x="633" y="110"/>
                    </a:lnTo>
                    <a:lnTo>
                      <a:pt x="638" y="111"/>
                    </a:lnTo>
                    <a:lnTo>
                      <a:pt x="642" y="121"/>
                    </a:lnTo>
                    <a:lnTo>
                      <a:pt x="649" y="134"/>
                    </a:lnTo>
                    <a:lnTo>
                      <a:pt x="658" y="151"/>
                    </a:lnTo>
                    <a:lnTo>
                      <a:pt x="667" y="169"/>
                    </a:lnTo>
                    <a:lnTo>
                      <a:pt x="678" y="186"/>
                    </a:lnTo>
                    <a:lnTo>
                      <a:pt x="689" y="202"/>
                    </a:lnTo>
                    <a:lnTo>
                      <a:pt x="695" y="209"/>
                    </a:lnTo>
                    <a:lnTo>
                      <a:pt x="700" y="215"/>
                    </a:lnTo>
                    <a:lnTo>
                      <a:pt x="706" y="219"/>
                    </a:lnTo>
                    <a:lnTo>
                      <a:pt x="711" y="222"/>
                    </a:lnTo>
                    <a:lnTo>
                      <a:pt x="738" y="222"/>
                    </a:lnTo>
                    <a:lnTo>
                      <a:pt x="738" y="217"/>
                    </a:lnTo>
                    <a:lnTo>
                      <a:pt x="739" y="211"/>
                    </a:lnTo>
                    <a:lnTo>
                      <a:pt x="741" y="206"/>
                    </a:lnTo>
                    <a:lnTo>
                      <a:pt x="743" y="202"/>
                    </a:lnTo>
                    <a:lnTo>
                      <a:pt x="747" y="196"/>
                    </a:lnTo>
                    <a:lnTo>
                      <a:pt x="750" y="192"/>
                    </a:lnTo>
                    <a:lnTo>
                      <a:pt x="754" y="189"/>
                    </a:lnTo>
                    <a:lnTo>
                      <a:pt x="759" y="185"/>
                    </a:lnTo>
                    <a:lnTo>
                      <a:pt x="768" y="180"/>
                    </a:lnTo>
                    <a:lnTo>
                      <a:pt x="779" y="176"/>
                    </a:lnTo>
                    <a:lnTo>
                      <a:pt x="792" y="173"/>
                    </a:lnTo>
                    <a:lnTo>
                      <a:pt x="805" y="173"/>
                    </a:lnTo>
                    <a:lnTo>
                      <a:pt x="810" y="173"/>
                    </a:lnTo>
                    <a:lnTo>
                      <a:pt x="816" y="174"/>
                    </a:lnTo>
                    <a:lnTo>
                      <a:pt x="822" y="176"/>
                    </a:lnTo>
                    <a:lnTo>
                      <a:pt x="828" y="178"/>
                    </a:lnTo>
                    <a:lnTo>
                      <a:pt x="833" y="181"/>
                    </a:lnTo>
                    <a:lnTo>
                      <a:pt x="838" y="185"/>
                    </a:lnTo>
                    <a:lnTo>
                      <a:pt x="843" y="189"/>
                    </a:lnTo>
                    <a:lnTo>
                      <a:pt x="848" y="193"/>
                    </a:lnTo>
                    <a:lnTo>
                      <a:pt x="856" y="205"/>
                    </a:lnTo>
                    <a:lnTo>
                      <a:pt x="865" y="217"/>
                    </a:lnTo>
                    <a:lnTo>
                      <a:pt x="872" y="230"/>
                    </a:lnTo>
                    <a:lnTo>
                      <a:pt x="879" y="244"/>
                    </a:lnTo>
                    <a:lnTo>
                      <a:pt x="885" y="260"/>
                    </a:lnTo>
                    <a:lnTo>
                      <a:pt x="889" y="275"/>
                    </a:lnTo>
                    <a:lnTo>
                      <a:pt x="894" y="290"/>
                    </a:lnTo>
                    <a:lnTo>
                      <a:pt x="898" y="305"/>
                    </a:lnTo>
                    <a:lnTo>
                      <a:pt x="900" y="320"/>
                    </a:lnTo>
                    <a:lnTo>
                      <a:pt x="902" y="334"/>
                    </a:lnTo>
                    <a:lnTo>
                      <a:pt x="904" y="346"/>
                    </a:lnTo>
                    <a:lnTo>
                      <a:pt x="904" y="357"/>
                    </a:lnTo>
                    <a:lnTo>
                      <a:pt x="905" y="362"/>
                    </a:lnTo>
                    <a:lnTo>
                      <a:pt x="906" y="367"/>
                    </a:lnTo>
                    <a:lnTo>
                      <a:pt x="908" y="372"/>
                    </a:lnTo>
                    <a:lnTo>
                      <a:pt x="910" y="376"/>
                    </a:lnTo>
                    <a:lnTo>
                      <a:pt x="918" y="384"/>
                    </a:lnTo>
                    <a:lnTo>
                      <a:pt x="928" y="391"/>
                    </a:lnTo>
                    <a:lnTo>
                      <a:pt x="939" y="398"/>
                    </a:lnTo>
                    <a:lnTo>
                      <a:pt x="952" y="402"/>
                    </a:lnTo>
                    <a:lnTo>
                      <a:pt x="957" y="404"/>
                    </a:lnTo>
                    <a:lnTo>
                      <a:pt x="964" y="405"/>
                    </a:lnTo>
                    <a:lnTo>
                      <a:pt x="971" y="406"/>
                    </a:lnTo>
                    <a:lnTo>
                      <a:pt x="977" y="407"/>
                    </a:lnTo>
                    <a:lnTo>
                      <a:pt x="977" y="394"/>
                    </a:lnTo>
                    <a:lnTo>
                      <a:pt x="976" y="414"/>
                    </a:lnTo>
                    <a:lnTo>
                      <a:pt x="975" y="430"/>
                    </a:lnTo>
                    <a:lnTo>
                      <a:pt x="974" y="437"/>
                    </a:lnTo>
                    <a:lnTo>
                      <a:pt x="974" y="443"/>
                    </a:lnTo>
                    <a:lnTo>
                      <a:pt x="975" y="449"/>
                    </a:lnTo>
                    <a:lnTo>
                      <a:pt x="977" y="456"/>
                    </a:lnTo>
                    <a:lnTo>
                      <a:pt x="971" y="457"/>
                    </a:lnTo>
                    <a:lnTo>
                      <a:pt x="964" y="458"/>
                    </a:lnTo>
                    <a:lnTo>
                      <a:pt x="958" y="461"/>
                    </a:lnTo>
                    <a:lnTo>
                      <a:pt x="953" y="464"/>
                    </a:lnTo>
                    <a:lnTo>
                      <a:pt x="949" y="467"/>
                    </a:lnTo>
                    <a:lnTo>
                      <a:pt x="944" y="471"/>
                    </a:lnTo>
                    <a:lnTo>
                      <a:pt x="940" y="475"/>
                    </a:lnTo>
                    <a:lnTo>
                      <a:pt x="936" y="481"/>
                    </a:lnTo>
                    <a:lnTo>
                      <a:pt x="931" y="492"/>
                    </a:lnTo>
                    <a:lnTo>
                      <a:pt x="926" y="504"/>
                    </a:lnTo>
                    <a:lnTo>
                      <a:pt x="922" y="517"/>
                    </a:lnTo>
                    <a:lnTo>
                      <a:pt x="920" y="531"/>
                    </a:lnTo>
                    <a:lnTo>
                      <a:pt x="918" y="546"/>
                    </a:lnTo>
                    <a:lnTo>
                      <a:pt x="917" y="561"/>
                    </a:lnTo>
                    <a:lnTo>
                      <a:pt x="917" y="575"/>
                    </a:lnTo>
                    <a:lnTo>
                      <a:pt x="917" y="590"/>
                    </a:lnTo>
                    <a:lnTo>
                      <a:pt x="917" y="615"/>
                    </a:lnTo>
                    <a:lnTo>
                      <a:pt x="917" y="634"/>
                    </a:lnTo>
                    <a:lnTo>
                      <a:pt x="917" y="654"/>
                    </a:lnTo>
                    <a:lnTo>
                      <a:pt x="918" y="685"/>
                    </a:lnTo>
                    <a:lnTo>
                      <a:pt x="919" y="702"/>
                    </a:lnTo>
                    <a:lnTo>
                      <a:pt x="920" y="717"/>
                    </a:lnTo>
                    <a:lnTo>
                      <a:pt x="921" y="730"/>
                    </a:lnTo>
                    <a:lnTo>
                      <a:pt x="923" y="739"/>
                    </a:lnTo>
                    <a:lnTo>
                      <a:pt x="933" y="758"/>
                    </a:lnTo>
                    <a:lnTo>
                      <a:pt x="947" y="780"/>
                    </a:lnTo>
                    <a:lnTo>
                      <a:pt x="956" y="791"/>
                    </a:lnTo>
                    <a:lnTo>
                      <a:pt x="965" y="803"/>
                    </a:lnTo>
                    <a:lnTo>
                      <a:pt x="975" y="816"/>
                    </a:lnTo>
                    <a:lnTo>
                      <a:pt x="985" y="827"/>
                    </a:lnTo>
                    <a:lnTo>
                      <a:pt x="996" y="838"/>
                    </a:lnTo>
                    <a:lnTo>
                      <a:pt x="1007" y="848"/>
                    </a:lnTo>
                    <a:lnTo>
                      <a:pt x="1019" y="857"/>
                    </a:lnTo>
                    <a:lnTo>
                      <a:pt x="1030" y="865"/>
                    </a:lnTo>
                    <a:lnTo>
                      <a:pt x="1042" y="872"/>
                    </a:lnTo>
                    <a:lnTo>
                      <a:pt x="1054" y="877"/>
                    </a:lnTo>
                    <a:lnTo>
                      <a:pt x="1065" y="880"/>
                    </a:lnTo>
                    <a:lnTo>
                      <a:pt x="1077" y="881"/>
                    </a:lnTo>
                    <a:lnTo>
                      <a:pt x="1090" y="877"/>
                    </a:lnTo>
                    <a:lnTo>
                      <a:pt x="1114" y="865"/>
                    </a:lnTo>
                    <a:lnTo>
                      <a:pt x="1126" y="860"/>
                    </a:lnTo>
                    <a:lnTo>
                      <a:pt x="1140" y="855"/>
                    </a:lnTo>
                    <a:lnTo>
                      <a:pt x="1149" y="852"/>
                    </a:lnTo>
                    <a:lnTo>
                      <a:pt x="1156" y="850"/>
                    </a:lnTo>
                    <a:lnTo>
                      <a:pt x="1166" y="849"/>
                    </a:lnTo>
                    <a:lnTo>
                      <a:pt x="1178" y="849"/>
                    </a:lnTo>
                    <a:lnTo>
                      <a:pt x="1192" y="851"/>
                    </a:lnTo>
                    <a:lnTo>
                      <a:pt x="1208" y="852"/>
                    </a:lnTo>
                    <a:lnTo>
                      <a:pt x="1222" y="854"/>
                    </a:lnTo>
                    <a:lnTo>
                      <a:pt x="1235" y="854"/>
                    </a:lnTo>
                    <a:lnTo>
                      <a:pt x="1240" y="854"/>
                    </a:lnTo>
                    <a:lnTo>
                      <a:pt x="1244" y="853"/>
                    </a:lnTo>
                    <a:lnTo>
                      <a:pt x="1247" y="852"/>
                    </a:lnTo>
                    <a:lnTo>
                      <a:pt x="1249" y="850"/>
                    </a:lnTo>
                    <a:lnTo>
                      <a:pt x="1257" y="842"/>
                    </a:lnTo>
                    <a:lnTo>
                      <a:pt x="1264" y="834"/>
                    </a:lnTo>
                    <a:lnTo>
                      <a:pt x="1269" y="826"/>
                    </a:lnTo>
                    <a:lnTo>
                      <a:pt x="1274" y="818"/>
                    </a:lnTo>
                    <a:lnTo>
                      <a:pt x="1280" y="801"/>
                    </a:lnTo>
                    <a:lnTo>
                      <a:pt x="1285" y="785"/>
                    </a:lnTo>
                    <a:lnTo>
                      <a:pt x="1288" y="768"/>
                    </a:lnTo>
                    <a:lnTo>
                      <a:pt x="1292" y="750"/>
                    </a:lnTo>
                    <a:lnTo>
                      <a:pt x="1296" y="742"/>
                    </a:lnTo>
                    <a:lnTo>
                      <a:pt x="1299" y="733"/>
                    </a:lnTo>
                    <a:lnTo>
                      <a:pt x="1303" y="724"/>
                    </a:lnTo>
                    <a:lnTo>
                      <a:pt x="1309" y="715"/>
                    </a:lnTo>
                    <a:lnTo>
                      <a:pt x="1311" y="712"/>
                    </a:lnTo>
                    <a:lnTo>
                      <a:pt x="1313" y="709"/>
                    </a:lnTo>
                    <a:lnTo>
                      <a:pt x="1315" y="706"/>
                    </a:lnTo>
                    <a:lnTo>
                      <a:pt x="1319" y="703"/>
                    </a:lnTo>
                    <a:lnTo>
                      <a:pt x="1326" y="697"/>
                    </a:lnTo>
                    <a:lnTo>
                      <a:pt x="1336" y="693"/>
                    </a:lnTo>
                    <a:lnTo>
                      <a:pt x="1347" y="690"/>
                    </a:lnTo>
                    <a:lnTo>
                      <a:pt x="1359" y="687"/>
                    </a:lnTo>
                    <a:lnTo>
                      <a:pt x="1373" y="684"/>
                    </a:lnTo>
                    <a:lnTo>
                      <a:pt x="1387" y="682"/>
                    </a:lnTo>
                    <a:lnTo>
                      <a:pt x="1416" y="680"/>
                    </a:lnTo>
                    <a:lnTo>
                      <a:pt x="1446" y="678"/>
                    </a:lnTo>
                    <a:lnTo>
                      <a:pt x="1472" y="678"/>
                    </a:lnTo>
                    <a:lnTo>
                      <a:pt x="1495" y="678"/>
                    </a:lnTo>
                    <a:lnTo>
                      <a:pt x="1506" y="678"/>
                    </a:lnTo>
                    <a:lnTo>
                      <a:pt x="1522" y="678"/>
                    </a:lnTo>
                    <a:lnTo>
                      <a:pt x="1524" y="684"/>
                    </a:lnTo>
                    <a:lnTo>
                      <a:pt x="1528" y="693"/>
                    </a:lnTo>
                    <a:lnTo>
                      <a:pt x="1533" y="703"/>
                    </a:lnTo>
                    <a:lnTo>
                      <a:pt x="1535" y="709"/>
                    </a:lnTo>
                    <a:lnTo>
                      <a:pt x="1526" y="714"/>
                    </a:lnTo>
                    <a:lnTo>
                      <a:pt x="1515" y="720"/>
                    </a:lnTo>
                    <a:lnTo>
                      <a:pt x="1510" y="724"/>
                    </a:lnTo>
                    <a:lnTo>
                      <a:pt x="1503" y="729"/>
                    </a:lnTo>
                    <a:lnTo>
                      <a:pt x="1498" y="735"/>
                    </a:lnTo>
                    <a:lnTo>
                      <a:pt x="1492" y="741"/>
                    </a:lnTo>
                    <a:lnTo>
                      <a:pt x="1487" y="748"/>
                    </a:lnTo>
                    <a:lnTo>
                      <a:pt x="1481" y="758"/>
                    </a:lnTo>
                    <a:lnTo>
                      <a:pt x="1477" y="767"/>
                    </a:lnTo>
                    <a:lnTo>
                      <a:pt x="1473" y="778"/>
                    </a:lnTo>
                    <a:lnTo>
                      <a:pt x="1470" y="791"/>
                    </a:lnTo>
                    <a:lnTo>
                      <a:pt x="1469" y="804"/>
                    </a:lnTo>
                    <a:lnTo>
                      <a:pt x="1468" y="821"/>
                    </a:lnTo>
                    <a:lnTo>
                      <a:pt x="1469" y="838"/>
                    </a:lnTo>
                    <a:lnTo>
                      <a:pt x="1455" y="854"/>
                    </a:lnTo>
                    <a:lnTo>
                      <a:pt x="1444" y="868"/>
                    </a:lnTo>
                    <a:lnTo>
                      <a:pt x="1435" y="878"/>
                    </a:lnTo>
                    <a:lnTo>
                      <a:pt x="1428" y="888"/>
                    </a:lnTo>
                    <a:lnTo>
                      <a:pt x="1414" y="888"/>
                    </a:lnTo>
                    <a:lnTo>
                      <a:pt x="1401" y="888"/>
                    </a:lnTo>
                    <a:lnTo>
                      <a:pt x="1387" y="888"/>
                    </a:lnTo>
                    <a:lnTo>
                      <a:pt x="1369" y="888"/>
                    </a:lnTo>
                    <a:lnTo>
                      <a:pt x="1367" y="888"/>
                    </a:lnTo>
                    <a:lnTo>
                      <a:pt x="1359" y="888"/>
                    </a:lnTo>
                    <a:lnTo>
                      <a:pt x="1349" y="888"/>
                    </a:lnTo>
                    <a:lnTo>
                      <a:pt x="1336" y="888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72" name="Freeform 194">
                <a:extLst>
                  <a:ext uri="{FF2B5EF4-FFF2-40B4-BE49-F238E27FC236}">
                    <a16:creationId xmlns="" xmlns:a16="http://schemas.microsoft.com/office/drawing/2014/main" id="{F4CD807C-3D19-4B7F-83F3-3EEF69E0638C}"/>
                  </a:ext>
                </a:extLst>
              </p:cNvPr>
              <p:cNvSpPr>
                <a:spLocks/>
              </p:cNvSpPr>
              <p:nvPr>
                <p:custDataLst>
                  <p:tags r:id="rId121"/>
                </p:custDataLst>
              </p:nvPr>
            </p:nvSpPr>
            <p:spPr bwMode="auto">
              <a:xfrm>
                <a:off x="2486025" y="4283075"/>
                <a:ext cx="211138" cy="265113"/>
              </a:xfrm>
              <a:custGeom>
                <a:avLst/>
                <a:gdLst>
                  <a:gd name="T0" fmla="*/ 2147483646 w 486"/>
                  <a:gd name="T1" fmla="*/ 2147483646 h 505"/>
                  <a:gd name="T2" fmla="*/ 2147483646 w 486"/>
                  <a:gd name="T3" fmla="*/ 2147483646 h 505"/>
                  <a:gd name="T4" fmla="*/ 2147483646 w 486"/>
                  <a:gd name="T5" fmla="*/ 2147483646 h 505"/>
                  <a:gd name="T6" fmla="*/ 2147483646 w 486"/>
                  <a:gd name="T7" fmla="*/ 2147483646 h 505"/>
                  <a:gd name="T8" fmla="*/ 2147483646 w 486"/>
                  <a:gd name="T9" fmla="*/ 2147483646 h 505"/>
                  <a:gd name="T10" fmla="*/ 2147483646 w 486"/>
                  <a:gd name="T11" fmla="*/ 2147483646 h 505"/>
                  <a:gd name="T12" fmla="*/ 2147483646 w 486"/>
                  <a:gd name="T13" fmla="*/ 2147483646 h 505"/>
                  <a:gd name="T14" fmla="*/ 2147483646 w 486"/>
                  <a:gd name="T15" fmla="*/ 2147483646 h 505"/>
                  <a:gd name="T16" fmla="*/ 2147483646 w 486"/>
                  <a:gd name="T17" fmla="*/ 2147483646 h 505"/>
                  <a:gd name="T18" fmla="*/ 2147483646 w 486"/>
                  <a:gd name="T19" fmla="*/ 2147483646 h 505"/>
                  <a:gd name="T20" fmla="*/ 2147483646 w 486"/>
                  <a:gd name="T21" fmla="*/ 2147483646 h 505"/>
                  <a:gd name="T22" fmla="*/ 2147483646 w 486"/>
                  <a:gd name="T23" fmla="*/ 2147483646 h 505"/>
                  <a:gd name="T24" fmla="*/ 2147483646 w 486"/>
                  <a:gd name="T25" fmla="*/ 2147483646 h 505"/>
                  <a:gd name="T26" fmla="*/ 2147483646 w 486"/>
                  <a:gd name="T27" fmla="*/ 2147483646 h 505"/>
                  <a:gd name="T28" fmla="*/ 2147483646 w 486"/>
                  <a:gd name="T29" fmla="*/ 2147483646 h 505"/>
                  <a:gd name="T30" fmla="*/ 2147483646 w 486"/>
                  <a:gd name="T31" fmla="*/ 2147483646 h 505"/>
                  <a:gd name="T32" fmla="*/ 2147483646 w 486"/>
                  <a:gd name="T33" fmla="*/ 2147483646 h 505"/>
                  <a:gd name="T34" fmla="*/ 2147483646 w 486"/>
                  <a:gd name="T35" fmla="*/ 2147483646 h 505"/>
                  <a:gd name="T36" fmla="*/ 2147483646 w 486"/>
                  <a:gd name="T37" fmla="*/ 2147483646 h 505"/>
                  <a:gd name="T38" fmla="*/ 2147483646 w 486"/>
                  <a:gd name="T39" fmla="*/ 2147483646 h 505"/>
                  <a:gd name="T40" fmla="*/ 2147483646 w 486"/>
                  <a:gd name="T41" fmla="*/ 2147483646 h 505"/>
                  <a:gd name="T42" fmla="*/ 2147483646 w 486"/>
                  <a:gd name="T43" fmla="*/ 2147483646 h 505"/>
                  <a:gd name="T44" fmla="*/ 2147483646 w 486"/>
                  <a:gd name="T45" fmla="*/ 2147483646 h 505"/>
                  <a:gd name="T46" fmla="*/ 2147483646 w 486"/>
                  <a:gd name="T47" fmla="*/ 2147483646 h 505"/>
                  <a:gd name="T48" fmla="*/ 2147483646 w 486"/>
                  <a:gd name="T49" fmla="*/ 2147483646 h 505"/>
                  <a:gd name="T50" fmla="*/ 2147483646 w 486"/>
                  <a:gd name="T51" fmla="*/ 2147483646 h 505"/>
                  <a:gd name="T52" fmla="*/ 2147483646 w 486"/>
                  <a:gd name="T53" fmla="*/ 2147483646 h 505"/>
                  <a:gd name="T54" fmla="*/ 2147483646 w 486"/>
                  <a:gd name="T55" fmla="*/ 2147483646 h 505"/>
                  <a:gd name="T56" fmla="*/ 2147483646 w 486"/>
                  <a:gd name="T57" fmla="*/ 2147483646 h 505"/>
                  <a:gd name="T58" fmla="*/ 2147483646 w 486"/>
                  <a:gd name="T59" fmla="*/ 2147483646 h 505"/>
                  <a:gd name="T60" fmla="*/ 2147483646 w 486"/>
                  <a:gd name="T61" fmla="*/ 2147483646 h 505"/>
                  <a:gd name="T62" fmla="*/ 2147483646 w 486"/>
                  <a:gd name="T63" fmla="*/ 2147483646 h 505"/>
                  <a:gd name="T64" fmla="*/ 2147483646 w 486"/>
                  <a:gd name="T65" fmla="*/ 2147483646 h 505"/>
                  <a:gd name="T66" fmla="*/ 2147483646 w 486"/>
                  <a:gd name="T67" fmla="*/ 2147483646 h 505"/>
                  <a:gd name="T68" fmla="*/ 2147483646 w 486"/>
                  <a:gd name="T69" fmla="*/ 2147483646 h 505"/>
                  <a:gd name="T70" fmla="*/ 2147483646 w 486"/>
                  <a:gd name="T71" fmla="*/ 2147483646 h 505"/>
                  <a:gd name="T72" fmla="*/ 2147483646 w 486"/>
                  <a:gd name="T73" fmla="*/ 2147483646 h 505"/>
                  <a:gd name="T74" fmla="*/ 2147483646 w 486"/>
                  <a:gd name="T75" fmla="*/ 2147483646 h 505"/>
                  <a:gd name="T76" fmla="*/ 2147483646 w 486"/>
                  <a:gd name="T77" fmla="*/ 2147483646 h 505"/>
                  <a:gd name="T78" fmla="*/ 2147483646 w 486"/>
                  <a:gd name="T79" fmla="*/ 2147483646 h 505"/>
                  <a:gd name="T80" fmla="*/ 2147483646 w 486"/>
                  <a:gd name="T81" fmla="*/ 2147483646 h 505"/>
                  <a:gd name="T82" fmla="*/ 2147483646 w 486"/>
                  <a:gd name="T83" fmla="*/ 2147483646 h 505"/>
                  <a:gd name="T84" fmla="*/ 2147483646 w 486"/>
                  <a:gd name="T85" fmla="*/ 2147483646 h 505"/>
                  <a:gd name="T86" fmla="*/ 2147483646 w 486"/>
                  <a:gd name="T87" fmla="*/ 2147483646 h 505"/>
                  <a:gd name="T88" fmla="*/ 2147483646 w 486"/>
                  <a:gd name="T89" fmla="*/ 2147483646 h 505"/>
                  <a:gd name="T90" fmla="*/ 2147483646 w 486"/>
                  <a:gd name="T91" fmla="*/ 2147483646 h 505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486"/>
                  <a:gd name="T139" fmla="*/ 0 h 505"/>
                  <a:gd name="T140" fmla="*/ 486 w 486"/>
                  <a:gd name="T141" fmla="*/ 505 h 505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486" h="505">
                    <a:moveTo>
                      <a:pt x="0" y="166"/>
                    </a:moveTo>
                    <a:lnTo>
                      <a:pt x="7" y="171"/>
                    </a:lnTo>
                    <a:lnTo>
                      <a:pt x="14" y="176"/>
                    </a:lnTo>
                    <a:lnTo>
                      <a:pt x="19" y="181"/>
                    </a:lnTo>
                    <a:lnTo>
                      <a:pt x="24" y="186"/>
                    </a:lnTo>
                    <a:lnTo>
                      <a:pt x="31" y="198"/>
                    </a:lnTo>
                    <a:lnTo>
                      <a:pt x="39" y="210"/>
                    </a:lnTo>
                    <a:lnTo>
                      <a:pt x="44" y="221"/>
                    </a:lnTo>
                    <a:lnTo>
                      <a:pt x="51" y="232"/>
                    </a:lnTo>
                    <a:lnTo>
                      <a:pt x="58" y="242"/>
                    </a:lnTo>
                    <a:lnTo>
                      <a:pt x="66" y="253"/>
                    </a:lnTo>
                    <a:lnTo>
                      <a:pt x="82" y="266"/>
                    </a:lnTo>
                    <a:lnTo>
                      <a:pt x="96" y="276"/>
                    </a:lnTo>
                    <a:lnTo>
                      <a:pt x="111" y="285"/>
                    </a:lnTo>
                    <a:lnTo>
                      <a:pt x="126" y="293"/>
                    </a:lnTo>
                    <a:lnTo>
                      <a:pt x="140" y="299"/>
                    </a:lnTo>
                    <a:lnTo>
                      <a:pt x="155" y="305"/>
                    </a:lnTo>
                    <a:lnTo>
                      <a:pt x="170" y="310"/>
                    </a:lnTo>
                    <a:lnTo>
                      <a:pt x="185" y="314"/>
                    </a:lnTo>
                    <a:lnTo>
                      <a:pt x="215" y="321"/>
                    </a:lnTo>
                    <a:lnTo>
                      <a:pt x="246" y="328"/>
                    </a:lnTo>
                    <a:lnTo>
                      <a:pt x="262" y="332"/>
                    </a:lnTo>
                    <a:lnTo>
                      <a:pt x="278" y="338"/>
                    </a:lnTo>
                    <a:lnTo>
                      <a:pt x="295" y="344"/>
                    </a:lnTo>
                    <a:lnTo>
                      <a:pt x="312" y="351"/>
                    </a:lnTo>
                    <a:lnTo>
                      <a:pt x="307" y="367"/>
                    </a:lnTo>
                    <a:lnTo>
                      <a:pt x="299" y="381"/>
                    </a:lnTo>
                    <a:lnTo>
                      <a:pt x="291" y="394"/>
                    </a:lnTo>
                    <a:lnTo>
                      <a:pt x="284" y="406"/>
                    </a:lnTo>
                    <a:lnTo>
                      <a:pt x="277" y="418"/>
                    </a:lnTo>
                    <a:lnTo>
                      <a:pt x="272" y="430"/>
                    </a:lnTo>
                    <a:lnTo>
                      <a:pt x="269" y="436"/>
                    </a:lnTo>
                    <a:lnTo>
                      <a:pt x="267" y="443"/>
                    </a:lnTo>
                    <a:lnTo>
                      <a:pt x="266" y="449"/>
                    </a:lnTo>
                    <a:lnTo>
                      <a:pt x="266" y="456"/>
                    </a:lnTo>
                    <a:lnTo>
                      <a:pt x="266" y="463"/>
                    </a:lnTo>
                    <a:lnTo>
                      <a:pt x="269" y="471"/>
                    </a:lnTo>
                    <a:lnTo>
                      <a:pt x="273" y="477"/>
                    </a:lnTo>
                    <a:lnTo>
                      <a:pt x="278" y="482"/>
                    </a:lnTo>
                    <a:lnTo>
                      <a:pt x="284" y="487"/>
                    </a:lnTo>
                    <a:lnTo>
                      <a:pt x="291" y="491"/>
                    </a:lnTo>
                    <a:lnTo>
                      <a:pt x="299" y="494"/>
                    </a:lnTo>
                    <a:lnTo>
                      <a:pt x="308" y="497"/>
                    </a:lnTo>
                    <a:lnTo>
                      <a:pt x="325" y="501"/>
                    </a:lnTo>
                    <a:lnTo>
                      <a:pt x="344" y="504"/>
                    </a:lnTo>
                    <a:lnTo>
                      <a:pt x="363" y="505"/>
                    </a:lnTo>
                    <a:lnTo>
                      <a:pt x="379" y="505"/>
                    </a:lnTo>
                    <a:lnTo>
                      <a:pt x="387" y="504"/>
                    </a:lnTo>
                    <a:lnTo>
                      <a:pt x="396" y="502"/>
                    </a:lnTo>
                    <a:lnTo>
                      <a:pt x="406" y="499"/>
                    </a:lnTo>
                    <a:lnTo>
                      <a:pt x="415" y="494"/>
                    </a:lnTo>
                    <a:lnTo>
                      <a:pt x="426" y="488"/>
                    </a:lnTo>
                    <a:lnTo>
                      <a:pt x="436" y="482"/>
                    </a:lnTo>
                    <a:lnTo>
                      <a:pt x="446" y="474"/>
                    </a:lnTo>
                    <a:lnTo>
                      <a:pt x="456" y="465"/>
                    </a:lnTo>
                    <a:lnTo>
                      <a:pt x="465" y="456"/>
                    </a:lnTo>
                    <a:lnTo>
                      <a:pt x="473" y="447"/>
                    </a:lnTo>
                    <a:lnTo>
                      <a:pt x="478" y="437"/>
                    </a:lnTo>
                    <a:lnTo>
                      <a:pt x="482" y="428"/>
                    </a:lnTo>
                    <a:lnTo>
                      <a:pt x="485" y="418"/>
                    </a:lnTo>
                    <a:lnTo>
                      <a:pt x="486" y="407"/>
                    </a:lnTo>
                    <a:lnTo>
                      <a:pt x="485" y="402"/>
                    </a:lnTo>
                    <a:lnTo>
                      <a:pt x="484" y="397"/>
                    </a:lnTo>
                    <a:lnTo>
                      <a:pt x="481" y="393"/>
                    </a:lnTo>
                    <a:lnTo>
                      <a:pt x="478" y="388"/>
                    </a:lnTo>
                    <a:lnTo>
                      <a:pt x="478" y="358"/>
                    </a:lnTo>
                    <a:lnTo>
                      <a:pt x="475" y="345"/>
                    </a:lnTo>
                    <a:lnTo>
                      <a:pt x="473" y="331"/>
                    </a:lnTo>
                    <a:lnTo>
                      <a:pt x="471" y="316"/>
                    </a:lnTo>
                    <a:lnTo>
                      <a:pt x="470" y="299"/>
                    </a:lnTo>
                    <a:lnTo>
                      <a:pt x="468" y="284"/>
                    </a:lnTo>
                    <a:lnTo>
                      <a:pt x="465" y="270"/>
                    </a:lnTo>
                    <a:lnTo>
                      <a:pt x="463" y="263"/>
                    </a:lnTo>
                    <a:lnTo>
                      <a:pt x="461" y="257"/>
                    </a:lnTo>
                    <a:lnTo>
                      <a:pt x="456" y="252"/>
                    </a:lnTo>
                    <a:lnTo>
                      <a:pt x="452" y="247"/>
                    </a:lnTo>
                    <a:lnTo>
                      <a:pt x="446" y="242"/>
                    </a:lnTo>
                    <a:lnTo>
                      <a:pt x="439" y="239"/>
                    </a:lnTo>
                    <a:lnTo>
                      <a:pt x="431" y="236"/>
                    </a:lnTo>
                    <a:lnTo>
                      <a:pt x="422" y="234"/>
                    </a:lnTo>
                    <a:lnTo>
                      <a:pt x="413" y="232"/>
                    </a:lnTo>
                    <a:lnTo>
                      <a:pt x="406" y="229"/>
                    </a:lnTo>
                    <a:lnTo>
                      <a:pt x="398" y="226"/>
                    </a:lnTo>
                    <a:lnTo>
                      <a:pt x="392" y="222"/>
                    </a:lnTo>
                    <a:lnTo>
                      <a:pt x="386" y="216"/>
                    </a:lnTo>
                    <a:lnTo>
                      <a:pt x="378" y="212"/>
                    </a:lnTo>
                    <a:lnTo>
                      <a:pt x="370" y="207"/>
                    </a:lnTo>
                    <a:lnTo>
                      <a:pt x="363" y="203"/>
                    </a:lnTo>
                    <a:lnTo>
                      <a:pt x="346" y="196"/>
                    </a:lnTo>
                    <a:lnTo>
                      <a:pt x="330" y="188"/>
                    </a:lnTo>
                    <a:lnTo>
                      <a:pt x="313" y="182"/>
                    </a:lnTo>
                    <a:lnTo>
                      <a:pt x="298" y="176"/>
                    </a:lnTo>
                    <a:lnTo>
                      <a:pt x="290" y="172"/>
                    </a:lnTo>
                    <a:lnTo>
                      <a:pt x="284" y="169"/>
                    </a:lnTo>
                    <a:lnTo>
                      <a:pt x="278" y="165"/>
                    </a:lnTo>
                    <a:lnTo>
                      <a:pt x="273" y="160"/>
                    </a:lnTo>
                    <a:lnTo>
                      <a:pt x="269" y="158"/>
                    </a:lnTo>
                    <a:lnTo>
                      <a:pt x="266" y="154"/>
                    </a:lnTo>
                    <a:lnTo>
                      <a:pt x="264" y="151"/>
                    </a:lnTo>
                    <a:lnTo>
                      <a:pt x="263" y="146"/>
                    </a:lnTo>
                    <a:lnTo>
                      <a:pt x="262" y="136"/>
                    </a:lnTo>
                    <a:lnTo>
                      <a:pt x="261" y="125"/>
                    </a:lnTo>
                    <a:lnTo>
                      <a:pt x="261" y="113"/>
                    </a:lnTo>
                    <a:lnTo>
                      <a:pt x="262" y="101"/>
                    </a:lnTo>
                    <a:lnTo>
                      <a:pt x="261" y="90"/>
                    </a:lnTo>
                    <a:lnTo>
                      <a:pt x="260" y="81"/>
                    </a:lnTo>
                    <a:lnTo>
                      <a:pt x="258" y="75"/>
                    </a:lnTo>
                    <a:lnTo>
                      <a:pt x="255" y="71"/>
                    </a:lnTo>
                    <a:lnTo>
                      <a:pt x="251" y="67"/>
                    </a:lnTo>
                    <a:lnTo>
                      <a:pt x="246" y="61"/>
                    </a:lnTo>
                    <a:lnTo>
                      <a:pt x="241" y="55"/>
                    </a:lnTo>
                    <a:lnTo>
                      <a:pt x="237" y="47"/>
                    </a:lnTo>
                    <a:lnTo>
                      <a:pt x="235" y="43"/>
                    </a:lnTo>
                    <a:lnTo>
                      <a:pt x="234" y="37"/>
                    </a:lnTo>
                    <a:lnTo>
                      <a:pt x="233" y="32"/>
                    </a:lnTo>
                    <a:lnTo>
                      <a:pt x="233" y="25"/>
                    </a:lnTo>
                    <a:lnTo>
                      <a:pt x="199" y="12"/>
                    </a:lnTo>
                    <a:lnTo>
                      <a:pt x="195" y="12"/>
                    </a:lnTo>
                    <a:lnTo>
                      <a:pt x="190" y="10"/>
                    </a:lnTo>
                    <a:lnTo>
                      <a:pt x="186" y="8"/>
                    </a:lnTo>
                    <a:lnTo>
                      <a:pt x="182" y="6"/>
                    </a:lnTo>
                    <a:lnTo>
                      <a:pt x="177" y="4"/>
                    </a:lnTo>
                    <a:lnTo>
                      <a:pt x="173" y="2"/>
                    </a:lnTo>
                    <a:lnTo>
                      <a:pt x="166" y="0"/>
                    </a:lnTo>
                    <a:lnTo>
                      <a:pt x="160" y="0"/>
                    </a:lnTo>
                    <a:lnTo>
                      <a:pt x="139" y="1"/>
                    </a:lnTo>
                    <a:lnTo>
                      <a:pt x="116" y="2"/>
                    </a:lnTo>
                    <a:lnTo>
                      <a:pt x="92" y="6"/>
                    </a:lnTo>
                    <a:lnTo>
                      <a:pt x="70" y="11"/>
                    </a:lnTo>
                    <a:lnTo>
                      <a:pt x="60" y="14"/>
                    </a:lnTo>
                    <a:lnTo>
                      <a:pt x="50" y="17"/>
                    </a:lnTo>
                    <a:lnTo>
                      <a:pt x="42" y="21"/>
                    </a:lnTo>
                    <a:lnTo>
                      <a:pt x="34" y="27"/>
                    </a:lnTo>
                    <a:lnTo>
                      <a:pt x="28" y="31"/>
                    </a:lnTo>
                    <a:lnTo>
                      <a:pt x="24" y="37"/>
                    </a:lnTo>
                    <a:lnTo>
                      <a:pt x="21" y="43"/>
                    </a:lnTo>
                    <a:lnTo>
                      <a:pt x="20" y="49"/>
                    </a:lnTo>
                    <a:lnTo>
                      <a:pt x="20" y="64"/>
                    </a:lnTo>
                    <a:lnTo>
                      <a:pt x="20" y="74"/>
                    </a:lnTo>
                    <a:lnTo>
                      <a:pt x="0" y="166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73" name="Freeform 195">
                <a:extLst>
                  <a:ext uri="{FF2B5EF4-FFF2-40B4-BE49-F238E27FC236}">
                    <a16:creationId xmlns="" xmlns:a16="http://schemas.microsoft.com/office/drawing/2014/main" id="{588C3B41-8F82-4167-B148-B9109F28A8D0}"/>
                  </a:ext>
                </a:extLst>
              </p:cNvPr>
              <p:cNvSpPr>
                <a:spLocks/>
              </p:cNvSpPr>
              <p:nvPr>
                <p:custDataLst>
                  <p:tags r:id="rId122"/>
                </p:custDataLst>
              </p:nvPr>
            </p:nvSpPr>
            <p:spPr bwMode="auto">
              <a:xfrm>
                <a:off x="2655888" y="3487738"/>
                <a:ext cx="73025" cy="109537"/>
              </a:xfrm>
              <a:custGeom>
                <a:avLst/>
                <a:gdLst>
                  <a:gd name="T0" fmla="*/ 2147483646 w 166"/>
                  <a:gd name="T1" fmla="*/ 2147483646 h 208"/>
                  <a:gd name="T2" fmla="*/ 2147483646 w 166"/>
                  <a:gd name="T3" fmla="*/ 2147483646 h 208"/>
                  <a:gd name="T4" fmla="*/ 2147483646 w 166"/>
                  <a:gd name="T5" fmla="*/ 2147483646 h 208"/>
                  <a:gd name="T6" fmla="*/ 2147483646 w 166"/>
                  <a:gd name="T7" fmla="*/ 2147483646 h 208"/>
                  <a:gd name="T8" fmla="*/ 2147483646 w 166"/>
                  <a:gd name="T9" fmla="*/ 2147483646 h 208"/>
                  <a:gd name="T10" fmla="*/ 2147483646 w 166"/>
                  <a:gd name="T11" fmla="*/ 2147483646 h 208"/>
                  <a:gd name="T12" fmla="*/ 2147483646 w 166"/>
                  <a:gd name="T13" fmla="*/ 2147483646 h 208"/>
                  <a:gd name="T14" fmla="*/ 2147483646 w 166"/>
                  <a:gd name="T15" fmla="*/ 2147483646 h 208"/>
                  <a:gd name="T16" fmla="*/ 2147483646 w 166"/>
                  <a:gd name="T17" fmla="*/ 2147483646 h 208"/>
                  <a:gd name="T18" fmla="*/ 2147483646 w 166"/>
                  <a:gd name="T19" fmla="*/ 2147483646 h 208"/>
                  <a:gd name="T20" fmla="*/ 2147483646 w 166"/>
                  <a:gd name="T21" fmla="*/ 2147483646 h 208"/>
                  <a:gd name="T22" fmla="*/ 2147483646 w 166"/>
                  <a:gd name="T23" fmla="*/ 2147483646 h 208"/>
                  <a:gd name="T24" fmla="*/ 2147483646 w 166"/>
                  <a:gd name="T25" fmla="*/ 2147483646 h 208"/>
                  <a:gd name="T26" fmla="*/ 2147483646 w 166"/>
                  <a:gd name="T27" fmla="*/ 2147483646 h 208"/>
                  <a:gd name="T28" fmla="*/ 2147483646 w 166"/>
                  <a:gd name="T29" fmla="*/ 2147483646 h 208"/>
                  <a:gd name="T30" fmla="*/ 2147483646 w 166"/>
                  <a:gd name="T31" fmla="*/ 2147483646 h 208"/>
                  <a:gd name="T32" fmla="*/ 2147483646 w 166"/>
                  <a:gd name="T33" fmla="*/ 2147483646 h 208"/>
                  <a:gd name="T34" fmla="*/ 2147483646 w 166"/>
                  <a:gd name="T35" fmla="*/ 2147483646 h 208"/>
                  <a:gd name="T36" fmla="*/ 2147483646 w 166"/>
                  <a:gd name="T37" fmla="*/ 2147483646 h 208"/>
                  <a:gd name="T38" fmla="*/ 2147483646 w 166"/>
                  <a:gd name="T39" fmla="*/ 2147483646 h 208"/>
                  <a:gd name="T40" fmla="*/ 2147483646 w 166"/>
                  <a:gd name="T41" fmla="*/ 2147483646 h 208"/>
                  <a:gd name="T42" fmla="*/ 2147483646 w 166"/>
                  <a:gd name="T43" fmla="*/ 2147483646 h 208"/>
                  <a:gd name="T44" fmla="*/ 2147483646 w 166"/>
                  <a:gd name="T45" fmla="*/ 2147483646 h 208"/>
                  <a:gd name="T46" fmla="*/ 2147483646 w 166"/>
                  <a:gd name="T47" fmla="*/ 2147483646 h 208"/>
                  <a:gd name="T48" fmla="*/ 2147483646 w 166"/>
                  <a:gd name="T49" fmla="*/ 2147483646 h 208"/>
                  <a:gd name="T50" fmla="*/ 2147483646 w 166"/>
                  <a:gd name="T51" fmla="*/ 2147483646 h 208"/>
                  <a:gd name="T52" fmla="*/ 2147483646 w 166"/>
                  <a:gd name="T53" fmla="*/ 2147483646 h 208"/>
                  <a:gd name="T54" fmla="*/ 2147483646 w 166"/>
                  <a:gd name="T55" fmla="*/ 0 h 208"/>
                  <a:gd name="T56" fmla="*/ 2147483646 w 166"/>
                  <a:gd name="T57" fmla="*/ 2147483646 h 208"/>
                  <a:gd name="T58" fmla="*/ 2147483646 w 166"/>
                  <a:gd name="T59" fmla="*/ 2147483646 h 208"/>
                  <a:gd name="T60" fmla="*/ 2147483646 w 166"/>
                  <a:gd name="T61" fmla="*/ 2147483646 h 208"/>
                  <a:gd name="T62" fmla="*/ 2147483646 w 166"/>
                  <a:gd name="T63" fmla="*/ 2147483646 h 208"/>
                  <a:gd name="T64" fmla="*/ 2147483646 w 166"/>
                  <a:gd name="T65" fmla="*/ 2147483646 h 208"/>
                  <a:gd name="T66" fmla="*/ 2147483646 w 166"/>
                  <a:gd name="T67" fmla="*/ 2147483646 h 208"/>
                  <a:gd name="T68" fmla="*/ 2147483646 w 166"/>
                  <a:gd name="T69" fmla="*/ 2147483646 h 208"/>
                  <a:gd name="T70" fmla="*/ 0 w 166"/>
                  <a:gd name="T71" fmla="*/ 2147483646 h 208"/>
                  <a:gd name="T72" fmla="*/ 0 w 166"/>
                  <a:gd name="T73" fmla="*/ 2147483646 h 208"/>
                  <a:gd name="T74" fmla="*/ 2147483646 w 166"/>
                  <a:gd name="T75" fmla="*/ 2147483646 h 208"/>
                  <a:gd name="T76" fmla="*/ 2147483646 w 166"/>
                  <a:gd name="T77" fmla="*/ 2147483646 h 208"/>
                  <a:gd name="T78" fmla="*/ 2147483646 w 166"/>
                  <a:gd name="T79" fmla="*/ 2147483646 h 208"/>
                  <a:gd name="T80" fmla="*/ 2147483646 w 166"/>
                  <a:gd name="T81" fmla="*/ 2147483646 h 208"/>
                  <a:gd name="T82" fmla="*/ 2147483646 w 166"/>
                  <a:gd name="T83" fmla="*/ 2147483646 h 208"/>
                  <a:gd name="T84" fmla="*/ 2147483646 w 166"/>
                  <a:gd name="T85" fmla="*/ 2147483646 h 208"/>
                  <a:gd name="T86" fmla="*/ 2147483646 w 166"/>
                  <a:gd name="T87" fmla="*/ 2147483646 h 208"/>
                  <a:gd name="T88" fmla="*/ 2147483646 w 166"/>
                  <a:gd name="T89" fmla="*/ 2147483646 h 208"/>
                  <a:gd name="T90" fmla="*/ 2147483646 w 166"/>
                  <a:gd name="T91" fmla="*/ 2147483646 h 208"/>
                  <a:gd name="T92" fmla="*/ 2147483646 w 166"/>
                  <a:gd name="T93" fmla="*/ 2147483646 h 208"/>
                  <a:gd name="T94" fmla="*/ 2147483646 w 166"/>
                  <a:gd name="T95" fmla="*/ 2147483646 h 208"/>
                  <a:gd name="T96" fmla="*/ 2147483646 w 166"/>
                  <a:gd name="T97" fmla="*/ 2147483646 h 208"/>
                  <a:gd name="T98" fmla="*/ 2147483646 w 166"/>
                  <a:gd name="T99" fmla="*/ 2147483646 h 208"/>
                  <a:gd name="T100" fmla="*/ 2147483646 w 166"/>
                  <a:gd name="T101" fmla="*/ 2147483646 h 208"/>
                  <a:gd name="T102" fmla="*/ 2147483646 w 166"/>
                  <a:gd name="T103" fmla="*/ 2147483646 h 208"/>
                  <a:gd name="T104" fmla="*/ 2147483646 w 166"/>
                  <a:gd name="T105" fmla="*/ 2147483646 h 208"/>
                  <a:gd name="T106" fmla="*/ 2147483646 w 166"/>
                  <a:gd name="T107" fmla="*/ 2147483646 h 208"/>
                  <a:gd name="T108" fmla="*/ 2147483646 w 166"/>
                  <a:gd name="T109" fmla="*/ 2147483646 h 208"/>
                  <a:gd name="T110" fmla="*/ 2147483646 w 166"/>
                  <a:gd name="T111" fmla="*/ 2147483646 h 208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66"/>
                  <a:gd name="T169" fmla="*/ 0 h 208"/>
                  <a:gd name="T170" fmla="*/ 166 w 166"/>
                  <a:gd name="T171" fmla="*/ 208 h 208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66" h="208">
                    <a:moveTo>
                      <a:pt x="7" y="183"/>
                    </a:moveTo>
                    <a:lnTo>
                      <a:pt x="79" y="208"/>
                    </a:lnTo>
                    <a:lnTo>
                      <a:pt x="85" y="207"/>
                    </a:lnTo>
                    <a:lnTo>
                      <a:pt x="90" y="204"/>
                    </a:lnTo>
                    <a:lnTo>
                      <a:pt x="97" y="198"/>
                    </a:lnTo>
                    <a:lnTo>
                      <a:pt x="104" y="192"/>
                    </a:lnTo>
                    <a:lnTo>
                      <a:pt x="117" y="176"/>
                    </a:lnTo>
                    <a:lnTo>
                      <a:pt x="130" y="158"/>
                    </a:lnTo>
                    <a:lnTo>
                      <a:pt x="154" y="122"/>
                    </a:lnTo>
                    <a:lnTo>
                      <a:pt x="166" y="103"/>
                    </a:lnTo>
                    <a:lnTo>
                      <a:pt x="144" y="94"/>
                    </a:lnTo>
                    <a:lnTo>
                      <a:pt x="126" y="84"/>
                    </a:lnTo>
                    <a:lnTo>
                      <a:pt x="108" y="74"/>
                    </a:lnTo>
                    <a:lnTo>
                      <a:pt x="93" y="64"/>
                    </a:lnTo>
                    <a:lnTo>
                      <a:pt x="86" y="58"/>
                    </a:lnTo>
                    <a:lnTo>
                      <a:pt x="81" y="53"/>
                    </a:lnTo>
                    <a:lnTo>
                      <a:pt x="75" y="47"/>
                    </a:lnTo>
                    <a:lnTo>
                      <a:pt x="71" y="40"/>
                    </a:lnTo>
                    <a:lnTo>
                      <a:pt x="67" y="33"/>
                    </a:lnTo>
                    <a:lnTo>
                      <a:pt x="64" y="26"/>
                    </a:lnTo>
                    <a:lnTo>
                      <a:pt x="62" y="18"/>
                    </a:lnTo>
                    <a:lnTo>
                      <a:pt x="60" y="11"/>
                    </a:lnTo>
                    <a:lnTo>
                      <a:pt x="50" y="10"/>
                    </a:lnTo>
                    <a:lnTo>
                      <a:pt x="43" y="8"/>
                    </a:lnTo>
                    <a:lnTo>
                      <a:pt x="40" y="5"/>
                    </a:lnTo>
                    <a:lnTo>
                      <a:pt x="39" y="3"/>
                    </a:lnTo>
                    <a:lnTo>
                      <a:pt x="38" y="1"/>
                    </a:lnTo>
                    <a:lnTo>
                      <a:pt x="36" y="0"/>
                    </a:lnTo>
                    <a:lnTo>
                      <a:pt x="32" y="1"/>
                    </a:lnTo>
                    <a:lnTo>
                      <a:pt x="27" y="5"/>
                    </a:lnTo>
                    <a:lnTo>
                      <a:pt x="20" y="11"/>
                    </a:lnTo>
                    <a:lnTo>
                      <a:pt x="11" y="22"/>
                    </a:lnTo>
                    <a:lnTo>
                      <a:pt x="7" y="29"/>
                    </a:lnTo>
                    <a:lnTo>
                      <a:pt x="4" y="37"/>
                    </a:lnTo>
                    <a:lnTo>
                      <a:pt x="2" y="45"/>
                    </a:lnTo>
                    <a:lnTo>
                      <a:pt x="0" y="54"/>
                    </a:lnTo>
                    <a:lnTo>
                      <a:pt x="0" y="60"/>
                    </a:lnTo>
                    <a:lnTo>
                      <a:pt x="2" y="65"/>
                    </a:lnTo>
                    <a:lnTo>
                      <a:pt x="3" y="70"/>
                    </a:lnTo>
                    <a:lnTo>
                      <a:pt x="5" y="76"/>
                    </a:lnTo>
                    <a:lnTo>
                      <a:pt x="10" y="86"/>
                    </a:lnTo>
                    <a:lnTo>
                      <a:pt x="17" y="98"/>
                    </a:lnTo>
                    <a:lnTo>
                      <a:pt x="22" y="109"/>
                    </a:lnTo>
                    <a:lnTo>
                      <a:pt x="28" y="120"/>
                    </a:lnTo>
                    <a:lnTo>
                      <a:pt x="30" y="126"/>
                    </a:lnTo>
                    <a:lnTo>
                      <a:pt x="32" y="133"/>
                    </a:lnTo>
                    <a:lnTo>
                      <a:pt x="33" y="139"/>
                    </a:lnTo>
                    <a:lnTo>
                      <a:pt x="33" y="147"/>
                    </a:lnTo>
                    <a:lnTo>
                      <a:pt x="32" y="153"/>
                    </a:lnTo>
                    <a:lnTo>
                      <a:pt x="31" y="159"/>
                    </a:lnTo>
                    <a:lnTo>
                      <a:pt x="28" y="165"/>
                    </a:lnTo>
                    <a:lnTo>
                      <a:pt x="25" y="169"/>
                    </a:lnTo>
                    <a:lnTo>
                      <a:pt x="21" y="174"/>
                    </a:lnTo>
                    <a:lnTo>
                      <a:pt x="17" y="177"/>
                    </a:lnTo>
                    <a:lnTo>
                      <a:pt x="11" y="180"/>
                    </a:lnTo>
                    <a:lnTo>
                      <a:pt x="7" y="183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74" name="Freeform 196">
                <a:extLst>
                  <a:ext uri="{FF2B5EF4-FFF2-40B4-BE49-F238E27FC236}">
                    <a16:creationId xmlns="" xmlns:a16="http://schemas.microsoft.com/office/drawing/2014/main" id="{0DBA2774-F2C6-41DF-B8D2-3D944235EB29}"/>
                  </a:ext>
                </a:extLst>
              </p:cNvPr>
              <p:cNvSpPr>
                <a:spLocks/>
              </p:cNvSpPr>
              <p:nvPr>
                <p:custDataLst>
                  <p:tags r:id="rId123"/>
                </p:custDataLst>
              </p:nvPr>
            </p:nvSpPr>
            <p:spPr bwMode="auto">
              <a:xfrm>
                <a:off x="2170113" y="3046413"/>
                <a:ext cx="69850" cy="58737"/>
              </a:xfrm>
              <a:custGeom>
                <a:avLst/>
                <a:gdLst>
                  <a:gd name="T0" fmla="*/ 2147483646 w 164"/>
                  <a:gd name="T1" fmla="*/ 2147483646 h 104"/>
                  <a:gd name="T2" fmla="*/ 2147483646 w 164"/>
                  <a:gd name="T3" fmla="*/ 2147483646 h 104"/>
                  <a:gd name="T4" fmla="*/ 2147483646 w 164"/>
                  <a:gd name="T5" fmla="*/ 2147483646 h 104"/>
                  <a:gd name="T6" fmla="*/ 2147483646 w 164"/>
                  <a:gd name="T7" fmla="*/ 2147483646 h 104"/>
                  <a:gd name="T8" fmla="*/ 2147483646 w 164"/>
                  <a:gd name="T9" fmla="*/ 2147483646 h 104"/>
                  <a:gd name="T10" fmla="*/ 2147483646 w 164"/>
                  <a:gd name="T11" fmla="*/ 2147483646 h 104"/>
                  <a:gd name="T12" fmla="*/ 2147483646 w 164"/>
                  <a:gd name="T13" fmla="*/ 2147483646 h 104"/>
                  <a:gd name="T14" fmla="*/ 2147483646 w 164"/>
                  <a:gd name="T15" fmla="*/ 2147483646 h 104"/>
                  <a:gd name="T16" fmla="*/ 2147483646 w 164"/>
                  <a:gd name="T17" fmla="*/ 2147483646 h 104"/>
                  <a:gd name="T18" fmla="*/ 2147483646 w 164"/>
                  <a:gd name="T19" fmla="*/ 2147483646 h 104"/>
                  <a:gd name="T20" fmla="*/ 2147483646 w 164"/>
                  <a:gd name="T21" fmla="*/ 2147483646 h 104"/>
                  <a:gd name="T22" fmla="*/ 2147483646 w 164"/>
                  <a:gd name="T23" fmla="*/ 2147483646 h 104"/>
                  <a:gd name="T24" fmla="*/ 2147483646 w 164"/>
                  <a:gd name="T25" fmla="*/ 2147483646 h 104"/>
                  <a:gd name="T26" fmla="*/ 2147483646 w 164"/>
                  <a:gd name="T27" fmla="*/ 2147483646 h 104"/>
                  <a:gd name="T28" fmla="*/ 2147483646 w 164"/>
                  <a:gd name="T29" fmla="*/ 2147483646 h 104"/>
                  <a:gd name="T30" fmla="*/ 2147483646 w 164"/>
                  <a:gd name="T31" fmla="*/ 2147483646 h 104"/>
                  <a:gd name="T32" fmla="*/ 2147483646 w 164"/>
                  <a:gd name="T33" fmla="*/ 2147483646 h 104"/>
                  <a:gd name="T34" fmla="*/ 0 w 164"/>
                  <a:gd name="T35" fmla="*/ 2147483646 h 104"/>
                  <a:gd name="T36" fmla="*/ 0 w 164"/>
                  <a:gd name="T37" fmla="*/ 2147483646 h 104"/>
                  <a:gd name="T38" fmla="*/ 0 w 164"/>
                  <a:gd name="T39" fmla="*/ 2147483646 h 104"/>
                  <a:gd name="T40" fmla="*/ 2147483646 w 164"/>
                  <a:gd name="T41" fmla="*/ 2147483646 h 104"/>
                  <a:gd name="T42" fmla="*/ 2147483646 w 164"/>
                  <a:gd name="T43" fmla="*/ 2147483646 h 104"/>
                  <a:gd name="T44" fmla="*/ 2147483646 w 164"/>
                  <a:gd name="T45" fmla="*/ 2147483646 h 104"/>
                  <a:gd name="T46" fmla="*/ 2147483646 w 164"/>
                  <a:gd name="T47" fmla="*/ 2147483646 h 104"/>
                  <a:gd name="T48" fmla="*/ 2147483646 w 164"/>
                  <a:gd name="T49" fmla="*/ 2147483646 h 104"/>
                  <a:gd name="T50" fmla="*/ 2147483646 w 164"/>
                  <a:gd name="T51" fmla="*/ 2147483646 h 104"/>
                  <a:gd name="T52" fmla="*/ 2147483646 w 164"/>
                  <a:gd name="T53" fmla="*/ 2147483646 h 104"/>
                  <a:gd name="T54" fmla="*/ 2147483646 w 164"/>
                  <a:gd name="T55" fmla="*/ 2147483646 h 104"/>
                  <a:gd name="T56" fmla="*/ 2147483646 w 164"/>
                  <a:gd name="T57" fmla="*/ 2147483646 h 104"/>
                  <a:gd name="T58" fmla="*/ 2147483646 w 164"/>
                  <a:gd name="T59" fmla="*/ 2147483646 h 104"/>
                  <a:gd name="T60" fmla="*/ 2147483646 w 164"/>
                  <a:gd name="T61" fmla="*/ 2147483646 h 104"/>
                  <a:gd name="T62" fmla="*/ 2147483646 w 164"/>
                  <a:gd name="T63" fmla="*/ 2147483646 h 104"/>
                  <a:gd name="T64" fmla="*/ 2147483646 w 164"/>
                  <a:gd name="T65" fmla="*/ 2147483646 h 104"/>
                  <a:gd name="T66" fmla="*/ 2147483646 w 164"/>
                  <a:gd name="T67" fmla="*/ 2147483646 h 104"/>
                  <a:gd name="T68" fmla="*/ 2147483646 w 164"/>
                  <a:gd name="T69" fmla="*/ 2147483646 h 104"/>
                  <a:gd name="T70" fmla="*/ 2147483646 w 164"/>
                  <a:gd name="T71" fmla="*/ 2147483646 h 104"/>
                  <a:gd name="T72" fmla="*/ 2147483646 w 164"/>
                  <a:gd name="T73" fmla="*/ 2147483646 h 104"/>
                  <a:gd name="T74" fmla="*/ 2147483646 w 164"/>
                  <a:gd name="T75" fmla="*/ 2147483646 h 104"/>
                  <a:gd name="T76" fmla="*/ 2147483646 w 164"/>
                  <a:gd name="T77" fmla="*/ 2147483646 h 104"/>
                  <a:gd name="T78" fmla="*/ 2147483646 w 164"/>
                  <a:gd name="T79" fmla="*/ 2147483646 h 104"/>
                  <a:gd name="T80" fmla="*/ 2147483646 w 164"/>
                  <a:gd name="T81" fmla="*/ 0 h 104"/>
                  <a:gd name="T82" fmla="*/ 2147483646 w 164"/>
                  <a:gd name="T83" fmla="*/ 0 h 104"/>
                  <a:gd name="T84" fmla="*/ 2147483646 w 164"/>
                  <a:gd name="T85" fmla="*/ 2147483646 h 104"/>
                  <a:gd name="T86" fmla="*/ 2147483646 w 164"/>
                  <a:gd name="T87" fmla="*/ 2147483646 h 104"/>
                  <a:gd name="T88" fmla="*/ 2147483646 w 164"/>
                  <a:gd name="T89" fmla="*/ 2147483646 h 104"/>
                  <a:gd name="T90" fmla="*/ 2147483646 w 164"/>
                  <a:gd name="T91" fmla="*/ 2147483646 h 104"/>
                  <a:gd name="T92" fmla="*/ 2147483646 w 164"/>
                  <a:gd name="T93" fmla="*/ 2147483646 h 104"/>
                  <a:gd name="T94" fmla="*/ 2147483646 w 164"/>
                  <a:gd name="T95" fmla="*/ 2147483646 h 104"/>
                  <a:gd name="T96" fmla="*/ 2147483646 w 164"/>
                  <a:gd name="T97" fmla="*/ 2147483646 h 104"/>
                  <a:gd name="T98" fmla="*/ 2147483646 w 164"/>
                  <a:gd name="T99" fmla="*/ 2147483646 h 104"/>
                  <a:gd name="T100" fmla="*/ 2147483646 w 164"/>
                  <a:gd name="T101" fmla="*/ 2147483646 h 104"/>
                  <a:gd name="T102" fmla="*/ 2147483646 w 164"/>
                  <a:gd name="T103" fmla="*/ 2147483646 h 104"/>
                  <a:gd name="T104" fmla="*/ 2147483646 w 164"/>
                  <a:gd name="T105" fmla="*/ 2147483646 h 104"/>
                  <a:gd name="T106" fmla="*/ 2147483646 w 164"/>
                  <a:gd name="T107" fmla="*/ 2147483646 h 104"/>
                  <a:gd name="T108" fmla="*/ 2147483646 w 164"/>
                  <a:gd name="T109" fmla="*/ 2147483646 h 10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64"/>
                  <a:gd name="T166" fmla="*/ 0 h 104"/>
                  <a:gd name="T167" fmla="*/ 164 w 164"/>
                  <a:gd name="T168" fmla="*/ 104 h 10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64" h="104">
                    <a:moveTo>
                      <a:pt x="153" y="104"/>
                    </a:moveTo>
                    <a:lnTo>
                      <a:pt x="134" y="102"/>
                    </a:lnTo>
                    <a:lnTo>
                      <a:pt x="110" y="97"/>
                    </a:lnTo>
                    <a:lnTo>
                      <a:pt x="96" y="94"/>
                    </a:lnTo>
                    <a:lnTo>
                      <a:pt x="80" y="93"/>
                    </a:lnTo>
                    <a:lnTo>
                      <a:pt x="73" y="93"/>
                    </a:lnTo>
                    <a:lnTo>
                      <a:pt x="64" y="94"/>
                    </a:lnTo>
                    <a:lnTo>
                      <a:pt x="55" y="96"/>
                    </a:lnTo>
                    <a:lnTo>
                      <a:pt x="47" y="98"/>
                    </a:lnTo>
                    <a:lnTo>
                      <a:pt x="41" y="100"/>
                    </a:lnTo>
                    <a:lnTo>
                      <a:pt x="34" y="100"/>
                    </a:lnTo>
                    <a:lnTo>
                      <a:pt x="27" y="99"/>
                    </a:lnTo>
                    <a:lnTo>
                      <a:pt x="19" y="96"/>
                    </a:lnTo>
                    <a:lnTo>
                      <a:pt x="11" y="92"/>
                    </a:lnTo>
                    <a:lnTo>
                      <a:pt x="6" y="88"/>
                    </a:lnTo>
                    <a:lnTo>
                      <a:pt x="3" y="86"/>
                    </a:lnTo>
                    <a:lnTo>
                      <a:pt x="1" y="84"/>
                    </a:lnTo>
                    <a:lnTo>
                      <a:pt x="0" y="81"/>
                    </a:lnTo>
                    <a:lnTo>
                      <a:pt x="0" y="79"/>
                    </a:lnTo>
                    <a:lnTo>
                      <a:pt x="0" y="76"/>
                    </a:lnTo>
                    <a:lnTo>
                      <a:pt x="1" y="74"/>
                    </a:lnTo>
                    <a:lnTo>
                      <a:pt x="3" y="71"/>
                    </a:lnTo>
                    <a:lnTo>
                      <a:pt x="6" y="70"/>
                    </a:lnTo>
                    <a:lnTo>
                      <a:pt x="12" y="67"/>
                    </a:lnTo>
                    <a:lnTo>
                      <a:pt x="20" y="66"/>
                    </a:lnTo>
                    <a:lnTo>
                      <a:pt x="40" y="66"/>
                    </a:lnTo>
                    <a:lnTo>
                      <a:pt x="61" y="67"/>
                    </a:lnTo>
                    <a:lnTo>
                      <a:pt x="70" y="67"/>
                    </a:lnTo>
                    <a:lnTo>
                      <a:pt x="79" y="67"/>
                    </a:lnTo>
                    <a:lnTo>
                      <a:pt x="87" y="67"/>
                    </a:lnTo>
                    <a:lnTo>
                      <a:pt x="94" y="67"/>
                    </a:lnTo>
                    <a:lnTo>
                      <a:pt x="94" y="56"/>
                    </a:lnTo>
                    <a:lnTo>
                      <a:pt x="94" y="43"/>
                    </a:lnTo>
                    <a:lnTo>
                      <a:pt x="94" y="29"/>
                    </a:lnTo>
                    <a:lnTo>
                      <a:pt x="94" y="18"/>
                    </a:lnTo>
                    <a:lnTo>
                      <a:pt x="79" y="17"/>
                    </a:lnTo>
                    <a:lnTo>
                      <a:pt x="67" y="15"/>
                    </a:lnTo>
                    <a:lnTo>
                      <a:pt x="62" y="13"/>
                    </a:lnTo>
                    <a:lnTo>
                      <a:pt x="57" y="10"/>
                    </a:lnTo>
                    <a:lnTo>
                      <a:pt x="52" y="6"/>
                    </a:lnTo>
                    <a:lnTo>
                      <a:pt x="47" y="0"/>
                    </a:lnTo>
                    <a:lnTo>
                      <a:pt x="146" y="0"/>
                    </a:lnTo>
                    <a:lnTo>
                      <a:pt x="147" y="6"/>
                    </a:lnTo>
                    <a:lnTo>
                      <a:pt x="148" y="13"/>
                    </a:lnTo>
                    <a:lnTo>
                      <a:pt x="150" y="19"/>
                    </a:lnTo>
                    <a:lnTo>
                      <a:pt x="152" y="25"/>
                    </a:lnTo>
                    <a:lnTo>
                      <a:pt x="156" y="35"/>
                    </a:lnTo>
                    <a:lnTo>
                      <a:pt x="159" y="46"/>
                    </a:lnTo>
                    <a:lnTo>
                      <a:pt x="163" y="54"/>
                    </a:lnTo>
                    <a:lnTo>
                      <a:pt x="164" y="62"/>
                    </a:lnTo>
                    <a:lnTo>
                      <a:pt x="163" y="65"/>
                    </a:lnTo>
                    <a:lnTo>
                      <a:pt x="160" y="68"/>
                    </a:lnTo>
                    <a:lnTo>
                      <a:pt x="157" y="71"/>
                    </a:lnTo>
                    <a:lnTo>
                      <a:pt x="153" y="73"/>
                    </a:lnTo>
                    <a:lnTo>
                      <a:pt x="153" y="104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75" name="Freeform 197">
                <a:extLst>
                  <a:ext uri="{FF2B5EF4-FFF2-40B4-BE49-F238E27FC236}">
                    <a16:creationId xmlns="" xmlns:a16="http://schemas.microsoft.com/office/drawing/2014/main" id="{82C82D4A-4DBB-4C22-8D36-B0990D59E46A}"/>
                  </a:ext>
                </a:extLst>
              </p:cNvPr>
              <p:cNvSpPr>
                <a:spLocks/>
              </p:cNvSpPr>
              <p:nvPr>
                <p:custDataLst>
                  <p:tags r:id="rId124"/>
                </p:custDataLst>
              </p:nvPr>
            </p:nvSpPr>
            <p:spPr bwMode="auto">
              <a:xfrm>
                <a:off x="2536825" y="5400675"/>
                <a:ext cx="23813" cy="57150"/>
              </a:xfrm>
              <a:custGeom>
                <a:avLst/>
                <a:gdLst>
                  <a:gd name="T0" fmla="*/ 0 w 53"/>
                  <a:gd name="T1" fmla="*/ 2147483646 h 19"/>
                  <a:gd name="T2" fmla="*/ 2147483646 w 53"/>
                  <a:gd name="T3" fmla="*/ 2147483646 h 19"/>
                  <a:gd name="T4" fmla="*/ 2147483646 w 53"/>
                  <a:gd name="T5" fmla="*/ 2147483646 h 19"/>
                  <a:gd name="T6" fmla="*/ 2147483646 w 53"/>
                  <a:gd name="T7" fmla="*/ 2147483646 h 19"/>
                  <a:gd name="T8" fmla="*/ 2147483646 w 53"/>
                  <a:gd name="T9" fmla="*/ 2147483646 h 19"/>
                  <a:gd name="T10" fmla="*/ 2147483646 w 53"/>
                  <a:gd name="T11" fmla="*/ 2147483646 h 19"/>
                  <a:gd name="T12" fmla="*/ 2147483646 w 53"/>
                  <a:gd name="T13" fmla="*/ 2147483646 h 19"/>
                  <a:gd name="T14" fmla="*/ 2147483646 w 53"/>
                  <a:gd name="T15" fmla="*/ 2147483646 h 19"/>
                  <a:gd name="T16" fmla="*/ 2147483646 w 53"/>
                  <a:gd name="T17" fmla="*/ 2147483646 h 19"/>
                  <a:gd name="T18" fmla="*/ 2147483646 w 53"/>
                  <a:gd name="T19" fmla="*/ 2147483646 h 19"/>
                  <a:gd name="T20" fmla="*/ 2147483646 w 53"/>
                  <a:gd name="T21" fmla="*/ 2147483646 h 19"/>
                  <a:gd name="T22" fmla="*/ 2147483646 w 53"/>
                  <a:gd name="T23" fmla="*/ 2147483646 h 19"/>
                  <a:gd name="T24" fmla="*/ 2147483646 w 53"/>
                  <a:gd name="T25" fmla="*/ 0 h 19"/>
                  <a:gd name="T26" fmla="*/ 2147483646 w 53"/>
                  <a:gd name="T27" fmla="*/ 0 h 19"/>
                  <a:gd name="T28" fmla="*/ 2147483646 w 53"/>
                  <a:gd name="T29" fmla="*/ 2147483646 h 19"/>
                  <a:gd name="T30" fmla="*/ 2147483646 w 53"/>
                  <a:gd name="T31" fmla="*/ 2147483646 h 19"/>
                  <a:gd name="T32" fmla="*/ 0 w 53"/>
                  <a:gd name="T33" fmla="*/ 2147483646 h 1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3"/>
                  <a:gd name="T52" fmla="*/ 0 h 19"/>
                  <a:gd name="T53" fmla="*/ 53 w 53"/>
                  <a:gd name="T54" fmla="*/ 19 h 1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3" h="19">
                    <a:moveTo>
                      <a:pt x="0" y="8"/>
                    </a:moveTo>
                    <a:lnTo>
                      <a:pt x="7" y="13"/>
                    </a:lnTo>
                    <a:lnTo>
                      <a:pt x="14" y="17"/>
                    </a:lnTo>
                    <a:lnTo>
                      <a:pt x="22" y="19"/>
                    </a:lnTo>
                    <a:lnTo>
                      <a:pt x="29" y="19"/>
                    </a:lnTo>
                    <a:lnTo>
                      <a:pt x="35" y="18"/>
                    </a:lnTo>
                    <a:lnTo>
                      <a:pt x="42" y="15"/>
                    </a:lnTo>
                    <a:lnTo>
                      <a:pt x="47" y="12"/>
                    </a:lnTo>
                    <a:lnTo>
                      <a:pt x="53" y="8"/>
                    </a:lnTo>
                    <a:lnTo>
                      <a:pt x="47" y="5"/>
                    </a:lnTo>
                    <a:lnTo>
                      <a:pt x="42" y="2"/>
                    </a:lnTo>
                    <a:lnTo>
                      <a:pt x="35" y="1"/>
                    </a:lnTo>
                    <a:lnTo>
                      <a:pt x="29" y="0"/>
                    </a:lnTo>
                    <a:lnTo>
                      <a:pt x="22" y="0"/>
                    </a:lnTo>
                    <a:lnTo>
                      <a:pt x="14" y="1"/>
                    </a:lnTo>
                    <a:lnTo>
                      <a:pt x="7" y="3"/>
                    </a:lnTo>
                    <a:lnTo>
                      <a:pt x="0" y="8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76" name="Freeform 198">
                <a:extLst>
                  <a:ext uri="{FF2B5EF4-FFF2-40B4-BE49-F238E27FC236}">
                    <a16:creationId xmlns="" xmlns:a16="http://schemas.microsoft.com/office/drawing/2014/main" id="{A3110F3C-1277-47D9-849E-2D6F951B6B36}"/>
                  </a:ext>
                </a:extLst>
              </p:cNvPr>
              <p:cNvSpPr>
                <a:spLocks/>
              </p:cNvSpPr>
              <p:nvPr>
                <p:custDataLst>
                  <p:tags r:id="rId125"/>
                </p:custDataLst>
              </p:nvPr>
            </p:nvSpPr>
            <p:spPr bwMode="auto">
              <a:xfrm>
                <a:off x="2501900" y="5380038"/>
                <a:ext cx="34925" cy="58737"/>
              </a:xfrm>
              <a:custGeom>
                <a:avLst/>
                <a:gdLst>
                  <a:gd name="T0" fmla="*/ 0 w 80"/>
                  <a:gd name="T1" fmla="*/ 0 h 18"/>
                  <a:gd name="T2" fmla="*/ 2147483646 w 80"/>
                  <a:gd name="T3" fmla="*/ 2147483646 h 18"/>
                  <a:gd name="T4" fmla="*/ 2147483646 w 80"/>
                  <a:gd name="T5" fmla="*/ 2147483646 h 18"/>
                  <a:gd name="T6" fmla="*/ 2147483646 w 80"/>
                  <a:gd name="T7" fmla="*/ 2147483646 h 18"/>
                  <a:gd name="T8" fmla="*/ 2147483646 w 80"/>
                  <a:gd name="T9" fmla="*/ 2147483646 h 18"/>
                  <a:gd name="T10" fmla="*/ 2147483646 w 80"/>
                  <a:gd name="T11" fmla="*/ 2147483646 h 18"/>
                  <a:gd name="T12" fmla="*/ 2147483646 w 80"/>
                  <a:gd name="T13" fmla="*/ 2147483646 h 18"/>
                  <a:gd name="T14" fmla="*/ 2147483646 w 80"/>
                  <a:gd name="T15" fmla="*/ 2147483646 h 18"/>
                  <a:gd name="T16" fmla="*/ 2147483646 w 80"/>
                  <a:gd name="T17" fmla="*/ 2147483646 h 18"/>
                  <a:gd name="T18" fmla="*/ 2147483646 w 80"/>
                  <a:gd name="T19" fmla="*/ 2147483646 h 18"/>
                  <a:gd name="T20" fmla="*/ 2147483646 w 80"/>
                  <a:gd name="T21" fmla="*/ 2147483646 h 18"/>
                  <a:gd name="T22" fmla="*/ 2147483646 w 80"/>
                  <a:gd name="T23" fmla="*/ 2147483646 h 18"/>
                  <a:gd name="T24" fmla="*/ 2147483646 w 80"/>
                  <a:gd name="T25" fmla="*/ 2147483646 h 18"/>
                  <a:gd name="T26" fmla="*/ 2147483646 w 80"/>
                  <a:gd name="T27" fmla="*/ 2147483646 h 18"/>
                  <a:gd name="T28" fmla="*/ 2147483646 w 80"/>
                  <a:gd name="T29" fmla="*/ 2147483646 h 18"/>
                  <a:gd name="T30" fmla="*/ 2147483646 w 80"/>
                  <a:gd name="T31" fmla="*/ 2147483646 h 18"/>
                  <a:gd name="T32" fmla="*/ 2147483646 w 80"/>
                  <a:gd name="T33" fmla="*/ 2147483646 h 18"/>
                  <a:gd name="T34" fmla="*/ 2147483646 w 80"/>
                  <a:gd name="T35" fmla="*/ 2147483646 h 18"/>
                  <a:gd name="T36" fmla="*/ 2147483646 w 80"/>
                  <a:gd name="T37" fmla="*/ 0 h 18"/>
                  <a:gd name="T38" fmla="*/ 0 w 80"/>
                  <a:gd name="T39" fmla="*/ 0 h 18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80"/>
                  <a:gd name="T61" fmla="*/ 0 h 18"/>
                  <a:gd name="T62" fmla="*/ 80 w 80"/>
                  <a:gd name="T63" fmla="*/ 18 h 18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80" h="18">
                    <a:moveTo>
                      <a:pt x="0" y="0"/>
                    </a:moveTo>
                    <a:lnTo>
                      <a:pt x="1" y="6"/>
                    </a:lnTo>
                    <a:lnTo>
                      <a:pt x="5" y="12"/>
                    </a:lnTo>
                    <a:lnTo>
                      <a:pt x="8" y="14"/>
                    </a:lnTo>
                    <a:lnTo>
                      <a:pt x="11" y="16"/>
                    </a:lnTo>
                    <a:lnTo>
                      <a:pt x="15" y="18"/>
                    </a:lnTo>
                    <a:lnTo>
                      <a:pt x="20" y="18"/>
                    </a:lnTo>
                    <a:lnTo>
                      <a:pt x="22" y="15"/>
                    </a:lnTo>
                    <a:lnTo>
                      <a:pt x="24" y="13"/>
                    </a:lnTo>
                    <a:lnTo>
                      <a:pt x="26" y="11"/>
                    </a:lnTo>
                    <a:lnTo>
                      <a:pt x="31" y="10"/>
                    </a:lnTo>
                    <a:lnTo>
                      <a:pt x="38" y="8"/>
                    </a:lnTo>
                    <a:lnTo>
                      <a:pt x="47" y="7"/>
                    </a:lnTo>
                    <a:lnTo>
                      <a:pt x="57" y="7"/>
                    </a:lnTo>
                    <a:lnTo>
                      <a:pt x="66" y="6"/>
                    </a:lnTo>
                    <a:lnTo>
                      <a:pt x="70" y="5"/>
                    </a:lnTo>
                    <a:lnTo>
                      <a:pt x="74" y="4"/>
                    </a:lnTo>
                    <a:lnTo>
                      <a:pt x="77" y="2"/>
                    </a:lnTo>
                    <a:lnTo>
                      <a:pt x="8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77" name="Freeform 199">
                <a:extLst>
                  <a:ext uri="{FF2B5EF4-FFF2-40B4-BE49-F238E27FC236}">
                    <a16:creationId xmlns="" xmlns:a16="http://schemas.microsoft.com/office/drawing/2014/main" id="{7137AF7D-8C6C-4383-B603-47D45DE2AB01}"/>
                  </a:ext>
                </a:extLst>
              </p:cNvPr>
              <p:cNvSpPr>
                <a:spLocks/>
              </p:cNvSpPr>
              <p:nvPr>
                <p:custDataLst>
                  <p:tags r:id="rId126"/>
                </p:custDataLst>
              </p:nvPr>
            </p:nvSpPr>
            <p:spPr bwMode="auto">
              <a:xfrm>
                <a:off x="2501900" y="5359400"/>
                <a:ext cx="22225" cy="60325"/>
              </a:xfrm>
              <a:custGeom>
                <a:avLst/>
                <a:gdLst>
                  <a:gd name="T0" fmla="*/ 2147483646 w 46"/>
                  <a:gd name="T1" fmla="*/ 0 h 27"/>
                  <a:gd name="T2" fmla="*/ 0 w 46"/>
                  <a:gd name="T3" fmla="*/ 2147483646 h 27"/>
                  <a:gd name="T4" fmla="*/ 2147483646 w 46"/>
                  <a:gd name="T5" fmla="*/ 2147483646 h 27"/>
                  <a:gd name="T6" fmla="*/ 2147483646 w 46"/>
                  <a:gd name="T7" fmla="*/ 2147483646 h 27"/>
                  <a:gd name="T8" fmla="*/ 2147483646 w 46"/>
                  <a:gd name="T9" fmla="*/ 2147483646 h 27"/>
                  <a:gd name="T10" fmla="*/ 2147483646 w 46"/>
                  <a:gd name="T11" fmla="*/ 2147483646 h 27"/>
                  <a:gd name="T12" fmla="*/ 2147483646 w 46"/>
                  <a:gd name="T13" fmla="*/ 2147483646 h 27"/>
                  <a:gd name="T14" fmla="*/ 2147483646 w 46"/>
                  <a:gd name="T15" fmla="*/ 2147483646 h 27"/>
                  <a:gd name="T16" fmla="*/ 2147483646 w 46"/>
                  <a:gd name="T17" fmla="*/ 2147483646 h 27"/>
                  <a:gd name="T18" fmla="*/ 2147483646 w 46"/>
                  <a:gd name="T19" fmla="*/ 2147483646 h 27"/>
                  <a:gd name="T20" fmla="*/ 2147483646 w 46"/>
                  <a:gd name="T21" fmla="*/ 2147483646 h 27"/>
                  <a:gd name="T22" fmla="*/ 2147483646 w 46"/>
                  <a:gd name="T23" fmla="*/ 2147483646 h 27"/>
                  <a:gd name="T24" fmla="*/ 2147483646 w 46"/>
                  <a:gd name="T25" fmla="*/ 2147483646 h 27"/>
                  <a:gd name="T26" fmla="*/ 2147483646 w 46"/>
                  <a:gd name="T27" fmla="*/ 0 h 2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6"/>
                  <a:gd name="T43" fmla="*/ 0 h 27"/>
                  <a:gd name="T44" fmla="*/ 46 w 46"/>
                  <a:gd name="T45" fmla="*/ 27 h 2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6" h="27">
                    <a:moveTo>
                      <a:pt x="20" y="0"/>
                    </a:moveTo>
                    <a:lnTo>
                      <a:pt x="0" y="18"/>
                    </a:lnTo>
                    <a:lnTo>
                      <a:pt x="9" y="22"/>
                    </a:lnTo>
                    <a:lnTo>
                      <a:pt x="16" y="25"/>
                    </a:lnTo>
                    <a:lnTo>
                      <a:pt x="23" y="27"/>
                    </a:lnTo>
                    <a:lnTo>
                      <a:pt x="29" y="27"/>
                    </a:lnTo>
                    <a:lnTo>
                      <a:pt x="33" y="27"/>
                    </a:lnTo>
                    <a:lnTo>
                      <a:pt x="37" y="25"/>
                    </a:lnTo>
                    <a:lnTo>
                      <a:pt x="42" y="22"/>
                    </a:lnTo>
                    <a:lnTo>
                      <a:pt x="46" y="18"/>
                    </a:lnTo>
                    <a:lnTo>
                      <a:pt x="41" y="16"/>
                    </a:lnTo>
                    <a:lnTo>
                      <a:pt x="33" y="11"/>
                    </a:lnTo>
                    <a:lnTo>
                      <a:pt x="26" y="5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78" name="Freeform 200">
                <a:extLst>
                  <a:ext uri="{FF2B5EF4-FFF2-40B4-BE49-F238E27FC236}">
                    <a16:creationId xmlns="" xmlns:a16="http://schemas.microsoft.com/office/drawing/2014/main" id="{4ABB1550-9FD8-4358-A811-6647DDDF1527}"/>
                  </a:ext>
                </a:extLst>
              </p:cNvPr>
              <p:cNvSpPr>
                <a:spLocks/>
              </p:cNvSpPr>
              <p:nvPr>
                <p:custDataLst>
                  <p:tags r:id="rId127"/>
                </p:custDataLst>
              </p:nvPr>
            </p:nvSpPr>
            <p:spPr bwMode="auto">
              <a:xfrm>
                <a:off x="2471738" y="5353050"/>
                <a:ext cx="25400" cy="60325"/>
              </a:xfrm>
              <a:custGeom>
                <a:avLst/>
                <a:gdLst>
                  <a:gd name="T0" fmla="*/ 2147483646 w 54"/>
                  <a:gd name="T1" fmla="*/ 0 h 39"/>
                  <a:gd name="T2" fmla="*/ 2147483646 w 54"/>
                  <a:gd name="T3" fmla="*/ 2147483646 h 39"/>
                  <a:gd name="T4" fmla="*/ 2147483646 w 54"/>
                  <a:gd name="T5" fmla="*/ 2147483646 h 39"/>
                  <a:gd name="T6" fmla="*/ 2147483646 w 54"/>
                  <a:gd name="T7" fmla="*/ 2147483646 h 39"/>
                  <a:gd name="T8" fmla="*/ 2147483646 w 54"/>
                  <a:gd name="T9" fmla="*/ 2147483646 h 39"/>
                  <a:gd name="T10" fmla="*/ 2147483646 w 54"/>
                  <a:gd name="T11" fmla="*/ 2147483646 h 39"/>
                  <a:gd name="T12" fmla="*/ 0 w 54"/>
                  <a:gd name="T13" fmla="*/ 2147483646 h 39"/>
                  <a:gd name="T14" fmla="*/ 2147483646 w 54"/>
                  <a:gd name="T15" fmla="*/ 2147483646 h 39"/>
                  <a:gd name="T16" fmla="*/ 2147483646 w 54"/>
                  <a:gd name="T17" fmla="*/ 2147483646 h 39"/>
                  <a:gd name="T18" fmla="*/ 2147483646 w 54"/>
                  <a:gd name="T19" fmla="*/ 2147483646 h 39"/>
                  <a:gd name="T20" fmla="*/ 2147483646 w 54"/>
                  <a:gd name="T21" fmla="*/ 2147483646 h 39"/>
                  <a:gd name="T22" fmla="*/ 2147483646 w 54"/>
                  <a:gd name="T23" fmla="*/ 2147483646 h 39"/>
                  <a:gd name="T24" fmla="*/ 2147483646 w 54"/>
                  <a:gd name="T25" fmla="*/ 2147483646 h 39"/>
                  <a:gd name="T26" fmla="*/ 2147483646 w 54"/>
                  <a:gd name="T27" fmla="*/ 2147483646 h 39"/>
                  <a:gd name="T28" fmla="*/ 2147483646 w 54"/>
                  <a:gd name="T29" fmla="*/ 2147483646 h 39"/>
                  <a:gd name="T30" fmla="*/ 2147483646 w 54"/>
                  <a:gd name="T31" fmla="*/ 2147483646 h 39"/>
                  <a:gd name="T32" fmla="*/ 2147483646 w 54"/>
                  <a:gd name="T33" fmla="*/ 2147483646 h 39"/>
                  <a:gd name="T34" fmla="*/ 2147483646 w 54"/>
                  <a:gd name="T35" fmla="*/ 2147483646 h 39"/>
                  <a:gd name="T36" fmla="*/ 2147483646 w 54"/>
                  <a:gd name="T37" fmla="*/ 2147483646 h 39"/>
                  <a:gd name="T38" fmla="*/ 2147483646 w 54"/>
                  <a:gd name="T39" fmla="*/ 2147483646 h 39"/>
                  <a:gd name="T40" fmla="*/ 2147483646 w 54"/>
                  <a:gd name="T41" fmla="*/ 2147483646 h 39"/>
                  <a:gd name="T42" fmla="*/ 2147483646 w 54"/>
                  <a:gd name="T43" fmla="*/ 2147483646 h 39"/>
                  <a:gd name="T44" fmla="*/ 2147483646 w 54"/>
                  <a:gd name="T45" fmla="*/ 2147483646 h 39"/>
                  <a:gd name="T46" fmla="*/ 2147483646 w 54"/>
                  <a:gd name="T47" fmla="*/ 2147483646 h 39"/>
                  <a:gd name="T48" fmla="*/ 2147483646 w 54"/>
                  <a:gd name="T49" fmla="*/ 2147483646 h 39"/>
                  <a:gd name="T50" fmla="*/ 2147483646 w 54"/>
                  <a:gd name="T51" fmla="*/ 2147483646 h 39"/>
                  <a:gd name="T52" fmla="*/ 2147483646 w 54"/>
                  <a:gd name="T53" fmla="*/ 2147483646 h 39"/>
                  <a:gd name="T54" fmla="*/ 2147483646 w 54"/>
                  <a:gd name="T55" fmla="*/ 2147483646 h 39"/>
                  <a:gd name="T56" fmla="*/ 2147483646 w 54"/>
                  <a:gd name="T57" fmla="*/ 2147483646 h 39"/>
                  <a:gd name="T58" fmla="*/ 2147483646 w 54"/>
                  <a:gd name="T59" fmla="*/ 2147483646 h 39"/>
                  <a:gd name="T60" fmla="*/ 2147483646 w 54"/>
                  <a:gd name="T61" fmla="*/ 0 h 3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54"/>
                  <a:gd name="T94" fmla="*/ 0 h 39"/>
                  <a:gd name="T95" fmla="*/ 54 w 54"/>
                  <a:gd name="T96" fmla="*/ 39 h 39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54" h="39">
                    <a:moveTo>
                      <a:pt x="34" y="0"/>
                    </a:moveTo>
                    <a:lnTo>
                      <a:pt x="20" y="4"/>
                    </a:lnTo>
                    <a:lnTo>
                      <a:pt x="10" y="10"/>
                    </a:lnTo>
                    <a:lnTo>
                      <a:pt x="6" y="13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3" y="32"/>
                    </a:lnTo>
                    <a:lnTo>
                      <a:pt x="5" y="35"/>
                    </a:lnTo>
                    <a:lnTo>
                      <a:pt x="8" y="37"/>
                    </a:lnTo>
                    <a:lnTo>
                      <a:pt x="11" y="38"/>
                    </a:lnTo>
                    <a:lnTo>
                      <a:pt x="16" y="39"/>
                    </a:lnTo>
                    <a:lnTo>
                      <a:pt x="20" y="39"/>
                    </a:lnTo>
                    <a:lnTo>
                      <a:pt x="25" y="39"/>
                    </a:lnTo>
                    <a:lnTo>
                      <a:pt x="30" y="38"/>
                    </a:lnTo>
                    <a:lnTo>
                      <a:pt x="34" y="37"/>
                    </a:lnTo>
                    <a:lnTo>
                      <a:pt x="39" y="35"/>
                    </a:lnTo>
                    <a:lnTo>
                      <a:pt x="43" y="33"/>
                    </a:lnTo>
                    <a:lnTo>
                      <a:pt x="47" y="30"/>
                    </a:lnTo>
                    <a:lnTo>
                      <a:pt x="50" y="26"/>
                    </a:lnTo>
                    <a:lnTo>
                      <a:pt x="52" y="22"/>
                    </a:lnTo>
                    <a:lnTo>
                      <a:pt x="54" y="18"/>
                    </a:lnTo>
                    <a:lnTo>
                      <a:pt x="51" y="17"/>
                    </a:lnTo>
                    <a:lnTo>
                      <a:pt x="48" y="16"/>
                    </a:lnTo>
                    <a:lnTo>
                      <a:pt x="44" y="14"/>
                    </a:lnTo>
                    <a:lnTo>
                      <a:pt x="42" y="11"/>
                    </a:lnTo>
                    <a:lnTo>
                      <a:pt x="39" y="8"/>
                    </a:lnTo>
                    <a:lnTo>
                      <a:pt x="37" y="5"/>
                    </a:lnTo>
                    <a:lnTo>
                      <a:pt x="34" y="2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79" name="Freeform 201">
                <a:extLst>
                  <a:ext uri="{FF2B5EF4-FFF2-40B4-BE49-F238E27FC236}">
                    <a16:creationId xmlns="" xmlns:a16="http://schemas.microsoft.com/office/drawing/2014/main" id="{B5CC5E48-64C4-4DF6-B8F5-EDE06D1A7B4A}"/>
                  </a:ext>
                </a:extLst>
              </p:cNvPr>
              <p:cNvSpPr>
                <a:spLocks/>
              </p:cNvSpPr>
              <p:nvPr>
                <p:custDataLst>
                  <p:tags r:id="rId128"/>
                </p:custDataLst>
              </p:nvPr>
            </p:nvSpPr>
            <p:spPr bwMode="auto">
              <a:xfrm>
                <a:off x="2446338" y="5343525"/>
                <a:ext cx="28575" cy="58738"/>
              </a:xfrm>
              <a:custGeom>
                <a:avLst/>
                <a:gdLst>
                  <a:gd name="T0" fmla="*/ 0 w 60"/>
                  <a:gd name="T1" fmla="*/ 2147483646 h 15"/>
                  <a:gd name="T2" fmla="*/ 2147483646 w 60"/>
                  <a:gd name="T3" fmla="*/ 2147483646 h 15"/>
                  <a:gd name="T4" fmla="*/ 2147483646 w 60"/>
                  <a:gd name="T5" fmla="*/ 2147483646 h 15"/>
                  <a:gd name="T6" fmla="*/ 2147483646 w 60"/>
                  <a:gd name="T7" fmla="*/ 2147483646 h 15"/>
                  <a:gd name="T8" fmla="*/ 2147483646 w 60"/>
                  <a:gd name="T9" fmla="*/ 2147483646 h 15"/>
                  <a:gd name="T10" fmla="*/ 2147483646 w 60"/>
                  <a:gd name="T11" fmla="*/ 2147483646 h 15"/>
                  <a:gd name="T12" fmla="*/ 2147483646 w 60"/>
                  <a:gd name="T13" fmla="*/ 2147483646 h 15"/>
                  <a:gd name="T14" fmla="*/ 2147483646 w 60"/>
                  <a:gd name="T15" fmla="*/ 2147483646 h 15"/>
                  <a:gd name="T16" fmla="*/ 2147483646 w 60"/>
                  <a:gd name="T17" fmla="*/ 2147483646 h 15"/>
                  <a:gd name="T18" fmla="*/ 2147483646 w 60"/>
                  <a:gd name="T19" fmla="*/ 2147483646 h 15"/>
                  <a:gd name="T20" fmla="*/ 2147483646 w 60"/>
                  <a:gd name="T21" fmla="*/ 0 h 15"/>
                  <a:gd name="T22" fmla="*/ 2147483646 w 60"/>
                  <a:gd name="T23" fmla="*/ 0 h 15"/>
                  <a:gd name="T24" fmla="*/ 2147483646 w 60"/>
                  <a:gd name="T25" fmla="*/ 0 h 15"/>
                  <a:gd name="T26" fmla="*/ 2147483646 w 60"/>
                  <a:gd name="T27" fmla="*/ 0 h 15"/>
                  <a:gd name="T28" fmla="*/ 2147483646 w 60"/>
                  <a:gd name="T29" fmla="*/ 2147483646 h 15"/>
                  <a:gd name="T30" fmla="*/ 2147483646 w 60"/>
                  <a:gd name="T31" fmla="*/ 2147483646 h 15"/>
                  <a:gd name="T32" fmla="*/ 2147483646 w 60"/>
                  <a:gd name="T33" fmla="*/ 2147483646 h 15"/>
                  <a:gd name="T34" fmla="*/ 2147483646 w 60"/>
                  <a:gd name="T35" fmla="*/ 2147483646 h 15"/>
                  <a:gd name="T36" fmla="*/ 0 w 60"/>
                  <a:gd name="T37" fmla="*/ 2147483646 h 1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0"/>
                  <a:gd name="T58" fmla="*/ 0 h 15"/>
                  <a:gd name="T59" fmla="*/ 60 w 60"/>
                  <a:gd name="T60" fmla="*/ 15 h 1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0" h="15">
                    <a:moveTo>
                      <a:pt x="0" y="11"/>
                    </a:moveTo>
                    <a:lnTo>
                      <a:pt x="10" y="13"/>
                    </a:lnTo>
                    <a:lnTo>
                      <a:pt x="18" y="14"/>
                    </a:lnTo>
                    <a:lnTo>
                      <a:pt x="27" y="15"/>
                    </a:lnTo>
                    <a:lnTo>
                      <a:pt x="35" y="15"/>
                    </a:lnTo>
                    <a:lnTo>
                      <a:pt x="41" y="14"/>
                    </a:lnTo>
                    <a:lnTo>
                      <a:pt x="48" y="12"/>
                    </a:lnTo>
                    <a:lnTo>
                      <a:pt x="55" y="9"/>
                    </a:lnTo>
                    <a:lnTo>
                      <a:pt x="60" y="5"/>
                    </a:lnTo>
                    <a:lnTo>
                      <a:pt x="57" y="3"/>
                    </a:lnTo>
                    <a:lnTo>
                      <a:pt x="54" y="0"/>
                    </a:lnTo>
                    <a:lnTo>
                      <a:pt x="51" y="0"/>
                    </a:lnTo>
                    <a:lnTo>
                      <a:pt x="47" y="0"/>
                    </a:lnTo>
                    <a:lnTo>
                      <a:pt x="40" y="0"/>
                    </a:lnTo>
                    <a:lnTo>
                      <a:pt x="33" y="3"/>
                    </a:lnTo>
                    <a:lnTo>
                      <a:pt x="24" y="6"/>
                    </a:lnTo>
                    <a:lnTo>
                      <a:pt x="16" y="8"/>
                    </a:lnTo>
                    <a:lnTo>
                      <a:pt x="7" y="10"/>
                    </a:lnTo>
                    <a:lnTo>
                      <a:pt x="0" y="11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80" name="Freeform 202">
                <a:extLst>
                  <a:ext uri="{FF2B5EF4-FFF2-40B4-BE49-F238E27FC236}">
                    <a16:creationId xmlns="" xmlns:a16="http://schemas.microsoft.com/office/drawing/2014/main" id="{E3B88D8C-86B0-4BED-AF07-CA42F08D872E}"/>
                  </a:ext>
                </a:extLst>
              </p:cNvPr>
              <p:cNvSpPr>
                <a:spLocks/>
              </p:cNvSpPr>
              <p:nvPr>
                <p:custDataLst>
                  <p:tags r:id="rId129"/>
                </p:custDataLst>
              </p:nvPr>
            </p:nvSpPr>
            <p:spPr bwMode="auto">
              <a:xfrm>
                <a:off x="2422525" y="5330825"/>
                <a:ext cx="33338" cy="57150"/>
              </a:xfrm>
              <a:custGeom>
                <a:avLst/>
                <a:gdLst>
                  <a:gd name="T0" fmla="*/ 2147483646 w 79"/>
                  <a:gd name="T1" fmla="*/ 0 h 32"/>
                  <a:gd name="T2" fmla="*/ 2147483646 w 79"/>
                  <a:gd name="T3" fmla="*/ 2147483646 h 32"/>
                  <a:gd name="T4" fmla="*/ 2147483646 w 79"/>
                  <a:gd name="T5" fmla="*/ 2147483646 h 32"/>
                  <a:gd name="T6" fmla="*/ 2147483646 w 79"/>
                  <a:gd name="T7" fmla="*/ 2147483646 h 32"/>
                  <a:gd name="T8" fmla="*/ 2147483646 w 79"/>
                  <a:gd name="T9" fmla="*/ 2147483646 h 32"/>
                  <a:gd name="T10" fmla="*/ 2147483646 w 79"/>
                  <a:gd name="T11" fmla="*/ 2147483646 h 32"/>
                  <a:gd name="T12" fmla="*/ 2147483646 w 79"/>
                  <a:gd name="T13" fmla="*/ 2147483646 h 32"/>
                  <a:gd name="T14" fmla="*/ 2147483646 w 79"/>
                  <a:gd name="T15" fmla="*/ 2147483646 h 32"/>
                  <a:gd name="T16" fmla="*/ 0 w 79"/>
                  <a:gd name="T17" fmla="*/ 2147483646 h 32"/>
                  <a:gd name="T18" fmla="*/ 2147483646 w 79"/>
                  <a:gd name="T19" fmla="*/ 2147483646 h 32"/>
                  <a:gd name="T20" fmla="*/ 2147483646 w 79"/>
                  <a:gd name="T21" fmla="*/ 2147483646 h 32"/>
                  <a:gd name="T22" fmla="*/ 2147483646 w 79"/>
                  <a:gd name="T23" fmla="*/ 2147483646 h 32"/>
                  <a:gd name="T24" fmla="*/ 2147483646 w 79"/>
                  <a:gd name="T25" fmla="*/ 2147483646 h 32"/>
                  <a:gd name="T26" fmla="*/ 2147483646 w 79"/>
                  <a:gd name="T27" fmla="*/ 2147483646 h 32"/>
                  <a:gd name="T28" fmla="*/ 2147483646 w 79"/>
                  <a:gd name="T29" fmla="*/ 2147483646 h 32"/>
                  <a:gd name="T30" fmla="*/ 2147483646 w 79"/>
                  <a:gd name="T31" fmla="*/ 2147483646 h 32"/>
                  <a:gd name="T32" fmla="*/ 2147483646 w 79"/>
                  <a:gd name="T33" fmla="*/ 2147483646 h 32"/>
                  <a:gd name="T34" fmla="*/ 2147483646 w 79"/>
                  <a:gd name="T35" fmla="*/ 2147483646 h 32"/>
                  <a:gd name="T36" fmla="*/ 2147483646 w 79"/>
                  <a:gd name="T37" fmla="*/ 2147483646 h 32"/>
                  <a:gd name="T38" fmla="*/ 2147483646 w 79"/>
                  <a:gd name="T39" fmla="*/ 2147483646 h 32"/>
                  <a:gd name="T40" fmla="*/ 2147483646 w 79"/>
                  <a:gd name="T41" fmla="*/ 2147483646 h 32"/>
                  <a:gd name="T42" fmla="*/ 2147483646 w 79"/>
                  <a:gd name="T43" fmla="*/ 2147483646 h 32"/>
                  <a:gd name="T44" fmla="*/ 2147483646 w 79"/>
                  <a:gd name="T45" fmla="*/ 2147483646 h 32"/>
                  <a:gd name="T46" fmla="*/ 2147483646 w 79"/>
                  <a:gd name="T47" fmla="*/ 2147483646 h 32"/>
                  <a:gd name="T48" fmla="*/ 2147483646 w 79"/>
                  <a:gd name="T49" fmla="*/ 0 h 32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79"/>
                  <a:gd name="T76" fmla="*/ 0 h 32"/>
                  <a:gd name="T77" fmla="*/ 79 w 79"/>
                  <a:gd name="T78" fmla="*/ 32 h 32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79" h="32">
                    <a:moveTo>
                      <a:pt x="40" y="0"/>
                    </a:moveTo>
                    <a:lnTo>
                      <a:pt x="34" y="1"/>
                    </a:lnTo>
                    <a:lnTo>
                      <a:pt x="30" y="2"/>
                    </a:lnTo>
                    <a:lnTo>
                      <a:pt x="25" y="4"/>
                    </a:lnTo>
                    <a:lnTo>
                      <a:pt x="20" y="6"/>
                    </a:lnTo>
                    <a:lnTo>
                      <a:pt x="15" y="9"/>
                    </a:lnTo>
                    <a:lnTo>
                      <a:pt x="10" y="11"/>
                    </a:lnTo>
                    <a:lnTo>
                      <a:pt x="5" y="12"/>
                    </a:lnTo>
                    <a:lnTo>
                      <a:pt x="0" y="13"/>
                    </a:lnTo>
                    <a:lnTo>
                      <a:pt x="5" y="21"/>
                    </a:lnTo>
                    <a:lnTo>
                      <a:pt x="10" y="26"/>
                    </a:lnTo>
                    <a:lnTo>
                      <a:pt x="12" y="29"/>
                    </a:lnTo>
                    <a:lnTo>
                      <a:pt x="15" y="31"/>
                    </a:lnTo>
                    <a:lnTo>
                      <a:pt x="18" y="31"/>
                    </a:lnTo>
                    <a:lnTo>
                      <a:pt x="20" y="32"/>
                    </a:lnTo>
                    <a:lnTo>
                      <a:pt x="27" y="31"/>
                    </a:lnTo>
                    <a:lnTo>
                      <a:pt x="34" y="30"/>
                    </a:lnTo>
                    <a:lnTo>
                      <a:pt x="41" y="27"/>
                    </a:lnTo>
                    <a:lnTo>
                      <a:pt x="48" y="24"/>
                    </a:lnTo>
                    <a:lnTo>
                      <a:pt x="62" y="18"/>
                    </a:lnTo>
                    <a:lnTo>
                      <a:pt x="79" y="13"/>
                    </a:lnTo>
                    <a:lnTo>
                      <a:pt x="67" y="6"/>
                    </a:lnTo>
                    <a:lnTo>
                      <a:pt x="58" y="2"/>
                    </a:lnTo>
                    <a:lnTo>
                      <a:pt x="49" y="1"/>
                    </a:lnTo>
                    <a:lnTo>
                      <a:pt x="4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81" name="Freeform 203">
                <a:extLst>
                  <a:ext uri="{FF2B5EF4-FFF2-40B4-BE49-F238E27FC236}">
                    <a16:creationId xmlns="" xmlns:a16="http://schemas.microsoft.com/office/drawing/2014/main" id="{A8E4E5F2-2A71-4CD0-90F0-AECD75E0A27B}"/>
                  </a:ext>
                </a:extLst>
              </p:cNvPr>
              <p:cNvSpPr>
                <a:spLocks/>
              </p:cNvSpPr>
              <p:nvPr>
                <p:custDataLst>
                  <p:tags r:id="rId130"/>
                </p:custDataLst>
              </p:nvPr>
            </p:nvSpPr>
            <p:spPr bwMode="auto">
              <a:xfrm>
                <a:off x="2416175" y="5311775"/>
                <a:ext cx="30163" cy="57150"/>
              </a:xfrm>
              <a:custGeom>
                <a:avLst/>
                <a:gdLst>
                  <a:gd name="T0" fmla="*/ 2147483646 w 66"/>
                  <a:gd name="T1" fmla="*/ 0 h 19"/>
                  <a:gd name="T2" fmla="*/ 2147483646 w 66"/>
                  <a:gd name="T3" fmla="*/ 2147483646 h 19"/>
                  <a:gd name="T4" fmla="*/ 2147483646 w 66"/>
                  <a:gd name="T5" fmla="*/ 2147483646 h 19"/>
                  <a:gd name="T6" fmla="*/ 2147483646 w 66"/>
                  <a:gd name="T7" fmla="*/ 2147483646 h 19"/>
                  <a:gd name="T8" fmla="*/ 2147483646 w 66"/>
                  <a:gd name="T9" fmla="*/ 2147483646 h 19"/>
                  <a:gd name="T10" fmla="*/ 2147483646 w 66"/>
                  <a:gd name="T11" fmla="*/ 2147483646 h 19"/>
                  <a:gd name="T12" fmla="*/ 2147483646 w 66"/>
                  <a:gd name="T13" fmla="*/ 2147483646 h 19"/>
                  <a:gd name="T14" fmla="*/ 0 w 66"/>
                  <a:gd name="T15" fmla="*/ 2147483646 h 19"/>
                  <a:gd name="T16" fmla="*/ 0 w 66"/>
                  <a:gd name="T17" fmla="*/ 2147483646 h 19"/>
                  <a:gd name="T18" fmla="*/ 2147483646 w 66"/>
                  <a:gd name="T19" fmla="*/ 2147483646 h 19"/>
                  <a:gd name="T20" fmla="*/ 2147483646 w 66"/>
                  <a:gd name="T21" fmla="*/ 2147483646 h 19"/>
                  <a:gd name="T22" fmla="*/ 2147483646 w 66"/>
                  <a:gd name="T23" fmla="*/ 2147483646 h 19"/>
                  <a:gd name="T24" fmla="*/ 2147483646 w 66"/>
                  <a:gd name="T25" fmla="*/ 2147483646 h 19"/>
                  <a:gd name="T26" fmla="*/ 2147483646 w 66"/>
                  <a:gd name="T27" fmla="*/ 2147483646 h 19"/>
                  <a:gd name="T28" fmla="*/ 2147483646 w 66"/>
                  <a:gd name="T29" fmla="*/ 2147483646 h 19"/>
                  <a:gd name="T30" fmla="*/ 2147483646 w 66"/>
                  <a:gd name="T31" fmla="*/ 2147483646 h 19"/>
                  <a:gd name="T32" fmla="*/ 2147483646 w 66"/>
                  <a:gd name="T33" fmla="*/ 2147483646 h 19"/>
                  <a:gd name="T34" fmla="*/ 2147483646 w 66"/>
                  <a:gd name="T35" fmla="*/ 2147483646 h 19"/>
                  <a:gd name="T36" fmla="*/ 2147483646 w 66"/>
                  <a:gd name="T37" fmla="*/ 0 h 19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6"/>
                  <a:gd name="T58" fmla="*/ 0 h 19"/>
                  <a:gd name="T59" fmla="*/ 66 w 66"/>
                  <a:gd name="T60" fmla="*/ 19 h 19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6" h="19">
                    <a:moveTo>
                      <a:pt x="33" y="0"/>
                    </a:moveTo>
                    <a:lnTo>
                      <a:pt x="25" y="1"/>
                    </a:lnTo>
                    <a:lnTo>
                      <a:pt x="19" y="2"/>
                    </a:lnTo>
                    <a:lnTo>
                      <a:pt x="13" y="4"/>
                    </a:lnTo>
                    <a:lnTo>
                      <a:pt x="9" y="7"/>
                    </a:lnTo>
                    <a:lnTo>
                      <a:pt x="5" y="11"/>
                    </a:lnTo>
                    <a:lnTo>
                      <a:pt x="2" y="14"/>
                    </a:lnTo>
                    <a:lnTo>
                      <a:pt x="0" y="17"/>
                    </a:lnTo>
                    <a:lnTo>
                      <a:pt x="0" y="19"/>
                    </a:lnTo>
                    <a:lnTo>
                      <a:pt x="19" y="19"/>
                    </a:lnTo>
                    <a:lnTo>
                      <a:pt x="38" y="19"/>
                    </a:lnTo>
                    <a:lnTo>
                      <a:pt x="46" y="18"/>
                    </a:lnTo>
                    <a:lnTo>
                      <a:pt x="54" y="17"/>
                    </a:lnTo>
                    <a:lnTo>
                      <a:pt x="61" y="15"/>
                    </a:lnTo>
                    <a:lnTo>
                      <a:pt x="66" y="13"/>
                    </a:lnTo>
                    <a:lnTo>
                      <a:pt x="57" y="8"/>
                    </a:lnTo>
                    <a:lnTo>
                      <a:pt x="50" y="4"/>
                    </a:lnTo>
                    <a:lnTo>
                      <a:pt x="42" y="1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82" name="Freeform 204">
                <a:extLst>
                  <a:ext uri="{FF2B5EF4-FFF2-40B4-BE49-F238E27FC236}">
                    <a16:creationId xmlns="" xmlns:a16="http://schemas.microsoft.com/office/drawing/2014/main" id="{EA67C886-A8A1-4695-8F5C-6816DA27C6A9}"/>
                  </a:ext>
                </a:extLst>
              </p:cNvPr>
              <p:cNvSpPr>
                <a:spLocks/>
              </p:cNvSpPr>
              <p:nvPr>
                <p:custDataLst>
                  <p:tags r:id="rId131"/>
                </p:custDataLst>
              </p:nvPr>
            </p:nvSpPr>
            <p:spPr bwMode="auto">
              <a:xfrm>
                <a:off x="2316163" y="5002213"/>
                <a:ext cx="25400" cy="60325"/>
              </a:xfrm>
              <a:custGeom>
                <a:avLst/>
                <a:gdLst>
                  <a:gd name="T0" fmla="*/ 2147483646 w 53"/>
                  <a:gd name="T1" fmla="*/ 0 h 80"/>
                  <a:gd name="T2" fmla="*/ 2147483646 w 53"/>
                  <a:gd name="T3" fmla="*/ 2147483646 h 80"/>
                  <a:gd name="T4" fmla="*/ 2147483646 w 53"/>
                  <a:gd name="T5" fmla="*/ 2147483646 h 80"/>
                  <a:gd name="T6" fmla="*/ 2147483646 w 53"/>
                  <a:gd name="T7" fmla="*/ 2147483646 h 80"/>
                  <a:gd name="T8" fmla="*/ 2147483646 w 53"/>
                  <a:gd name="T9" fmla="*/ 2147483646 h 80"/>
                  <a:gd name="T10" fmla="*/ 0 w 53"/>
                  <a:gd name="T11" fmla="*/ 2147483646 h 80"/>
                  <a:gd name="T12" fmla="*/ 0 w 53"/>
                  <a:gd name="T13" fmla="*/ 2147483646 h 80"/>
                  <a:gd name="T14" fmla="*/ 0 w 53"/>
                  <a:gd name="T15" fmla="*/ 2147483646 h 80"/>
                  <a:gd name="T16" fmla="*/ 2147483646 w 53"/>
                  <a:gd name="T17" fmla="*/ 2147483646 h 80"/>
                  <a:gd name="T18" fmla="*/ 2147483646 w 53"/>
                  <a:gd name="T19" fmla="*/ 2147483646 h 80"/>
                  <a:gd name="T20" fmla="*/ 2147483646 w 53"/>
                  <a:gd name="T21" fmla="*/ 2147483646 h 80"/>
                  <a:gd name="T22" fmla="*/ 2147483646 w 53"/>
                  <a:gd name="T23" fmla="*/ 2147483646 h 80"/>
                  <a:gd name="T24" fmla="*/ 2147483646 w 53"/>
                  <a:gd name="T25" fmla="*/ 2147483646 h 80"/>
                  <a:gd name="T26" fmla="*/ 2147483646 w 53"/>
                  <a:gd name="T27" fmla="*/ 2147483646 h 80"/>
                  <a:gd name="T28" fmla="*/ 2147483646 w 53"/>
                  <a:gd name="T29" fmla="*/ 2147483646 h 80"/>
                  <a:gd name="T30" fmla="*/ 2147483646 w 53"/>
                  <a:gd name="T31" fmla="*/ 2147483646 h 80"/>
                  <a:gd name="T32" fmla="*/ 2147483646 w 53"/>
                  <a:gd name="T33" fmla="*/ 2147483646 h 80"/>
                  <a:gd name="T34" fmla="*/ 2147483646 w 53"/>
                  <a:gd name="T35" fmla="*/ 2147483646 h 80"/>
                  <a:gd name="T36" fmla="*/ 2147483646 w 53"/>
                  <a:gd name="T37" fmla="*/ 2147483646 h 80"/>
                  <a:gd name="T38" fmla="*/ 2147483646 w 53"/>
                  <a:gd name="T39" fmla="*/ 2147483646 h 80"/>
                  <a:gd name="T40" fmla="*/ 2147483646 w 53"/>
                  <a:gd name="T41" fmla="*/ 2147483646 h 80"/>
                  <a:gd name="T42" fmla="*/ 2147483646 w 53"/>
                  <a:gd name="T43" fmla="*/ 2147483646 h 80"/>
                  <a:gd name="T44" fmla="*/ 2147483646 w 53"/>
                  <a:gd name="T45" fmla="*/ 2147483646 h 80"/>
                  <a:gd name="T46" fmla="*/ 2147483646 w 53"/>
                  <a:gd name="T47" fmla="*/ 2147483646 h 80"/>
                  <a:gd name="T48" fmla="*/ 2147483646 w 53"/>
                  <a:gd name="T49" fmla="*/ 2147483646 h 80"/>
                  <a:gd name="T50" fmla="*/ 2147483646 w 53"/>
                  <a:gd name="T51" fmla="*/ 2147483646 h 80"/>
                  <a:gd name="T52" fmla="*/ 2147483646 w 53"/>
                  <a:gd name="T53" fmla="*/ 2147483646 h 80"/>
                  <a:gd name="T54" fmla="*/ 2147483646 w 53"/>
                  <a:gd name="T55" fmla="*/ 2147483646 h 80"/>
                  <a:gd name="T56" fmla="*/ 2147483646 w 53"/>
                  <a:gd name="T57" fmla="*/ 2147483646 h 80"/>
                  <a:gd name="T58" fmla="*/ 2147483646 w 53"/>
                  <a:gd name="T59" fmla="*/ 2147483646 h 80"/>
                  <a:gd name="T60" fmla="*/ 2147483646 w 53"/>
                  <a:gd name="T61" fmla="*/ 2147483646 h 80"/>
                  <a:gd name="T62" fmla="*/ 2147483646 w 53"/>
                  <a:gd name="T63" fmla="*/ 2147483646 h 80"/>
                  <a:gd name="T64" fmla="*/ 2147483646 w 53"/>
                  <a:gd name="T65" fmla="*/ 2147483646 h 80"/>
                  <a:gd name="T66" fmla="*/ 2147483646 w 53"/>
                  <a:gd name="T67" fmla="*/ 2147483646 h 80"/>
                  <a:gd name="T68" fmla="*/ 2147483646 w 53"/>
                  <a:gd name="T69" fmla="*/ 2147483646 h 80"/>
                  <a:gd name="T70" fmla="*/ 2147483646 w 53"/>
                  <a:gd name="T71" fmla="*/ 2147483646 h 80"/>
                  <a:gd name="T72" fmla="*/ 2147483646 w 53"/>
                  <a:gd name="T73" fmla="*/ 2147483646 h 80"/>
                  <a:gd name="T74" fmla="*/ 2147483646 w 53"/>
                  <a:gd name="T75" fmla="*/ 2147483646 h 80"/>
                  <a:gd name="T76" fmla="*/ 2147483646 w 53"/>
                  <a:gd name="T77" fmla="*/ 0 h 80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53"/>
                  <a:gd name="T118" fmla="*/ 0 h 80"/>
                  <a:gd name="T119" fmla="*/ 53 w 53"/>
                  <a:gd name="T120" fmla="*/ 80 h 80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53" h="80">
                    <a:moveTo>
                      <a:pt x="13" y="0"/>
                    </a:moveTo>
                    <a:lnTo>
                      <a:pt x="8" y="5"/>
                    </a:lnTo>
                    <a:lnTo>
                      <a:pt x="4" y="10"/>
                    </a:lnTo>
                    <a:lnTo>
                      <a:pt x="2" y="13"/>
                    </a:lnTo>
                    <a:lnTo>
                      <a:pt x="1" y="16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0" y="30"/>
                    </a:lnTo>
                    <a:lnTo>
                      <a:pt x="2" y="39"/>
                    </a:lnTo>
                    <a:lnTo>
                      <a:pt x="6" y="48"/>
                    </a:lnTo>
                    <a:lnTo>
                      <a:pt x="9" y="57"/>
                    </a:lnTo>
                    <a:lnTo>
                      <a:pt x="13" y="66"/>
                    </a:lnTo>
                    <a:lnTo>
                      <a:pt x="20" y="73"/>
                    </a:lnTo>
                    <a:lnTo>
                      <a:pt x="22" y="76"/>
                    </a:lnTo>
                    <a:lnTo>
                      <a:pt x="26" y="78"/>
                    </a:lnTo>
                    <a:lnTo>
                      <a:pt x="30" y="80"/>
                    </a:lnTo>
                    <a:lnTo>
                      <a:pt x="33" y="80"/>
                    </a:lnTo>
                    <a:lnTo>
                      <a:pt x="36" y="79"/>
                    </a:lnTo>
                    <a:lnTo>
                      <a:pt x="38" y="78"/>
                    </a:lnTo>
                    <a:lnTo>
                      <a:pt x="42" y="76"/>
                    </a:lnTo>
                    <a:lnTo>
                      <a:pt x="45" y="73"/>
                    </a:lnTo>
                    <a:lnTo>
                      <a:pt x="48" y="70"/>
                    </a:lnTo>
                    <a:lnTo>
                      <a:pt x="51" y="67"/>
                    </a:lnTo>
                    <a:lnTo>
                      <a:pt x="53" y="64"/>
                    </a:lnTo>
                    <a:lnTo>
                      <a:pt x="53" y="62"/>
                    </a:lnTo>
                    <a:lnTo>
                      <a:pt x="52" y="54"/>
                    </a:lnTo>
                    <a:lnTo>
                      <a:pt x="49" y="47"/>
                    </a:lnTo>
                    <a:lnTo>
                      <a:pt x="46" y="42"/>
                    </a:lnTo>
                    <a:lnTo>
                      <a:pt x="43" y="37"/>
                    </a:lnTo>
                    <a:lnTo>
                      <a:pt x="40" y="32"/>
                    </a:lnTo>
                    <a:lnTo>
                      <a:pt x="36" y="27"/>
                    </a:lnTo>
                    <a:lnTo>
                      <a:pt x="34" y="20"/>
                    </a:lnTo>
                    <a:lnTo>
                      <a:pt x="33" y="12"/>
                    </a:lnTo>
                    <a:lnTo>
                      <a:pt x="33" y="10"/>
                    </a:lnTo>
                    <a:lnTo>
                      <a:pt x="31" y="8"/>
                    </a:lnTo>
                    <a:lnTo>
                      <a:pt x="29" y="6"/>
                    </a:lnTo>
                    <a:lnTo>
                      <a:pt x="25" y="4"/>
                    </a:lnTo>
                    <a:lnTo>
                      <a:pt x="19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83" name="Freeform 205">
                <a:extLst>
                  <a:ext uri="{FF2B5EF4-FFF2-40B4-BE49-F238E27FC236}">
                    <a16:creationId xmlns="" xmlns:a16="http://schemas.microsoft.com/office/drawing/2014/main" id="{38DB8BE0-45EE-443D-9510-1A87BD101A60}"/>
                  </a:ext>
                </a:extLst>
              </p:cNvPr>
              <p:cNvSpPr>
                <a:spLocks/>
              </p:cNvSpPr>
              <p:nvPr>
                <p:custDataLst>
                  <p:tags r:id="rId132"/>
                </p:custDataLst>
              </p:nvPr>
            </p:nvSpPr>
            <p:spPr bwMode="auto">
              <a:xfrm>
                <a:off x="2346325" y="5097463"/>
                <a:ext cx="17463" cy="53975"/>
              </a:xfrm>
              <a:custGeom>
                <a:avLst/>
                <a:gdLst>
                  <a:gd name="T0" fmla="*/ 0 w 41"/>
                  <a:gd name="T1" fmla="*/ 2147483646 h 43"/>
                  <a:gd name="T2" fmla="*/ 2147483646 w 41"/>
                  <a:gd name="T3" fmla="*/ 2147483646 h 43"/>
                  <a:gd name="T4" fmla="*/ 2147483646 w 41"/>
                  <a:gd name="T5" fmla="*/ 2147483646 h 43"/>
                  <a:gd name="T6" fmla="*/ 2147483646 w 41"/>
                  <a:gd name="T7" fmla="*/ 2147483646 h 43"/>
                  <a:gd name="T8" fmla="*/ 2147483646 w 41"/>
                  <a:gd name="T9" fmla="*/ 0 h 43"/>
                  <a:gd name="T10" fmla="*/ 2147483646 w 41"/>
                  <a:gd name="T11" fmla="*/ 2147483646 h 43"/>
                  <a:gd name="T12" fmla="*/ 2147483646 w 41"/>
                  <a:gd name="T13" fmla="*/ 2147483646 h 43"/>
                  <a:gd name="T14" fmla="*/ 2147483646 w 41"/>
                  <a:gd name="T15" fmla="*/ 2147483646 h 43"/>
                  <a:gd name="T16" fmla="*/ 2147483646 w 41"/>
                  <a:gd name="T17" fmla="*/ 2147483646 h 43"/>
                  <a:gd name="T18" fmla="*/ 2147483646 w 41"/>
                  <a:gd name="T19" fmla="*/ 2147483646 h 43"/>
                  <a:gd name="T20" fmla="*/ 2147483646 w 41"/>
                  <a:gd name="T21" fmla="*/ 2147483646 h 43"/>
                  <a:gd name="T22" fmla="*/ 2147483646 w 41"/>
                  <a:gd name="T23" fmla="*/ 2147483646 h 43"/>
                  <a:gd name="T24" fmla="*/ 0 w 41"/>
                  <a:gd name="T25" fmla="*/ 2147483646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41"/>
                  <a:gd name="T40" fmla="*/ 0 h 43"/>
                  <a:gd name="T41" fmla="*/ 41 w 41"/>
                  <a:gd name="T42" fmla="*/ 43 h 4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41" h="43">
                    <a:moveTo>
                      <a:pt x="0" y="43"/>
                    </a:moveTo>
                    <a:lnTo>
                      <a:pt x="27" y="43"/>
                    </a:lnTo>
                    <a:lnTo>
                      <a:pt x="41" y="24"/>
                    </a:lnTo>
                    <a:lnTo>
                      <a:pt x="38" y="12"/>
                    </a:lnTo>
                    <a:lnTo>
                      <a:pt x="34" y="0"/>
                    </a:lnTo>
                    <a:lnTo>
                      <a:pt x="27" y="4"/>
                    </a:lnTo>
                    <a:lnTo>
                      <a:pt x="20" y="9"/>
                    </a:lnTo>
                    <a:lnTo>
                      <a:pt x="15" y="14"/>
                    </a:lnTo>
                    <a:lnTo>
                      <a:pt x="10" y="19"/>
                    </a:lnTo>
                    <a:lnTo>
                      <a:pt x="6" y="24"/>
                    </a:lnTo>
                    <a:lnTo>
                      <a:pt x="3" y="30"/>
                    </a:lnTo>
                    <a:lnTo>
                      <a:pt x="1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84" name="Freeform 206">
                <a:extLst>
                  <a:ext uri="{FF2B5EF4-FFF2-40B4-BE49-F238E27FC236}">
                    <a16:creationId xmlns="" xmlns:a16="http://schemas.microsoft.com/office/drawing/2014/main" id="{8ACDFE1E-BB8B-4695-A3B6-A31867B1F6CF}"/>
                  </a:ext>
                </a:extLst>
              </p:cNvPr>
              <p:cNvSpPr>
                <a:spLocks/>
              </p:cNvSpPr>
              <p:nvPr>
                <p:custDataLst>
                  <p:tags r:id="rId133"/>
                </p:custDataLst>
              </p:nvPr>
            </p:nvSpPr>
            <p:spPr bwMode="auto">
              <a:xfrm>
                <a:off x="2351088" y="5119688"/>
                <a:ext cx="7937" cy="58737"/>
              </a:xfrm>
              <a:custGeom>
                <a:avLst/>
                <a:gdLst>
                  <a:gd name="T0" fmla="*/ 2147483646 w 20"/>
                  <a:gd name="T1" fmla="*/ 0 h 24"/>
                  <a:gd name="T2" fmla="*/ 0 w 20"/>
                  <a:gd name="T3" fmla="*/ 0 h 24"/>
                  <a:gd name="T4" fmla="*/ 2147483646 w 20"/>
                  <a:gd name="T5" fmla="*/ 2147483646 h 24"/>
                  <a:gd name="T6" fmla="*/ 2147483646 w 20"/>
                  <a:gd name="T7" fmla="*/ 2147483646 h 24"/>
                  <a:gd name="T8" fmla="*/ 2147483646 w 20"/>
                  <a:gd name="T9" fmla="*/ 2147483646 h 24"/>
                  <a:gd name="T10" fmla="*/ 2147483646 w 20"/>
                  <a:gd name="T11" fmla="*/ 2147483646 h 24"/>
                  <a:gd name="T12" fmla="*/ 2147483646 w 20"/>
                  <a:gd name="T13" fmla="*/ 2147483646 h 24"/>
                  <a:gd name="T14" fmla="*/ 2147483646 w 20"/>
                  <a:gd name="T15" fmla="*/ 2147483646 h 24"/>
                  <a:gd name="T16" fmla="*/ 2147483646 w 20"/>
                  <a:gd name="T17" fmla="*/ 2147483646 h 24"/>
                  <a:gd name="T18" fmla="*/ 2147483646 w 20"/>
                  <a:gd name="T19" fmla="*/ 2147483646 h 24"/>
                  <a:gd name="T20" fmla="*/ 2147483646 w 20"/>
                  <a:gd name="T21" fmla="*/ 0 h 2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0"/>
                  <a:gd name="T34" fmla="*/ 0 h 24"/>
                  <a:gd name="T35" fmla="*/ 20 w 20"/>
                  <a:gd name="T36" fmla="*/ 24 h 2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0" h="24">
                    <a:moveTo>
                      <a:pt x="20" y="0"/>
                    </a:moveTo>
                    <a:lnTo>
                      <a:pt x="0" y="0"/>
                    </a:lnTo>
                    <a:lnTo>
                      <a:pt x="1" y="5"/>
                    </a:lnTo>
                    <a:lnTo>
                      <a:pt x="2" y="9"/>
                    </a:lnTo>
                    <a:lnTo>
                      <a:pt x="4" y="13"/>
                    </a:lnTo>
                    <a:lnTo>
                      <a:pt x="7" y="17"/>
                    </a:lnTo>
                    <a:lnTo>
                      <a:pt x="10" y="20"/>
                    </a:lnTo>
                    <a:lnTo>
                      <a:pt x="14" y="22"/>
                    </a:lnTo>
                    <a:lnTo>
                      <a:pt x="17" y="24"/>
                    </a:lnTo>
                    <a:lnTo>
                      <a:pt x="20" y="24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85" name="Freeform 207">
                <a:extLst>
                  <a:ext uri="{FF2B5EF4-FFF2-40B4-BE49-F238E27FC236}">
                    <a16:creationId xmlns="" xmlns:a16="http://schemas.microsoft.com/office/drawing/2014/main" id="{14CB66FA-129F-4F0A-8D4B-ED56E75B4D65}"/>
                  </a:ext>
                </a:extLst>
              </p:cNvPr>
              <p:cNvSpPr>
                <a:spLocks/>
              </p:cNvSpPr>
              <p:nvPr>
                <p:custDataLst>
                  <p:tags r:id="rId134"/>
                </p:custDataLst>
              </p:nvPr>
            </p:nvSpPr>
            <p:spPr bwMode="auto">
              <a:xfrm>
                <a:off x="2365375" y="5181600"/>
                <a:ext cx="17463" cy="60325"/>
              </a:xfrm>
              <a:custGeom>
                <a:avLst/>
                <a:gdLst>
                  <a:gd name="T0" fmla="*/ 0 w 39"/>
                  <a:gd name="T1" fmla="*/ 2147483646 h 43"/>
                  <a:gd name="T2" fmla="*/ 2147483646 w 39"/>
                  <a:gd name="T3" fmla="*/ 2147483646 h 43"/>
                  <a:gd name="T4" fmla="*/ 2147483646 w 39"/>
                  <a:gd name="T5" fmla="*/ 2147483646 h 43"/>
                  <a:gd name="T6" fmla="*/ 2147483646 w 39"/>
                  <a:gd name="T7" fmla="*/ 2147483646 h 43"/>
                  <a:gd name="T8" fmla="*/ 2147483646 w 39"/>
                  <a:gd name="T9" fmla="*/ 2147483646 h 43"/>
                  <a:gd name="T10" fmla="*/ 2147483646 w 39"/>
                  <a:gd name="T11" fmla="*/ 2147483646 h 43"/>
                  <a:gd name="T12" fmla="*/ 2147483646 w 39"/>
                  <a:gd name="T13" fmla="*/ 2147483646 h 43"/>
                  <a:gd name="T14" fmla="*/ 2147483646 w 39"/>
                  <a:gd name="T15" fmla="*/ 2147483646 h 43"/>
                  <a:gd name="T16" fmla="*/ 2147483646 w 39"/>
                  <a:gd name="T17" fmla="*/ 2147483646 h 43"/>
                  <a:gd name="T18" fmla="*/ 2147483646 w 39"/>
                  <a:gd name="T19" fmla="*/ 2147483646 h 43"/>
                  <a:gd name="T20" fmla="*/ 2147483646 w 39"/>
                  <a:gd name="T21" fmla="*/ 2147483646 h 43"/>
                  <a:gd name="T22" fmla="*/ 2147483646 w 39"/>
                  <a:gd name="T23" fmla="*/ 2147483646 h 43"/>
                  <a:gd name="T24" fmla="*/ 2147483646 w 39"/>
                  <a:gd name="T25" fmla="*/ 0 h 43"/>
                  <a:gd name="T26" fmla="*/ 2147483646 w 39"/>
                  <a:gd name="T27" fmla="*/ 2147483646 h 43"/>
                  <a:gd name="T28" fmla="*/ 2147483646 w 39"/>
                  <a:gd name="T29" fmla="*/ 2147483646 h 43"/>
                  <a:gd name="T30" fmla="*/ 0 w 39"/>
                  <a:gd name="T31" fmla="*/ 2147483646 h 4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9"/>
                  <a:gd name="T49" fmla="*/ 0 h 43"/>
                  <a:gd name="T50" fmla="*/ 39 w 39"/>
                  <a:gd name="T51" fmla="*/ 43 h 43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9" h="43">
                    <a:moveTo>
                      <a:pt x="0" y="12"/>
                    </a:moveTo>
                    <a:lnTo>
                      <a:pt x="2" y="17"/>
                    </a:lnTo>
                    <a:lnTo>
                      <a:pt x="6" y="22"/>
                    </a:lnTo>
                    <a:lnTo>
                      <a:pt x="12" y="27"/>
                    </a:lnTo>
                    <a:lnTo>
                      <a:pt x="16" y="32"/>
                    </a:lnTo>
                    <a:lnTo>
                      <a:pt x="23" y="37"/>
                    </a:lnTo>
                    <a:lnTo>
                      <a:pt x="28" y="40"/>
                    </a:lnTo>
                    <a:lnTo>
                      <a:pt x="34" y="43"/>
                    </a:lnTo>
                    <a:lnTo>
                      <a:pt x="39" y="43"/>
                    </a:lnTo>
                    <a:lnTo>
                      <a:pt x="38" y="32"/>
                    </a:lnTo>
                    <a:lnTo>
                      <a:pt x="36" y="19"/>
                    </a:lnTo>
                    <a:lnTo>
                      <a:pt x="34" y="8"/>
                    </a:lnTo>
                    <a:lnTo>
                      <a:pt x="32" y="0"/>
                    </a:lnTo>
                    <a:lnTo>
                      <a:pt x="19" y="3"/>
                    </a:lnTo>
                    <a:lnTo>
                      <a:pt x="6" y="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86" name="Freeform 208">
                <a:extLst>
                  <a:ext uri="{FF2B5EF4-FFF2-40B4-BE49-F238E27FC236}">
                    <a16:creationId xmlns="" xmlns:a16="http://schemas.microsoft.com/office/drawing/2014/main" id="{3DF0D14F-EC25-47CA-AFFF-F40217A14676}"/>
                  </a:ext>
                </a:extLst>
              </p:cNvPr>
              <p:cNvSpPr>
                <a:spLocks/>
              </p:cNvSpPr>
              <p:nvPr>
                <p:custDataLst>
                  <p:tags r:id="rId135"/>
                </p:custDataLst>
              </p:nvPr>
            </p:nvSpPr>
            <p:spPr bwMode="auto">
              <a:xfrm>
                <a:off x="2352675" y="5194300"/>
                <a:ext cx="26988" cy="58738"/>
              </a:xfrm>
              <a:custGeom>
                <a:avLst/>
                <a:gdLst>
                  <a:gd name="T0" fmla="*/ 2147483646 w 55"/>
                  <a:gd name="T1" fmla="*/ 2147483646 h 62"/>
                  <a:gd name="T2" fmla="*/ 2147483646 w 55"/>
                  <a:gd name="T3" fmla="*/ 0 h 62"/>
                  <a:gd name="T4" fmla="*/ 2147483646 w 55"/>
                  <a:gd name="T5" fmla="*/ 2147483646 h 62"/>
                  <a:gd name="T6" fmla="*/ 2147483646 w 55"/>
                  <a:gd name="T7" fmla="*/ 2147483646 h 62"/>
                  <a:gd name="T8" fmla="*/ 0 w 55"/>
                  <a:gd name="T9" fmla="*/ 2147483646 h 62"/>
                  <a:gd name="T10" fmla="*/ 0 w 55"/>
                  <a:gd name="T11" fmla="*/ 2147483646 h 62"/>
                  <a:gd name="T12" fmla="*/ 2147483646 w 55"/>
                  <a:gd name="T13" fmla="*/ 2147483646 h 62"/>
                  <a:gd name="T14" fmla="*/ 2147483646 w 55"/>
                  <a:gd name="T15" fmla="*/ 2147483646 h 62"/>
                  <a:gd name="T16" fmla="*/ 2147483646 w 55"/>
                  <a:gd name="T17" fmla="*/ 2147483646 h 62"/>
                  <a:gd name="T18" fmla="*/ 2147483646 w 55"/>
                  <a:gd name="T19" fmla="*/ 2147483646 h 62"/>
                  <a:gd name="T20" fmla="*/ 2147483646 w 55"/>
                  <a:gd name="T21" fmla="*/ 2147483646 h 62"/>
                  <a:gd name="T22" fmla="*/ 2147483646 w 55"/>
                  <a:gd name="T23" fmla="*/ 2147483646 h 62"/>
                  <a:gd name="T24" fmla="*/ 2147483646 w 55"/>
                  <a:gd name="T25" fmla="*/ 2147483646 h 62"/>
                  <a:gd name="T26" fmla="*/ 2147483646 w 55"/>
                  <a:gd name="T27" fmla="*/ 2147483646 h 62"/>
                  <a:gd name="T28" fmla="*/ 2147483646 w 55"/>
                  <a:gd name="T29" fmla="*/ 2147483646 h 62"/>
                  <a:gd name="T30" fmla="*/ 2147483646 w 55"/>
                  <a:gd name="T31" fmla="*/ 2147483646 h 62"/>
                  <a:gd name="T32" fmla="*/ 2147483646 w 55"/>
                  <a:gd name="T33" fmla="*/ 2147483646 h 62"/>
                  <a:gd name="T34" fmla="*/ 2147483646 w 55"/>
                  <a:gd name="T35" fmla="*/ 2147483646 h 62"/>
                  <a:gd name="T36" fmla="*/ 2147483646 w 55"/>
                  <a:gd name="T37" fmla="*/ 2147483646 h 62"/>
                  <a:gd name="T38" fmla="*/ 2147483646 w 55"/>
                  <a:gd name="T39" fmla="*/ 2147483646 h 62"/>
                  <a:gd name="T40" fmla="*/ 2147483646 w 55"/>
                  <a:gd name="T41" fmla="*/ 2147483646 h 62"/>
                  <a:gd name="T42" fmla="*/ 2147483646 w 55"/>
                  <a:gd name="T43" fmla="*/ 2147483646 h 62"/>
                  <a:gd name="T44" fmla="*/ 2147483646 w 55"/>
                  <a:gd name="T45" fmla="*/ 2147483646 h 62"/>
                  <a:gd name="T46" fmla="*/ 2147483646 w 55"/>
                  <a:gd name="T47" fmla="*/ 2147483646 h 62"/>
                  <a:gd name="T48" fmla="*/ 2147483646 w 55"/>
                  <a:gd name="T49" fmla="*/ 2147483646 h 62"/>
                  <a:gd name="T50" fmla="*/ 2147483646 w 55"/>
                  <a:gd name="T51" fmla="*/ 2147483646 h 6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55"/>
                  <a:gd name="T79" fmla="*/ 0 h 62"/>
                  <a:gd name="T80" fmla="*/ 55 w 55"/>
                  <a:gd name="T81" fmla="*/ 62 h 62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55" h="62">
                    <a:moveTo>
                      <a:pt x="29" y="26"/>
                    </a:moveTo>
                    <a:lnTo>
                      <a:pt x="8" y="0"/>
                    </a:lnTo>
                    <a:lnTo>
                      <a:pt x="4" y="5"/>
                    </a:lnTo>
                    <a:lnTo>
                      <a:pt x="1" y="11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2" y="26"/>
                    </a:lnTo>
                    <a:lnTo>
                      <a:pt x="4" y="31"/>
                    </a:lnTo>
                    <a:lnTo>
                      <a:pt x="8" y="36"/>
                    </a:lnTo>
                    <a:lnTo>
                      <a:pt x="11" y="41"/>
                    </a:lnTo>
                    <a:lnTo>
                      <a:pt x="16" y="45"/>
                    </a:lnTo>
                    <a:lnTo>
                      <a:pt x="21" y="49"/>
                    </a:lnTo>
                    <a:lnTo>
                      <a:pt x="26" y="53"/>
                    </a:lnTo>
                    <a:lnTo>
                      <a:pt x="33" y="56"/>
                    </a:lnTo>
                    <a:lnTo>
                      <a:pt x="38" y="58"/>
                    </a:lnTo>
                    <a:lnTo>
                      <a:pt x="44" y="60"/>
                    </a:lnTo>
                    <a:lnTo>
                      <a:pt x="49" y="61"/>
                    </a:lnTo>
                    <a:lnTo>
                      <a:pt x="55" y="62"/>
                    </a:lnTo>
                    <a:lnTo>
                      <a:pt x="54" y="53"/>
                    </a:lnTo>
                    <a:lnTo>
                      <a:pt x="53" y="46"/>
                    </a:lnTo>
                    <a:lnTo>
                      <a:pt x="49" y="40"/>
                    </a:lnTo>
                    <a:lnTo>
                      <a:pt x="46" y="35"/>
                    </a:lnTo>
                    <a:lnTo>
                      <a:pt x="43" y="31"/>
                    </a:lnTo>
                    <a:lnTo>
                      <a:pt x="38" y="28"/>
                    </a:lnTo>
                    <a:lnTo>
                      <a:pt x="33" y="26"/>
                    </a:lnTo>
                    <a:lnTo>
                      <a:pt x="29" y="26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87" name="Freeform 209">
                <a:extLst>
                  <a:ext uri="{FF2B5EF4-FFF2-40B4-BE49-F238E27FC236}">
                    <a16:creationId xmlns="" xmlns:a16="http://schemas.microsoft.com/office/drawing/2014/main" id="{7CD0F7D3-1E25-4223-820B-2DB3885DA98F}"/>
                  </a:ext>
                </a:extLst>
              </p:cNvPr>
              <p:cNvSpPr>
                <a:spLocks/>
              </p:cNvSpPr>
              <p:nvPr>
                <p:custDataLst>
                  <p:tags r:id="rId136"/>
                </p:custDataLst>
              </p:nvPr>
            </p:nvSpPr>
            <p:spPr bwMode="auto">
              <a:xfrm>
                <a:off x="2382838" y="5227638"/>
                <a:ext cx="11112" cy="58737"/>
              </a:xfrm>
              <a:custGeom>
                <a:avLst/>
                <a:gdLst>
                  <a:gd name="T0" fmla="*/ 2147483646 w 35"/>
                  <a:gd name="T1" fmla="*/ 2147483646 h 43"/>
                  <a:gd name="T2" fmla="*/ 2147483646 w 35"/>
                  <a:gd name="T3" fmla="*/ 0 h 43"/>
                  <a:gd name="T4" fmla="*/ 2147483646 w 35"/>
                  <a:gd name="T5" fmla="*/ 2147483646 h 43"/>
                  <a:gd name="T6" fmla="*/ 0 w 35"/>
                  <a:gd name="T7" fmla="*/ 2147483646 h 43"/>
                  <a:gd name="T8" fmla="*/ 2147483646 w 35"/>
                  <a:gd name="T9" fmla="*/ 2147483646 h 43"/>
                  <a:gd name="T10" fmla="*/ 2147483646 w 35"/>
                  <a:gd name="T11" fmla="*/ 2147483646 h 43"/>
                  <a:gd name="T12" fmla="*/ 2147483646 w 35"/>
                  <a:gd name="T13" fmla="*/ 2147483646 h 43"/>
                  <a:gd name="T14" fmla="*/ 2147483646 w 35"/>
                  <a:gd name="T15" fmla="*/ 2147483646 h 43"/>
                  <a:gd name="T16" fmla="*/ 2147483646 w 35"/>
                  <a:gd name="T17" fmla="*/ 2147483646 h 43"/>
                  <a:gd name="T18" fmla="*/ 2147483646 w 35"/>
                  <a:gd name="T19" fmla="*/ 2147483646 h 43"/>
                  <a:gd name="T20" fmla="*/ 2147483646 w 35"/>
                  <a:gd name="T21" fmla="*/ 2147483646 h 43"/>
                  <a:gd name="T22" fmla="*/ 2147483646 w 35"/>
                  <a:gd name="T23" fmla="*/ 2147483646 h 43"/>
                  <a:gd name="T24" fmla="*/ 2147483646 w 35"/>
                  <a:gd name="T25" fmla="*/ 2147483646 h 43"/>
                  <a:gd name="T26" fmla="*/ 2147483646 w 35"/>
                  <a:gd name="T27" fmla="*/ 2147483646 h 43"/>
                  <a:gd name="T28" fmla="*/ 2147483646 w 35"/>
                  <a:gd name="T29" fmla="*/ 2147483646 h 43"/>
                  <a:gd name="T30" fmla="*/ 2147483646 w 35"/>
                  <a:gd name="T31" fmla="*/ 2147483646 h 43"/>
                  <a:gd name="T32" fmla="*/ 2147483646 w 35"/>
                  <a:gd name="T33" fmla="*/ 2147483646 h 43"/>
                  <a:gd name="T34" fmla="*/ 2147483646 w 35"/>
                  <a:gd name="T35" fmla="*/ 2147483646 h 43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35"/>
                  <a:gd name="T55" fmla="*/ 0 h 43"/>
                  <a:gd name="T56" fmla="*/ 35 w 35"/>
                  <a:gd name="T57" fmla="*/ 43 h 43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35" h="43">
                    <a:moveTo>
                      <a:pt x="33" y="13"/>
                    </a:moveTo>
                    <a:lnTo>
                      <a:pt x="7" y="0"/>
                    </a:lnTo>
                    <a:lnTo>
                      <a:pt x="4" y="8"/>
                    </a:lnTo>
                    <a:lnTo>
                      <a:pt x="0" y="19"/>
                    </a:lnTo>
                    <a:lnTo>
                      <a:pt x="2" y="28"/>
                    </a:lnTo>
                    <a:lnTo>
                      <a:pt x="5" y="36"/>
                    </a:lnTo>
                    <a:lnTo>
                      <a:pt x="6" y="39"/>
                    </a:lnTo>
                    <a:lnTo>
                      <a:pt x="8" y="41"/>
                    </a:lnTo>
                    <a:lnTo>
                      <a:pt x="11" y="43"/>
                    </a:lnTo>
                    <a:lnTo>
                      <a:pt x="14" y="43"/>
                    </a:lnTo>
                    <a:lnTo>
                      <a:pt x="18" y="43"/>
                    </a:lnTo>
                    <a:lnTo>
                      <a:pt x="22" y="42"/>
                    </a:lnTo>
                    <a:lnTo>
                      <a:pt x="26" y="41"/>
                    </a:lnTo>
                    <a:lnTo>
                      <a:pt x="28" y="39"/>
                    </a:lnTo>
                    <a:lnTo>
                      <a:pt x="31" y="35"/>
                    </a:lnTo>
                    <a:lnTo>
                      <a:pt x="33" y="30"/>
                    </a:lnTo>
                    <a:lnTo>
                      <a:pt x="35" y="20"/>
                    </a:lnTo>
                    <a:lnTo>
                      <a:pt x="33" y="13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88" name="Freeform 210">
                <a:extLst>
                  <a:ext uri="{FF2B5EF4-FFF2-40B4-BE49-F238E27FC236}">
                    <a16:creationId xmlns="" xmlns:a16="http://schemas.microsoft.com/office/drawing/2014/main" id="{08403C49-85FE-4DD1-BB02-6CCA5A46EE84}"/>
                  </a:ext>
                </a:extLst>
              </p:cNvPr>
              <p:cNvSpPr>
                <a:spLocks/>
              </p:cNvSpPr>
              <p:nvPr>
                <p:custDataLst>
                  <p:tags r:id="rId137"/>
                </p:custDataLst>
              </p:nvPr>
            </p:nvSpPr>
            <p:spPr bwMode="auto">
              <a:xfrm>
                <a:off x="2379663" y="5260975"/>
                <a:ext cx="20637" cy="55563"/>
              </a:xfrm>
              <a:custGeom>
                <a:avLst/>
                <a:gdLst>
                  <a:gd name="T0" fmla="*/ 2147483646 w 53"/>
                  <a:gd name="T1" fmla="*/ 0 h 21"/>
                  <a:gd name="T2" fmla="*/ 2147483646 w 53"/>
                  <a:gd name="T3" fmla="*/ 2147483646 h 21"/>
                  <a:gd name="T4" fmla="*/ 2147483646 w 53"/>
                  <a:gd name="T5" fmla="*/ 2147483646 h 21"/>
                  <a:gd name="T6" fmla="*/ 2147483646 w 53"/>
                  <a:gd name="T7" fmla="*/ 2147483646 h 21"/>
                  <a:gd name="T8" fmla="*/ 2147483646 w 53"/>
                  <a:gd name="T9" fmla="*/ 2147483646 h 21"/>
                  <a:gd name="T10" fmla="*/ 2147483646 w 53"/>
                  <a:gd name="T11" fmla="*/ 2147483646 h 21"/>
                  <a:gd name="T12" fmla="*/ 2147483646 w 53"/>
                  <a:gd name="T13" fmla="*/ 2147483646 h 21"/>
                  <a:gd name="T14" fmla="*/ 2147483646 w 53"/>
                  <a:gd name="T15" fmla="*/ 2147483646 h 21"/>
                  <a:gd name="T16" fmla="*/ 0 w 53"/>
                  <a:gd name="T17" fmla="*/ 2147483646 h 21"/>
                  <a:gd name="T18" fmla="*/ 2147483646 w 53"/>
                  <a:gd name="T19" fmla="*/ 2147483646 h 21"/>
                  <a:gd name="T20" fmla="*/ 2147483646 w 53"/>
                  <a:gd name="T21" fmla="*/ 2147483646 h 21"/>
                  <a:gd name="T22" fmla="*/ 2147483646 w 53"/>
                  <a:gd name="T23" fmla="*/ 2147483646 h 21"/>
                  <a:gd name="T24" fmla="*/ 2147483646 w 53"/>
                  <a:gd name="T25" fmla="*/ 2147483646 h 21"/>
                  <a:gd name="T26" fmla="*/ 2147483646 w 53"/>
                  <a:gd name="T27" fmla="*/ 2147483646 h 21"/>
                  <a:gd name="T28" fmla="*/ 2147483646 w 53"/>
                  <a:gd name="T29" fmla="*/ 2147483646 h 21"/>
                  <a:gd name="T30" fmla="*/ 2147483646 w 53"/>
                  <a:gd name="T31" fmla="*/ 0 h 2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53"/>
                  <a:gd name="T49" fmla="*/ 0 h 21"/>
                  <a:gd name="T50" fmla="*/ 53 w 53"/>
                  <a:gd name="T51" fmla="*/ 21 h 2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53" h="21">
                    <a:moveTo>
                      <a:pt x="53" y="0"/>
                    </a:moveTo>
                    <a:lnTo>
                      <a:pt x="41" y="1"/>
                    </a:lnTo>
                    <a:lnTo>
                      <a:pt x="32" y="2"/>
                    </a:lnTo>
                    <a:lnTo>
                      <a:pt x="25" y="5"/>
                    </a:lnTo>
                    <a:lnTo>
                      <a:pt x="21" y="7"/>
                    </a:lnTo>
                    <a:lnTo>
                      <a:pt x="17" y="10"/>
                    </a:lnTo>
                    <a:lnTo>
                      <a:pt x="13" y="13"/>
                    </a:lnTo>
                    <a:lnTo>
                      <a:pt x="8" y="16"/>
                    </a:lnTo>
                    <a:lnTo>
                      <a:pt x="0" y="18"/>
                    </a:lnTo>
                    <a:lnTo>
                      <a:pt x="5" y="20"/>
                    </a:lnTo>
                    <a:lnTo>
                      <a:pt x="11" y="21"/>
                    </a:lnTo>
                    <a:lnTo>
                      <a:pt x="17" y="21"/>
                    </a:lnTo>
                    <a:lnTo>
                      <a:pt x="24" y="21"/>
                    </a:lnTo>
                    <a:lnTo>
                      <a:pt x="38" y="19"/>
                    </a:lnTo>
                    <a:lnTo>
                      <a:pt x="53" y="18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89" name="Freeform 211">
                <a:extLst>
                  <a:ext uri="{FF2B5EF4-FFF2-40B4-BE49-F238E27FC236}">
                    <a16:creationId xmlns="" xmlns:a16="http://schemas.microsoft.com/office/drawing/2014/main" id="{443D28AD-6E58-4D39-9DF8-A76842E4BC4D}"/>
                  </a:ext>
                </a:extLst>
              </p:cNvPr>
              <p:cNvSpPr>
                <a:spLocks/>
              </p:cNvSpPr>
              <p:nvPr>
                <p:custDataLst>
                  <p:tags r:id="rId138"/>
                </p:custDataLst>
              </p:nvPr>
            </p:nvSpPr>
            <p:spPr bwMode="auto">
              <a:xfrm>
                <a:off x="2403475" y="5275263"/>
                <a:ext cx="17463" cy="57150"/>
              </a:xfrm>
              <a:custGeom>
                <a:avLst/>
                <a:gdLst>
                  <a:gd name="T0" fmla="*/ 2147483646 w 43"/>
                  <a:gd name="T1" fmla="*/ 0 h 38"/>
                  <a:gd name="T2" fmla="*/ 2147483646 w 43"/>
                  <a:gd name="T3" fmla="*/ 0 h 38"/>
                  <a:gd name="T4" fmla="*/ 2147483646 w 43"/>
                  <a:gd name="T5" fmla="*/ 0 h 38"/>
                  <a:gd name="T6" fmla="*/ 2147483646 w 43"/>
                  <a:gd name="T7" fmla="*/ 0 h 38"/>
                  <a:gd name="T8" fmla="*/ 0 w 43"/>
                  <a:gd name="T9" fmla="*/ 2147483646 h 38"/>
                  <a:gd name="T10" fmla="*/ 0 w 43"/>
                  <a:gd name="T11" fmla="*/ 2147483646 h 38"/>
                  <a:gd name="T12" fmla="*/ 0 w 43"/>
                  <a:gd name="T13" fmla="*/ 2147483646 h 38"/>
                  <a:gd name="T14" fmla="*/ 2147483646 w 43"/>
                  <a:gd name="T15" fmla="*/ 2147483646 h 38"/>
                  <a:gd name="T16" fmla="*/ 2147483646 w 43"/>
                  <a:gd name="T17" fmla="*/ 2147483646 h 38"/>
                  <a:gd name="T18" fmla="*/ 2147483646 w 43"/>
                  <a:gd name="T19" fmla="*/ 2147483646 h 38"/>
                  <a:gd name="T20" fmla="*/ 2147483646 w 43"/>
                  <a:gd name="T21" fmla="*/ 2147483646 h 38"/>
                  <a:gd name="T22" fmla="*/ 2147483646 w 43"/>
                  <a:gd name="T23" fmla="*/ 2147483646 h 38"/>
                  <a:gd name="T24" fmla="*/ 2147483646 w 43"/>
                  <a:gd name="T25" fmla="*/ 2147483646 h 38"/>
                  <a:gd name="T26" fmla="*/ 2147483646 w 43"/>
                  <a:gd name="T27" fmla="*/ 2147483646 h 38"/>
                  <a:gd name="T28" fmla="*/ 2147483646 w 43"/>
                  <a:gd name="T29" fmla="*/ 2147483646 h 38"/>
                  <a:gd name="T30" fmla="*/ 2147483646 w 43"/>
                  <a:gd name="T31" fmla="*/ 2147483646 h 38"/>
                  <a:gd name="T32" fmla="*/ 2147483646 w 43"/>
                  <a:gd name="T33" fmla="*/ 2147483646 h 38"/>
                  <a:gd name="T34" fmla="*/ 2147483646 w 43"/>
                  <a:gd name="T35" fmla="*/ 2147483646 h 38"/>
                  <a:gd name="T36" fmla="*/ 2147483646 w 43"/>
                  <a:gd name="T37" fmla="*/ 2147483646 h 38"/>
                  <a:gd name="T38" fmla="*/ 2147483646 w 43"/>
                  <a:gd name="T39" fmla="*/ 2147483646 h 38"/>
                  <a:gd name="T40" fmla="*/ 2147483646 w 43"/>
                  <a:gd name="T41" fmla="*/ 2147483646 h 38"/>
                  <a:gd name="T42" fmla="*/ 2147483646 w 43"/>
                  <a:gd name="T43" fmla="*/ 2147483646 h 38"/>
                  <a:gd name="T44" fmla="*/ 2147483646 w 43"/>
                  <a:gd name="T45" fmla="*/ 2147483646 h 38"/>
                  <a:gd name="T46" fmla="*/ 2147483646 w 43"/>
                  <a:gd name="T47" fmla="*/ 2147483646 h 38"/>
                  <a:gd name="T48" fmla="*/ 2147483646 w 43"/>
                  <a:gd name="T49" fmla="*/ 0 h 38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43"/>
                  <a:gd name="T76" fmla="*/ 0 h 38"/>
                  <a:gd name="T77" fmla="*/ 43 w 43"/>
                  <a:gd name="T78" fmla="*/ 38 h 38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43" h="38">
                    <a:moveTo>
                      <a:pt x="22" y="0"/>
                    </a:moveTo>
                    <a:lnTo>
                      <a:pt x="1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1" y="10"/>
                    </a:lnTo>
                    <a:lnTo>
                      <a:pt x="2" y="12"/>
                    </a:lnTo>
                    <a:lnTo>
                      <a:pt x="3" y="18"/>
                    </a:lnTo>
                    <a:lnTo>
                      <a:pt x="5" y="25"/>
                    </a:lnTo>
                    <a:lnTo>
                      <a:pt x="10" y="30"/>
                    </a:lnTo>
                    <a:lnTo>
                      <a:pt x="15" y="34"/>
                    </a:lnTo>
                    <a:lnTo>
                      <a:pt x="21" y="37"/>
                    </a:lnTo>
                    <a:lnTo>
                      <a:pt x="27" y="38"/>
                    </a:lnTo>
                    <a:lnTo>
                      <a:pt x="35" y="38"/>
                    </a:lnTo>
                    <a:lnTo>
                      <a:pt x="43" y="37"/>
                    </a:lnTo>
                    <a:lnTo>
                      <a:pt x="40" y="29"/>
                    </a:lnTo>
                    <a:lnTo>
                      <a:pt x="36" y="23"/>
                    </a:lnTo>
                    <a:lnTo>
                      <a:pt x="33" y="17"/>
                    </a:lnTo>
                    <a:lnTo>
                      <a:pt x="30" y="13"/>
                    </a:lnTo>
                    <a:lnTo>
                      <a:pt x="27" y="10"/>
                    </a:lnTo>
                    <a:lnTo>
                      <a:pt x="24" y="7"/>
                    </a:lnTo>
                    <a:lnTo>
                      <a:pt x="23" y="4"/>
                    </a:lnTo>
                    <a:lnTo>
                      <a:pt x="22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90" name="Freeform 212">
                <a:extLst>
                  <a:ext uri="{FF2B5EF4-FFF2-40B4-BE49-F238E27FC236}">
                    <a16:creationId xmlns="" xmlns:a16="http://schemas.microsoft.com/office/drawing/2014/main" id="{A6EF6456-4101-46CC-9DF6-208B3A5DD129}"/>
                  </a:ext>
                </a:extLst>
              </p:cNvPr>
              <p:cNvSpPr>
                <a:spLocks/>
              </p:cNvSpPr>
              <p:nvPr>
                <p:custDataLst>
                  <p:tags r:id="rId139"/>
                </p:custDataLst>
              </p:nvPr>
            </p:nvSpPr>
            <p:spPr bwMode="auto">
              <a:xfrm>
                <a:off x="2405063" y="5303838"/>
                <a:ext cx="6350" cy="57150"/>
              </a:xfrm>
              <a:custGeom>
                <a:avLst/>
                <a:gdLst>
                  <a:gd name="T0" fmla="*/ 0 w 20"/>
                  <a:gd name="T1" fmla="*/ 0 h 5"/>
                  <a:gd name="T2" fmla="*/ 2147483646 w 20"/>
                  <a:gd name="T3" fmla="*/ 2147483646 h 5"/>
                  <a:gd name="T4" fmla="*/ 2147483646 w 20"/>
                  <a:gd name="T5" fmla="*/ 2147483646 h 5"/>
                  <a:gd name="T6" fmla="*/ 2147483646 w 20"/>
                  <a:gd name="T7" fmla="*/ 2147483646 h 5"/>
                  <a:gd name="T8" fmla="*/ 2147483646 w 20"/>
                  <a:gd name="T9" fmla="*/ 2147483646 h 5"/>
                  <a:gd name="T10" fmla="*/ 2147483646 w 20"/>
                  <a:gd name="T11" fmla="*/ 2147483646 h 5"/>
                  <a:gd name="T12" fmla="*/ 2147483646 w 20"/>
                  <a:gd name="T13" fmla="*/ 2147483646 h 5"/>
                  <a:gd name="T14" fmla="*/ 2147483646 w 20"/>
                  <a:gd name="T15" fmla="*/ 2147483646 h 5"/>
                  <a:gd name="T16" fmla="*/ 2147483646 w 20"/>
                  <a:gd name="T17" fmla="*/ 0 h 5"/>
                  <a:gd name="T18" fmla="*/ 0 w 20"/>
                  <a:gd name="T19" fmla="*/ 0 h 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0"/>
                  <a:gd name="T31" fmla="*/ 0 h 5"/>
                  <a:gd name="T32" fmla="*/ 20 w 20"/>
                  <a:gd name="T33" fmla="*/ 5 h 5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0" h="5">
                    <a:moveTo>
                      <a:pt x="0" y="0"/>
                    </a:moveTo>
                    <a:lnTo>
                      <a:pt x="1" y="2"/>
                    </a:lnTo>
                    <a:lnTo>
                      <a:pt x="2" y="3"/>
                    </a:lnTo>
                    <a:lnTo>
                      <a:pt x="4" y="4"/>
                    </a:lnTo>
                    <a:lnTo>
                      <a:pt x="7" y="5"/>
                    </a:lnTo>
                    <a:lnTo>
                      <a:pt x="11" y="4"/>
                    </a:lnTo>
                    <a:lnTo>
                      <a:pt x="14" y="3"/>
                    </a:lnTo>
                    <a:lnTo>
                      <a:pt x="17" y="2"/>
                    </a:lnTo>
                    <a:lnTo>
                      <a:pt x="2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91" name="Freeform 213">
                <a:extLst>
                  <a:ext uri="{FF2B5EF4-FFF2-40B4-BE49-F238E27FC236}">
                    <a16:creationId xmlns="" xmlns:a16="http://schemas.microsoft.com/office/drawing/2014/main" id="{186509D1-E726-42DB-BD65-4288E57950DA}"/>
                  </a:ext>
                </a:extLst>
              </p:cNvPr>
              <p:cNvSpPr>
                <a:spLocks/>
              </p:cNvSpPr>
              <p:nvPr>
                <p:custDataLst>
                  <p:tags r:id="rId140"/>
                </p:custDataLst>
              </p:nvPr>
            </p:nvSpPr>
            <p:spPr bwMode="auto">
              <a:xfrm>
                <a:off x="2479675" y="5373688"/>
                <a:ext cx="34925" cy="57150"/>
              </a:xfrm>
              <a:custGeom>
                <a:avLst/>
                <a:gdLst>
                  <a:gd name="T0" fmla="*/ 2147483646 w 73"/>
                  <a:gd name="T1" fmla="*/ 0 h 22"/>
                  <a:gd name="T2" fmla="*/ 2147483646 w 73"/>
                  <a:gd name="T3" fmla="*/ 2147483646 h 22"/>
                  <a:gd name="T4" fmla="*/ 2147483646 w 73"/>
                  <a:gd name="T5" fmla="*/ 2147483646 h 22"/>
                  <a:gd name="T6" fmla="*/ 2147483646 w 73"/>
                  <a:gd name="T7" fmla="*/ 2147483646 h 22"/>
                  <a:gd name="T8" fmla="*/ 2147483646 w 73"/>
                  <a:gd name="T9" fmla="*/ 2147483646 h 22"/>
                  <a:gd name="T10" fmla="*/ 2147483646 w 73"/>
                  <a:gd name="T11" fmla="*/ 2147483646 h 22"/>
                  <a:gd name="T12" fmla="*/ 0 w 73"/>
                  <a:gd name="T13" fmla="*/ 2147483646 h 22"/>
                  <a:gd name="T14" fmla="*/ 2147483646 w 73"/>
                  <a:gd name="T15" fmla="*/ 2147483646 h 22"/>
                  <a:gd name="T16" fmla="*/ 2147483646 w 73"/>
                  <a:gd name="T17" fmla="*/ 2147483646 h 22"/>
                  <a:gd name="T18" fmla="*/ 2147483646 w 73"/>
                  <a:gd name="T19" fmla="*/ 2147483646 h 22"/>
                  <a:gd name="T20" fmla="*/ 2147483646 w 73"/>
                  <a:gd name="T21" fmla="*/ 2147483646 h 22"/>
                  <a:gd name="T22" fmla="*/ 2147483646 w 73"/>
                  <a:gd name="T23" fmla="*/ 2147483646 h 22"/>
                  <a:gd name="T24" fmla="*/ 2147483646 w 73"/>
                  <a:gd name="T25" fmla="*/ 2147483646 h 22"/>
                  <a:gd name="T26" fmla="*/ 2147483646 w 73"/>
                  <a:gd name="T27" fmla="*/ 2147483646 h 22"/>
                  <a:gd name="T28" fmla="*/ 2147483646 w 73"/>
                  <a:gd name="T29" fmla="*/ 2147483646 h 22"/>
                  <a:gd name="T30" fmla="*/ 2147483646 w 73"/>
                  <a:gd name="T31" fmla="*/ 2147483646 h 22"/>
                  <a:gd name="T32" fmla="*/ 2147483646 w 73"/>
                  <a:gd name="T33" fmla="*/ 2147483646 h 22"/>
                  <a:gd name="T34" fmla="*/ 2147483646 w 73"/>
                  <a:gd name="T35" fmla="*/ 2147483646 h 22"/>
                  <a:gd name="T36" fmla="*/ 2147483646 w 73"/>
                  <a:gd name="T37" fmla="*/ 0 h 2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73"/>
                  <a:gd name="T58" fmla="*/ 0 h 22"/>
                  <a:gd name="T59" fmla="*/ 73 w 73"/>
                  <a:gd name="T60" fmla="*/ 22 h 2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73" h="22">
                    <a:moveTo>
                      <a:pt x="40" y="0"/>
                    </a:moveTo>
                    <a:lnTo>
                      <a:pt x="32" y="1"/>
                    </a:lnTo>
                    <a:lnTo>
                      <a:pt x="26" y="2"/>
                    </a:lnTo>
                    <a:lnTo>
                      <a:pt x="20" y="5"/>
                    </a:lnTo>
                    <a:lnTo>
                      <a:pt x="15" y="8"/>
                    </a:lnTo>
                    <a:lnTo>
                      <a:pt x="6" y="14"/>
                    </a:lnTo>
                    <a:lnTo>
                      <a:pt x="0" y="19"/>
                    </a:lnTo>
                    <a:lnTo>
                      <a:pt x="20" y="20"/>
                    </a:lnTo>
                    <a:lnTo>
                      <a:pt x="39" y="22"/>
                    </a:lnTo>
                    <a:lnTo>
                      <a:pt x="49" y="22"/>
                    </a:lnTo>
                    <a:lnTo>
                      <a:pt x="57" y="22"/>
                    </a:lnTo>
                    <a:lnTo>
                      <a:pt x="65" y="21"/>
                    </a:lnTo>
                    <a:lnTo>
                      <a:pt x="73" y="19"/>
                    </a:lnTo>
                    <a:lnTo>
                      <a:pt x="64" y="14"/>
                    </a:lnTo>
                    <a:lnTo>
                      <a:pt x="56" y="8"/>
                    </a:lnTo>
                    <a:lnTo>
                      <a:pt x="53" y="5"/>
                    </a:lnTo>
                    <a:lnTo>
                      <a:pt x="49" y="2"/>
                    </a:lnTo>
                    <a:lnTo>
                      <a:pt x="44" y="1"/>
                    </a:lnTo>
                    <a:lnTo>
                      <a:pt x="4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92" name="Freeform 214">
                <a:extLst>
                  <a:ext uri="{FF2B5EF4-FFF2-40B4-BE49-F238E27FC236}">
                    <a16:creationId xmlns="" xmlns:a16="http://schemas.microsoft.com/office/drawing/2014/main" id="{9963F259-1A36-4F82-9494-D1C9B2EF9093}"/>
                  </a:ext>
                </a:extLst>
              </p:cNvPr>
              <p:cNvSpPr>
                <a:spLocks/>
              </p:cNvSpPr>
              <p:nvPr>
                <p:custDataLst>
                  <p:tags r:id="rId141"/>
                </p:custDataLst>
              </p:nvPr>
            </p:nvSpPr>
            <p:spPr bwMode="auto">
              <a:xfrm>
                <a:off x="2517775" y="5314950"/>
                <a:ext cx="123825" cy="100013"/>
              </a:xfrm>
              <a:custGeom>
                <a:avLst/>
                <a:gdLst>
                  <a:gd name="T0" fmla="*/ 2147483646 w 281"/>
                  <a:gd name="T1" fmla="*/ 2147483646 h 193"/>
                  <a:gd name="T2" fmla="*/ 2147483646 w 281"/>
                  <a:gd name="T3" fmla="*/ 2147483646 h 193"/>
                  <a:gd name="T4" fmla="*/ 2147483646 w 281"/>
                  <a:gd name="T5" fmla="*/ 2147483646 h 193"/>
                  <a:gd name="T6" fmla="*/ 2147483646 w 281"/>
                  <a:gd name="T7" fmla="*/ 2147483646 h 193"/>
                  <a:gd name="T8" fmla="*/ 2147483646 w 281"/>
                  <a:gd name="T9" fmla="*/ 2147483646 h 193"/>
                  <a:gd name="T10" fmla="*/ 2147483646 w 281"/>
                  <a:gd name="T11" fmla="*/ 2147483646 h 193"/>
                  <a:gd name="T12" fmla="*/ 2147483646 w 281"/>
                  <a:gd name="T13" fmla="*/ 2147483646 h 193"/>
                  <a:gd name="T14" fmla="*/ 2147483646 w 281"/>
                  <a:gd name="T15" fmla="*/ 2147483646 h 193"/>
                  <a:gd name="T16" fmla="*/ 2147483646 w 281"/>
                  <a:gd name="T17" fmla="*/ 2147483646 h 193"/>
                  <a:gd name="T18" fmla="*/ 2147483646 w 281"/>
                  <a:gd name="T19" fmla="*/ 0 h 193"/>
                  <a:gd name="T20" fmla="*/ 2147483646 w 281"/>
                  <a:gd name="T21" fmla="*/ 2147483646 h 193"/>
                  <a:gd name="T22" fmla="*/ 2147483646 w 281"/>
                  <a:gd name="T23" fmla="*/ 2147483646 h 193"/>
                  <a:gd name="T24" fmla="*/ 2147483646 w 281"/>
                  <a:gd name="T25" fmla="*/ 2147483646 h 193"/>
                  <a:gd name="T26" fmla="*/ 0 w 281"/>
                  <a:gd name="T27" fmla="*/ 2147483646 h 193"/>
                  <a:gd name="T28" fmla="*/ 2147483646 w 281"/>
                  <a:gd name="T29" fmla="*/ 2147483646 h 193"/>
                  <a:gd name="T30" fmla="*/ 2147483646 w 281"/>
                  <a:gd name="T31" fmla="*/ 2147483646 h 193"/>
                  <a:gd name="T32" fmla="*/ 2147483646 w 281"/>
                  <a:gd name="T33" fmla="*/ 2147483646 h 193"/>
                  <a:gd name="T34" fmla="*/ 2147483646 w 281"/>
                  <a:gd name="T35" fmla="*/ 2147483646 h 193"/>
                  <a:gd name="T36" fmla="*/ 2147483646 w 281"/>
                  <a:gd name="T37" fmla="*/ 2147483646 h 193"/>
                  <a:gd name="T38" fmla="*/ 2147483646 w 281"/>
                  <a:gd name="T39" fmla="*/ 2147483646 h 193"/>
                  <a:gd name="T40" fmla="*/ 2147483646 w 281"/>
                  <a:gd name="T41" fmla="*/ 2147483646 h 193"/>
                  <a:gd name="T42" fmla="*/ 2147483646 w 281"/>
                  <a:gd name="T43" fmla="*/ 2147483646 h 193"/>
                  <a:gd name="T44" fmla="*/ 2147483646 w 281"/>
                  <a:gd name="T45" fmla="*/ 2147483646 h 193"/>
                  <a:gd name="T46" fmla="*/ 2147483646 w 281"/>
                  <a:gd name="T47" fmla="*/ 2147483646 h 193"/>
                  <a:gd name="T48" fmla="*/ 2147483646 w 281"/>
                  <a:gd name="T49" fmla="*/ 2147483646 h 193"/>
                  <a:gd name="T50" fmla="*/ 2147483646 w 281"/>
                  <a:gd name="T51" fmla="*/ 2147483646 h 193"/>
                  <a:gd name="T52" fmla="*/ 2147483646 w 281"/>
                  <a:gd name="T53" fmla="*/ 2147483646 h 193"/>
                  <a:gd name="T54" fmla="*/ 2147483646 w 281"/>
                  <a:gd name="T55" fmla="*/ 2147483646 h 193"/>
                  <a:gd name="T56" fmla="*/ 2147483646 w 281"/>
                  <a:gd name="T57" fmla="*/ 2147483646 h 193"/>
                  <a:gd name="T58" fmla="*/ 2147483646 w 281"/>
                  <a:gd name="T59" fmla="*/ 2147483646 h 193"/>
                  <a:gd name="T60" fmla="*/ 2147483646 w 281"/>
                  <a:gd name="T61" fmla="*/ 2147483646 h 193"/>
                  <a:gd name="T62" fmla="*/ 2147483646 w 281"/>
                  <a:gd name="T63" fmla="*/ 2147483646 h 193"/>
                  <a:gd name="T64" fmla="*/ 2147483646 w 281"/>
                  <a:gd name="T65" fmla="*/ 2147483646 h 193"/>
                  <a:gd name="T66" fmla="*/ 2147483646 w 281"/>
                  <a:gd name="T67" fmla="*/ 2147483646 h 193"/>
                  <a:gd name="T68" fmla="*/ 2147483646 w 281"/>
                  <a:gd name="T69" fmla="*/ 2147483646 h 193"/>
                  <a:gd name="T70" fmla="*/ 2147483646 w 281"/>
                  <a:gd name="T71" fmla="*/ 2147483646 h 193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281"/>
                  <a:gd name="T109" fmla="*/ 0 h 193"/>
                  <a:gd name="T110" fmla="*/ 281 w 281"/>
                  <a:gd name="T111" fmla="*/ 193 h 193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281" h="193">
                    <a:moveTo>
                      <a:pt x="275" y="167"/>
                    </a:moveTo>
                    <a:lnTo>
                      <a:pt x="235" y="168"/>
                    </a:lnTo>
                    <a:lnTo>
                      <a:pt x="202" y="171"/>
                    </a:lnTo>
                    <a:lnTo>
                      <a:pt x="188" y="171"/>
                    </a:lnTo>
                    <a:lnTo>
                      <a:pt x="175" y="169"/>
                    </a:lnTo>
                    <a:lnTo>
                      <a:pt x="168" y="168"/>
                    </a:lnTo>
                    <a:lnTo>
                      <a:pt x="162" y="166"/>
                    </a:lnTo>
                    <a:lnTo>
                      <a:pt x="155" y="164"/>
                    </a:lnTo>
                    <a:lnTo>
                      <a:pt x="149" y="161"/>
                    </a:lnTo>
                    <a:lnTo>
                      <a:pt x="130" y="135"/>
                    </a:lnTo>
                    <a:lnTo>
                      <a:pt x="108" y="103"/>
                    </a:lnTo>
                    <a:lnTo>
                      <a:pt x="104" y="94"/>
                    </a:lnTo>
                    <a:lnTo>
                      <a:pt x="98" y="84"/>
                    </a:lnTo>
                    <a:lnTo>
                      <a:pt x="94" y="74"/>
                    </a:lnTo>
                    <a:lnTo>
                      <a:pt x="90" y="63"/>
                    </a:lnTo>
                    <a:lnTo>
                      <a:pt x="87" y="51"/>
                    </a:lnTo>
                    <a:lnTo>
                      <a:pt x="85" y="39"/>
                    </a:lnTo>
                    <a:lnTo>
                      <a:pt x="83" y="27"/>
                    </a:lnTo>
                    <a:lnTo>
                      <a:pt x="83" y="13"/>
                    </a:lnTo>
                    <a:lnTo>
                      <a:pt x="43" y="0"/>
                    </a:lnTo>
                    <a:lnTo>
                      <a:pt x="30" y="50"/>
                    </a:lnTo>
                    <a:lnTo>
                      <a:pt x="28" y="52"/>
                    </a:lnTo>
                    <a:lnTo>
                      <a:pt x="23" y="56"/>
                    </a:lnTo>
                    <a:lnTo>
                      <a:pt x="18" y="61"/>
                    </a:lnTo>
                    <a:lnTo>
                      <a:pt x="11" y="65"/>
                    </a:lnTo>
                    <a:lnTo>
                      <a:pt x="6" y="69"/>
                    </a:lnTo>
                    <a:lnTo>
                      <a:pt x="1" y="72"/>
                    </a:lnTo>
                    <a:lnTo>
                      <a:pt x="0" y="73"/>
                    </a:lnTo>
                    <a:lnTo>
                      <a:pt x="0" y="74"/>
                    </a:lnTo>
                    <a:lnTo>
                      <a:pt x="1" y="75"/>
                    </a:lnTo>
                    <a:lnTo>
                      <a:pt x="3" y="75"/>
                    </a:lnTo>
                    <a:lnTo>
                      <a:pt x="9" y="81"/>
                    </a:lnTo>
                    <a:lnTo>
                      <a:pt x="23" y="96"/>
                    </a:lnTo>
                    <a:lnTo>
                      <a:pt x="37" y="111"/>
                    </a:lnTo>
                    <a:lnTo>
                      <a:pt x="43" y="118"/>
                    </a:lnTo>
                    <a:lnTo>
                      <a:pt x="45" y="122"/>
                    </a:lnTo>
                    <a:lnTo>
                      <a:pt x="49" y="126"/>
                    </a:lnTo>
                    <a:lnTo>
                      <a:pt x="53" y="129"/>
                    </a:lnTo>
                    <a:lnTo>
                      <a:pt x="57" y="132"/>
                    </a:lnTo>
                    <a:lnTo>
                      <a:pt x="62" y="134"/>
                    </a:lnTo>
                    <a:lnTo>
                      <a:pt x="66" y="135"/>
                    </a:lnTo>
                    <a:lnTo>
                      <a:pt x="71" y="136"/>
                    </a:lnTo>
                    <a:lnTo>
                      <a:pt x="76" y="136"/>
                    </a:lnTo>
                    <a:lnTo>
                      <a:pt x="76" y="141"/>
                    </a:lnTo>
                    <a:lnTo>
                      <a:pt x="77" y="145"/>
                    </a:lnTo>
                    <a:lnTo>
                      <a:pt x="79" y="148"/>
                    </a:lnTo>
                    <a:lnTo>
                      <a:pt x="82" y="150"/>
                    </a:lnTo>
                    <a:lnTo>
                      <a:pt x="86" y="153"/>
                    </a:lnTo>
                    <a:lnTo>
                      <a:pt x="93" y="154"/>
                    </a:lnTo>
                    <a:lnTo>
                      <a:pt x="99" y="154"/>
                    </a:lnTo>
                    <a:lnTo>
                      <a:pt x="104" y="156"/>
                    </a:lnTo>
                    <a:lnTo>
                      <a:pt x="106" y="157"/>
                    </a:lnTo>
                    <a:lnTo>
                      <a:pt x="108" y="160"/>
                    </a:lnTo>
                    <a:lnTo>
                      <a:pt x="109" y="163"/>
                    </a:lnTo>
                    <a:lnTo>
                      <a:pt x="109" y="167"/>
                    </a:lnTo>
                    <a:lnTo>
                      <a:pt x="109" y="179"/>
                    </a:lnTo>
                    <a:lnTo>
                      <a:pt x="111" y="187"/>
                    </a:lnTo>
                    <a:lnTo>
                      <a:pt x="111" y="189"/>
                    </a:lnTo>
                    <a:lnTo>
                      <a:pt x="113" y="191"/>
                    </a:lnTo>
                    <a:lnTo>
                      <a:pt x="115" y="193"/>
                    </a:lnTo>
                    <a:lnTo>
                      <a:pt x="117" y="193"/>
                    </a:lnTo>
                    <a:lnTo>
                      <a:pt x="129" y="193"/>
                    </a:lnTo>
                    <a:lnTo>
                      <a:pt x="149" y="192"/>
                    </a:lnTo>
                    <a:lnTo>
                      <a:pt x="164" y="191"/>
                    </a:lnTo>
                    <a:lnTo>
                      <a:pt x="174" y="190"/>
                    </a:lnTo>
                    <a:lnTo>
                      <a:pt x="180" y="189"/>
                    </a:lnTo>
                    <a:lnTo>
                      <a:pt x="186" y="187"/>
                    </a:lnTo>
                    <a:lnTo>
                      <a:pt x="192" y="186"/>
                    </a:lnTo>
                    <a:lnTo>
                      <a:pt x="200" y="187"/>
                    </a:lnTo>
                    <a:lnTo>
                      <a:pt x="212" y="188"/>
                    </a:lnTo>
                    <a:lnTo>
                      <a:pt x="229" y="192"/>
                    </a:lnTo>
                    <a:lnTo>
                      <a:pt x="281" y="167"/>
                    </a:lnTo>
                    <a:lnTo>
                      <a:pt x="275" y="167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93" name="Freeform 215">
                <a:extLst>
                  <a:ext uri="{FF2B5EF4-FFF2-40B4-BE49-F238E27FC236}">
                    <a16:creationId xmlns="" xmlns:a16="http://schemas.microsoft.com/office/drawing/2014/main" id="{8F0AA077-0504-4D2D-8EDE-D157E1D3E28C}"/>
                  </a:ext>
                </a:extLst>
              </p:cNvPr>
              <p:cNvSpPr>
                <a:spLocks/>
              </p:cNvSpPr>
              <p:nvPr>
                <p:custDataLst>
                  <p:tags r:id="rId142"/>
                </p:custDataLst>
              </p:nvPr>
            </p:nvSpPr>
            <p:spPr bwMode="auto">
              <a:xfrm>
                <a:off x="2070100" y="3081338"/>
                <a:ext cx="52388" cy="58737"/>
              </a:xfrm>
              <a:custGeom>
                <a:avLst/>
                <a:gdLst>
                  <a:gd name="T0" fmla="*/ 0 w 120"/>
                  <a:gd name="T1" fmla="*/ 2147483646 h 56"/>
                  <a:gd name="T2" fmla="*/ 2147483646 w 120"/>
                  <a:gd name="T3" fmla="*/ 2147483646 h 56"/>
                  <a:gd name="T4" fmla="*/ 2147483646 w 120"/>
                  <a:gd name="T5" fmla="*/ 2147483646 h 56"/>
                  <a:gd name="T6" fmla="*/ 2147483646 w 120"/>
                  <a:gd name="T7" fmla="*/ 2147483646 h 56"/>
                  <a:gd name="T8" fmla="*/ 2147483646 w 120"/>
                  <a:gd name="T9" fmla="*/ 2147483646 h 56"/>
                  <a:gd name="T10" fmla="*/ 2147483646 w 120"/>
                  <a:gd name="T11" fmla="*/ 2147483646 h 56"/>
                  <a:gd name="T12" fmla="*/ 2147483646 w 120"/>
                  <a:gd name="T13" fmla="*/ 2147483646 h 56"/>
                  <a:gd name="T14" fmla="*/ 2147483646 w 120"/>
                  <a:gd name="T15" fmla="*/ 2147483646 h 56"/>
                  <a:gd name="T16" fmla="*/ 2147483646 w 120"/>
                  <a:gd name="T17" fmla="*/ 2147483646 h 56"/>
                  <a:gd name="T18" fmla="*/ 2147483646 w 120"/>
                  <a:gd name="T19" fmla="*/ 2147483646 h 56"/>
                  <a:gd name="T20" fmla="*/ 2147483646 w 120"/>
                  <a:gd name="T21" fmla="*/ 2147483646 h 56"/>
                  <a:gd name="T22" fmla="*/ 2147483646 w 120"/>
                  <a:gd name="T23" fmla="*/ 2147483646 h 56"/>
                  <a:gd name="T24" fmla="*/ 2147483646 w 120"/>
                  <a:gd name="T25" fmla="*/ 2147483646 h 56"/>
                  <a:gd name="T26" fmla="*/ 2147483646 w 120"/>
                  <a:gd name="T27" fmla="*/ 2147483646 h 56"/>
                  <a:gd name="T28" fmla="*/ 2147483646 w 120"/>
                  <a:gd name="T29" fmla="*/ 2147483646 h 56"/>
                  <a:gd name="T30" fmla="*/ 2147483646 w 120"/>
                  <a:gd name="T31" fmla="*/ 2147483646 h 56"/>
                  <a:gd name="T32" fmla="*/ 2147483646 w 120"/>
                  <a:gd name="T33" fmla="*/ 2147483646 h 56"/>
                  <a:gd name="T34" fmla="*/ 2147483646 w 120"/>
                  <a:gd name="T35" fmla="*/ 2147483646 h 56"/>
                  <a:gd name="T36" fmla="*/ 2147483646 w 120"/>
                  <a:gd name="T37" fmla="*/ 2147483646 h 56"/>
                  <a:gd name="T38" fmla="*/ 2147483646 w 120"/>
                  <a:gd name="T39" fmla="*/ 2147483646 h 56"/>
                  <a:gd name="T40" fmla="*/ 2147483646 w 120"/>
                  <a:gd name="T41" fmla="*/ 2147483646 h 56"/>
                  <a:gd name="T42" fmla="*/ 2147483646 w 120"/>
                  <a:gd name="T43" fmla="*/ 0 h 56"/>
                  <a:gd name="T44" fmla="*/ 2147483646 w 120"/>
                  <a:gd name="T45" fmla="*/ 2147483646 h 56"/>
                  <a:gd name="T46" fmla="*/ 2147483646 w 120"/>
                  <a:gd name="T47" fmla="*/ 2147483646 h 56"/>
                  <a:gd name="T48" fmla="*/ 2147483646 w 120"/>
                  <a:gd name="T49" fmla="*/ 2147483646 h 56"/>
                  <a:gd name="T50" fmla="*/ 2147483646 w 120"/>
                  <a:gd name="T51" fmla="*/ 2147483646 h 56"/>
                  <a:gd name="T52" fmla="*/ 2147483646 w 120"/>
                  <a:gd name="T53" fmla="*/ 2147483646 h 56"/>
                  <a:gd name="T54" fmla="*/ 2147483646 w 120"/>
                  <a:gd name="T55" fmla="*/ 2147483646 h 56"/>
                  <a:gd name="T56" fmla="*/ 2147483646 w 120"/>
                  <a:gd name="T57" fmla="*/ 2147483646 h 56"/>
                  <a:gd name="T58" fmla="*/ 0 w 120"/>
                  <a:gd name="T59" fmla="*/ 2147483646 h 5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120"/>
                  <a:gd name="T91" fmla="*/ 0 h 56"/>
                  <a:gd name="T92" fmla="*/ 120 w 120"/>
                  <a:gd name="T93" fmla="*/ 56 h 5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120" h="56">
                    <a:moveTo>
                      <a:pt x="0" y="18"/>
                    </a:moveTo>
                    <a:lnTo>
                      <a:pt x="4" y="26"/>
                    </a:lnTo>
                    <a:lnTo>
                      <a:pt x="10" y="33"/>
                    </a:lnTo>
                    <a:lnTo>
                      <a:pt x="15" y="37"/>
                    </a:lnTo>
                    <a:lnTo>
                      <a:pt x="21" y="41"/>
                    </a:lnTo>
                    <a:lnTo>
                      <a:pt x="27" y="44"/>
                    </a:lnTo>
                    <a:lnTo>
                      <a:pt x="35" y="46"/>
                    </a:lnTo>
                    <a:lnTo>
                      <a:pt x="43" y="48"/>
                    </a:lnTo>
                    <a:lnTo>
                      <a:pt x="51" y="49"/>
                    </a:lnTo>
                    <a:lnTo>
                      <a:pt x="67" y="50"/>
                    </a:lnTo>
                    <a:lnTo>
                      <a:pt x="85" y="51"/>
                    </a:lnTo>
                    <a:lnTo>
                      <a:pt x="102" y="52"/>
                    </a:lnTo>
                    <a:lnTo>
                      <a:pt x="120" y="56"/>
                    </a:lnTo>
                    <a:lnTo>
                      <a:pt x="120" y="37"/>
                    </a:lnTo>
                    <a:lnTo>
                      <a:pt x="111" y="34"/>
                    </a:lnTo>
                    <a:lnTo>
                      <a:pt x="102" y="30"/>
                    </a:lnTo>
                    <a:lnTo>
                      <a:pt x="94" y="24"/>
                    </a:lnTo>
                    <a:lnTo>
                      <a:pt x="88" y="18"/>
                    </a:lnTo>
                    <a:lnTo>
                      <a:pt x="81" y="13"/>
                    </a:lnTo>
                    <a:lnTo>
                      <a:pt x="75" y="7"/>
                    </a:lnTo>
                    <a:lnTo>
                      <a:pt x="67" y="3"/>
                    </a:lnTo>
                    <a:lnTo>
                      <a:pt x="60" y="0"/>
                    </a:lnTo>
                    <a:lnTo>
                      <a:pt x="55" y="1"/>
                    </a:lnTo>
                    <a:lnTo>
                      <a:pt x="48" y="3"/>
                    </a:lnTo>
                    <a:lnTo>
                      <a:pt x="41" y="6"/>
                    </a:lnTo>
                    <a:lnTo>
                      <a:pt x="33" y="9"/>
                    </a:lnTo>
                    <a:lnTo>
                      <a:pt x="24" y="13"/>
                    </a:lnTo>
                    <a:lnTo>
                      <a:pt x="16" y="15"/>
                    </a:lnTo>
                    <a:lnTo>
                      <a:pt x="8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94" name="Freeform 216">
                <a:extLst>
                  <a:ext uri="{FF2B5EF4-FFF2-40B4-BE49-F238E27FC236}">
                    <a16:creationId xmlns="" xmlns:a16="http://schemas.microsoft.com/office/drawing/2014/main" id="{DAFA6839-0A03-4A8B-ABFB-14931EA11BAA}"/>
                  </a:ext>
                </a:extLst>
              </p:cNvPr>
              <p:cNvSpPr>
                <a:spLocks/>
              </p:cNvSpPr>
              <p:nvPr>
                <p:custDataLst>
                  <p:tags r:id="rId143"/>
                </p:custDataLst>
              </p:nvPr>
            </p:nvSpPr>
            <p:spPr bwMode="auto">
              <a:xfrm>
                <a:off x="1927225" y="2943225"/>
                <a:ext cx="250825" cy="109538"/>
              </a:xfrm>
              <a:custGeom>
                <a:avLst/>
                <a:gdLst>
                  <a:gd name="T0" fmla="*/ 2147483646 w 574"/>
                  <a:gd name="T1" fmla="*/ 2147483646 h 204"/>
                  <a:gd name="T2" fmla="*/ 2147483646 w 574"/>
                  <a:gd name="T3" fmla="*/ 2147483646 h 204"/>
                  <a:gd name="T4" fmla="*/ 2147483646 w 574"/>
                  <a:gd name="T5" fmla="*/ 2147483646 h 204"/>
                  <a:gd name="T6" fmla="*/ 2147483646 w 574"/>
                  <a:gd name="T7" fmla="*/ 2147483646 h 204"/>
                  <a:gd name="T8" fmla="*/ 2147483646 w 574"/>
                  <a:gd name="T9" fmla="*/ 2147483646 h 204"/>
                  <a:gd name="T10" fmla="*/ 2147483646 w 574"/>
                  <a:gd name="T11" fmla="*/ 2147483646 h 204"/>
                  <a:gd name="T12" fmla="*/ 2147483646 w 574"/>
                  <a:gd name="T13" fmla="*/ 2147483646 h 204"/>
                  <a:gd name="T14" fmla="*/ 0 w 574"/>
                  <a:gd name="T15" fmla="*/ 2147483646 h 204"/>
                  <a:gd name="T16" fmla="*/ 2147483646 w 574"/>
                  <a:gd name="T17" fmla="*/ 2147483646 h 204"/>
                  <a:gd name="T18" fmla="*/ 2147483646 w 574"/>
                  <a:gd name="T19" fmla="*/ 2147483646 h 204"/>
                  <a:gd name="T20" fmla="*/ 2147483646 w 574"/>
                  <a:gd name="T21" fmla="*/ 2147483646 h 204"/>
                  <a:gd name="T22" fmla="*/ 2147483646 w 574"/>
                  <a:gd name="T23" fmla="*/ 2147483646 h 204"/>
                  <a:gd name="T24" fmla="*/ 2147483646 w 574"/>
                  <a:gd name="T25" fmla="*/ 2147483646 h 204"/>
                  <a:gd name="T26" fmla="*/ 2147483646 w 574"/>
                  <a:gd name="T27" fmla="*/ 2147483646 h 204"/>
                  <a:gd name="T28" fmla="*/ 2147483646 w 574"/>
                  <a:gd name="T29" fmla="*/ 2147483646 h 204"/>
                  <a:gd name="T30" fmla="*/ 2147483646 w 574"/>
                  <a:gd name="T31" fmla="*/ 2147483646 h 204"/>
                  <a:gd name="T32" fmla="*/ 2147483646 w 574"/>
                  <a:gd name="T33" fmla="*/ 2147483646 h 204"/>
                  <a:gd name="T34" fmla="*/ 2147483646 w 574"/>
                  <a:gd name="T35" fmla="*/ 2147483646 h 204"/>
                  <a:gd name="T36" fmla="*/ 2147483646 w 574"/>
                  <a:gd name="T37" fmla="*/ 2147483646 h 204"/>
                  <a:gd name="T38" fmla="*/ 2147483646 w 574"/>
                  <a:gd name="T39" fmla="*/ 2147483646 h 204"/>
                  <a:gd name="T40" fmla="*/ 2147483646 w 574"/>
                  <a:gd name="T41" fmla="*/ 2147483646 h 204"/>
                  <a:gd name="T42" fmla="*/ 2147483646 w 574"/>
                  <a:gd name="T43" fmla="*/ 2147483646 h 204"/>
                  <a:gd name="T44" fmla="*/ 2147483646 w 574"/>
                  <a:gd name="T45" fmla="*/ 2147483646 h 204"/>
                  <a:gd name="T46" fmla="*/ 2147483646 w 574"/>
                  <a:gd name="T47" fmla="*/ 2147483646 h 204"/>
                  <a:gd name="T48" fmla="*/ 2147483646 w 574"/>
                  <a:gd name="T49" fmla="*/ 2147483646 h 204"/>
                  <a:gd name="T50" fmla="*/ 2147483646 w 574"/>
                  <a:gd name="T51" fmla="*/ 2147483646 h 204"/>
                  <a:gd name="T52" fmla="*/ 2147483646 w 574"/>
                  <a:gd name="T53" fmla="*/ 2147483646 h 204"/>
                  <a:gd name="T54" fmla="*/ 2147483646 w 574"/>
                  <a:gd name="T55" fmla="*/ 2147483646 h 204"/>
                  <a:gd name="T56" fmla="*/ 2147483646 w 574"/>
                  <a:gd name="T57" fmla="*/ 2147483646 h 204"/>
                  <a:gd name="T58" fmla="*/ 2147483646 w 574"/>
                  <a:gd name="T59" fmla="*/ 2147483646 h 204"/>
                  <a:gd name="T60" fmla="*/ 2147483646 w 574"/>
                  <a:gd name="T61" fmla="*/ 2147483646 h 204"/>
                  <a:gd name="T62" fmla="*/ 2147483646 w 574"/>
                  <a:gd name="T63" fmla="*/ 2147483646 h 204"/>
                  <a:gd name="T64" fmla="*/ 2147483646 w 574"/>
                  <a:gd name="T65" fmla="*/ 2147483646 h 204"/>
                  <a:gd name="T66" fmla="*/ 2147483646 w 574"/>
                  <a:gd name="T67" fmla="*/ 2147483646 h 204"/>
                  <a:gd name="T68" fmla="*/ 2147483646 w 574"/>
                  <a:gd name="T69" fmla="*/ 2147483646 h 204"/>
                  <a:gd name="T70" fmla="*/ 2147483646 w 574"/>
                  <a:gd name="T71" fmla="*/ 2147483646 h 204"/>
                  <a:gd name="T72" fmla="*/ 2147483646 w 574"/>
                  <a:gd name="T73" fmla="*/ 2147483646 h 204"/>
                  <a:gd name="T74" fmla="*/ 2147483646 w 574"/>
                  <a:gd name="T75" fmla="*/ 2147483646 h 204"/>
                  <a:gd name="T76" fmla="*/ 2147483646 w 574"/>
                  <a:gd name="T77" fmla="*/ 2147483646 h 204"/>
                  <a:gd name="T78" fmla="*/ 2147483646 w 574"/>
                  <a:gd name="T79" fmla="*/ 2147483646 h 204"/>
                  <a:gd name="T80" fmla="*/ 2147483646 w 574"/>
                  <a:gd name="T81" fmla="*/ 2147483646 h 204"/>
                  <a:gd name="T82" fmla="*/ 2147483646 w 574"/>
                  <a:gd name="T83" fmla="*/ 2147483646 h 204"/>
                  <a:gd name="T84" fmla="*/ 2147483646 w 574"/>
                  <a:gd name="T85" fmla="*/ 2147483646 h 204"/>
                  <a:gd name="T86" fmla="*/ 2147483646 w 574"/>
                  <a:gd name="T87" fmla="*/ 2147483646 h 204"/>
                  <a:gd name="T88" fmla="*/ 2147483646 w 574"/>
                  <a:gd name="T89" fmla="*/ 2147483646 h 204"/>
                  <a:gd name="T90" fmla="*/ 2147483646 w 574"/>
                  <a:gd name="T91" fmla="*/ 2147483646 h 204"/>
                  <a:gd name="T92" fmla="*/ 2147483646 w 574"/>
                  <a:gd name="T93" fmla="*/ 2147483646 h 204"/>
                  <a:gd name="T94" fmla="*/ 2147483646 w 574"/>
                  <a:gd name="T95" fmla="*/ 2147483646 h 204"/>
                  <a:gd name="T96" fmla="*/ 2147483646 w 574"/>
                  <a:gd name="T97" fmla="*/ 2147483646 h 204"/>
                  <a:gd name="T98" fmla="*/ 2147483646 w 574"/>
                  <a:gd name="T99" fmla="*/ 2147483646 h 204"/>
                  <a:gd name="T100" fmla="*/ 2147483646 w 574"/>
                  <a:gd name="T101" fmla="*/ 2147483646 h 204"/>
                  <a:gd name="T102" fmla="*/ 2147483646 w 574"/>
                  <a:gd name="T103" fmla="*/ 2147483646 h 204"/>
                  <a:gd name="T104" fmla="*/ 2147483646 w 574"/>
                  <a:gd name="T105" fmla="*/ 0 h 20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574"/>
                  <a:gd name="T160" fmla="*/ 0 h 204"/>
                  <a:gd name="T161" fmla="*/ 574 w 574"/>
                  <a:gd name="T162" fmla="*/ 204 h 204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574" h="204">
                    <a:moveTo>
                      <a:pt x="142" y="0"/>
                    </a:moveTo>
                    <a:lnTo>
                      <a:pt x="127" y="1"/>
                    </a:lnTo>
                    <a:lnTo>
                      <a:pt x="111" y="3"/>
                    </a:lnTo>
                    <a:lnTo>
                      <a:pt x="95" y="6"/>
                    </a:lnTo>
                    <a:lnTo>
                      <a:pt x="80" y="11"/>
                    </a:lnTo>
                    <a:lnTo>
                      <a:pt x="66" y="16"/>
                    </a:lnTo>
                    <a:lnTo>
                      <a:pt x="52" y="21"/>
                    </a:lnTo>
                    <a:lnTo>
                      <a:pt x="43" y="26"/>
                    </a:lnTo>
                    <a:lnTo>
                      <a:pt x="36" y="31"/>
                    </a:lnTo>
                    <a:lnTo>
                      <a:pt x="30" y="35"/>
                    </a:lnTo>
                    <a:lnTo>
                      <a:pt x="24" y="42"/>
                    </a:lnTo>
                    <a:lnTo>
                      <a:pt x="16" y="51"/>
                    </a:lnTo>
                    <a:lnTo>
                      <a:pt x="10" y="61"/>
                    </a:lnTo>
                    <a:lnTo>
                      <a:pt x="4" y="71"/>
                    </a:lnTo>
                    <a:lnTo>
                      <a:pt x="1" y="79"/>
                    </a:lnTo>
                    <a:lnTo>
                      <a:pt x="0" y="82"/>
                    </a:lnTo>
                    <a:lnTo>
                      <a:pt x="0" y="85"/>
                    </a:lnTo>
                    <a:lnTo>
                      <a:pt x="1" y="86"/>
                    </a:lnTo>
                    <a:lnTo>
                      <a:pt x="3" y="87"/>
                    </a:lnTo>
                    <a:lnTo>
                      <a:pt x="13" y="86"/>
                    </a:lnTo>
                    <a:lnTo>
                      <a:pt x="22" y="85"/>
                    </a:lnTo>
                    <a:lnTo>
                      <a:pt x="29" y="83"/>
                    </a:lnTo>
                    <a:lnTo>
                      <a:pt x="38" y="81"/>
                    </a:lnTo>
                    <a:lnTo>
                      <a:pt x="52" y="75"/>
                    </a:lnTo>
                    <a:lnTo>
                      <a:pt x="66" y="66"/>
                    </a:lnTo>
                    <a:lnTo>
                      <a:pt x="80" y="58"/>
                    </a:lnTo>
                    <a:lnTo>
                      <a:pt x="94" y="50"/>
                    </a:lnTo>
                    <a:lnTo>
                      <a:pt x="102" y="46"/>
                    </a:lnTo>
                    <a:lnTo>
                      <a:pt x="111" y="43"/>
                    </a:lnTo>
                    <a:lnTo>
                      <a:pt x="119" y="40"/>
                    </a:lnTo>
                    <a:lnTo>
                      <a:pt x="129" y="37"/>
                    </a:lnTo>
                    <a:lnTo>
                      <a:pt x="175" y="37"/>
                    </a:lnTo>
                    <a:lnTo>
                      <a:pt x="175" y="43"/>
                    </a:lnTo>
                    <a:lnTo>
                      <a:pt x="176" y="48"/>
                    </a:lnTo>
                    <a:lnTo>
                      <a:pt x="178" y="52"/>
                    </a:lnTo>
                    <a:lnTo>
                      <a:pt x="180" y="55"/>
                    </a:lnTo>
                    <a:lnTo>
                      <a:pt x="181" y="58"/>
                    </a:lnTo>
                    <a:lnTo>
                      <a:pt x="184" y="59"/>
                    </a:lnTo>
                    <a:lnTo>
                      <a:pt x="186" y="60"/>
                    </a:lnTo>
                    <a:lnTo>
                      <a:pt x="190" y="61"/>
                    </a:lnTo>
                    <a:lnTo>
                      <a:pt x="206" y="60"/>
                    </a:lnTo>
                    <a:lnTo>
                      <a:pt x="229" y="61"/>
                    </a:lnTo>
                    <a:lnTo>
                      <a:pt x="250" y="69"/>
                    </a:lnTo>
                    <a:lnTo>
                      <a:pt x="269" y="78"/>
                    </a:lnTo>
                    <a:lnTo>
                      <a:pt x="285" y="86"/>
                    </a:lnTo>
                    <a:lnTo>
                      <a:pt x="302" y="95"/>
                    </a:lnTo>
                    <a:lnTo>
                      <a:pt x="318" y="103"/>
                    </a:lnTo>
                    <a:lnTo>
                      <a:pt x="336" y="111"/>
                    </a:lnTo>
                    <a:lnTo>
                      <a:pt x="354" y="118"/>
                    </a:lnTo>
                    <a:lnTo>
                      <a:pt x="375" y="123"/>
                    </a:lnTo>
                    <a:lnTo>
                      <a:pt x="375" y="129"/>
                    </a:lnTo>
                    <a:lnTo>
                      <a:pt x="376" y="134"/>
                    </a:lnTo>
                    <a:lnTo>
                      <a:pt x="379" y="138"/>
                    </a:lnTo>
                    <a:lnTo>
                      <a:pt x="382" y="142"/>
                    </a:lnTo>
                    <a:lnTo>
                      <a:pt x="388" y="147"/>
                    </a:lnTo>
                    <a:lnTo>
                      <a:pt x="396" y="152"/>
                    </a:lnTo>
                    <a:lnTo>
                      <a:pt x="415" y="159"/>
                    </a:lnTo>
                    <a:lnTo>
                      <a:pt x="428" y="166"/>
                    </a:lnTo>
                    <a:lnTo>
                      <a:pt x="417" y="176"/>
                    </a:lnTo>
                    <a:lnTo>
                      <a:pt x="402" y="191"/>
                    </a:lnTo>
                    <a:lnTo>
                      <a:pt x="404" y="195"/>
                    </a:lnTo>
                    <a:lnTo>
                      <a:pt x="407" y="197"/>
                    </a:lnTo>
                    <a:lnTo>
                      <a:pt x="410" y="199"/>
                    </a:lnTo>
                    <a:lnTo>
                      <a:pt x="414" y="201"/>
                    </a:lnTo>
                    <a:lnTo>
                      <a:pt x="421" y="203"/>
                    </a:lnTo>
                    <a:lnTo>
                      <a:pt x="429" y="204"/>
                    </a:lnTo>
                    <a:lnTo>
                      <a:pt x="445" y="204"/>
                    </a:lnTo>
                    <a:lnTo>
                      <a:pt x="461" y="204"/>
                    </a:lnTo>
                    <a:lnTo>
                      <a:pt x="554" y="191"/>
                    </a:lnTo>
                    <a:lnTo>
                      <a:pt x="555" y="189"/>
                    </a:lnTo>
                    <a:lnTo>
                      <a:pt x="556" y="186"/>
                    </a:lnTo>
                    <a:lnTo>
                      <a:pt x="559" y="183"/>
                    </a:lnTo>
                    <a:lnTo>
                      <a:pt x="562" y="179"/>
                    </a:lnTo>
                    <a:lnTo>
                      <a:pt x="565" y="177"/>
                    </a:lnTo>
                    <a:lnTo>
                      <a:pt x="568" y="174"/>
                    </a:lnTo>
                    <a:lnTo>
                      <a:pt x="572" y="173"/>
                    </a:lnTo>
                    <a:lnTo>
                      <a:pt x="574" y="172"/>
                    </a:lnTo>
                    <a:lnTo>
                      <a:pt x="574" y="161"/>
                    </a:lnTo>
                    <a:lnTo>
                      <a:pt x="574" y="154"/>
                    </a:lnTo>
                    <a:lnTo>
                      <a:pt x="561" y="153"/>
                    </a:lnTo>
                    <a:lnTo>
                      <a:pt x="546" y="151"/>
                    </a:lnTo>
                    <a:lnTo>
                      <a:pt x="532" y="148"/>
                    </a:lnTo>
                    <a:lnTo>
                      <a:pt x="518" y="143"/>
                    </a:lnTo>
                    <a:lnTo>
                      <a:pt x="504" y="138"/>
                    </a:lnTo>
                    <a:lnTo>
                      <a:pt x="489" y="132"/>
                    </a:lnTo>
                    <a:lnTo>
                      <a:pt x="475" y="124"/>
                    </a:lnTo>
                    <a:lnTo>
                      <a:pt x="461" y="116"/>
                    </a:lnTo>
                    <a:lnTo>
                      <a:pt x="433" y="100"/>
                    </a:lnTo>
                    <a:lnTo>
                      <a:pt x="407" y="84"/>
                    </a:lnTo>
                    <a:lnTo>
                      <a:pt x="383" y="68"/>
                    </a:lnTo>
                    <a:lnTo>
                      <a:pt x="362" y="55"/>
                    </a:lnTo>
                    <a:lnTo>
                      <a:pt x="358" y="54"/>
                    </a:lnTo>
                    <a:lnTo>
                      <a:pt x="353" y="52"/>
                    </a:lnTo>
                    <a:lnTo>
                      <a:pt x="348" y="52"/>
                    </a:lnTo>
                    <a:lnTo>
                      <a:pt x="342" y="52"/>
                    </a:lnTo>
                    <a:lnTo>
                      <a:pt x="330" y="52"/>
                    </a:lnTo>
                    <a:lnTo>
                      <a:pt x="318" y="52"/>
                    </a:lnTo>
                    <a:lnTo>
                      <a:pt x="312" y="51"/>
                    </a:lnTo>
                    <a:lnTo>
                      <a:pt x="306" y="50"/>
                    </a:lnTo>
                    <a:lnTo>
                      <a:pt x="302" y="49"/>
                    </a:lnTo>
                    <a:lnTo>
                      <a:pt x="297" y="46"/>
                    </a:lnTo>
                    <a:lnTo>
                      <a:pt x="294" y="43"/>
                    </a:lnTo>
                    <a:lnTo>
                      <a:pt x="291" y="38"/>
                    </a:lnTo>
                    <a:lnTo>
                      <a:pt x="290" y="32"/>
                    </a:lnTo>
                    <a:lnTo>
                      <a:pt x="288" y="25"/>
                    </a:lnTo>
                    <a:lnTo>
                      <a:pt x="142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95" name="Freeform 217">
                <a:extLst>
                  <a:ext uri="{FF2B5EF4-FFF2-40B4-BE49-F238E27FC236}">
                    <a16:creationId xmlns="" xmlns:a16="http://schemas.microsoft.com/office/drawing/2014/main" id="{A60F7279-A573-44EB-ACB7-6F9B5ECECF2C}"/>
                  </a:ext>
                </a:extLst>
              </p:cNvPr>
              <p:cNvSpPr>
                <a:spLocks/>
              </p:cNvSpPr>
              <p:nvPr>
                <p:custDataLst>
                  <p:tags r:id="rId144"/>
                </p:custDataLst>
              </p:nvPr>
            </p:nvSpPr>
            <p:spPr bwMode="auto">
              <a:xfrm>
                <a:off x="2232025" y="3046413"/>
                <a:ext cx="88900" cy="69850"/>
              </a:xfrm>
              <a:custGeom>
                <a:avLst/>
                <a:gdLst>
                  <a:gd name="T0" fmla="*/ 2147483646 w 207"/>
                  <a:gd name="T1" fmla="*/ 2147483646 h 129"/>
                  <a:gd name="T2" fmla="*/ 2147483646 w 207"/>
                  <a:gd name="T3" fmla="*/ 2147483646 h 129"/>
                  <a:gd name="T4" fmla="*/ 2147483646 w 207"/>
                  <a:gd name="T5" fmla="*/ 2147483646 h 129"/>
                  <a:gd name="T6" fmla="*/ 2147483646 w 207"/>
                  <a:gd name="T7" fmla="*/ 2147483646 h 129"/>
                  <a:gd name="T8" fmla="*/ 2147483646 w 207"/>
                  <a:gd name="T9" fmla="*/ 2147483646 h 129"/>
                  <a:gd name="T10" fmla="*/ 2147483646 w 207"/>
                  <a:gd name="T11" fmla="*/ 2147483646 h 129"/>
                  <a:gd name="T12" fmla="*/ 2147483646 w 207"/>
                  <a:gd name="T13" fmla="*/ 2147483646 h 129"/>
                  <a:gd name="T14" fmla="*/ 2147483646 w 207"/>
                  <a:gd name="T15" fmla="*/ 2147483646 h 129"/>
                  <a:gd name="T16" fmla="*/ 2147483646 w 207"/>
                  <a:gd name="T17" fmla="*/ 2147483646 h 129"/>
                  <a:gd name="T18" fmla="*/ 2147483646 w 207"/>
                  <a:gd name="T19" fmla="*/ 2147483646 h 129"/>
                  <a:gd name="T20" fmla="*/ 2147483646 w 207"/>
                  <a:gd name="T21" fmla="*/ 2147483646 h 129"/>
                  <a:gd name="T22" fmla="*/ 2147483646 w 207"/>
                  <a:gd name="T23" fmla="*/ 2147483646 h 129"/>
                  <a:gd name="T24" fmla="*/ 2147483646 w 207"/>
                  <a:gd name="T25" fmla="*/ 2147483646 h 129"/>
                  <a:gd name="T26" fmla="*/ 2147483646 w 207"/>
                  <a:gd name="T27" fmla="*/ 2147483646 h 129"/>
                  <a:gd name="T28" fmla="*/ 2147483646 w 207"/>
                  <a:gd name="T29" fmla="*/ 2147483646 h 129"/>
                  <a:gd name="T30" fmla="*/ 2147483646 w 207"/>
                  <a:gd name="T31" fmla="*/ 2147483646 h 129"/>
                  <a:gd name="T32" fmla="*/ 2147483646 w 207"/>
                  <a:gd name="T33" fmla="*/ 2147483646 h 129"/>
                  <a:gd name="T34" fmla="*/ 2147483646 w 207"/>
                  <a:gd name="T35" fmla="*/ 2147483646 h 129"/>
                  <a:gd name="T36" fmla="*/ 2147483646 w 207"/>
                  <a:gd name="T37" fmla="*/ 2147483646 h 129"/>
                  <a:gd name="T38" fmla="*/ 2147483646 w 207"/>
                  <a:gd name="T39" fmla="*/ 2147483646 h 129"/>
                  <a:gd name="T40" fmla="*/ 2147483646 w 207"/>
                  <a:gd name="T41" fmla="*/ 2147483646 h 129"/>
                  <a:gd name="T42" fmla="*/ 2147483646 w 207"/>
                  <a:gd name="T43" fmla="*/ 2147483646 h 129"/>
                  <a:gd name="T44" fmla="*/ 2147483646 w 207"/>
                  <a:gd name="T45" fmla="*/ 0 h 129"/>
                  <a:gd name="T46" fmla="*/ 0 w 207"/>
                  <a:gd name="T47" fmla="*/ 0 h 129"/>
                  <a:gd name="T48" fmla="*/ 2147483646 w 207"/>
                  <a:gd name="T49" fmla="*/ 2147483646 h 129"/>
                  <a:gd name="T50" fmla="*/ 2147483646 w 207"/>
                  <a:gd name="T51" fmla="*/ 2147483646 h 129"/>
                  <a:gd name="T52" fmla="*/ 2147483646 w 207"/>
                  <a:gd name="T53" fmla="*/ 2147483646 h 129"/>
                  <a:gd name="T54" fmla="*/ 2147483646 w 207"/>
                  <a:gd name="T55" fmla="*/ 2147483646 h 129"/>
                  <a:gd name="T56" fmla="*/ 2147483646 w 207"/>
                  <a:gd name="T57" fmla="*/ 2147483646 h 129"/>
                  <a:gd name="T58" fmla="*/ 2147483646 w 207"/>
                  <a:gd name="T59" fmla="*/ 2147483646 h 129"/>
                  <a:gd name="T60" fmla="*/ 2147483646 w 207"/>
                  <a:gd name="T61" fmla="*/ 2147483646 h 129"/>
                  <a:gd name="T62" fmla="*/ 2147483646 w 207"/>
                  <a:gd name="T63" fmla="*/ 2147483646 h 129"/>
                  <a:gd name="T64" fmla="*/ 2147483646 w 207"/>
                  <a:gd name="T65" fmla="*/ 2147483646 h 129"/>
                  <a:gd name="T66" fmla="*/ 2147483646 w 207"/>
                  <a:gd name="T67" fmla="*/ 2147483646 h 129"/>
                  <a:gd name="T68" fmla="*/ 2147483646 w 207"/>
                  <a:gd name="T69" fmla="*/ 2147483646 h 129"/>
                  <a:gd name="T70" fmla="*/ 2147483646 w 207"/>
                  <a:gd name="T71" fmla="*/ 2147483646 h 129"/>
                  <a:gd name="T72" fmla="*/ 0 w 207"/>
                  <a:gd name="T73" fmla="*/ 2147483646 h 129"/>
                  <a:gd name="T74" fmla="*/ 2147483646 w 207"/>
                  <a:gd name="T75" fmla="*/ 2147483646 h 129"/>
                  <a:gd name="T76" fmla="*/ 2147483646 w 207"/>
                  <a:gd name="T77" fmla="*/ 2147483646 h 129"/>
                  <a:gd name="T78" fmla="*/ 2147483646 w 207"/>
                  <a:gd name="T79" fmla="*/ 2147483646 h 129"/>
                  <a:gd name="T80" fmla="*/ 2147483646 w 207"/>
                  <a:gd name="T81" fmla="*/ 2147483646 h 129"/>
                  <a:gd name="T82" fmla="*/ 2147483646 w 207"/>
                  <a:gd name="T83" fmla="*/ 2147483646 h 129"/>
                  <a:gd name="T84" fmla="*/ 2147483646 w 207"/>
                  <a:gd name="T85" fmla="*/ 2147483646 h 129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07"/>
                  <a:gd name="T130" fmla="*/ 0 h 129"/>
                  <a:gd name="T131" fmla="*/ 207 w 207"/>
                  <a:gd name="T132" fmla="*/ 129 h 129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07" h="129">
                    <a:moveTo>
                      <a:pt x="41" y="129"/>
                    </a:moveTo>
                    <a:lnTo>
                      <a:pt x="50" y="121"/>
                    </a:lnTo>
                    <a:lnTo>
                      <a:pt x="60" y="115"/>
                    </a:lnTo>
                    <a:lnTo>
                      <a:pt x="70" y="110"/>
                    </a:lnTo>
                    <a:lnTo>
                      <a:pt x="81" y="105"/>
                    </a:lnTo>
                    <a:lnTo>
                      <a:pt x="105" y="99"/>
                    </a:lnTo>
                    <a:lnTo>
                      <a:pt x="129" y="92"/>
                    </a:lnTo>
                    <a:lnTo>
                      <a:pt x="152" y="87"/>
                    </a:lnTo>
                    <a:lnTo>
                      <a:pt x="173" y="81"/>
                    </a:lnTo>
                    <a:lnTo>
                      <a:pt x="182" y="77"/>
                    </a:lnTo>
                    <a:lnTo>
                      <a:pt x="191" y="73"/>
                    </a:lnTo>
                    <a:lnTo>
                      <a:pt x="200" y="67"/>
                    </a:lnTo>
                    <a:lnTo>
                      <a:pt x="207" y="61"/>
                    </a:lnTo>
                    <a:lnTo>
                      <a:pt x="198" y="54"/>
                    </a:lnTo>
                    <a:lnTo>
                      <a:pt x="188" y="47"/>
                    </a:lnTo>
                    <a:lnTo>
                      <a:pt x="179" y="42"/>
                    </a:lnTo>
                    <a:lnTo>
                      <a:pt x="169" y="36"/>
                    </a:lnTo>
                    <a:lnTo>
                      <a:pt x="150" y="29"/>
                    </a:lnTo>
                    <a:lnTo>
                      <a:pt x="129" y="23"/>
                    </a:lnTo>
                    <a:lnTo>
                      <a:pt x="107" y="18"/>
                    </a:lnTo>
                    <a:lnTo>
                      <a:pt x="85" y="13"/>
                    </a:lnTo>
                    <a:lnTo>
                      <a:pt x="63" y="7"/>
                    </a:lnTo>
                    <a:lnTo>
                      <a:pt x="41" y="0"/>
                    </a:lnTo>
                    <a:lnTo>
                      <a:pt x="0" y="0"/>
                    </a:lnTo>
                    <a:lnTo>
                      <a:pt x="1" y="6"/>
                    </a:lnTo>
                    <a:lnTo>
                      <a:pt x="2" y="13"/>
                    </a:lnTo>
                    <a:lnTo>
                      <a:pt x="4" y="19"/>
                    </a:lnTo>
                    <a:lnTo>
                      <a:pt x="6" y="25"/>
                    </a:lnTo>
                    <a:lnTo>
                      <a:pt x="10" y="35"/>
                    </a:lnTo>
                    <a:lnTo>
                      <a:pt x="13" y="46"/>
                    </a:lnTo>
                    <a:lnTo>
                      <a:pt x="17" y="54"/>
                    </a:lnTo>
                    <a:lnTo>
                      <a:pt x="18" y="62"/>
                    </a:lnTo>
                    <a:lnTo>
                      <a:pt x="17" y="65"/>
                    </a:lnTo>
                    <a:lnTo>
                      <a:pt x="14" y="68"/>
                    </a:lnTo>
                    <a:lnTo>
                      <a:pt x="11" y="71"/>
                    </a:lnTo>
                    <a:lnTo>
                      <a:pt x="7" y="73"/>
                    </a:lnTo>
                    <a:lnTo>
                      <a:pt x="0" y="104"/>
                    </a:lnTo>
                    <a:lnTo>
                      <a:pt x="4" y="106"/>
                    </a:lnTo>
                    <a:lnTo>
                      <a:pt x="13" y="110"/>
                    </a:lnTo>
                    <a:lnTo>
                      <a:pt x="19" y="113"/>
                    </a:lnTo>
                    <a:lnTo>
                      <a:pt x="25" y="117"/>
                    </a:lnTo>
                    <a:lnTo>
                      <a:pt x="33" y="122"/>
                    </a:lnTo>
                    <a:lnTo>
                      <a:pt x="41" y="129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96" name="Freeform 218">
                <a:extLst>
                  <a:ext uri="{FF2B5EF4-FFF2-40B4-BE49-F238E27FC236}">
                    <a16:creationId xmlns="" xmlns:a16="http://schemas.microsoft.com/office/drawing/2014/main" id="{50BC69C5-B7F0-4044-9D9E-45686C18016C}"/>
                  </a:ext>
                </a:extLst>
              </p:cNvPr>
              <p:cNvSpPr>
                <a:spLocks/>
              </p:cNvSpPr>
              <p:nvPr>
                <p:custDataLst>
                  <p:tags r:id="rId145"/>
                </p:custDataLst>
              </p:nvPr>
            </p:nvSpPr>
            <p:spPr bwMode="auto">
              <a:xfrm>
                <a:off x="1800225" y="3106738"/>
                <a:ext cx="33338" cy="84137"/>
              </a:xfrm>
              <a:custGeom>
                <a:avLst/>
                <a:gdLst>
                  <a:gd name="T0" fmla="*/ 2147483646 w 72"/>
                  <a:gd name="T1" fmla="*/ 0 h 154"/>
                  <a:gd name="T2" fmla="*/ 2147483646 w 72"/>
                  <a:gd name="T3" fmla="*/ 2147483646 h 154"/>
                  <a:gd name="T4" fmla="*/ 2147483646 w 72"/>
                  <a:gd name="T5" fmla="*/ 2147483646 h 154"/>
                  <a:gd name="T6" fmla="*/ 2147483646 w 72"/>
                  <a:gd name="T7" fmla="*/ 2147483646 h 154"/>
                  <a:gd name="T8" fmla="*/ 2147483646 w 72"/>
                  <a:gd name="T9" fmla="*/ 2147483646 h 154"/>
                  <a:gd name="T10" fmla="*/ 2147483646 w 72"/>
                  <a:gd name="T11" fmla="*/ 2147483646 h 154"/>
                  <a:gd name="T12" fmla="*/ 2147483646 w 72"/>
                  <a:gd name="T13" fmla="*/ 2147483646 h 154"/>
                  <a:gd name="T14" fmla="*/ 2147483646 w 72"/>
                  <a:gd name="T15" fmla="*/ 2147483646 h 154"/>
                  <a:gd name="T16" fmla="*/ 2147483646 w 72"/>
                  <a:gd name="T17" fmla="*/ 2147483646 h 154"/>
                  <a:gd name="T18" fmla="*/ 2147483646 w 72"/>
                  <a:gd name="T19" fmla="*/ 2147483646 h 154"/>
                  <a:gd name="T20" fmla="*/ 2147483646 w 72"/>
                  <a:gd name="T21" fmla="*/ 2147483646 h 154"/>
                  <a:gd name="T22" fmla="*/ 2147483646 w 72"/>
                  <a:gd name="T23" fmla="*/ 2147483646 h 154"/>
                  <a:gd name="T24" fmla="*/ 2147483646 w 72"/>
                  <a:gd name="T25" fmla="*/ 2147483646 h 154"/>
                  <a:gd name="T26" fmla="*/ 2147483646 w 72"/>
                  <a:gd name="T27" fmla="*/ 2147483646 h 154"/>
                  <a:gd name="T28" fmla="*/ 2147483646 w 72"/>
                  <a:gd name="T29" fmla="*/ 2147483646 h 154"/>
                  <a:gd name="T30" fmla="*/ 2147483646 w 72"/>
                  <a:gd name="T31" fmla="*/ 2147483646 h 154"/>
                  <a:gd name="T32" fmla="*/ 2147483646 w 72"/>
                  <a:gd name="T33" fmla="*/ 2147483646 h 154"/>
                  <a:gd name="T34" fmla="*/ 2147483646 w 72"/>
                  <a:gd name="T35" fmla="*/ 2147483646 h 154"/>
                  <a:gd name="T36" fmla="*/ 2147483646 w 72"/>
                  <a:gd name="T37" fmla="*/ 2147483646 h 154"/>
                  <a:gd name="T38" fmla="*/ 2147483646 w 72"/>
                  <a:gd name="T39" fmla="*/ 2147483646 h 154"/>
                  <a:gd name="T40" fmla="*/ 2147483646 w 72"/>
                  <a:gd name="T41" fmla="*/ 2147483646 h 154"/>
                  <a:gd name="T42" fmla="*/ 0 w 72"/>
                  <a:gd name="T43" fmla="*/ 2147483646 h 154"/>
                  <a:gd name="T44" fmla="*/ 2147483646 w 72"/>
                  <a:gd name="T45" fmla="*/ 2147483646 h 154"/>
                  <a:gd name="T46" fmla="*/ 2147483646 w 72"/>
                  <a:gd name="T47" fmla="*/ 2147483646 h 154"/>
                  <a:gd name="T48" fmla="*/ 2147483646 w 72"/>
                  <a:gd name="T49" fmla="*/ 2147483646 h 154"/>
                  <a:gd name="T50" fmla="*/ 2147483646 w 72"/>
                  <a:gd name="T51" fmla="*/ 2147483646 h 154"/>
                  <a:gd name="T52" fmla="*/ 2147483646 w 72"/>
                  <a:gd name="T53" fmla="*/ 2147483646 h 154"/>
                  <a:gd name="T54" fmla="*/ 2147483646 w 72"/>
                  <a:gd name="T55" fmla="*/ 2147483646 h 154"/>
                  <a:gd name="T56" fmla="*/ 2147483646 w 72"/>
                  <a:gd name="T57" fmla="*/ 0 h 154"/>
                  <a:gd name="T58" fmla="*/ 2147483646 w 72"/>
                  <a:gd name="T59" fmla="*/ 0 h 154"/>
                  <a:gd name="T60" fmla="*/ 2147483646 w 72"/>
                  <a:gd name="T61" fmla="*/ 0 h 154"/>
                  <a:gd name="T62" fmla="*/ 2147483646 w 72"/>
                  <a:gd name="T63" fmla="*/ 0 h 154"/>
                  <a:gd name="T64" fmla="*/ 2147483646 w 72"/>
                  <a:gd name="T65" fmla="*/ 0 h 15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72"/>
                  <a:gd name="T100" fmla="*/ 0 h 154"/>
                  <a:gd name="T101" fmla="*/ 72 w 72"/>
                  <a:gd name="T102" fmla="*/ 154 h 154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72" h="154">
                    <a:moveTo>
                      <a:pt x="72" y="0"/>
                    </a:moveTo>
                    <a:lnTo>
                      <a:pt x="69" y="4"/>
                    </a:lnTo>
                    <a:lnTo>
                      <a:pt x="67" y="9"/>
                    </a:lnTo>
                    <a:lnTo>
                      <a:pt x="66" y="13"/>
                    </a:lnTo>
                    <a:lnTo>
                      <a:pt x="66" y="18"/>
                    </a:lnTo>
                    <a:lnTo>
                      <a:pt x="66" y="27"/>
                    </a:lnTo>
                    <a:lnTo>
                      <a:pt x="66" y="37"/>
                    </a:lnTo>
                    <a:lnTo>
                      <a:pt x="69" y="43"/>
                    </a:lnTo>
                    <a:lnTo>
                      <a:pt x="71" y="50"/>
                    </a:lnTo>
                    <a:lnTo>
                      <a:pt x="71" y="57"/>
                    </a:lnTo>
                    <a:lnTo>
                      <a:pt x="71" y="65"/>
                    </a:lnTo>
                    <a:lnTo>
                      <a:pt x="69" y="73"/>
                    </a:lnTo>
                    <a:lnTo>
                      <a:pt x="67" y="82"/>
                    </a:lnTo>
                    <a:lnTo>
                      <a:pt x="65" y="91"/>
                    </a:lnTo>
                    <a:lnTo>
                      <a:pt x="61" y="100"/>
                    </a:lnTo>
                    <a:lnTo>
                      <a:pt x="53" y="116"/>
                    </a:lnTo>
                    <a:lnTo>
                      <a:pt x="44" y="131"/>
                    </a:lnTo>
                    <a:lnTo>
                      <a:pt x="34" y="144"/>
                    </a:lnTo>
                    <a:lnTo>
                      <a:pt x="26" y="154"/>
                    </a:lnTo>
                    <a:lnTo>
                      <a:pt x="26" y="141"/>
                    </a:lnTo>
                    <a:lnTo>
                      <a:pt x="15" y="144"/>
                    </a:lnTo>
                    <a:lnTo>
                      <a:pt x="0" y="148"/>
                    </a:lnTo>
                    <a:lnTo>
                      <a:pt x="3" y="129"/>
                    </a:lnTo>
                    <a:lnTo>
                      <a:pt x="8" y="105"/>
                    </a:lnTo>
                    <a:lnTo>
                      <a:pt x="9" y="92"/>
                    </a:lnTo>
                    <a:lnTo>
                      <a:pt x="12" y="77"/>
                    </a:lnTo>
                    <a:lnTo>
                      <a:pt x="15" y="63"/>
                    </a:lnTo>
                    <a:lnTo>
                      <a:pt x="20" y="49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8" y="0"/>
                    </a:lnTo>
                    <a:lnTo>
                      <a:pt x="56" y="0"/>
                    </a:lnTo>
                    <a:lnTo>
                      <a:pt x="72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97" name="Freeform 219">
                <a:extLst>
                  <a:ext uri="{FF2B5EF4-FFF2-40B4-BE49-F238E27FC236}">
                    <a16:creationId xmlns="" xmlns:a16="http://schemas.microsoft.com/office/drawing/2014/main" id="{4ED74537-6155-4E84-9153-C6544656C15D}"/>
                  </a:ext>
                </a:extLst>
              </p:cNvPr>
              <p:cNvSpPr>
                <a:spLocks/>
              </p:cNvSpPr>
              <p:nvPr>
                <p:custDataLst>
                  <p:tags r:id="rId146"/>
                </p:custDataLst>
              </p:nvPr>
            </p:nvSpPr>
            <p:spPr bwMode="auto">
              <a:xfrm>
                <a:off x="1720850" y="3106738"/>
                <a:ext cx="93663" cy="146050"/>
              </a:xfrm>
              <a:custGeom>
                <a:avLst/>
                <a:gdLst>
                  <a:gd name="T0" fmla="*/ 2147483646 w 214"/>
                  <a:gd name="T1" fmla="*/ 2147483646 h 271"/>
                  <a:gd name="T2" fmla="*/ 2147483646 w 214"/>
                  <a:gd name="T3" fmla="*/ 2147483646 h 271"/>
                  <a:gd name="T4" fmla="*/ 2147483646 w 214"/>
                  <a:gd name="T5" fmla="*/ 2147483646 h 271"/>
                  <a:gd name="T6" fmla="*/ 2147483646 w 214"/>
                  <a:gd name="T7" fmla="*/ 2147483646 h 271"/>
                  <a:gd name="T8" fmla="*/ 2147483646 w 214"/>
                  <a:gd name="T9" fmla="*/ 2147483646 h 271"/>
                  <a:gd name="T10" fmla="*/ 2147483646 w 214"/>
                  <a:gd name="T11" fmla="*/ 2147483646 h 271"/>
                  <a:gd name="T12" fmla="*/ 2147483646 w 214"/>
                  <a:gd name="T13" fmla="*/ 2147483646 h 271"/>
                  <a:gd name="T14" fmla="*/ 2147483646 w 214"/>
                  <a:gd name="T15" fmla="*/ 2147483646 h 271"/>
                  <a:gd name="T16" fmla="*/ 2147483646 w 214"/>
                  <a:gd name="T17" fmla="*/ 2147483646 h 271"/>
                  <a:gd name="T18" fmla="*/ 2147483646 w 214"/>
                  <a:gd name="T19" fmla="*/ 2147483646 h 271"/>
                  <a:gd name="T20" fmla="*/ 2147483646 w 214"/>
                  <a:gd name="T21" fmla="*/ 2147483646 h 271"/>
                  <a:gd name="T22" fmla="*/ 2147483646 w 214"/>
                  <a:gd name="T23" fmla="*/ 2147483646 h 271"/>
                  <a:gd name="T24" fmla="*/ 2147483646 w 214"/>
                  <a:gd name="T25" fmla="*/ 2147483646 h 271"/>
                  <a:gd name="T26" fmla="*/ 2147483646 w 214"/>
                  <a:gd name="T27" fmla="*/ 2147483646 h 271"/>
                  <a:gd name="T28" fmla="*/ 2147483646 w 214"/>
                  <a:gd name="T29" fmla="*/ 2147483646 h 271"/>
                  <a:gd name="T30" fmla="*/ 2147483646 w 214"/>
                  <a:gd name="T31" fmla="*/ 2147483646 h 271"/>
                  <a:gd name="T32" fmla="*/ 2147483646 w 214"/>
                  <a:gd name="T33" fmla="*/ 2147483646 h 271"/>
                  <a:gd name="T34" fmla="*/ 2147483646 w 214"/>
                  <a:gd name="T35" fmla="*/ 2147483646 h 271"/>
                  <a:gd name="T36" fmla="*/ 2147483646 w 214"/>
                  <a:gd name="T37" fmla="*/ 0 h 271"/>
                  <a:gd name="T38" fmla="*/ 2147483646 w 214"/>
                  <a:gd name="T39" fmla="*/ 0 h 271"/>
                  <a:gd name="T40" fmla="*/ 2147483646 w 214"/>
                  <a:gd name="T41" fmla="*/ 2147483646 h 271"/>
                  <a:gd name="T42" fmla="*/ 2147483646 w 214"/>
                  <a:gd name="T43" fmla="*/ 2147483646 h 271"/>
                  <a:gd name="T44" fmla="*/ 2147483646 w 214"/>
                  <a:gd name="T45" fmla="*/ 2147483646 h 271"/>
                  <a:gd name="T46" fmla="*/ 2147483646 w 214"/>
                  <a:gd name="T47" fmla="*/ 2147483646 h 271"/>
                  <a:gd name="T48" fmla="*/ 2147483646 w 214"/>
                  <a:gd name="T49" fmla="*/ 2147483646 h 271"/>
                  <a:gd name="T50" fmla="*/ 2147483646 w 214"/>
                  <a:gd name="T51" fmla="*/ 2147483646 h 271"/>
                  <a:gd name="T52" fmla="*/ 2147483646 w 214"/>
                  <a:gd name="T53" fmla="*/ 2147483646 h 271"/>
                  <a:gd name="T54" fmla="*/ 2147483646 w 214"/>
                  <a:gd name="T55" fmla="*/ 2147483646 h 271"/>
                  <a:gd name="T56" fmla="*/ 2147483646 w 214"/>
                  <a:gd name="T57" fmla="*/ 2147483646 h 271"/>
                  <a:gd name="T58" fmla="*/ 2147483646 w 214"/>
                  <a:gd name="T59" fmla="*/ 2147483646 h 271"/>
                  <a:gd name="T60" fmla="*/ 2147483646 w 214"/>
                  <a:gd name="T61" fmla="*/ 2147483646 h 271"/>
                  <a:gd name="T62" fmla="*/ 2147483646 w 214"/>
                  <a:gd name="T63" fmla="*/ 2147483646 h 271"/>
                  <a:gd name="T64" fmla="*/ 2147483646 w 214"/>
                  <a:gd name="T65" fmla="*/ 2147483646 h 271"/>
                  <a:gd name="T66" fmla="*/ 2147483646 w 214"/>
                  <a:gd name="T67" fmla="*/ 2147483646 h 271"/>
                  <a:gd name="T68" fmla="*/ 2147483646 w 214"/>
                  <a:gd name="T69" fmla="*/ 2147483646 h 271"/>
                  <a:gd name="T70" fmla="*/ 0 w 214"/>
                  <a:gd name="T71" fmla="*/ 2147483646 h 271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214"/>
                  <a:gd name="T109" fmla="*/ 0 h 271"/>
                  <a:gd name="T110" fmla="*/ 214 w 214"/>
                  <a:gd name="T111" fmla="*/ 271 h 271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214" h="271">
                    <a:moveTo>
                      <a:pt x="7" y="221"/>
                    </a:moveTo>
                    <a:lnTo>
                      <a:pt x="8" y="207"/>
                    </a:lnTo>
                    <a:lnTo>
                      <a:pt x="9" y="192"/>
                    </a:lnTo>
                    <a:lnTo>
                      <a:pt x="12" y="181"/>
                    </a:lnTo>
                    <a:lnTo>
                      <a:pt x="16" y="170"/>
                    </a:lnTo>
                    <a:lnTo>
                      <a:pt x="24" y="148"/>
                    </a:lnTo>
                    <a:lnTo>
                      <a:pt x="34" y="123"/>
                    </a:lnTo>
                    <a:lnTo>
                      <a:pt x="35" y="118"/>
                    </a:lnTo>
                    <a:lnTo>
                      <a:pt x="40" y="114"/>
                    </a:lnTo>
                    <a:lnTo>
                      <a:pt x="44" y="112"/>
                    </a:lnTo>
                    <a:lnTo>
                      <a:pt x="51" y="111"/>
                    </a:lnTo>
                    <a:lnTo>
                      <a:pt x="65" y="111"/>
                    </a:lnTo>
                    <a:lnTo>
                      <a:pt x="82" y="111"/>
                    </a:lnTo>
                    <a:lnTo>
                      <a:pt x="89" y="111"/>
                    </a:lnTo>
                    <a:lnTo>
                      <a:pt x="98" y="111"/>
                    </a:lnTo>
                    <a:lnTo>
                      <a:pt x="106" y="110"/>
                    </a:lnTo>
                    <a:lnTo>
                      <a:pt x="113" y="108"/>
                    </a:lnTo>
                    <a:lnTo>
                      <a:pt x="120" y="105"/>
                    </a:lnTo>
                    <a:lnTo>
                      <a:pt x="125" y="100"/>
                    </a:lnTo>
                    <a:lnTo>
                      <a:pt x="130" y="94"/>
                    </a:lnTo>
                    <a:lnTo>
                      <a:pt x="133" y="85"/>
                    </a:lnTo>
                    <a:lnTo>
                      <a:pt x="113" y="73"/>
                    </a:lnTo>
                    <a:lnTo>
                      <a:pt x="94" y="63"/>
                    </a:lnTo>
                    <a:lnTo>
                      <a:pt x="86" y="58"/>
                    </a:lnTo>
                    <a:lnTo>
                      <a:pt x="79" y="52"/>
                    </a:lnTo>
                    <a:lnTo>
                      <a:pt x="77" y="49"/>
                    </a:lnTo>
                    <a:lnTo>
                      <a:pt x="75" y="45"/>
                    </a:lnTo>
                    <a:lnTo>
                      <a:pt x="74" y="41"/>
                    </a:lnTo>
                    <a:lnTo>
                      <a:pt x="74" y="37"/>
                    </a:lnTo>
                    <a:lnTo>
                      <a:pt x="75" y="34"/>
                    </a:lnTo>
                    <a:lnTo>
                      <a:pt x="77" y="31"/>
                    </a:lnTo>
                    <a:lnTo>
                      <a:pt x="82" y="28"/>
                    </a:lnTo>
                    <a:lnTo>
                      <a:pt x="87" y="25"/>
                    </a:lnTo>
                    <a:lnTo>
                      <a:pt x="101" y="19"/>
                    </a:lnTo>
                    <a:lnTo>
                      <a:pt x="118" y="13"/>
                    </a:lnTo>
                    <a:lnTo>
                      <a:pt x="150" y="3"/>
                    </a:lnTo>
                    <a:lnTo>
                      <a:pt x="167" y="0"/>
                    </a:lnTo>
                    <a:lnTo>
                      <a:pt x="180" y="0"/>
                    </a:lnTo>
                    <a:lnTo>
                      <a:pt x="190" y="0"/>
                    </a:lnTo>
                    <a:lnTo>
                      <a:pt x="198" y="0"/>
                    </a:lnTo>
                    <a:lnTo>
                      <a:pt x="200" y="0"/>
                    </a:lnTo>
                    <a:lnTo>
                      <a:pt x="207" y="49"/>
                    </a:lnTo>
                    <a:lnTo>
                      <a:pt x="202" y="63"/>
                    </a:lnTo>
                    <a:lnTo>
                      <a:pt x="199" y="77"/>
                    </a:lnTo>
                    <a:lnTo>
                      <a:pt x="196" y="92"/>
                    </a:lnTo>
                    <a:lnTo>
                      <a:pt x="195" y="105"/>
                    </a:lnTo>
                    <a:lnTo>
                      <a:pt x="190" y="129"/>
                    </a:lnTo>
                    <a:lnTo>
                      <a:pt x="187" y="148"/>
                    </a:lnTo>
                    <a:lnTo>
                      <a:pt x="202" y="151"/>
                    </a:lnTo>
                    <a:lnTo>
                      <a:pt x="213" y="154"/>
                    </a:lnTo>
                    <a:lnTo>
                      <a:pt x="214" y="158"/>
                    </a:lnTo>
                    <a:lnTo>
                      <a:pt x="214" y="166"/>
                    </a:lnTo>
                    <a:lnTo>
                      <a:pt x="213" y="170"/>
                    </a:lnTo>
                    <a:lnTo>
                      <a:pt x="210" y="174"/>
                    </a:lnTo>
                    <a:lnTo>
                      <a:pt x="209" y="176"/>
                    </a:lnTo>
                    <a:lnTo>
                      <a:pt x="207" y="177"/>
                    </a:lnTo>
                    <a:lnTo>
                      <a:pt x="203" y="178"/>
                    </a:lnTo>
                    <a:lnTo>
                      <a:pt x="200" y="178"/>
                    </a:lnTo>
                    <a:lnTo>
                      <a:pt x="197" y="187"/>
                    </a:lnTo>
                    <a:lnTo>
                      <a:pt x="192" y="196"/>
                    </a:lnTo>
                    <a:lnTo>
                      <a:pt x="188" y="205"/>
                    </a:lnTo>
                    <a:lnTo>
                      <a:pt x="181" y="214"/>
                    </a:lnTo>
                    <a:lnTo>
                      <a:pt x="169" y="229"/>
                    </a:lnTo>
                    <a:lnTo>
                      <a:pt x="155" y="243"/>
                    </a:lnTo>
                    <a:lnTo>
                      <a:pt x="131" y="263"/>
                    </a:lnTo>
                    <a:lnTo>
                      <a:pt x="120" y="271"/>
                    </a:lnTo>
                    <a:lnTo>
                      <a:pt x="103" y="266"/>
                    </a:lnTo>
                    <a:lnTo>
                      <a:pt x="87" y="261"/>
                    </a:lnTo>
                    <a:lnTo>
                      <a:pt x="71" y="254"/>
                    </a:lnTo>
                    <a:lnTo>
                      <a:pt x="55" y="248"/>
                    </a:lnTo>
                    <a:lnTo>
                      <a:pt x="27" y="235"/>
                    </a:lnTo>
                    <a:lnTo>
                      <a:pt x="0" y="221"/>
                    </a:lnTo>
                    <a:lnTo>
                      <a:pt x="7" y="221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98" name="Freeform 220">
                <a:extLst>
                  <a:ext uri="{FF2B5EF4-FFF2-40B4-BE49-F238E27FC236}">
                    <a16:creationId xmlns="" xmlns:a16="http://schemas.microsoft.com/office/drawing/2014/main" id="{84D3B501-959C-477C-9D79-9F03F4E80147}"/>
                  </a:ext>
                </a:extLst>
              </p:cNvPr>
              <p:cNvSpPr>
                <a:spLocks/>
              </p:cNvSpPr>
              <p:nvPr>
                <p:custDataLst>
                  <p:tags r:id="rId147"/>
                </p:custDataLst>
              </p:nvPr>
            </p:nvSpPr>
            <p:spPr bwMode="auto">
              <a:xfrm>
                <a:off x="1768475" y="3217863"/>
                <a:ext cx="71438" cy="57150"/>
              </a:xfrm>
              <a:custGeom>
                <a:avLst/>
                <a:gdLst>
                  <a:gd name="T0" fmla="*/ 2147483646 w 153"/>
                  <a:gd name="T1" fmla="*/ 0 h 80"/>
                  <a:gd name="T2" fmla="*/ 2147483646 w 153"/>
                  <a:gd name="T3" fmla="*/ 2147483646 h 80"/>
                  <a:gd name="T4" fmla="*/ 2147483646 w 153"/>
                  <a:gd name="T5" fmla="*/ 2147483646 h 80"/>
                  <a:gd name="T6" fmla="*/ 2147483646 w 153"/>
                  <a:gd name="T7" fmla="*/ 2147483646 h 80"/>
                  <a:gd name="T8" fmla="*/ 2147483646 w 153"/>
                  <a:gd name="T9" fmla="*/ 2147483646 h 80"/>
                  <a:gd name="T10" fmla="*/ 2147483646 w 153"/>
                  <a:gd name="T11" fmla="*/ 2147483646 h 80"/>
                  <a:gd name="T12" fmla="*/ 2147483646 w 153"/>
                  <a:gd name="T13" fmla="*/ 2147483646 h 80"/>
                  <a:gd name="T14" fmla="*/ 2147483646 w 153"/>
                  <a:gd name="T15" fmla="*/ 2147483646 h 80"/>
                  <a:gd name="T16" fmla="*/ 2147483646 w 153"/>
                  <a:gd name="T17" fmla="*/ 2147483646 h 80"/>
                  <a:gd name="T18" fmla="*/ 2147483646 w 153"/>
                  <a:gd name="T19" fmla="*/ 2147483646 h 80"/>
                  <a:gd name="T20" fmla="*/ 2147483646 w 153"/>
                  <a:gd name="T21" fmla="*/ 2147483646 h 80"/>
                  <a:gd name="T22" fmla="*/ 2147483646 w 153"/>
                  <a:gd name="T23" fmla="*/ 2147483646 h 80"/>
                  <a:gd name="T24" fmla="*/ 2147483646 w 153"/>
                  <a:gd name="T25" fmla="*/ 2147483646 h 80"/>
                  <a:gd name="T26" fmla="*/ 2147483646 w 153"/>
                  <a:gd name="T27" fmla="*/ 2147483646 h 80"/>
                  <a:gd name="T28" fmla="*/ 2147483646 w 153"/>
                  <a:gd name="T29" fmla="*/ 2147483646 h 80"/>
                  <a:gd name="T30" fmla="*/ 2147483646 w 153"/>
                  <a:gd name="T31" fmla="*/ 2147483646 h 80"/>
                  <a:gd name="T32" fmla="*/ 2147483646 w 153"/>
                  <a:gd name="T33" fmla="*/ 2147483646 h 80"/>
                  <a:gd name="T34" fmla="*/ 2147483646 w 153"/>
                  <a:gd name="T35" fmla="*/ 2147483646 h 80"/>
                  <a:gd name="T36" fmla="*/ 2147483646 w 153"/>
                  <a:gd name="T37" fmla="*/ 2147483646 h 80"/>
                  <a:gd name="T38" fmla="*/ 2147483646 w 153"/>
                  <a:gd name="T39" fmla="*/ 2147483646 h 80"/>
                  <a:gd name="T40" fmla="*/ 2147483646 w 153"/>
                  <a:gd name="T41" fmla="*/ 2147483646 h 80"/>
                  <a:gd name="T42" fmla="*/ 2147483646 w 153"/>
                  <a:gd name="T43" fmla="*/ 2147483646 h 80"/>
                  <a:gd name="T44" fmla="*/ 2147483646 w 153"/>
                  <a:gd name="T45" fmla="*/ 2147483646 h 80"/>
                  <a:gd name="T46" fmla="*/ 2147483646 w 153"/>
                  <a:gd name="T47" fmla="*/ 2147483646 h 80"/>
                  <a:gd name="T48" fmla="*/ 2147483646 w 153"/>
                  <a:gd name="T49" fmla="*/ 2147483646 h 80"/>
                  <a:gd name="T50" fmla="*/ 0 w 153"/>
                  <a:gd name="T51" fmla="*/ 2147483646 h 80"/>
                  <a:gd name="T52" fmla="*/ 2147483646 w 153"/>
                  <a:gd name="T53" fmla="*/ 2147483646 h 80"/>
                  <a:gd name="T54" fmla="*/ 2147483646 w 153"/>
                  <a:gd name="T55" fmla="*/ 2147483646 h 80"/>
                  <a:gd name="T56" fmla="*/ 2147483646 w 153"/>
                  <a:gd name="T57" fmla="*/ 2147483646 h 80"/>
                  <a:gd name="T58" fmla="*/ 2147483646 w 153"/>
                  <a:gd name="T59" fmla="*/ 2147483646 h 80"/>
                  <a:gd name="T60" fmla="*/ 2147483646 w 153"/>
                  <a:gd name="T61" fmla="*/ 2147483646 h 80"/>
                  <a:gd name="T62" fmla="*/ 2147483646 w 153"/>
                  <a:gd name="T63" fmla="*/ 2147483646 h 80"/>
                  <a:gd name="T64" fmla="*/ 2147483646 w 153"/>
                  <a:gd name="T65" fmla="*/ 0 h 8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53"/>
                  <a:gd name="T100" fmla="*/ 0 h 80"/>
                  <a:gd name="T101" fmla="*/ 153 w 153"/>
                  <a:gd name="T102" fmla="*/ 80 h 8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53" h="80">
                    <a:moveTo>
                      <a:pt x="60" y="0"/>
                    </a:moveTo>
                    <a:lnTo>
                      <a:pt x="83" y="14"/>
                    </a:lnTo>
                    <a:lnTo>
                      <a:pt x="104" y="24"/>
                    </a:lnTo>
                    <a:lnTo>
                      <a:pt x="115" y="28"/>
                    </a:lnTo>
                    <a:lnTo>
                      <a:pt x="126" y="31"/>
                    </a:lnTo>
                    <a:lnTo>
                      <a:pt x="133" y="32"/>
                    </a:lnTo>
                    <a:lnTo>
                      <a:pt x="139" y="32"/>
                    </a:lnTo>
                    <a:lnTo>
                      <a:pt x="146" y="31"/>
                    </a:lnTo>
                    <a:lnTo>
                      <a:pt x="153" y="30"/>
                    </a:lnTo>
                    <a:lnTo>
                      <a:pt x="153" y="56"/>
                    </a:lnTo>
                    <a:lnTo>
                      <a:pt x="149" y="60"/>
                    </a:lnTo>
                    <a:lnTo>
                      <a:pt x="145" y="65"/>
                    </a:lnTo>
                    <a:lnTo>
                      <a:pt x="138" y="69"/>
                    </a:lnTo>
                    <a:lnTo>
                      <a:pt x="132" y="72"/>
                    </a:lnTo>
                    <a:lnTo>
                      <a:pt x="125" y="75"/>
                    </a:lnTo>
                    <a:lnTo>
                      <a:pt x="119" y="78"/>
                    </a:lnTo>
                    <a:lnTo>
                      <a:pt x="112" y="79"/>
                    </a:lnTo>
                    <a:lnTo>
                      <a:pt x="106" y="80"/>
                    </a:lnTo>
                    <a:lnTo>
                      <a:pt x="90" y="74"/>
                    </a:lnTo>
                    <a:lnTo>
                      <a:pt x="76" y="71"/>
                    </a:lnTo>
                    <a:lnTo>
                      <a:pt x="63" y="69"/>
                    </a:lnTo>
                    <a:lnTo>
                      <a:pt x="50" y="69"/>
                    </a:lnTo>
                    <a:lnTo>
                      <a:pt x="39" y="68"/>
                    </a:lnTo>
                    <a:lnTo>
                      <a:pt x="27" y="67"/>
                    </a:lnTo>
                    <a:lnTo>
                      <a:pt x="14" y="65"/>
                    </a:lnTo>
                    <a:lnTo>
                      <a:pt x="0" y="62"/>
                    </a:lnTo>
                    <a:lnTo>
                      <a:pt x="7" y="58"/>
                    </a:lnTo>
                    <a:lnTo>
                      <a:pt x="23" y="45"/>
                    </a:lnTo>
                    <a:lnTo>
                      <a:pt x="34" y="37"/>
                    </a:lnTo>
                    <a:lnTo>
                      <a:pt x="45" y="28"/>
                    </a:lnTo>
                    <a:lnTo>
                      <a:pt x="56" y="17"/>
                    </a:lnTo>
                    <a:lnTo>
                      <a:pt x="67" y="6"/>
                    </a:lnTo>
                    <a:lnTo>
                      <a:pt x="6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99" name="Freeform 221">
                <a:extLst>
                  <a:ext uri="{FF2B5EF4-FFF2-40B4-BE49-F238E27FC236}">
                    <a16:creationId xmlns="" xmlns:a16="http://schemas.microsoft.com/office/drawing/2014/main" id="{9F894A9A-247D-45CA-BDCA-1DB3320A7247}"/>
                  </a:ext>
                </a:extLst>
              </p:cNvPr>
              <p:cNvSpPr>
                <a:spLocks/>
              </p:cNvSpPr>
              <p:nvPr>
                <p:custDataLst>
                  <p:tags r:id="rId148"/>
                </p:custDataLst>
              </p:nvPr>
            </p:nvSpPr>
            <p:spPr bwMode="auto">
              <a:xfrm>
                <a:off x="1800225" y="3179763"/>
                <a:ext cx="142875" cy="87312"/>
              </a:xfrm>
              <a:custGeom>
                <a:avLst/>
                <a:gdLst>
                  <a:gd name="T0" fmla="*/ 0 w 332"/>
                  <a:gd name="T1" fmla="*/ 2147483646 h 169"/>
                  <a:gd name="T2" fmla="*/ 2147483646 w 332"/>
                  <a:gd name="T3" fmla="*/ 2147483646 h 169"/>
                  <a:gd name="T4" fmla="*/ 2147483646 w 332"/>
                  <a:gd name="T5" fmla="*/ 2147483646 h 169"/>
                  <a:gd name="T6" fmla="*/ 2147483646 w 332"/>
                  <a:gd name="T7" fmla="*/ 2147483646 h 169"/>
                  <a:gd name="T8" fmla="*/ 2147483646 w 332"/>
                  <a:gd name="T9" fmla="*/ 2147483646 h 169"/>
                  <a:gd name="T10" fmla="*/ 2147483646 w 332"/>
                  <a:gd name="T11" fmla="*/ 2147483646 h 169"/>
                  <a:gd name="T12" fmla="*/ 2147483646 w 332"/>
                  <a:gd name="T13" fmla="*/ 2147483646 h 169"/>
                  <a:gd name="T14" fmla="*/ 2147483646 w 332"/>
                  <a:gd name="T15" fmla="*/ 2147483646 h 169"/>
                  <a:gd name="T16" fmla="*/ 2147483646 w 332"/>
                  <a:gd name="T17" fmla="*/ 2147483646 h 169"/>
                  <a:gd name="T18" fmla="*/ 2147483646 w 332"/>
                  <a:gd name="T19" fmla="*/ 2147483646 h 169"/>
                  <a:gd name="T20" fmla="*/ 2147483646 w 332"/>
                  <a:gd name="T21" fmla="*/ 2147483646 h 169"/>
                  <a:gd name="T22" fmla="*/ 2147483646 w 332"/>
                  <a:gd name="T23" fmla="*/ 2147483646 h 169"/>
                  <a:gd name="T24" fmla="*/ 2147483646 w 332"/>
                  <a:gd name="T25" fmla="*/ 2147483646 h 169"/>
                  <a:gd name="T26" fmla="*/ 2147483646 w 332"/>
                  <a:gd name="T27" fmla="*/ 2147483646 h 169"/>
                  <a:gd name="T28" fmla="*/ 2147483646 w 332"/>
                  <a:gd name="T29" fmla="*/ 2147483646 h 169"/>
                  <a:gd name="T30" fmla="*/ 2147483646 w 332"/>
                  <a:gd name="T31" fmla="*/ 2147483646 h 169"/>
                  <a:gd name="T32" fmla="*/ 2147483646 w 332"/>
                  <a:gd name="T33" fmla="*/ 2147483646 h 169"/>
                  <a:gd name="T34" fmla="*/ 2147483646 w 332"/>
                  <a:gd name="T35" fmla="*/ 2147483646 h 169"/>
                  <a:gd name="T36" fmla="*/ 2147483646 w 332"/>
                  <a:gd name="T37" fmla="*/ 2147483646 h 169"/>
                  <a:gd name="T38" fmla="*/ 2147483646 w 332"/>
                  <a:gd name="T39" fmla="*/ 2147483646 h 169"/>
                  <a:gd name="T40" fmla="*/ 2147483646 w 332"/>
                  <a:gd name="T41" fmla="*/ 2147483646 h 169"/>
                  <a:gd name="T42" fmla="*/ 2147483646 w 332"/>
                  <a:gd name="T43" fmla="*/ 0 h 169"/>
                  <a:gd name="T44" fmla="*/ 2147483646 w 332"/>
                  <a:gd name="T45" fmla="*/ 2147483646 h 169"/>
                  <a:gd name="T46" fmla="*/ 2147483646 w 332"/>
                  <a:gd name="T47" fmla="*/ 2147483646 h 169"/>
                  <a:gd name="T48" fmla="*/ 2147483646 w 332"/>
                  <a:gd name="T49" fmla="*/ 2147483646 h 169"/>
                  <a:gd name="T50" fmla="*/ 2147483646 w 332"/>
                  <a:gd name="T51" fmla="*/ 2147483646 h 169"/>
                  <a:gd name="T52" fmla="*/ 2147483646 w 332"/>
                  <a:gd name="T53" fmla="*/ 2147483646 h 169"/>
                  <a:gd name="T54" fmla="*/ 2147483646 w 332"/>
                  <a:gd name="T55" fmla="*/ 2147483646 h 169"/>
                  <a:gd name="T56" fmla="*/ 2147483646 w 332"/>
                  <a:gd name="T57" fmla="*/ 2147483646 h 169"/>
                  <a:gd name="T58" fmla="*/ 2147483646 w 332"/>
                  <a:gd name="T59" fmla="*/ 2147483646 h 169"/>
                  <a:gd name="T60" fmla="*/ 2147483646 w 332"/>
                  <a:gd name="T61" fmla="*/ 2147483646 h 169"/>
                  <a:gd name="T62" fmla="*/ 2147483646 w 332"/>
                  <a:gd name="T63" fmla="*/ 2147483646 h 169"/>
                  <a:gd name="T64" fmla="*/ 2147483646 w 332"/>
                  <a:gd name="T65" fmla="*/ 2147483646 h 169"/>
                  <a:gd name="T66" fmla="*/ 2147483646 w 332"/>
                  <a:gd name="T67" fmla="*/ 2147483646 h 169"/>
                  <a:gd name="T68" fmla="*/ 2147483646 w 332"/>
                  <a:gd name="T69" fmla="*/ 2147483646 h 169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332"/>
                  <a:gd name="T106" fmla="*/ 0 h 169"/>
                  <a:gd name="T107" fmla="*/ 332 w 332"/>
                  <a:gd name="T108" fmla="*/ 169 h 169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332" h="169">
                    <a:moveTo>
                      <a:pt x="7" y="83"/>
                    </a:moveTo>
                    <a:lnTo>
                      <a:pt x="0" y="77"/>
                    </a:lnTo>
                    <a:lnTo>
                      <a:pt x="23" y="91"/>
                    </a:lnTo>
                    <a:lnTo>
                      <a:pt x="44" y="101"/>
                    </a:lnTo>
                    <a:lnTo>
                      <a:pt x="55" y="105"/>
                    </a:lnTo>
                    <a:lnTo>
                      <a:pt x="66" y="108"/>
                    </a:lnTo>
                    <a:lnTo>
                      <a:pt x="73" y="109"/>
                    </a:lnTo>
                    <a:lnTo>
                      <a:pt x="79" y="109"/>
                    </a:lnTo>
                    <a:lnTo>
                      <a:pt x="86" y="108"/>
                    </a:lnTo>
                    <a:lnTo>
                      <a:pt x="93" y="107"/>
                    </a:lnTo>
                    <a:lnTo>
                      <a:pt x="86" y="139"/>
                    </a:lnTo>
                    <a:lnTo>
                      <a:pt x="90" y="144"/>
                    </a:lnTo>
                    <a:lnTo>
                      <a:pt x="94" y="149"/>
                    </a:lnTo>
                    <a:lnTo>
                      <a:pt x="95" y="154"/>
                    </a:lnTo>
                    <a:lnTo>
                      <a:pt x="97" y="158"/>
                    </a:lnTo>
                    <a:lnTo>
                      <a:pt x="99" y="163"/>
                    </a:lnTo>
                    <a:lnTo>
                      <a:pt x="102" y="166"/>
                    </a:lnTo>
                    <a:lnTo>
                      <a:pt x="107" y="168"/>
                    </a:lnTo>
                    <a:lnTo>
                      <a:pt x="113" y="169"/>
                    </a:lnTo>
                    <a:lnTo>
                      <a:pt x="117" y="169"/>
                    </a:lnTo>
                    <a:lnTo>
                      <a:pt x="120" y="167"/>
                    </a:lnTo>
                    <a:lnTo>
                      <a:pt x="123" y="166"/>
                    </a:lnTo>
                    <a:lnTo>
                      <a:pt x="127" y="163"/>
                    </a:lnTo>
                    <a:lnTo>
                      <a:pt x="132" y="157"/>
                    </a:lnTo>
                    <a:lnTo>
                      <a:pt x="138" y="150"/>
                    </a:lnTo>
                    <a:lnTo>
                      <a:pt x="146" y="136"/>
                    </a:lnTo>
                    <a:lnTo>
                      <a:pt x="153" y="127"/>
                    </a:lnTo>
                    <a:lnTo>
                      <a:pt x="174" y="115"/>
                    </a:lnTo>
                    <a:lnTo>
                      <a:pt x="195" y="105"/>
                    </a:lnTo>
                    <a:lnTo>
                      <a:pt x="214" y="96"/>
                    </a:lnTo>
                    <a:lnTo>
                      <a:pt x="235" y="88"/>
                    </a:lnTo>
                    <a:lnTo>
                      <a:pt x="256" y="80"/>
                    </a:lnTo>
                    <a:lnTo>
                      <a:pt x="279" y="73"/>
                    </a:lnTo>
                    <a:lnTo>
                      <a:pt x="304" y="65"/>
                    </a:lnTo>
                    <a:lnTo>
                      <a:pt x="332" y="58"/>
                    </a:lnTo>
                    <a:lnTo>
                      <a:pt x="332" y="46"/>
                    </a:lnTo>
                    <a:lnTo>
                      <a:pt x="332" y="35"/>
                    </a:lnTo>
                    <a:lnTo>
                      <a:pt x="332" y="22"/>
                    </a:lnTo>
                    <a:lnTo>
                      <a:pt x="332" y="3"/>
                    </a:lnTo>
                    <a:lnTo>
                      <a:pt x="320" y="2"/>
                    </a:lnTo>
                    <a:lnTo>
                      <a:pt x="303" y="2"/>
                    </a:lnTo>
                    <a:lnTo>
                      <a:pt x="283" y="1"/>
                    </a:lnTo>
                    <a:lnTo>
                      <a:pt x="259" y="0"/>
                    </a:lnTo>
                    <a:lnTo>
                      <a:pt x="234" y="0"/>
                    </a:lnTo>
                    <a:lnTo>
                      <a:pt x="208" y="0"/>
                    </a:lnTo>
                    <a:lnTo>
                      <a:pt x="180" y="1"/>
                    </a:lnTo>
                    <a:lnTo>
                      <a:pt x="153" y="3"/>
                    </a:lnTo>
                    <a:lnTo>
                      <a:pt x="131" y="4"/>
                    </a:lnTo>
                    <a:lnTo>
                      <a:pt x="110" y="6"/>
                    </a:lnTo>
                    <a:lnTo>
                      <a:pt x="90" y="10"/>
                    </a:lnTo>
                    <a:lnTo>
                      <a:pt x="73" y="15"/>
                    </a:lnTo>
                    <a:lnTo>
                      <a:pt x="59" y="19"/>
                    </a:lnTo>
                    <a:lnTo>
                      <a:pt x="46" y="22"/>
                    </a:lnTo>
                    <a:lnTo>
                      <a:pt x="42" y="22"/>
                    </a:lnTo>
                    <a:lnTo>
                      <a:pt x="38" y="23"/>
                    </a:lnTo>
                    <a:lnTo>
                      <a:pt x="35" y="23"/>
                    </a:lnTo>
                    <a:lnTo>
                      <a:pt x="33" y="22"/>
                    </a:lnTo>
                    <a:lnTo>
                      <a:pt x="34" y="26"/>
                    </a:lnTo>
                    <a:lnTo>
                      <a:pt x="34" y="34"/>
                    </a:lnTo>
                    <a:lnTo>
                      <a:pt x="33" y="38"/>
                    </a:lnTo>
                    <a:lnTo>
                      <a:pt x="30" y="42"/>
                    </a:lnTo>
                    <a:lnTo>
                      <a:pt x="29" y="44"/>
                    </a:lnTo>
                    <a:lnTo>
                      <a:pt x="27" y="45"/>
                    </a:lnTo>
                    <a:lnTo>
                      <a:pt x="23" y="46"/>
                    </a:lnTo>
                    <a:lnTo>
                      <a:pt x="20" y="46"/>
                    </a:lnTo>
                    <a:lnTo>
                      <a:pt x="19" y="55"/>
                    </a:lnTo>
                    <a:lnTo>
                      <a:pt x="16" y="63"/>
                    </a:lnTo>
                    <a:lnTo>
                      <a:pt x="11" y="72"/>
                    </a:lnTo>
                    <a:lnTo>
                      <a:pt x="7" y="77"/>
                    </a:lnTo>
                    <a:lnTo>
                      <a:pt x="7" y="83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00" name="Freeform 222">
                <a:extLst>
                  <a:ext uri="{FF2B5EF4-FFF2-40B4-BE49-F238E27FC236}">
                    <a16:creationId xmlns="" xmlns:a16="http://schemas.microsoft.com/office/drawing/2014/main" id="{AC8D2ED0-9946-4320-9EAF-5A1B3CDAA39D}"/>
                  </a:ext>
                </a:extLst>
              </p:cNvPr>
              <p:cNvSpPr>
                <a:spLocks/>
              </p:cNvSpPr>
              <p:nvPr>
                <p:custDataLst>
                  <p:tags r:id="rId149"/>
                </p:custDataLst>
              </p:nvPr>
            </p:nvSpPr>
            <p:spPr bwMode="auto">
              <a:xfrm>
                <a:off x="1817688" y="3209925"/>
                <a:ext cx="125412" cy="122238"/>
              </a:xfrm>
              <a:custGeom>
                <a:avLst/>
                <a:gdLst>
                  <a:gd name="T0" fmla="*/ 2147483646 w 286"/>
                  <a:gd name="T1" fmla="*/ 2147483646 h 235"/>
                  <a:gd name="T2" fmla="*/ 2147483646 w 286"/>
                  <a:gd name="T3" fmla="*/ 2147483646 h 235"/>
                  <a:gd name="T4" fmla="*/ 2147483646 w 286"/>
                  <a:gd name="T5" fmla="*/ 2147483646 h 235"/>
                  <a:gd name="T6" fmla="*/ 2147483646 w 286"/>
                  <a:gd name="T7" fmla="*/ 2147483646 h 235"/>
                  <a:gd name="T8" fmla="*/ 2147483646 w 286"/>
                  <a:gd name="T9" fmla="*/ 2147483646 h 235"/>
                  <a:gd name="T10" fmla="*/ 2147483646 w 286"/>
                  <a:gd name="T11" fmla="*/ 2147483646 h 235"/>
                  <a:gd name="T12" fmla="*/ 2147483646 w 286"/>
                  <a:gd name="T13" fmla="*/ 2147483646 h 235"/>
                  <a:gd name="T14" fmla="*/ 2147483646 w 286"/>
                  <a:gd name="T15" fmla="*/ 2147483646 h 235"/>
                  <a:gd name="T16" fmla="*/ 2147483646 w 286"/>
                  <a:gd name="T17" fmla="*/ 2147483646 h 235"/>
                  <a:gd name="T18" fmla="*/ 2147483646 w 286"/>
                  <a:gd name="T19" fmla="*/ 2147483646 h 235"/>
                  <a:gd name="T20" fmla="*/ 2147483646 w 286"/>
                  <a:gd name="T21" fmla="*/ 2147483646 h 235"/>
                  <a:gd name="T22" fmla="*/ 2147483646 w 286"/>
                  <a:gd name="T23" fmla="*/ 2147483646 h 235"/>
                  <a:gd name="T24" fmla="*/ 2147483646 w 286"/>
                  <a:gd name="T25" fmla="*/ 2147483646 h 235"/>
                  <a:gd name="T26" fmla="*/ 2147483646 w 286"/>
                  <a:gd name="T27" fmla="*/ 2147483646 h 235"/>
                  <a:gd name="T28" fmla="*/ 2147483646 w 286"/>
                  <a:gd name="T29" fmla="*/ 2147483646 h 235"/>
                  <a:gd name="T30" fmla="*/ 2147483646 w 286"/>
                  <a:gd name="T31" fmla="*/ 2147483646 h 235"/>
                  <a:gd name="T32" fmla="*/ 2147483646 w 286"/>
                  <a:gd name="T33" fmla="*/ 2147483646 h 235"/>
                  <a:gd name="T34" fmla="*/ 2147483646 w 286"/>
                  <a:gd name="T35" fmla="*/ 2147483646 h 235"/>
                  <a:gd name="T36" fmla="*/ 2147483646 w 286"/>
                  <a:gd name="T37" fmla="*/ 2147483646 h 235"/>
                  <a:gd name="T38" fmla="*/ 2147483646 w 286"/>
                  <a:gd name="T39" fmla="*/ 2147483646 h 235"/>
                  <a:gd name="T40" fmla="*/ 2147483646 w 286"/>
                  <a:gd name="T41" fmla="*/ 2147483646 h 235"/>
                  <a:gd name="T42" fmla="*/ 2147483646 w 286"/>
                  <a:gd name="T43" fmla="*/ 2147483646 h 235"/>
                  <a:gd name="T44" fmla="*/ 2147483646 w 286"/>
                  <a:gd name="T45" fmla="*/ 2147483646 h 235"/>
                  <a:gd name="T46" fmla="*/ 2147483646 w 286"/>
                  <a:gd name="T47" fmla="*/ 2147483646 h 235"/>
                  <a:gd name="T48" fmla="*/ 2147483646 w 286"/>
                  <a:gd name="T49" fmla="*/ 2147483646 h 235"/>
                  <a:gd name="T50" fmla="*/ 2147483646 w 286"/>
                  <a:gd name="T51" fmla="*/ 2147483646 h 235"/>
                  <a:gd name="T52" fmla="*/ 2147483646 w 286"/>
                  <a:gd name="T53" fmla="*/ 2147483646 h 235"/>
                  <a:gd name="T54" fmla="*/ 2147483646 w 286"/>
                  <a:gd name="T55" fmla="*/ 2147483646 h 235"/>
                  <a:gd name="T56" fmla="*/ 0 w 286"/>
                  <a:gd name="T57" fmla="*/ 2147483646 h 235"/>
                  <a:gd name="T58" fmla="*/ 2147483646 w 286"/>
                  <a:gd name="T59" fmla="*/ 2147483646 h 235"/>
                  <a:gd name="T60" fmla="*/ 2147483646 w 286"/>
                  <a:gd name="T61" fmla="*/ 2147483646 h 235"/>
                  <a:gd name="T62" fmla="*/ 2147483646 w 286"/>
                  <a:gd name="T63" fmla="*/ 2147483646 h 235"/>
                  <a:gd name="T64" fmla="*/ 2147483646 w 286"/>
                  <a:gd name="T65" fmla="*/ 2147483646 h 235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86"/>
                  <a:gd name="T100" fmla="*/ 0 h 235"/>
                  <a:gd name="T101" fmla="*/ 286 w 286"/>
                  <a:gd name="T102" fmla="*/ 235 h 235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86" h="235">
                    <a:moveTo>
                      <a:pt x="40" y="81"/>
                    </a:moveTo>
                    <a:lnTo>
                      <a:pt x="44" y="86"/>
                    </a:lnTo>
                    <a:lnTo>
                      <a:pt x="48" y="91"/>
                    </a:lnTo>
                    <a:lnTo>
                      <a:pt x="49" y="96"/>
                    </a:lnTo>
                    <a:lnTo>
                      <a:pt x="51" y="100"/>
                    </a:lnTo>
                    <a:lnTo>
                      <a:pt x="53" y="105"/>
                    </a:lnTo>
                    <a:lnTo>
                      <a:pt x="56" y="108"/>
                    </a:lnTo>
                    <a:lnTo>
                      <a:pt x="61" y="110"/>
                    </a:lnTo>
                    <a:lnTo>
                      <a:pt x="67" y="111"/>
                    </a:lnTo>
                    <a:lnTo>
                      <a:pt x="71" y="111"/>
                    </a:lnTo>
                    <a:lnTo>
                      <a:pt x="74" y="109"/>
                    </a:lnTo>
                    <a:lnTo>
                      <a:pt x="77" y="108"/>
                    </a:lnTo>
                    <a:lnTo>
                      <a:pt x="81" y="105"/>
                    </a:lnTo>
                    <a:lnTo>
                      <a:pt x="86" y="99"/>
                    </a:lnTo>
                    <a:lnTo>
                      <a:pt x="92" y="92"/>
                    </a:lnTo>
                    <a:lnTo>
                      <a:pt x="100" y="78"/>
                    </a:lnTo>
                    <a:lnTo>
                      <a:pt x="107" y="69"/>
                    </a:lnTo>
                    <a:lnTo>
                      <a:pt x="128" y="57"/>
                    </a:lnTo>
                    <a:lnTo>
                      <a:pt x="149" y="47"/>
                    </a:lnTo>
                    <a:lnTo>
                      <a:pt x="168" y="38"/>
                    </a:lnTo>
                    <a:lnTo>
                      <a:pt x="189" y="30"/>
                    </a:lnTo>
                    <a:lnTo>
                      <a:pt x="210" y="22"/>
                    </a:lnTo>
                    <a:lnTo>
                      <a:pt x="233" y="15"/>
                    </a:lnTo>
                    <a:lnTo>
                      <a:pt x="258" y="7"/>
                    </a:lnTo>
                    <a:lnTo>
                      <a:pt x="286" y="0"/>
                    </a:lnTo>
                    <a:lnTo>
                      <a:pt x="286" y="11"/>
                    </a:lnTo>
                    <a:lnTo>
                      <a:pt x="284" y="21"/>
                    </a:lnTo>
                    <a:lnTo>
                      <a:pt x="282" y="32"/>
                    </a:lnTo>
                    <a:lnTo>
                      <a:pt x="279" y="44"/>
                    </a:lnTo>
                    <a:lnTo>
                      <a:pt x="272" y="70"/>
                    </a:lnTo>
                    <a:lnTo>
                      <a:pt x="263" y="97"/>
                    </a:lnTo>
                    <a:lnTo>
                      <a:pt x="254" y="128"/>
                    </a:lnTo>
                    <a:lnTo>
                      <a:pt x="246" y="158"/>
                    </a:lnTo>
                    <a:lnTo>
                      <a:pt x="244" y="174"/>
                    </a:lnTo>
                    <a:lnTo>
                      <a:pt x="242" y="190"/>
                    </a:lnTo>
                    <a:lnTo>
                      <a:pt x="240" y="206"/>
                    </a:lnTo>
                    <a:lnTo>
                      <a:pt x="240" y="222"/>
                    </a:lnTo>
                    <a:lnTo>
                      <a:pt x="146" y="216"/>
                    </a:lnTo>
                    <a:lnTo>
                      <a:pt x="142" y="216"/>
                    </a:lnTo>
                    <a:lnTo>
                      <a:pt x="138" y="218"/>
                    </a:lnTo>
                    <a:lnTo>
                      <a:pt x="134" y="220"/>
                    </a:lnTo>
                    <a:lnTo>
                      <a:pt x="132" y="223"/>
                    </a:lnTo>
                    <a:lnTo>
                      <a:pt x="128" y="229"/>
                    </a:lnTo>
                    <a:lnTo>
                      <a:pt x="127" y="235"/>
                    </a:lnTo>
                    <a:lnTo>
                      <a:pt x="117" y="226"/>
                    </a:lnTo>
                    <a:lnTo>
                      <a:pt x="109" y="217"/>
                    </a:lnTo>
                    <a:lnTo>
                      <a:pt x="101" y="208"/>
                    </a:lnTo>
                    <a:lnTo>
                      <a:pt x="94" y="199"/>
                    </a:lnTo>
                    <a:lnTo>
                      <a:pt x="81" y="180"/>
                    </a:lnTo>
                    <a:lnTo>
                      <a:pt x="69" y="160"/>
                    </a:lnTo>
                    <a:lnTo>
                      <a:pt x="62" y="150"/>
                    </a:lnTo>
                    <a:lnTo>
                      <a:pt x="55" y="142"/>
                    </a:lnTo>
                    <a:lnTo>
                      <a:pt x="49" y="133"/>
                    </a:lnTo>
                    <a:lnTo>
                      <a:pt x="41" y="125"/>
                    </a:lnTo>
                    <a:lnTo>
                      <a:pt x="32" y="117"/>
                    </a:lnTo>
                    <a:lnTo>
                      <a:pt x="22" y="110"/>
                    </a:lnTo>
                    <a:lnTo>
                      <a:pt x="13" y="104"/>
                    </a:lnTo>
                    <a:lnTo>
                      <a:pt x="0" y="99"/>
                    </a:lnTo>
                    <a:lnTo>
                      <a:pt x="6" y="98"/>
                    </a:lnTo>
                    <a:lnTo>
                      <a:pt x="13" y="97"/>
                    </a:lnTo>
                    <a:lnTo>
                      <a:pt x="19" y="94"/>
                    </a:lnTo>
                    <a:lnTo>
                      <a:pt x="26" y="91"/>
                    </a:lnTo>
                    <a:lnTo>
                      <a:pt x="32" y="88"/>
                    </a:lnTo>
                    <a:lnTo>
                      <a:pt x="39" y="84"/>
                    </a:lnTo>
                    <a:lnTo>
                      <a:pt x="43" y="79"/>
                    </a:lnTo>
                    <a:lnTo>
                      <a:pt x="47" y="75"/>
                    </a:lnTo>
                    <a:lnTo>
                      <a:pt x="40" y="81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01" name="Freeform 223">
                <a:extLst>
                  <a:ext uri="{FF2B5EF4-FFF2-40B4-BE49-F238E27FC236}">
                    <a16:creationId xmlns="" xmlns:a16="http://schemas.microsoft.com/office/drawing/2014/main" id="{43CDD580-B574-4A32-AD7D-50F144A124BD}"/>
                  </a:ext>
                </a:extLst>
              </p:cNvPr>
              <p:cNvSpPr>
                <a:spLocks/>
              </p:cNvSpPr>
              <p:nvPr>
                <p:custDataLst>
                  <p:tags r:id="rId150"/>
                </p:custDataLst>
              </p:nvPr>
            </p:nvSpPr>
            <p:spPr bwMode="auto">
              <a:xfrm>
                <a:off x="1868488" y="3322638"/>
                <a:ext cx="84137" cy="100012"/>
              </a:xfrm>
              <a:custGeom>
                <a:avLst/>
                <a:gdLst>
                  <a:gd name="T0" fmla="*/ 2147483646 w 205"/>
                  <a:gd name="T1" fmla="*/ 2147483646 h 191"/>
                  <a:gd name="T2" fmla="*/ 2147483646 w 205"/>
                  <a:gd name="T3" fmla="*/ 2147483646 h 191"/>
                  <a:gd name="T4" fmla="*/ 2147483646 w 205"/>
                  <a:gd name="T5" fmla="*/ 2147483646 h 191"/>
                  <a:gd name="T6" fmla="*/ 2147483646 w 205"/>
                  <a:gd name="T7" fmla="*/ 2147483646 h 191"/>
                  <a:gd name="T8" fmla="*/ 2147483646 w 205"/>
                  <a:gd name="T9" fmla="*/ 2147483646 h 191"/>
                  <a:gd name="T10" fmla="*/ 2147483646 w 205"/>
                  <a:gd name="T11" fmla="*/ 2147483646 h 191"/>
                  <a:gd name="T12" fmla="*/ 2147483646 w 205"/>
                  <a:gd name="T13" fmla="*/ 2147483646 h 191"/>
                  <a:gd name="T14" fmla="*/ 2147483646 w 205"/>
                  <a:gd name="T15" fmla="*/ 2147483646 h 191"/>
                  <a:gd name="T16" fmla="*/ 2147483646 w 205"/>
                  <a:gd name="T17" fmla="*/ 2147483646 h 191"/>
                  <a:gd name="T18" fmla="*/ 2147483646 w 205"/>
                  <a:gd name="T19" fmla="*/ 2147483646 h 191"/>
                  <a:gd name="T20" fmla="*/ 2147483646 w 205"/>
                  <a:gd name="T21" fmla="*/ 2147483646 h 191"/>
                  <a:gd name="T22" fmla="*/ 2147483646 w 205"/>
                  <a:gd name="T23" fmla="*/ 2147483646 h 191"/>
                  <a:gd name="T24" fmla="*/ 2147483646 w 205"/>
                  <a:gd name="T25" fmla="*/ 2147483646 h 191"/>
                  <a:gd name="T26" fmla="*/ 2147483646 w 205"/>
                  <a:gd name="T27" fmla="*/ 2147483646 h 191"/>
                  <a:gd name="T28" fmla="*/ 2147483646 w 205"/>
                  <a:gd name="T29" fmla="*/ 2147483646 h 191"/>
                  <a:gd name="T30" fmla="*/ 2147483646 w 205"/>
                  <a:gd name="T31" fmla="*/ 2147483646 h 191"/>
                  <a:gd name="T32" fmla="*/ 2147483646 w 205"/>
                  <a:gd name="T33" fmla="*/ 2147483646 h 191"/>
                  <a:gd name="T34" fmla="*/ 2147483646 w 205"/>
                  <a:gd name="T35" fmla="*/ 2147483646 h 191"/>
                  <a:gd name="T36" fmla="*/ 2147483646 w 205"/>
                  <a:gd name="T37" fmla="*/ 2147483646 h 191"/>
                  <a:gd name="T38" fmla="*/ 2147483646 w 205"/>
                  <a:gd name="T39" fmla="*/ 2147483646 h 191"/>
                  <a:gd name="T40" fmla="*/ 2147483646 w 205"/>
                  <a:gd name="T41" fmla="*/ 2147483646 h 191"/>
                  <a:gd name="T42" fmla="*/ 2147483646 w 205"/>
                  <a:gd name="T43" fmla="*/ 2147483646 h 191"/>
                  <a:gd name="T44" fmla="*/ 2147483646 w 205"/>
                  <a:gd name="T45" fmla="*/ 2147483646 h 191"/>
                  <a:gd name="T46" fmla="*/ 0 w 205"/>
                  <a:gd name="T47" fmla="*/ 2147483646 h 191"/>
                  <a:gd name="T48" fmla="*/ 0 w 205"/>
                  <a:gd name="T49" fmla="*/ 2147483646 h 191"/>
                  <a:gd name="T50" fmla="*/ 2147483646 w 205"/>
                  <a:gd name="T51" fmla="*/ 2147483646 h 191"/>
                  <a:gd name="T52" fmla="*/ 2147483646 w 205"/>
                  <a:gd name="T53" fmla="*/ 2147483646 h 191"/>
                  <a:gd name="T54" fmla="*/ 2147483646 w 205"/>
                  <a:gd name="T55" fmla="*/ 2147483646 h 191"/>
                  <a:gd name="T56" fmla="*/ 2147483646 w 205"/>
                  <a:gd name="T57" fmla="*/ 2147483646 h 191"/>
                  <a:gd name="T58" fmla="*/ 2147483646 w 205"/>
                  <a:gd name="T59" fmla="*/ 0 h 191"/>
                  <a:gd name="T60" fmla="*/ 2147483646 w 205"/>
                  <a:gd name="T61" fmla="*/ 2147483646 h 191"/>
                  <a:gd name="T62" fmla="*/ 2147483646 w 205"/>
                  <a:gd name="T63" fmla="*/ 2147483646 h 191"/>
                  <a:gd name="T64" fmla="*/ 2147483646 w 205"/>
                  <a:gd name="T65" fmla="*/ 2147483646 h 191"/>
                  <a:gd name="T66" fmla="*/ 2147483646 w 205"/>
                  <a:gd name="T67" fmla="*/ 2147483646 h 191"/>
                  <a:gd name="T68" fmla="*/ 2147483646 w 205"/>
                  <a:gd name="T69" fmla="*/ 2147483646 h 191"/>
                  <a:gd name="T70" fmla="*/ 2147483646 w 205"/>
                  <a:gd name="T71" fmla="*/ 2147483646 h 191"/>
                  <a:gd name="T72" fmla="*/ 2147483646 w 205"/>
                  <a:gd name="T73" fmla="*/ 2147483646 h 191"/>
                  <a:gd name="T74" fmla="*/ 2147483646 w 205"/>
                  <a:gd name="T75" fmla="*/ 2147483646 h 191"/>
                  <a:gd name="T76" fmla="*/ 2147483646 w 205"/>
                  <a:gd name="T77" fmla="*/ 2147483646 h 191"/>
                  <a:gd name="T78" fmla="*/ 2147483646 w 205"/>
                  <a:gd name="T79" fmla="*/ 2147483646 h 191"/>
                  <a:gd name="T80" fmla="*/ 2147483646 w 205"/>
                  <a:gd name="T81" fmla="*/ 2147483646 h 191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205"/>
                  <a:gd name="T124" fmla="*/ 0 h 191"/>
                  <a:gd name="T125" fmla="*/ 205 w 205"/>
                  <a:gd name="T126" fmla="*/ 191 h 191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205" h="191">
                    <a:moveTo>
                      <a:pt x="205" y="185"/>
                    </a:moveTo>
                    <a:lnTo>
                      <a:pt x="188" y="185"/>
                    </a:lnTo>
                    <a:lnTo>
                      <a:pt x="181" y="185"/>
                    </a:lnTo>
                    <a:lnTo>
                      <a:pt x="175" y="185"/>
                    </a:lnTo>
                    <a:lnTo>
                      <a:pt x="165" y="185"/>
                    </a:lnTo>
                    <a:lnTo>
                      <a:pt x="158" y="185"/>
                    </a:lnTo>
                    <a:lnTo>
                      <a:pt x="151" y="182"/>
                    </a:lnTo>
                    <a:lnTo>
                      <a:pt x="144" y="180"/>
                    </a:lnTo>
                    <a:lnTo>
                      <a:pt x="140" y="177"/>
                    </a:lnTo>
                    <a:lnTo>
                      <a:pt x="136" y="173"/>
                    </a:lnTo>
                    <a:lnTo>
                      <a:pt x="132" y="168"/>
                    </a:lnTo>
                    <a:lnTo>
                      <a:pt x="129" y="163"/>
                    </a:lnTo>
                    <a:lnTo>
                      <a:pt x="127" y="158"/>
                    </a:lnTo>
                    <a:lnTo>
                      <a:pt x="120" y="147"/>
                    </a:lnTo>
                    <a:lnTo>
                      <a:pt x="114" y="136"/>
                    </a:lnTo>
                    <a:lnTo>
                      <a:pt x="110" y="131"/>
                    </a:lnTo>
                    <a:lnTo>
                      <a:pt x="105" y="125"/>
                    </a:lnTo>
                    <a:lnTo>
                      <a:pt x="99" y="121"/>
                    </a:lnTo>
                    <a:lnTo>
                      <a:pt x="93" y="117"/>
                    </a:lnTo>
                    <a:lnTo>
                      <a:pt x="93" y="126"/>
                    </a:lnTo>
                    <a:lnTo>
                      <a:pt x="93" y="136"/>
                    </a:lnTo>
                    <a:lnTo>
                      <a:pt x="90" y="135"/>
                    </a:lnTo>
                    <a:lnTo>
                      <a:pt x="86" y="133"/>
                    </a:lnTo>
                    <a:lnTo>
                      <a:pt x="84" y="130"/>
                    </a:lnTo>
                    <a:lnTo>
                      <a:pt x="80" y="124"/>
                    </a:lnTo>
                    <a:lnTo>
                      <a:pt x="72" y="113"/>
                    </a:lnTo>
                    <a:lnTo>
                      <a:pt x="64" y="100"/>
                    </a:lnTo>
                    <a:lnTo>
                      <a:pt x="56" y="87"/>
                    </a:lnTo>
                    <a:lnTo>
                      <a:pt x="46" y="74"/>
                    </a:lnTo>
                    <a:lnTo>
                      <a:pt x="41" y="67"/>
                    </a:lnTo>
                    <a:lnTo>
                      <a:pt x="36" y="62"/>
                    </a:lnTo>
                    <a:lnTo>
                      <a:pt x="31" y="58"/>
                    </a:lnTo>
                    <a:lnTo>
                      <a:pt x="26" y="55"/>
                    </a:lnTo>
                    <a:lnTo>
                      <a:pt x="26" y="60"/>
                    </a:lnTo>
                    <a:lnTo>
                      <a:pt x="27" y="64"/>
                    </a:lnTo>
                    <a:lnTo>
                      <a:pt x="29" y="69"/>
                    </a:lnTo>
                    <a:lnTo>
                      <a:pt x="31" y="74"/>
                    </a:lnTo>
                    <a:lnTo>
                      <a:pt x="34" y="78"/>
                    </a:lnTo>
                    <a:lnTo>
                      <a:pt x="37" y="81"/>
                    </a:lnTo>
                    <a:lnTo>
                      <a:pt x="41" y="84"/>
                    </a:lnTo>
                    <a:lnTo>
                      <a:pt x="46" y="87"/>
                    </a:lnTo>
                    <a:lnTo>
                      <a:pt x="46" y="105"/>
                    </a:lnTo>
                    <a:lnTo>
                      <a:pt x="19" y="105"/>
                    </a:lnTo>
                    <a:lnTo>
                      <a:pt x="13" y="98"/>
                    </a:lnTo>
                    <a:lnTo>
                      <a:pt x="8" y="91"/>
                    </a:lnTo>
                    <a:lnTo>
                      <a:pt x="4" y="84"/>
                    </a:lnTo>
                    <a:lnTo>
                      <a:pt x="2" y="77"/>
                    </a:lnTo>
                    <a:lnTo>
                      <a:pt x="0" y="60"/>
                    </a:lnTo>
                    <a:lnTo>
                      <a:pt x="0" y="43"/>
                    </a:lnTo>
                    <a:lnTo>
                      <a:pt x="0" y="38"/>
                    </a:lnTo>
                    <a:lnTo>
                      <a:pt x="1" y="31"/>
                    </a:lnTo>
                    <a:lnTo>
                      <a:pt x="3" y="28"/>
                    </a:lnTo>
                    <a:lnTo>
                      <a:pt x="5" y="25"/>
                    </a:lnTo>
                    <a:lnTo>
                      <a:pt x="8" y="22"/>
                    </a:lnTo>
                    <a:lnTo>
                      <a:pt x="13" y="19"/>
                    </a:lnTo>
                    <a:lnTo>
                      <a:pt x="14" y="13"/>
                    </a:lnTo>
                    <a:lnTo>
                      <a:pt x="18" y="7"/>
                    </a:lnTo>
                    <a:lnTo>
                      <a:pt x="20" y="4"/>
                    </a:lnTo>
                    <a:lnTo>
                      <a:pt x="24" y="2"/>
                    </a:lnTo>
                    <a:lnTo>
                      <a:pt x="28" y="0"/>
                    </a:lnTo>
                    <a:lnTo>
                      <a:pt x="32" y="0"/>
                    </a:lnTo>
                    <a:lnTo>
                      <a:pt x="126" y="6"/>
                    </a:lnTo>
                    <a:lnTo>
                      <a:pt x="126" y="13"/>
                    </a:lnTo>
                    <a:lnTo>
                      <a:pt x="127" y="21"/>
                    </a:lnTo>
                    <a:lnTo>
                      <a:pt x="128" y="29"/>
                    </a:lnTo>
                    <a:lnTo>
                      <a:pt x="130" y="37"/>
                    </a:lnTo>
                    <a:lnTo>
                      <a:pt x="136" y="53"/>
                    </a:lnTo>
                    <a:lnTo>
                      <a:pt x="143" y="70"/>
                    </a:lnTo>
                    <a:lnTo>
                      <a:pt x="153" y="87"/>
                    </a:lnTo>
                    <a:lnTo>
                      <a:pt x="165" y="102"/>
                    </a:lnTo>
                    <a:lnTo>
                      <a:pt x="171" y="110"/>
                    </a:lnTo>
                    <a:lnTo>
                      <a:pt x="177" y="117"/>
                    </a:lnTo>
                    <a:lnTo>
                      <a:pt x="185" y="123"/>
                    </a:lnTo>
                    <a:lnTo>
                      <a:pt x="192" y="130"/>
                    </a:lnTo>
                    <a:lnTo>
                      <a:pt x="191" y="137"/>
                    </a:lnTo>
                    <a:lnTo>
                      <a:pt x="189" y="143"/>
                    </a:lnTo>
                    <a:lnTo>
                      <a:pt x="189" y="149"/>
                    </a:lnTo>
                    <a:lnTo>
                      <a:pt x="189" y="156"/>
                    </a:lnTo>
                    <a:lnTo>
                      <a:pt x="192" y="171"/>
                    </a:lnTo>
                    <a:lnTo>
                      <a:pt x="192" y="191"/>
                    </a:lnTo>
                    <a:lnTo>
                      <a:pt x="192" y="185"/>
                    </a:lnTo>
                    <a:lnTo>
                      <a:pt x="205" y="185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02" name="Freeform 224">
                <a:extLst>
                  <a:ext uri="{FF2B5EF4-FFF2-40B4-BE49-F238E27FC236}">
                    <a16:creationId xmlns="" xmlns:a16="http://schemas.microsoft.com/office/drawing/2014/main" id="{3B9B2E3A-931B-4B72-AD13-315C70590230}"/>
                  </a:ext>
                </a:extLst>
              </p:cNvPr>
              <p:cNvSpPr>
                <a:spLocks/>
              </p:cNvSpPr>
              <p:nvPr>
                <p:custDataLst>
                  <p:tags r:id="rId151"/>
                </p:custDataLst>
              </p:nvPr>
            </p:nvSpPr>
            <p:spPr bwMode="auto">
              <a:xfrm>
                <a:off x="1949450" y="3376613"/>
                <a:ext cx="142875" cy="79375"/>
              </a:xfrm>
              <a:custGeom>
                <a:avLst/>
                <a:gdLst>
                  <a:gd name="T0" fmla="*/ 2147483646 w 329"/>
                  <a:gd name="T1" fmla="*/ 2147483646 h 154"/>
                  <a:gd name="T2" fmla="*/ 0 w 329"/>
                  <a:gd name="T3" fmla="*/ 2147483646 h 154"/>
                  <a:gd name="T4" fmla="*/ 2147483646 w 329"/>
                  <a:gd name="T5" fmla="*/ 2147483646 h 154"/>
                  <a:gd name="T6" fmla="*/ 2147483646 w 329"/>
                  <a:gd name="T7" fmla="*/ 2147483646 h 154"/>
                  <a:gd name="T8" fmla="*/ 2147483646 w 329"/>
                  <a:gd name="T9" fmla="*/ 2147483646 h 154"/>
                  <a:gd name="T10" fmla="*/ 2147483646 w 329"/>
                  <a:gd name="T11" fmla="*/ 2147483646 h 154"/>
                  <a:gd name="T12" fmla="*/ 2147483646 w 329"/>
                  <a:gd name="T13" fmla="*/ 2147483646 h 154"/>
                  <a:gd name="T14" fmla="*/ 2147483646 w 329"/>
                  <a:gd name="T15" fmla="*/ 2147483646 h 154"/>
                  <a:gd name="T16" fmla="*/ 2147483646 w 329"/>
                  <a:gd name="T17" fmla="*/ 2147483646 h 154"/>
                  <a:gd name="T18" fmla="*/ 2147483646 w 329"/>
                  <a:gd name="T19" fmla="*/ 2147483646 h 154"/>
                  <a:gd name="T20" fmla="*/ 2147483646 w 329"/>
                  <a:gd name="T21" fmla="*/ 2147483646 h 154"/>
                  <a:gd name="T22" fmla="*/ 2147483646 w 329"/>
                  <a:gd name="T23" fmla="*/ 0 h 154"/>
                  <a:gd name="T24" fmla="*/ 2147483646 w 329"/>
                  <a:gd name="T25" fmla="*/ 0 h 154"/>
                  <a:gd name="T26" fmla="*/ 2147483646 w 329"/>
                  <a:gd name="T27" fmla="*/ 2147483646 h 154"/>
                  <a:gd name="T28" fmla="*/ 2147483646 w 329"/>
                  <a:gd name="T29" fmla="*/ 2147483646 h 154"/>
                  <a:gd name="T30" fmla="*/ 2147483646 w 329"/>
                  <a:gd name="T31" fmla="*/ 2147483646 h 154"/>
                  <a:gd name="T32" fmla="*/ 2147483646 w 329"/>
                  <a:gd name="T33" fmla="*/ 2147483646 h 154"/>
                  <a:gd name="T34" fmla="*/ 2147483646 w 329"/>
                  <a:gd name="T35" fmla="*/ 2147483646 h 154"/>
                  <a:gd name="T36" fmla="*/ 2147483646 w 329"/>
                  <a:gd name="T37" fmla="*/ 2147483646 h 154"/>
                  <a:gd name="T38" fmla="*/ 2147483646 w 329"/>
                  <a:gd name="T39" fmla="*/ 2147483646 h 154"/>
                  <a:gd name="T40" fmla="*/ 2147483646 w 329"/>
                  <a:gd name="T41" fmla="*/ 2147483646 h 154"/>
                  <a:gd name="T42" fmla="*/ 2147483646 w 329"/>
                  <a:gd name="T43" fmla="*/ 2147483646 h 154"/>
                  <a:gd name="T44" fmla="*/ 2147483646 w 329"/>
                  <a:gd name="T45" fmla="*/ 2147483646 h 154"/>
                  <a:gd name="T46" fmla="*/ 2147483646 w 329"/>
                  <a:gd name="T47" fmla="*/ 2147483646 h 154"/>
                  <a:gd name="T48" fmla="*/ 2147483646 w 329"/>
                  <a:gd name="T49" fmla="*/ 2147483646 h 154"/>
                  <a:gd name="T50" fmla="*/ 2147483646 w 329"/>
                  <a:gd name="T51" fmla="*/ 2147483646 h 154"/>
                  <a:gd name="T52" fmla="*/ 2147483646 w 329"/>
                  <a:gd name="T53" fmla="*/ 2147483646 h 154"/>
                  <a:gd name="T54" fmla="*/ 2147483646 w 329"/>
                  <a:gd name="T55" fmla="*/ 2147483646 h 154"/>
                  <a:gd name="T56" fmla="*/ 2147483646 w 329"/>
                  <a:gd name="T57" fmla="*/ 2147483646 h 154"/>
                  <a:gd name="T58" fmla="*/ 2147483646 w 329"/>
                  <a:gd name="T59" fmla="*/ 2147483646 h 154"/>
                  <a:gd name="T60" fmla="*/ 2147483646 w 329"/>
                  <a:gd name="T61" fmla="*/ 2147483646 h 154"/>
                  <a:gd name="T62" fmla="*/ 2147483646 w 329"/>
                  <a:gd name="T63" fmla="*/ 2147483646 h 154"/>
                  <a:gd name="T64" fmla="*/ 2147483646 w 329"/>
                  <a:gd name="T65" fmla="*/ 2147483646 h 154"/>
                  <a:gd name="T66" fmla="*/ 2147483646 w 329"/>
                  <a:gd name="T67" fmla="*/ 2147483646 h 154"/>
                  <a:gd name="T68" fmla="*/ 2147483646 w 329"/>
                  <a:gd name="T69" fmla="*/ 2147483646 h 154"/>
                  <a:gd name="T70" fmla="*/ 2147483646 w 329"/>
                  <a:gd name="T71" fmla="*/ 2147483646 h 154"/>
                  <a:gd name="T72" fmla="*/ 2147483646 w 329"/>
                  <a:gd name="T73" fmla="*/ 2147483646 h 154"/>
                  <a:gd name="T74" fmla="*/ 2147483646 w 329"/>
                  <a:gd name="T75" fmla="*/ 2147483646 h 154"/>
                  <a:gd name="T76" fmla="*/ 2147483646 w 329"/>
                  <a:gd name="T77" fmla="*/ 2147483646 h 154"/>
                  <a:gd name="T78" fmla="*/ 2147483646 w 329"/>
                  <a:gd name="T79" fmla="*/ 2147483646 h 154"/>
                  <a:gd name="T80" fmla="*/ 2147483646 w 329"/>
                  <a:gd name="T81" fmla="*/ 2147483646 h 154"/>
                  <a:gd name="T82" fmla="*/ 2147483646 w 329"/>
                  <a:gd name="T83" fmla="*/ 2147483646 h 154"/>
                  <a:gd name="T84" fmla="*/ 2147483646 w 329"/>
                  <a:gd name="T85" fmla="*/ 2147483646 h 154"/>
                  <a:gd name="T86" fmla="*/ 2147483646 w 329"/>
                  <a:gd name="T87" fmla="*/ 2147483646 h 154"/>
                  <a:gd name="T88" fmla="*/ 2147483646 w 329"/>
                  <a:gd name="T89" fmla="*/ 2147483646 h 154"/>
                  <a:gd name="T90" fmla="*/ 2147483646 w 329"/>
                  <a:gd name="T91" fmla="*/ 2147483646 h 154"/>
                  <a:gd name="T92" fmla="*/ 2147483646 w 329"/>
                  <a:gd name="T93" fmla="*/ 2147483646 h 154"/>
                  <a:gd name="T94" fmla="*/ 2147483646 w 329"/>
                  <a:gd name="T95" fmla="*/ 2147483646 h 154"/>
                  <a:gd name="T96" fmla="*/ 2147483646 w 329"/>
                  <a:gd name="T97" fmla="*/ 2147483646 h 15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329"/>
                  <a:gd name="T148" fmla="*/ 0 h 154"/>
                  <a:gd name="T149" fmla="*/ 329 w 329"/>
                  <a:gd name="T150" fmla="*/ 154 h 154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329" h="154">
                    <a:moveTo>
                      <a:pt x="3" y="73"/>
                    </a:moveTo>
                    <a:lnTo>
                      <a:pt x="3" y="58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37"/>
                    </a:lnTo>
                    <a:lnTo>
                      <a:pt x="2" y="31"/>
                    </a:lnTo>
                    <a:lnTo>
                      <a:pt x="3" y="25"/>
                    </a:lnTo>
                    <a:lnTo>
                      <a:pt x="17" y="33"/>
                    </a:lnTo>
                    <a:lnTo>
                      <a:pt x="30" y="39"/>
                    </a:lnTo>
                    <a:lnTo>
                      <a:pt x="36" y="41"/>
                    </a:lnTo>
                    <a:lnTo>
                      <a:pt x="42" y="42"/>
                    </a:lnTo>
                    <a:lnTo>
                      <a:pt x="49" y="43"/>
                    </a:lnTo>
                    <a:lnTo>
                      <a:pt x="56" y="43"/>
                    </a:lnTo>
                    <a:lnTo>
                      <a:pt x="67" y="43"/>
                    </a:lnTo>
                    <a:lnTo>
                      <a:pt x="77" y="41"/>
                    </a:lnTo>
                    <a:lnTo>
                      <a:pt x="86" y="39"/>
                    </a:lnTo>
                    <a:lnTo>
                      <a:pt x="95" y="36"/>
                    </a:lnTo>
                    <a:lnTo>
                      <a:pt x="110" y="30"/>
                    </a:lnTo>
                    <a:lnTo>
                      <a:pt x="126" y="21"/>
                    </a:lnTo>
                    <a:lnTo>
                      <a:pt x="140" y="13"/>
                    </a:lnTo>
                    <a:lnTo>
                      <a:pt x="154" y="6"/>
                    </a:lnTo>
                    <a:lnTo>
                      <a:pt x="162" y="4"/>
                    </a:lnTo>
                    <a:lnTo>
                      <a:pt x="171" y="2"/>
                    </a:lnTo>
                    <a:lnTo>
                      <a:pt x="179" y="0"/>
                    </a:lnTo>
                    <a:lnTo>
                      <a:pt x="189" y="0"/>
                    </a:lnTo>
                    <a:lnTo>
                      <a:pt x="203" y="0"/>
                    </a:lnTo>
                    <a:lnTo>
                      <a:pt x="214" y="3"/>
                    </a:lnTo>
                    <a:lnTo>
                      <a:pt x="224" y="6"/>
                    </a:lnTo>
                    <a:lnTo>
                      <a:pt x="234" y="10"/>
                    </a:lnTo>
                    <a:lnTo>
                      <a:pt x="243" y="15"/>
                    </a:lnTo>
                    <a:lnTo>
                      <a:pt x="251" y="21"/>
                    </a:lnTo>
                    <a:lnTo>
                      <a:pt x="259" y="28"/>
                    </a:lnTo>
                    <a:lnTo>
                      <a:pt x="266" y="34"/>
                    </a:lnTo>
                    <a:lnTo>
                      <a:pt x="280" y="46"/>
                    </a:lnTo>
                    <a:lnTo>
                      <a:pt x="295" y="57"/>
                    </a:lnTo>
                    <a:lnTo>
                      <a:pt x="302" y="61"/>
                    </a:lnTo>
                    <a:lnTo>
                      <a:pt x="310" y="64"/>
                    </a:lnTo>
                    <a:lnTo>
                      <a:pt x="319" y="67"/>
                    </a:lnTo>
                    <a:lnTo>
                      <a:pt x="329" y="67"/>
                    </a:lnTo>
                    <a:lnTo>
                      <a:pt x="313" y="82"/>
                    </a:lnTo>
                    <a:lnTo>
                      <a:pt x="301" y="94"/>
                    </a:lnTo>
                    <a:lnTo>
                      <a:pt x="293" y="106"/>
                    </a:lnTo>
                    <a:lnTo>
                      <a:pt x="286" y="117"/>
                    </a:lnTo>
                    <a:lnTo>
                      <a:pt x="277" y="138"/>
                    </a:lnTo>
                    <a:lnTo>
                      <a:pt x="268" y="154"/>
                    </a:lnTo>
                    <a:lnTo>
                      <a:pt x="265" y="153"/>
                    </a:lnTo>
                    <a:lnTo>
                      <a:pt x="260" y="150"/>
                    </a:lnTo>
                    <a:lnTo>
                      <a:pt x="253" y="146"/>
                    </a:lnTo>
                    <a:lnTo>
                      <a:pt x="246" y="141"/>
                    </a:lnTo>
                    <a:lnTo>
                      <a:pt x="240" y="136"/>
                    </a:lnTo>
                    <a:lnTo>
                      <a:pt x="234" y="130"/>
                    </a:lnTo>
                    <a:lnTo>
                      <a:pt x="230" y="126"/>
                    </a:lnTo>
                    <a:lnTo>
                      <a:pt x="229" y="123"/>
                    </a:lnTo>
                    <a:lnTo>
                      <a:pt x="230" y="114"/>
                    </a:lnTo>
                    <a:lnTo>
                      <a:pt x="232" y="107"/>
                    </a:lnTo>
                    <a:lnTo>
                      <a:pt x="235" y="100"/>
                    </a:lnTo>
                    <a:lnTo>
                      <a:pt x="240" y="95"/>
                    </a:lnTo>
                    <a:lnTo>
                      <a:pt x="249" y="86"/>
                    </a:lnTo>
                    <a:lnTo>
                      <a:pt x="255" y="80"/>
                    </a:lnTo>
                    <a:lnTo>
                      <a:pt x="233" y="68"/>
                    </a:lnTo>
                    <a:lnTo>
                      <a:pt x="215" y="60"/>
                    </a:lnTo>
                    <a:lnTo>
                      <a:pt x="207" y="55"/>
                    </a:lnTo>
                    <a:lnTo>
                      <a:pt x="200" y="49"/>
                    </a:lnTo>
                    <a:lnTo>
                      <a:pt x="195" y="41"/>
                    </a:lnTo>
                    <a:lnTo>
                      <a:pt x="189" y="31"/>
                    </a:lnTo>
                    <a:lnTo>
                      <a:pt x="179" y="34"/>
                    </a:lnTo>
                    <a:lnTo>
                      <a:pt x="171" y="37"/>
                    </a:lnTo>
                    <a:lnTo>
                      <a:pt x="163" y="41"/>
                    </a:lnTo>
                    <a:lnTo>
                      <a:pt x="156" y="45"/>
                    </a:lnTo>
                    <a:lnTo>
                      <a:pt x="150" y="50"/>
                    </a:lnTo>
                    <a:lnTo>
                      <a:pt x="144" y="55"/>
                    </a:lnTo>
                    <a:lnTo>
                      <a:pt x="140" y="61"/>
                    </a:lnTo>
                    <a:lnTo>
                      <a:pt x="136" y="67"/>
                    </a:lnTo>
                    <a:lnTo>
                      <a:pt x="132" y="74"/>
                    </a:lnTo>
                    <a:lnTo>
                      <a:pt x="130" y="81"/>
                    </a:lnTo>
                    <a:lnTo>
                      <a:pt x="128" y="88"/>
                    </a:lnTo>
                    <a:lnTo>
                      <a:pt x="126" y="95"/>
                    </a:lnTo>
                    <a:lnTo>
                      <a:pt x="123" y="109"/>
                    </a:lnTo>
                    <a:lnTo>
                      <a:pt x="122" y="123"/>
                    </a:lnTo>
                    <a:lnTo>
                      <a:pt x="122" y="125"/>
                    </a:lnTo>
                    <a:lnTo>
                      <a:pt x="120" y="127"/>
                    </a:lnTo>
                    <a:lnTo>
                      <a:pt x="118" y="129"/>
                    </a:lnTo>
                    <a:lnTo>
                      <a:pt x="115" y="131"/>
                    </a:lnTo>
                    <a:lnTo>
                      <a:pt x="108" y="135"/>
                    </a:lnTo>
                    <a:lnTo>
                      <a:pt x="103" y="136"/>
                    </a:lnTo>
                    <a:lnTo>
                      <a:pt x="96" y="135"/>
                    </a:lnTo>
                    <a:lnTo>
                      <a:pt x="89" y="132"/>
                    </a:lnTo>
                    <a:lnTo>
                      <a:pt x="83" y="129"/>
                    </a:lnTo>
                    <a:lnTo>
                      <a:pt x="77" y="125"/>
                    </a:lnTo>
                    <a:lnTo>
                      <a:pt x="66" y="116"/>
                    </a:lnTo>
                    <a:lnTo>
                      <a:pt x="58" y="105"/>
                    </a:lnTo>
                    <a:lnTo>
                      <a:pt x="48" y="94"/>
                    </a:lnTo>
                    <a:lnTo>
                      <a:pt x="38" y="84"/>
                    </a:lnTo>
                    <a:lnTo>
                      <a:pt x="33" y="80"/>
                    </a:lnTo>
                    <a:lnTo>
                      <a:pt x="28" y="76"/>
                    </a:lnTo>
                    <a:lnTo>
                      <a:pt x="22" y="74"/>
                    </a:lnTo>
                    <a:lnTo>
                      <a:pt x="16" y="73"/>
                    </a:lnTo>
                    <a:lnTo>
                      <a:pt x="3" y="73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03" name="Freeform 225">
                <a:extLst>
                  <a:ext uri="{FF2B5EF4-FFF2-40B4-BE49-F238E27FC236}">
                    <a16:creationId xmlns="" xmlns:a16="http://schemas.microsoft.com/office/drawing/2014/main" id="{CD9FA799-2616-4C0B-8560-FCCABF5A7554}"/>
                  </a:ext>
                </a:extLst>
              </p:cNvPr>
              <p:cNvSpPr>
                <a:spLocks/>
              </p:cNvSpPr>
              <p:nvPr>
                <p:custDataLst>
                  <p:tags r:id="rId152"/>
                </p:custDataLst>
              </p:nvPr>
            </p:nvSpPr>
            <p:spPr bwMode="auto">
              <a:xfrm>
                <a:off x="2630488" y="4630738"/>
                <a:ext cx="133350" cy="155575"/>
              </a:xfrm>
              <a:custGeom>
                <a:avLst/>
                <a:gdLst>
                  <a:gd name="T0" fmla="*/ 2147483646 w 306"/>
                  <a:gd name="T1" fmla="*/ 2147483646 h 293"/>
                  <a:gd name="T2" fmla="*/ 2147483646 w 306"/>
                  <a:gd name="T3" fmla="*/ 2147483646 h 293"/>
                  <a:gd name="T4" fmla="*/ 2147483646 w 306"/>
                  <a:gd name="T5" fmla="*/ 2147483646 h 293"/>
                  <a:gd name="T6" fmla="*/ 2147483646 w 306"/>
                  <a:gd name="T7" fmla="*/ 2147483646 h 293"/>
                  <a:gd name="T8" fmla="*/ 2147483646 w 306"/>
                  <a:gd name="T9" fmla="*/ 2147483646 h 293"/>
                  <a:gd name="T10" fmla="*/ 2147483646 w 306"/>
                  <a:gd name="T11" fmla="*/ 2147483646 h 293"/>
                  <a:gd name="T12" fmla="*/ 2147483646 w 306"/>
                  <a:gd name="T13" fmla="*/ 2147483646 h 293"/>
                  <a:gd name="T14" fmla="*/ 2147483646 w 306"/>
                  <a:gd name="T15" fmla="*/ 2147483646 h 293"/>
                  <a:gd name="T16" fmla="*/ 2147483646 w 306"/>
                  <a:gd name="T17" fmla="*/ 2147483646 h 293"/>
                  <a:gd name="T18" fmla="*/ 2147483646 w 306"/>
                  <a:gd name="T19" fmla="*/ 2147483646 h 293"/>
                  <a:gd name="T20" fmla="*/ 2147483646 w 306"/>
                  <a:gd name="T21" fmla="*/ 2147483646 h 293"/>
                  <a:gd name="T22" fmla="*/ 2147483646 w 306"/>
                  <a:gd name="T23" fmla="*/ 2147483646 h 293"/>
                  <a:gd name="T24" fmla="*/ 2147483646 w 306"/>
                  <a:gd name="T25" fmla="*/ 2147483646 h 293"/>
                  <a:gd name="T26" fmla="*/ 2147483646 w 306"/>
                  <a:gd name="T27" fmla="*/ 2147483646 h 293"/>
                  <a:gd name="T28" fmla="*/ 2147483646 w 306"/>
                  <a:gd name="T29" fmla="*/ 2147483646 h 293"/>
                  <a:gd name="T30" fmla="*/ 2147483646 w 306"/>
                  <a:gd name="T31" fmla="*/ 2147483646 h 293"/>
                  <a:gd name="T32" fmla="*/ 2147483646 w 306"/>
                  <a:gd name="T33" fmla="*/ 2147483646 h 293"/>
                  <a:gd name="T34" fmla="*/ 2147483646 w 306"/>
                  <a:gd name="T35" fmla="*/ 2147483646 h 293"/>
                  <a:gd name="T36" fmla="*/ 2147483646 w 306"/>
                  <a:gd name="T37" fmla="*/ 2147483646 h 293"/>
                  <a:gd name="T38" fmla="*/ 0 w 306"/>
                  <a:gd name="T39" fmla="*/ 2147483646 h 293"/>
                  <a:gd name="T40" fmla="*/ 2147483646 w 306"/>
                  <a:gd name="T41" fmla="*/ 2147483646 h 293"/>
                  <a:gd name="T42" fmla="*/ 2147483646 w 306"/>
                  <a:gd name="T43" fmla="*/ 2147483646 h 293"/>
                  <a:gd name="T44" fmla="*/ 2147483646 w 306"/>
                  <a:gd name="T45" fmla="*/ 2147483646 h 293"/>
                  <a:gd name="T46" fmla="*/ 2147483646 w 306"/>
                  <a:gd name="T47" fmla="*/ 2147483646 h 293"/>
                  <a:gd name="T48" fmla="*/ 2147483646 w 306"/>
                  <a:gd name="T49" fmla="*/ 2147483646 h 293"/>
                  <a:gd name="T50" fmla="*/ 2147483646 w 306"/>
                  <a:gd name="T51" fmla="*/ 0 h 293"/>
                  <a:gd name="T52" fmla="*/ 2147483646 w 306"/>
                  <a:gd name="T53" fmla="*/ 2147483646 h 293"/>
                  <a:gd name="T54" fmla="*/ 2147483646 w 306"/>
                  <a:gd name="T55" fmla="*/ 2147483646 h 293"/>
                  <a:gd name="T56" fmla="*/ 2147483646 w 306"/>
                  <a:gd name="T57" fmla="*/ 2147483646 h 293"/>
                  <a:gd name="T58" fmla="*/ 2147483646 w 306"/>
                  <a:gd name="T59" fmla="*/ 2147483646 h 293"/>
                  <a:gd name="T60" fmla="*/ 2147483646 w 306"/>
                  <a:gd name="T61" fmla="*/ 2147483646 h 293"/>
                  <a:gd name="T62" fmla="*/ 2147483646 w 306"/>
                  <a:gd name="T63" fmla="*/ 2147483646 h 293"/>
                  <a:gd name="T64" fmla="*/ 2147483646 w 306"/>
                  <a:gd name="T65" fmla="*/ 2147483646 h 293"/>
                  <a:gd name="T66" fmla="*/ 2147483646 w 306"/>
                  <a:gd name="T67" fmla="*/ 2147483646 h 293"/>
                  <a:gd name="T68" fmla="*/ 2147483646 w 306"/>
                  <a:gd name="T69" fmla="*/ 2147483646 h 293"/>
                  <a:gd name="T70" fmla="*/ 2147483646 w 306"/>
                  <a:gd name="T71" fmla="*/ 2147483646 h 293"/>
                  <a:gd name="T72" fmla="*/ 2147483646 w 306"/>
                  <a:gd name="T73" fmla="*/ 2147483646 h 293"/>
                  <a:gd name="T74" fmla="*/ 2147483646 w 306"/>
                  <a:gd name="T75" fmla="*/ 2147483646 h 293"/>
                  <a:gd name="T76" fmla="*/ 2147483646 w 306"/>
                  <a:gd name="T77" fmla="*/ 2147483646 h 293"/>
                  <a:gd name="T78" fmla="*/ 2147483646 w 306"/>
                  <a:gd name="T79" fmla="*/ 2147483646 h 293"/>
                  <a:gd name="T80" fmla="*/ 2147483646 w 306"/>
                  <a:gd name="T81" fmla="*/ 2147483646 h 293"/>
                  <a:gd name="T82" fmla="*/ 2147483646 w 306"/>
                  <a:gd name="T83" fmla="*/ 2147483646 h 293"/>
                  <a:gd name="T84" fmla="*/ 2147483646 w 306"/>
                  <a:gd name="T85" fmla="*/ 2147483646 h 29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06"/>
                  <a:gd name="T130" fmla="*/ 0 h 293"/>
                  <a:gd name="T131" fmla="*/ 306 w 306"/>
                  <a:gd name="T132" fmla="*/ 293 h 29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06" h="293">
                    <a:moveTo>
                      <a:pt x="300" y="169"/>
                    </a:moveTo>
                    <a:lnTo>
                      <a:pt x="297" y="181"/>
                    </a:lnTo>
                    <a:lnTo>
                      <a:pt x="297" y="185"/>
                    </a:lnTo>
                    <a:lnTo>
                      <a:pt x="296" y="185"/>
                    </a:lnTo>
                    <a:lnTo>
                      <a:pt x="294" y="187"/>
                    </a:lnTo>
                    <a:lnTo>
                      <a:pt x="291" y="194"/>
                    </a:lnTo>
                    <a:lnTo>
                      <a:pt x="286" y="197"/>
                    </a:lnTo>
                    <a:lnTo>
                      <a:pt x="282" y="199"/>
                    </a:lnTo>
                    <a:lnTo>
                      <a:pt x="276" y="200"/>
                    </a:lnTo>
                    <a:lnTo>
                      <a:pt x="272" y="201"/>
                    </a:lnTo>
                    <a:lnTo>
                      <a:pt x="267" y="203"/>
                    </a:lnTo>
                    <a:lnTo>
                      <a:pt x="263" y="207"/>
                    </a:lnTo>
                    <a:lnTo>
                      <a:pt x="260" y="212"/>
                    </a:lnTo>
                    <a:lnTo>
                      <a:pt x="253" y="229"/>
                    </a:lnTo>
                    <a:lnTo>
                      <a:pt x="248" y="242"/>
                    </a:lnTo>
                    <a:lnTo>
                      <a:pt x="242" y="254"/>
                    </a:lnTo>
                    <a:lnTo>
                      <a:pt x="236" y="263"/>
                    </a:lnTo>
                    <a:lnTo>
                      <a:pt x="231" y="267"/>
                    </a:lnTo>
                    <a:lnTo>
                      <a:pt x="227" y="270"/>
                    </a:lnTo>
                    <a:lnTo>
                      <a:pt x="221" y="273"/>
                    </a:lnTo>
                    <a:lnTo>
                      <a:pt x="215" y="276"/>
                    </a:lnTo>
                    <a:lnTo>
                      <a:pt x="200" y="281"/>
                    </a:lnTo>
                    <a:lnTo>
                      <a:pt x="181" y="286"/>
                    </a:lnTo>
                    <a:lnTo>
                      <a:pt x="164" y="290"/>
                    </a:lnTo>
                    <a:lnTo>
                      <a:pt x="148" y="292"/>
                    </a:lnTo>
                    <a:lnTo>
                      <a:pt x="139" y="293"/>
                    </a:lnTo>
                    <a:lnTo>
                      <a:pt x="130" y="293"/>
                    </a:lnTo>
                    <a:lnTo>
                      <a:pt x="123" y="293"/>
                    </a:lnTo>
                    <a:lnTo>
                      <a:pt x="114" y="292"/>
                    </a:lnTo>
                    <a:lnTo>
                      <a:pt x="106" y="290"/>
                    </a:lnTo>
                    <a:lnTo>
                      <a:pt x="98" y="288"/>
                    </a:lnTo>
                    <a:lnTo>
                      <a:pt x="92" y="286"/>
                    </a:lnTo>
                    <a:lnTo>
                      <a:pt x="85" y="282"/>
                    </a:lnTo>
                    <a:lnTo>
                      <a:pt x="80" y="278"/>
                    </a:lnTo>
                    <a:lnTo>
                      <a:pt x="74" y="274"/>
                    </a:lnTo>
                    <a:lnTo>
                      <a:pt x="71" y="268"/>
                    </a:lnTo>
                    <a:lnTo>
                      <a:pt x="68" y="262"/>
                    </a:lnTo>
                    <a:lnTo>
                      <a:pt x="1" y="236"/>
                    </a:lnTo>
                    <a:lnTo>
                      <a:pt x="1" y="119"/>
                    </a:lnTo>
                    <a:lnTo>
                      <a:pt x="0" y="88"/>
                    </a:lnTo>
                    <a:lnTo>
                      <a:pt x="0" y="56"/>
                    </a:lnTo>
                    <a:lnTo>
                      <a:pt x="1" y="49"/>
                    </a:lnTo>
                    <a:lnTo>
                      <a:pt x="2" y="42"/>
                    </a:lnTo>
                    <a:lnTo>
                      <a:pt x="4" y="35"/>
                    </a:lnTo>
                    <a:lnTo>
                      <a:pt x="6" y="28"/>
                    </a:lnTo>
                    <a:lnTo>
                      <a:pt x="11" y="21"/>
                    </a:lnTo>
                    <a:lnTo>
                      <a:pt x="15" y="14"/>
                    </a:lnTo>
                    <a:lnTo>
                      <a:pt x="20" y="8"/>
                    </a:lnTo>
                    <a:lnTo>
                      <a:pt x="28" y="2"/>
                    </a:lnTo>
                    <a:lnTo>
                      <a:pt x="41" y="2"/>
                    </a:lnTo>
                    <a:lnTo>
                      <a:pt x="48" y="0"/>
                    </a:lnTo>
                    <a:lnTo>
                      <a:pt x="53" y="0"/>
                    </a:lnTo>
                    <a:lnTo>
                      <a:pt x="68" y="2"/>
                    </a:lnTo>
                    <a:lnTo>
                      <a:pt x="72" y="6"/>
                    </a:lnTo>
                    <a:lnTo>
                      <a:pt x="76" y="7"/>
                    </a:lnTo>
                    <a:lnTo>
                      <a:pt x="80" y="7"/>
                    </a:lnTo>
                    <a:lnTo>
                      <a:pt x="82" y="6"/>
                    </a:lnTo>
                    <a:lnTo>
                      <a:pt x="84" y="4"/>
                    </a:lnTo>
                    <a:lnTo>
                      <a:pt x="86" y="4"/>
                    </a:lnTo>
                    <a:lnTo>
                      <a:pt x="87" y="5"/>
                    </a:lnTo>
                    <a:lnTo>
                      <a:pt x="87" y="9"/>
                    </a:lnTo>
                    <a:lnTo>
                      <a:pt x="90" y="11"/>
                    </a:lnTo>
                    <a:lnTo>
                      <a:pt x="94" y="15"/>
                    </a:lnTo>
                    <a:lnTo>
                      <a:pt x="99" y="19"/>
                    </a:lnTo>
                    <a:lnTo>
                      <a:pt x="107" y="23"/>
                    </a:lnTo>
                    <a:lnTo>
                      <a:pt x="121" y="31"/>
                    </a:lnTo>
                    <a:lnTo>
                      <a:pt x="127" y="34"/>
                    </a:lnTo>
                    <a:lnTo>
                      <a:pt x="148" y="41"/>
                    </a:lnTo>
                    <a:lnTo>
                      <a:pt x="165" y="49"/>
                    </a:lnTo>
                    <a:lnTo>
                      <a:pt x="182" y="59"/>
                    </a:lnTo>
                    <a:lnTo>
                      <a:pt x="196" y="69"/>
                    </a:lnTo>
                    <a:lnTo>
                      <a:pt x="210" y="79"/>
                    </a:lnTo>
                    <a:lnTo>
                      <a:pt x="226" y="91"/>
                    </a:lnTo>
                    <a:lnTo>
                      <a:pt x="241" y="102"/>
                    </a:lnTo>
                    <a:lnTo>
                      <a:pt x="260" y="113"/>
                    </a:lnTo>
                    <a:lnTo>
                      <a:pt x="261" y="117"/>
                    </a:lnTo>
                    <a:lnTo>
                      <a:pt x="263" y="120"/>
                    </a:lnTo>
                    <a:lnTo>
                      <a:pt x="266" y="124"/>
                    </a:lnTo>
                    <a:lnTo>
                      <a:pt x="270" y="128"/>
                    </a:lnTo>
                    <a:lnTo>
                      <a:pt x="280" y="135"/>
                    </a:lnTo>
                    <a:lnTo>
                      <a:pt x="291" y="144"/>
                    </a:lnTo>
                    <a:lnTo>
                      <a:pt x="299" y="151"/>
                    </a:lnTo>
                    <a:lnTo>
                      <a:pt x="305" y="158"/>
                    </a:lnTo>
                    <a:lnTo>
                      <a:pt x="306" y="161"/>
                    </a:lnTo>
                    <a:lnTo>
                      <a:pt x="306" y="164"/>
                    </a:lnTo>
                    <a:lnTo>
                      <a:pt x="304" y="166"/>
                    </a:lnTo>
                    <a:lnTo>
                      <a:pt x="300" y="169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04" name="Freeform 226">
                <a:extLst>
                  <a:ext uri="{FF2B5EF4-FFF2-40B4-BE49-F238E27FC236}">
                    <a16:creationId xmlns="" xmlns:a16="http://schemas.microsoft.com/office/drawing/2014/main" id="{08D0F21A-090B-4E2D-862A-B7B8A8E44ADA}"/>
                  </a:ext>
                </a:extLst>
              </p:cNvPr>
              <p:cNvSpPr>
                <a:spLocks/>
              </p:cNvSpPr>
              <p:nvPr>
                <p:custDataLst>
                  <p:tags r:id="rId153"/>
                </p:custDataLst>
              </p:nvPr>
            </p:nvSpPr>
            <p:spPr bwMode="auto">
              <a:xfrm>
                <a:off x="4176713" y="1247775"/>
                <a:ext cx="236537" cy="92075"/>
              </a:xfrm>
              <a:custGeom>
                <a:avLst/>
                <a:gdLst>
                  <a:gd name="T0" fmla="*/ 2147483646 w 546"/>
                  <a:gd name="T1" fmla="*/ 2147483646 h 173"/>
                  <a:gd name="T2" fmla="*/ 2147483646 w 546"/>
                  <a:gd name="T3" fmla="*/ 2147483646 h 173"/>
                  <a:gd name="T4" fmla="*/ 2147483646 w 546"/>
                  <a:gd name="T5" fmla="*/ 2147483646 h 173"/>
                  <a:gd name="T6" fmla="*/ 2147483646 w 546"/>
                  <a:gd name="T7" fmla="*/ 2147483646 h 173"/>
                  <a:gd name="T8" fmla="*/ 2147483646 w 546"/>
                  <a:gd name="T9" fmla="*/ 2147483646 h 173"/>
                  <a:gd name="T10" fmla="*/ 2147483646 w 546"/>
                  <a:gd name="T11" fmla="*/ 2147483646 h 173"/>
                  <a:gd name="T12" fmla="*/ 2147483646 w 546"/>
                  <a:gd name="T13" fmla="*/ 2147483646 h 173"/>
                  <a:gd name="T14" fmla="*/ 2147483646 w 546"/>
                  <a:gd name="T15" fmla="*/ 2147483646 h 173"/>
                  <a:gd name="T16" fmla="*/ 2147483646 w 546"/>
                  <a:gd name="T17" fmla="*/ 2147483646 h 173"/>
                  <a:gd name="T18" fmla="*/ 2147483646 w 546"/>
                  <a:gd name="T19" fmla="*/ 2147483646 h 173"/>
                  <a:gd name="T20" fmla="*/ 2147483646 w 546"/>
                  <a:gd name="T21" fmla="*/ 2147483646 h 173"/>
                  <a:gd name="T22" fmla="*/ 2147483646 w 546"/>
                  <a:gd name="T23" fmla="*/ 2147483646 h 173"/>
                  <a:gd name="T24" fmla="*/ 2147483646 w 546"/>
                  <a:gd name="T25" fmla="*/ 2147483646 h 173"/>
                  <a:gd name="T26" fmla="*/ 2147483646 w 546"/>
                  <a:gd name="T27" fmla="*/ 2147483646 h 173"/>
                  <a:gd name="T28" fmla="*/ 2147483646 w 546"/>
                  <a:gd name="T29" fmla="*/ 0 h 173"/>
                  <a:gd name="T30" fmla="*/ 2147483646 w 546"/>
                  <a:gd name="T31" fmla="*/ 2147483646 h 173"/>
                  <a:gd name="T32" fmla="*/ 2147483646 w 546"/>
                  <a:gd name="T33" fmla="*/ 2147483646 h 173"/>
                  <a:gd name="T34" fmla="*/ 2147483646 w 546"/>
                  <a:gd name="T35" fmla="*/ 2147483646 h 173"/>
                  <a:gd name="T36" fmla="*/ 2147483646 w 546"/>
                  <a:gd name="T37" fmla="*/ 2147483646 h 173"/>
                  <a:gd name="T38" fmla="*/ 2147483646 w 546"/>
                  <a:gd name="T39" fmla="*/ 2147483646 h 173"/>
                  <a:gd name="T40" fmla="*/ 2147483646 w 546"/>
                  <a:gd name="T41" fmla="*/ 2147483646 h 173"/>
                  <a:gd name="T42" fmla="*/ 2147483646 w 546"/>
                  <a:gd name="T43" fmla="*/ 2147483646 h 173"/>
                  <a:gd name="T44" fmla="*/ 2147483646 w 546"/>
                  <a:gd name="T45" fmla="*/ 2147483646 h 173"/>
                  <a:gd name="T46" fmla="*/ 2147483646 w 546"/>
                  <a:gd name="T47" fmla="*/ 2147483646 h 173"/>
                  <a:gd name="T48" fmla="*/ 2147483646 w 546"/>
                  <a:gd name="T49" fmla="*/ 2147483646 h 173"/>
                  <a:gd name="T50" fmla="*/ 2147483646 w 546"/>
                  <a:gd name="T51" fmla="*/ 2147483646 h 173"/>
                  <a:gd name="T52" fmla="*/ 2147483646 w 546"/>
                  <a:gd name="T53" fmla="*/ 2147483646 h 173"/>
                  <a:gd name="T54" fmla="*/ 2147483646 w 546"/>
                  <a:gd name="T55" fmla="*/ 2147483646 h 173"/>
                  <a:gd name="T56" fmla="*/ 2147483646 w 546"/>
                  <a:gd name="T57" fmla="*/ 2147483646 h 173"/>
                  <a:gd name="T58" fmla="*/ 2147483646 w 546"/>
                  <a:gd name="T59" fmla="*/ 2147483646 h 173"/>
                  <a:gd name="T60" fmla="*/ 2147483646 w 546"/>
                  <a:gd name="T61" fmla="*/ 2147483646 h 173"/>
                  <a:gd name="T62" fmla="*/ 2147483646 w 546"/>
                  <a:gd name="T63" fmla="*/ 2147483646 h 173"/>
                  <a:gd name="T64" fmla="*/ 2147483646 w 546"/>
                  <a:gd name="T65" fmla="*/ 2147483646 h 173"/>
                  <a:gd name="T66" fmla="*/ 2147483646 w 546"/>
                  <a:gd name="T67" fmla="*/ 2147483646 h 173"/>
                  <a:gd name="T68" fmla="*/ 2147483646 w 546"/>
                  <a:gd name="T69" fmla="*/ 2147483646 h 173"/>
                  <a:gd name="T70" fmla="*/ 2147483646 w 546"/>
                  <a:gd name="T71" fmla="*/ 2147483646 h 173"/>
                  <a:gd name="T72" fmla="*/ 2147483646 w 546"/>
                  <a:gd name="T73" fmla="*/ 2147483646 h 173"/>
                  <a:gd name="T74" fmla="*/ 2147483646 w 546"/>
                  <a:gd name="T75" fmla="*/ 2147483646 h 173"/>
                  <a:gd name="T76" fmla="*/ 2147483646 w 546"/>
                  <a:gd name="T77" fmla="*/ 2147483646 h 173"/>
                  <a:gd name="T78" fmla="*/ 2147483646 w 546"/>
                  <a:gd name="T79" fmla="*/ 2147483646 h 173"/>
                  <a:gd name="T80" fmla="*/ 2147483646 w 546"/>
                  <a:gd name="T81" fmla="*/ 2147483646 h 173"/>
                  <a:gd name="T82" fmla="*/ 2147483646 w 546"/>
                  <a:gd name="T83" fmla="*/ 2147483646 h 173"/>
                  <a:gd name="T84" fmla="*/ 2147483646 w 546"/>
                  <a:gd name="T85" fmla="*/ 2147483646 h 173"/>
                  <a:gd name="T86" fmla="*/ 2147483646 w 546"/>
                  <a:gd name="T87" fmla="*/ 2147483646 h 173"/>
                  <a:gd name="T88" fmla="*/ 2147483646 w 546"/>
                  <a:gd name="T89" fmla="*/ 2147483646 h 173"/>
                  <a:gd name="T90" fmla="*/ 2147483646 w 546"/>
                  <a:gd name="T91" fmla="*/ 2147483646 h 173"/>
                  <a:gd name="T92" fmla="*/ 2147483646 w 546"/>
                  <a:gd name="T93" fmla="*/ 2147483646 h 173"/>
                  <a:gd name="T94" fmla="*/ 2147483646 w 546"/>
                  <a:gd name="T95" fmla="*/ 2147483646 h 173"/>
                  <a:gd name="T96" fmla="*/ 2147483646 w 546"/>
                  <a:gd name="T97" fmla="*/ 2147483646 h 173"/>
                  <a:gd name="T98" fmla="*/ 2147483646 w 546"/>
                  <a:gd name="T99" fmla="*/ 2147483646 h 173"/>
                  <a:gd name="T100" fmla="*/ 2147483646 w 546"/>
                  <a:gd name="T101" fmla="*/ 2147483646 h 173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546"/>
                  <a:gd name="T154" fmla="*/ 0 h 173"/>
                  <a:gd name="T155" fmla="*/ 546 w 546"/>
                  <a:gd name="T156" fmla="*/ 173 h 173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546" h="173">
                    <a:moveTo>
                      <a:pt x="47" y="12"/>
                    </a:moveTo>
                    <a:lnTo>
                      <a:pt x="61" y="15"/>
                    </a:lnTo>
                    <a:lnTo>
                      <a:pt x="74" y="19"/>
                    </a:lnTo>
                    <a:lnTo>
                      <a:pt x="61" y="38"/>
                    </a:lnTo>
                    <a:lnTo>
                      <a:pt x="87" y="38"/>
                    </a:lnTo>
                    <a:lnTo>
                      <a:pt x="94" y="34"/>
                    </a:lnTo>
                    <a:lnTo>
                      <a:pt x="102" y="31"/>
                    </a:lnTo>
                    <a:lnTo>
                      <a:pt x="107" y="29"/>
                    </a:lnTo>
                    <a:lnTo>
                      <a:pt x="110" y="27"/>
                    </a:lnTo>
                    <a:lnTo>
                      <a:pt x="112" y="23"/>
                    </a:lnTo>
                    <a:lnTo>
                      <a:pt x="113" y="19"/>
                    </a:lnTo>
                    <a:lnTo>
                      <a:pt x="132" y="27"/>
                    </a:lnTo>
                    <a:lnTo>
                      <a:pt x="142" y="32"/>
                    </a:lnTo>
                    <a:lnTo>
                      <a:pt x="150" y="36"/>
                    </a:lnTo>
                    <a:lnTo>
                      <a:pt x="161" y="44"/>
                    </a:lnTo>
                    <a:lnTo>
                      <a:pt x="161" y="19"/>
                    </a:lnTo>
                    <a:lnTo>
                      <a:pt x="188" y="19"/>
                    </a:lnTo>
                    <a:lnTo>
                      <a:pt x="209" y="19"/>
                    </a:lnTo>
                    <a:lnTo>
                      <a:pt x="224" y="19"/>
                    </a:lnTo>
                    <a:lnTo>
                      <a:pt x="233" y="19"/>
                    </a:lnTo>
                    <a:lnTo>
                      <a:pt x="243" y="19"/>
                    </a:lnTo>
                    <a:lnTo>
                      <a:pt x="253" y="19"/>
                    </a:lnTo>
                    <a:lnTo>
                      <a:pt x="256" y="17"/>
                    </a:lnTo>
                    <a:lnTo>
                      <a:pt x="260" y="16"/>
                    </a:lnTo>
                    <a:lnTo>
                      <a:pt x="264" y="14"/>
                    </a:lnTo>
                    <a:lnTo>
                      <a:pt x="266" y="12"/>
                    </a:lnTo>
                    <a:lnTo>
                      <a:pt x="269" y="14"/>
                    </a:lnTo>
                    <a:lnTo>
                      <a:pt x="273" y="14"/>
                    </a:lnTo>
                    <a:lnTo>
                      <a:pt x="276" y="13"/>
                    </a:lnTo>
                    <a:lnTo>
                      <a:pt x="279" y="11"/>
                    </a:lnTo>
                    <a:lnTo>
                      <a:pt x="281" y="8"/>
                    </a:lnTo>
                    <a:lnTo>
                      <a:pt x="285" y="6"/>
                    </a:lnTo>
                    <a:lnTo>
                      <a:pt x="286" y="3"/>
                    </a:lnTo>
                    <a:lnTo>
                      <a:pt x="287" y="0"/>
                    </a:lnTo>
                    <a:lnTo>
                      <a:pt x="320" y="0"/>
                    </a:lnTo>
                    <a:lnTo>
                      <a:pt x="321" y="5"/>
                    </a:lnTo>
                    <a:lnTo>
                      <a:pt x="324" y="9"/>
                    </a:lnTo>
                    <a:lnTo>
                      <a:pt x="329" y="11"/>
                    </a:lnTo>
                    <a:lnTo>
                      <a:pt x="333" y="12"/>
                    </a:lnTo>
                    <a:lnTo>
                      <a:pt x="338" y="11"/>
                    </a:lnTo>
                    <a:lnTo>
                      <a:pt x="345" y="9"/>
                    </a:lnTo>
                    <a:lnTo>
                      <a:pt x="348" y="7"/>
                    </a:lnTo>
                    <a:lnTo>
                      <a:pt x="351" y="5"/>
                    </a:lnTo>
                    <a:lnTo>
                      <a:pt x="353" y="3"/>
                    </a:lnTo>
                    <a:lnTo>
                      <a:pt x="353" y="0"/>
                    </a:lnTo>
                    <a:lnTo>
                      <a:pt x="358" y="3"/>
                    </a:lnTo>
                    <a:lnTo>
                      <a:pt x="363" y="6"/>
                    </a:lnTo>
                    <a:lnTo>
                      <a:pt x="367" y="7"/>
                    </a:lnTo>
                    <a:lnTo>
                      <a:pt x="371" y="8"/>
                    </a:lnTo>
                    <a:lnTo>
                      <a:pt x="380" y="8"/>
                    </a:lnTo>
                    <a:lnTo>
                      <a:pt x="389" y="7"/>
                    </a:lnTo>
                    <a:lnTo>
                      <a:pt x="404" y="3"/>
                    </a:lnTo>
                    <a:lnTo>
                      <a:pt x="420" y="0"/>
                    </a:lnTo>
                    <a:lnTo>
                      <a:pt x="436" y="1"/>
                    </a:lnTo>
                    <a:lnTo>
                      <a:pt x="453" y="2"/>
                    </a:lnTo>
                    <a:lnTo>
                      <a:pt x="467" y="4"/>
                    </a:lnTo>
                    <a:lnTo>
                      <a:pt x="482" y="6"/>
                    </a:lnTo>
                    <a:lnTo>
                      <a:pt x="498" y="9"/>
                    </a:lnTo>
                    <a:lnTo>
                      <a:pt x="513" y="11"/>
                    </a:lnTo>
                    <a:lnTo>
                      <a:pt x="528" y="12"/>
                    </a:lnTo>
                    <a:lnTo>
                      <a:pt x="546" y="12"/>
                    </a:lnTo>
                    <a:lnTo>
                      <a:pt x="546" y="44"/>
                    </a:lnTo>
                    <a:lnTo>
                      <a:pt x="545" y="49"/>
                    </a:lnTo>
                    <a:lnTo>
                      <a:pt x="542" y="55"/>
                    </a:lnTo>
                    <a:lnTo>
                      <a:pt x="539" y="58"/>
                    </a:lnTo>
                    <a:lnTo>
                      <a:pt x="537" y="60"/>
                    </a:lnTo>
                    <a:lnTo>
                      <a:pt x="535" y="61"/>
                    </a:lnTo>
                    <a:lnTo>
                      <a:pt x="533" y="62"/>
                    </a:lnTo>
                    <a:lnTo>
                      <a:pt x="513" y="62"/>
                    </a:lnTo>
                    <a:lnTo>
                      <a:pt x="498" y="60"/>
                    </a:lnTo>
                    <a:lnTo>
                      <a:pt x="490" y="57"/>
                    </a:lnTo>
                    <a:lnTo>
                      <a:pt x="483" y="54"/>
                    </a:lnTo>
                    <a:lnTo>
                      <a:pt x="478" y="50"/>
                    </a:lnTo>
                    <a:lnTo>
                      <a:pt x="472" y="44"/>
                    </a:lnTo>
                    <a:lnTo>
                      <a:pt x="413" y="44"/>
                    </a:lnTo>
                    <a:lnTo>
                      <a:pt x="421" y="58"/>
                    </a:lnTo>
                    <a:lnTo>
                      <a:pt x="428" y="70"/>
                    </a:lnTo>
                    <a:lnTo>
                      <a:pt x="438" y="81"/>
                    </a:lnTo>
                    <a:lnTo>
                      <a:pt x="448" y="89"/>
                    </a:lnTo>
                    <a:lnTo>
                      <a:pt x="459" y="96"/>
                    </a:lnTo>
                    <a:lnTo>
                      <a:pt x="471" y="102"/>
                    </a:lnTo>
                    <a:lnTo>
                      <a:pt x="484" y="107"/>
                    </a:lnTo>
                    <a:lnTo>
                      <a:pt x="499" y="111"/>
                    </a:lnTo>
                    <a:lnTo>
                      <a:pt x="493" y="119"/>
                    </a:lnTo>
                    <a:lnTo>
                      <a:pt x="488" y="126"/>
                    </a:lnTo>
                    <a:lnTo>
                      <a:pt x="481" y="132"/>
                    </a:lnTo>
                    <a:lnTo>
                      <a:pt x="475" y="136"/>
                    </a:lnTo>
                    <a:lnTo>
                      <a:pt x="466" y="139"/>
                    </a:lnTo>
                    <a:lnTo>
                      <a:pt x="458" y="141"/>
                    </a:lnTo>
                    <a:lnTo>
                      <a:pt x="449" y="142"/>
                    </a:lnTo>
                    <a:lnTo>
                      <a:pt x="439" y="142"/>
                    </a:lnTo>
                    <a:lnTo>
                      <a:pt x="432" y="142"/>
                    </a:lnTo>
                    <a:lnTo>
                      <a:pt x="426" y="141"/>
                    </a:lnTo>
                    <a:lnTo>
                      <a:pt x="421" y="139"/>
                    </a:lnTo>
                    <a:lnTo>
                      <a:pt x="416" y="136"/>
                    </a:lnTo>
                    <a:lnTo>
                      <a:pt x="412" y="134"/>
                    </a:lnTo>
                    <a:lnTo>
                      <a:pt x="409" y="132"/>
                    </a:lnTo>
                    <a:lnTo>
                      <a:pt x="404" y="131"/>
                    </a:lnTo>
                    <a:lnTo>
                      <a:pt x="399" y="130"/>
                    </a:lnTo>
                    <a:lnTo>
                      <a:pt x="394" y="128"/>
                    </a:lnTo>
                    <a:lnTo>
                      <a:pt x="390" y="125"/>
                    </a:lnTo>
                    <a:lnTo>
                      <a:pt x="385" y="121"/>
                    </a:lnTo>
                    <a:lnTo>
                      <a:pt x="381" y="116"/>
                    </a:lnTo>
                    <a:lnTo>
                      <a:pt x="378" y="110"/>
                    </a:lnTo>
                    <a:lnTo>
                      <a:pt x="375" y="104"/>
                    </a:lnTo>
                    <a:lnTo>
                      <a:pt x="374" y="98"/>
                    </a:lnTo>
                    <a:lnTo>
                      <a:pt x="372" y="93"/>
                    </a:lnTo>
                    <a:lnTo>
                      <a:pt x="365" y="92"/>
                    </a:lnTo>
                    <a:lnTo>
                      <a:pt x="358" y="90"/>
                    </a:lnTo>
                    <a:lnTo>
                      <a:pt x="351" y="87"/>
                    </a:lnTo>
                    <a:lnTo>
                      <a:pt x="344" y="84"/>
                    </a:lnTo>
                    <a:lnTo>
                      <a:pt x="337" y="81"/>
                    </a:lnTo>
                    <a:lnTo>
                      <a:pt x="331" y="78"/>
                    </a:lnTo>
                    <a:lnTo>
                      <a:pt x="325" y="76"/>
                    </a:lnTo>
                    <a:lnTo>
                      <a:pt x="320" y="75"/>
                    </a:lnTo>
                    <a:lnTo>
                      <a:pt x="314" y="78"/>
                    </a:lnTo>
                    <a:lnTo>
                      <a:pt x="303" y="87"/>
                    </a:lnTo>
                    <a:lnTo>
                      <a:pt x="289" y="101"/>
                    </a:lnTo>
                    <a:lnTo>
                      <a:pt x="274" y="117"/>
                    </a:lnTo>
                    <a:lnTo>
                      <a:pt x="258" y="134"/>
                    </a:lnTo>
                    <a:lnTo>
                      <a:pt x="246" y="150"/>
                    </a:lnTo>
                    <a:lnTo>
                      <a:pt x="241" y="157"/>
                    </a:lnTo>
                    <a:lnTo>
                      <a:pt x="236" y="163"/>
                    </a:lnTo>
                    <a:lnTo>
                      <a:pt x="234" y="169"/>
                    </a:lnTo>
                    <a:lnTo>
                      <a:pt x="233" y="173"/>
                    </a:lnTo>
                    <a:lnTo>
                      <a:pt x="220" y="172"/>
                    </a:lnTo>
                    <a:lnTo>
                      <a:pt x="209" y="171"/>
                    </a:lnTo>
                    <a:lnTo>
                      <a:pt x="198" y="169"/>
                    </a:lnTo>
                    <a:lnTo>
                      <a:pt x="188" y="167"/>
                    </a:lnTo>
                    <a:lnTo>
                      <a:pt x="180" y="163"/>
                    </a:lnTo>
                    <a:lnTo>
                      <a:pt x="172" y="160"/>
                    </a:lnTo>
                    <a:lnTo>
                      <a:pt x="165" y="155"/>
                    </a:lnTo>
                    <a:lnTo>
                      <a:pt x="158" y="151"/>
                    </a:lnTo>
                    <a:lnTo>
                      <a:pt x="136" y="128"/>
                    </a:lnTo>
                    <a:lnTo>
                      <a:pt x="113" y="105"/>
                    </a:lnTo>
                    <a:lnTo>
                      <a:pt x="108" y="100"/>
                    </a:lnTo>
                    <a:lnTo>
                      <a:pt x="101" y="95"/>
                    </a:lnTo>
                    <a:lnTo>
                      <a:pt x="95" y="91"/>
                    </a:lnTo>
                    <a:lnTo>
                      <a:pt x="88" y="87"/>
                    </a:lnTo>
                    <a:lnTo>
                      <a:pt x="74" y="81"/>
                    </a:lnTo>
                    <a:lnTo>
                      <a:pt x="60" y="76"/>
                    </a:lnTo>
                    <a:lnTo>
                      <a:pt x="45" y="70"/>
                    </a:lnTo>
                    <a:lnTo>
                      <a:pt x="31" y="64"/>
                    </a:lnTo>
                    <a:lnTo>
                      <a:pt x="16" y="58"/>
                    </a:lnTo>
                    <a:lnTo>
                      <a:pt x="0" y="50"/>
                    </a:lnTo>
                    <a:lnTo>
                      <a:pt x="6" y="41"/>
                    </a:lnTo>
                    <a:lnTo>
                      <a:pt x="11" y="34"/>
                    </a:lnTo>
                    <a:lnTo>
                      <a:pt x="16" y="28"/>
                    </a:lnTo>
                    <a:lnTo>
                      <a:pt x="21" y="22"/>
                    </a:lnTo>
                    <a:lnTo>
                      <a:pt x="28" y="19"/>
                    </a:lnTo>
                    <a:lnTo>
                      <a:pt x="33" y="15"/>
                    </a:lnTo>
                    <a:lnTo>
                      <a:pt x="40" y="13"/>
                    </a:lnTo>
                    <a:lnTo>
                      <a:pt x="47" y="12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05" name="Freeform 227">
                <a:extLst>
                  <a:ext uri="{FF2B5EF4-FFF2-40B4-BE49-F238E27FC236}">
                    <a16:creationId xmlns="" xmlns:a16="http://schemas.microsoft.com/office/drawing/2014/main" id="{7776FEDF-605C-437A-BF53-DC6C5B1C1D45}"/>
                  </a:ext>
                </a:extLst>
              </p:cNvPr>
              <p:cNvSpPr>
                <a:spLocks/>
              </p:cNvSpPr>
              <p:nvPr>
                <p:custDataLst>
                  <p:tags r:id="rId154"/>
                </p:custDataLst>
              </p:nvPr>
            </p:nvSpPr>
            <p:spPr bwMode="auto">
              <a:xfrm>
                <a:off x="4103688" y="1477963"/>
                <a:ext cx="449262" cy="361950"/>
              </a:xfrm>
              <a:custGeom>
                <a:avLst/>
                <a:gdLst>
                  <a:gd name="T0" fmla="*/ 2147483646 w 1037"/>
                  <a:gd name="T1" fmla="*/ 2147483646 h 690"/>
                  <a:gd name="T2" fmla="*/ 2147483646 w 1037"/>
                  <a:gd name="T3" fmla="*/ 2147483646 h 690"/>
                  <a:gd name="T4" fmla="*/ 2147483646 w 1037"/>
                  <a:gd name="T5" fmla="*/ 2147483646 h 690"/>
                  <a:gd name="T6" fmla="*/ 2147483646 w 1037"/>
                  <a:gd name="T7" fmla="*/ 2147483646 h 690"/>
                  <a:gd name="T8" fmla="*/ 2147483646 w 1037"/>
                  <a:gd name="T9" fmla="*/ 2147483646 h 690"/>
                  <a:gd name="T10" fmla="*/ 2147483646 w 1037"/>
                  <a:gd name="T11" fmla="*/ 2147483646 h 690"/>
                  <a:gd name="T12" fmla="*/ 2147483646 w 1037"/>
                  <a:gd name="T13" fmla="*/ 2147483646 h 690"/>
                  <a:gd name="T14" fmla="*/ 2147483646 w 1037"/>
                  <a:gd name="T15" fmla="*/ 2147483646 h 690"/>
                  <a:gd name="T16" fmla="*/ 2147483646 w 1037"/>
                  <a:gd name="T17" fmla="*/ 2147483646 h 690"/>
                  <a:gd name="T18" fmla="*/ 0 w 1037"/>
                  <a:gd name="T19" fmla="*/ 2147483646 h 690"/>
                  <a:gd name="T20" fmla="*/ 2147483646 w 1037"/>
                  <a:gd name="T21" fmla="*/ 2147483646 h 690"/>
                  <a:gd name="T22" fmla="*/ 2147483646 w 1037"/>
                  <a:gd name="T23" fmla="*/ 2147483646 h 690"/>
                  <a:gd name="T24" fmla="*/ 2147483646 w 1037"/>
                  <a:gd name="T25" fmla="*/ 2147483646 h 690"/>
                  <a:gd name="T26" fmla="*/ 2147483646 w 1037"/>
                  <a:gd name="T27" fmla="*/ 2147483646 h 690"/>
                  <a:gd name="T28" fmla="*/ 2147483646 w 1037"/>
                  <a:gd name="T29" fmla="*/ 2147483646 h 690"/>
                  <a:gd name="T30" fmla="*/ 2147483646 w 1037"/>
                  <a:gd name="T31" fmla="*/ 2147483646 h 690"/>
                  <a:gd name="T32" fmla="*/ 2147483646 w 1037"/>
                  <a:gd name="T33" fmla="*/ 2147483646 h 690"/>
                  <a:gd name="T34" fmla="*/ 2147483646 w 1037"/>
                  <a:gd name="T35" fmla="*/ 2147483646 h 690"/>
                  <a:gd name="T36" fmla="*/ 2147483646 w 1037"/>
                  <a:gd name="T37" fmla="*/ 2147483646 h 690"/>
                  <a:gd name="T38" fmla="*/ 2147483646 w 1037"/>
                  <a:gd name="T39" fmla="*/ 2147483646 h 690"/>
                  <a:gd name="T40" fmla="*/ 2147483646 w 1037"/>
                  <a:gd name="T41" fmla="*/ 2147483646 h 690"/>
                  <a:gd name="T42" fmla="*/ 2147483646 w 1037"/>
                  <a:gd name="T43" fmla="*/ 2147483646 h 690"/>
                  <a:gd name="T44" fmla="*/ 2147483646 w 1037"/>
                  <a:gd name="T45" fmla="*/ 2147483646 h 690"/>
                  <a:gd name="T46" fmla="*/ 2147483646 w 1037"/>
                  <a:gd name="T47" fmla="*/ 2147483646 h 690"/>
                  <a:gd name="T48" fmla="*/ 2147483646 w 1037"/>
                  <a:gd name="T49" fmla="*/ 2147483646 h 690"/>
                  <a:gd name="T50" fmla="*/ 2147483646 w 1037"/>
                  <a:gd name="T51" fmla="*/ 2147483646 h 690"/>
                  <a:gd name="T52" fmla="*/ 2147483646 w 1037"/>
                  <a:gd name="T53" fmla="*/ 2147483646 h 690"/>
                  <a:gd name="T54" fmla="*/ 2147483646 w 1037"/>
                  <a:gd name="T55" fmla="*/ 2147483646 h 690"/>
                  <a:gd name="T56" fmla="*/ 2147483646 w 1037"/>
                  <a:gd name="T57" fmla="*/ 2147483646 h 690"/>
                  <a:gd name="T58" fmla="*/ 2147483646 w 1037"/>
                  <a:gd name="T59" fmla="*/ 2147483646 h 690"/>
                  <a:gd name="T60" fmla="*/ 2147483646 w 1037"/>
                  <a:gd name="T61" fmla="*/ 2147483646 h 690"/>
                  <a:gd name="T62" fmla="*/ 2147483646 w 1037"/>
                  <a:gd name="T63" fmla="*/ 2147483646 h 690"/>
                  <a:gd name="T64" fmla="*/ 2147483646 w 1037"/>
                  <a:gd name="T65" fmla="*/ 2147483646 h 690"/>
                  <a:gd name="T66" fmla="*/ 2147483646 w 1037"/>
                  <a:gd name="T67" fmla="*/ 2147483646 h 690"/>
                  <a:gd name="T68" fmla="*/ 2147483646 w 1037"/>
                  <a:gd name="T69" fmla="*/ 2147483646 h 690"/>
                  <a:gd name="T70" fmla="*/ 2147483646 w 1037"/>
                  <a:gd name="T71" fmla="*/ 2147483646 h 690"/>
                  <a:gd name="T72" fmla="*/ 2147483646 w 1037"/>
                  <a:gd name="T73" fmla="*/ 2147483646 h 690"/>
                  <a:gd name="T74" fmla="*/ 2147483646 w 1037"/>
                  <a:gd name="T75" fmla="*/ 2147483646 h 690"/>
                  <a:gd name="T76" fmla="*/ 2147483646 w 1037"/>
                  <a:gd name="T77" fmla="*/ 2147483646 h 690"/>
                  <a:gd name="T78" fmla="*/ 2147483646 w 1037"/>
                  <a:gd name="T79" fmla="*/ 2147483646 h 690"/>
                  <a:gd name="T80" fmla="*/ 2147483646 w 1037"/>
                  <a:gd name="T81" fmla="*/ 2147483646 h 690"/>
                  <a:gd name="T82" fmla="*/ 2147483646 w 1037"/>
                  <a:gd name="T83" fmla="*/ 2147483646 h 690"/>
                  <a:gd name="T84" fmla="*/ 2147483646 w 1037"/>
                  <a:gd name="T85" fmla="*/ 2147483646 h 690"/>
                  <a:gd name="T86" fmla="*/ 2147483646 w 1037"/>
                  <a:gd name="T87" fmla="*/ 2147483646 h 690"/>
                  <a:gd name="T88" fmla="*/ 2147483646 w 1037"/>
                  <a:gd name="T89" fmla="*/ 2147483646 h 690"/>
                  <a:gd name="T90" fmla="*/ 2147483646 w 1037"/>
                  <a:gd name="T91" fmla="*/ 2147483646 h 690"/>
                  <a:gd name="T92" fmla="*/ 2147483646 w 1037"/>
                  <a:gd name="T93" fmla="*/ 2147483646 h 690"/>
                  <a:gd name="T94" fmla="*/ 2147483646 w 1037"/>
                  <a:gd name="T95" fmla="*/ 2147483646 h 690"/>
                  <a:gd name="T96" fmla="*/ 2147483646 w 1037"/>
                  <a:gd name="T97" fmla="*/ 2147483646 h 690"/>
                  <a:gd name="T98" fmla="*/ 2147483646 w 1037"/>
                  <a:gd name="T99" fmla="*/ 2147483646 h 690"/>
                  <a:gd name="T100" fmla="*/ 2147483646 w 1037"/>
                  <a:gd name="T101" fmla="*/ 2147483646 h 690"/>
                  <a:gd name="T102" fmla="*/ 2147483646 w 1037"/>
                  <a:gd name="T103" fmla="*/ 2147483646 h 690"/>
                  <a:gd name="T104" fmla="*/ 2147483646 w 1037"/>
                  <a:gd name="T105" fmla="*/ 2147483646 h 690"/>
                  <a:gd name="T106" fmla="*/ 2147483646 w 1037"/>
                  <a:gd name="T107" fmla="*/ 2147483646 h 690"/>
                  <a:gd name="T108" fmla="*/ 2147483646 w 1037"/>
                  <a:gd name="T109" fmla="*/ 2147483646 h 690"/>
                  <a:gd name="T110" fmla="*/ 2147483646 w 1037"/>
                  <a:gd name="T111" fmla="*/ 2147483646 h 690"/>
                  <a:gd name="T112" fmla="*/ 2147483646 w 1037"/>
                  <a:gd name="T113" fmla="*/ 2147483646 h 690"/>
                  <a:gd name="T114" fmla="*/ 2147483646 w 1037"/>
                  <a:gd name="T115" fmla="*/ 2147483646 h 690"/>
                  <a:gd name="T116" fmla="*/ 2147483646 w 1037"/>
                  <a:gd name="T117" fmla="*/ 2147483646 h 690"/>
                  <a:gd name="T118" fmla="*/ 2147483646 w 1037"/>
                  <a:gd name="T119" fmla="*/ 2147483646 h 69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1037"/>
                  <a:gd name="T181" fmla="*/ 0 h 690"/>
                  <a:gd name="T182" fmla="*/ 1037 w 1037"/>
                  <a:gd name="T183" fmla="*/ 690 h 690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1037" h="690">
                    <a:moveTo>
                      <a:pt x="286" y="647"/>
                    </a:moveTo>
                    <a:lnTo>
                      <a:pt x="273" y="631"/>
                    </a:lnTo>
                    <a:lnTo>
                      <a:pt x="262" y="621"/>
                    </a:lnTo>
                    <a:lnTo>
                      <a:pt x="253" y="612"/>
                    </a:lnTo>
                    <a:lnTo>
                      <a:pt x="246" y="604"/>
                    </a:lnTo>
                    <a:lnTo>
                      <a:pt x="243" y="613"/>
                    </a:lnTo>
                    <a:lnTo>
                      <a:pt x="240" y="622"/>
                    </a:lnTo>
                    <a:lnTo>
                      <a:pt x="239" y="627"/>
                    </a:lnTo>
                    <a:lnTo>
                      <a:pt x="235" y="632"/>
                    </a:lnTo>
                    <a:lnTo>
                      <a:pt x="231" y="638"/>
                    </a:lnTo>
                    <a:lnTo>
                      <a:pt x="224" y="644"/>
                    </a:lnTo>
                    <a:lnTo>
                      <a:pt x="208" y="655"/>
                    </a:lnTo>
                    <a:lnTo>
                      <a:pt x="190" y="665"/>
                    </a:lnTo>
                    <a:lnTo>
                      <a:pt x="155" y="683"/>
                    </a:lnTo>
                    <a:lnTo>
                      <a:pt x="140" y="690"/>
                    </a:lnTo>
                    <a:lnTo>
                      <a:pt x="107" y="690"/>
                    </a:lnTo>
                    <a:lnTo>
                      <a:pt x="86" y="683"/>
                    </a:lnTo>
                    <a:lnTo>
                      <a:pt x="60" y="672"/>
                    </a:lnTo>
                    <a:lnTo>
                      <a:pt x="48" y="666"/>
                    </a:lnTo>
                    <a:lnTo>
                      <a:pt x="37" y="658"/>
                    </a:lnTo>
                    <a:lnTo>
                      <a:pt x="32" y="654"/>
                    </a:lnTo>
                    <a:lnTo>
                      <a:pt x="30" y="650"/>
                    </a:lnTo>
                    <a:lnTo>
                      <a:pt x="28" y="646"/>
                    </a:lnTo>
                    <a:lnTo>
                      <a:pt x="27" y="641"/>
                    </a:lnTo>
                    <a:lnTo>
                      <a:pt x="40" y="641"/>
                    </a:lnTo>
                    <a:lnTo>
                      <a:pt x="50" y="640"/>
                    </a:lnTo>
                    <a:lnTo>
                      <a:pt x="58" y="639"/>
                    </a:lnTo>
                    <a:lnTo>
                      <a:pt x="67" y="634"/>
                    </a:lnTo>
                    <a:lnTo>
                      <a:pt x="59" y="627"/>
                    </a:lnTo>
                    <a:lnTo>
                      <a:pt x="49" y="620"/>
                    </a:lnTo>
                    <a:lnTo>
                      <a:pt x="38" y="613"/>
                    </a:lnTo>
                    <a:lnTo>
                      <a:pt x="27" y="606"/>
                    </a:lnTo>
                    <a:lnTo>
                      <a:pt x="8" y="596"/>
                    </a:lnTo>
                    <a:lnTo>
                      <a:pt x="0" y="592"/>
                    </a:lnTo>
                    <a:lnTo>
                      <a:pt x="18" y="596"/>
                    </a:lnTo>
                    <a:lnTo>
                      <a:pt x="32" y="599"/>
                    </a:lnTo>
                    <a:lnTo>
                      <a:pt x="38" y="600"/>
                    </a:lnTo>
                    <a:lnTo>
                      <a:pt x="43" y="600"/>
                    </a:lnTo>
                    <a:lnTo>
                      <a:pt x="49" y="600"/>
                    </a:lnTo>
                    <a:lnTo>
                      <a:pt x="54" y="598"/>
                    </a:lnTo>
                    <a:lnTo>
                      <a:pt x="49" y="597"/>
                    </a:lnTo>
                    <a:lnTo>
                      <a:pt x="44" y="595"/>
                    </a:lnTo>
                    <a:lnTo>
                      <a:pt x="40" y="591"/>
                    </a:lnTo>
                    <a:lnTo>
                      <a:pt x="36" y="587"/>
                    </a:lnTo>
                    <a:lnTo>
                      <a:pt x="32" y="583"/>
                    </a:lnTo>
                    <a:lnTo>
                      <a:pt x="29" y="576"/>
                    </a:lnTo>
                    <a:lnTo>
                      <a:pt x="28" y="571"/>
                    </a:lnTo>
                    <a:lnTo>
                      <a:pt x="27" y="567"/>
                    </a:lnTo>
                    <a:lnTo>
                      <a:pt x="67" y="567"/>
                    </a:lnTo>
                    <a:lnTo>
                      <a:pt x="56" y="566"/>
                    </a:lnTo>
                    <a:lnTo>
                      <a:pt x="45" y="564"/>
                    </a:lnTo>
                    <a:lnTo>
                      <a:pt x="35" y="562"/>
                    </a:lnTo>
                    <a:lnTo>
                      <a:pt x="25" y="558"/>
                    </a:lnTo>
                    <a:lnTo>
                      <a:pt x="16" y="554"/>
                    </a:lnTo>
                    <a:lnTo>
                      <a:pt x="10" y="549"/>
                    </a:lnTo>
                    <a:lnTo>
                      <a:pt x="8" y="546"/>
                    </a:lnTo>
                    <a:lnTo>
                      <a:pt x="7" y="543"/>
                    </a:lnTo>
                    <a:lnTo>
                      <a:pt x="7" y="540"/>
                    </a:lnTo>
                    <a:lnTo>
                      <a:pt x="7" y="536"/>
                    </a:lnTo>
                    <a:lnTo>
                      <a:pt x="0" y="523"/>
                    </a:lnTo>
                    <a:lnTo>
                      <a:pt x="29" y="523"/>
                    </a:lnTo>
                    <a:lnTo>
                      <a:pt x="54" y="523"/>
                    </a:lnTo>
                    <a:lnTo>
                      <a:pt x="74" y="523"/>
                    </a:lnTo>
                    <a:lnTo>
                      <a:pt x="87" y="523"/>
                    </a:lnTo>
                    <a:lnTo>
                      <a:pt x="72" y="519"/>
                    </a:lnTo>
                    <a:lnTo>
                      <a:pt x="39" y="511"/>
                    </a:lnTo>
                    <a:lnTo>
                      <a:pt x="22" y="507"/>
                    </a:lnTo>
                    <a:lnTo>
                      <a:pt x="8" y="503"/>
                    </a:lnTo>
                    <a:lnTo>
                      <a:pt x="0" y="500"/>
                    </a:lnTo>
                    <a:lnTo>
                      <a:pt x="0" y="499"/>
                    </a:lnTo>
                    <a:lnTo>
                      <a:pt x="2" y="485"/>
                    </a:lnTo>
                    <a:lnTo>
                      <a:pt x="3" y="476"/>
                    </a:lnTo>
                    <a:lnTo>
                      <a:pt x="4" y="472"/>
                    </a:lnTo>
                    <a:lnTo>
                      <a:pt x="4" y="467"/>
                    </a:lnTo>
                    <a:lnTo>
                      <a:pt x="3" y="462"/>
                    </a:lnTo>
                    <a:lnTo>
                      <a:pt x="0" y="456"/>
                    </a:lnTo>
                    <a:lnTo>
                      <a:pt x="20" y="456"/>
                    </a:lnTo>
                    <a:lnTo>
                      <a:pt x="21" y="460"/>
                    </a:lnTo>
                    <a:lnTo>
                      <a:pt x="24" y="463"/>
                    </a:lnTo>
                    <a:lnTo>
                      <a:pt x="25" y="464"/>
                    </a:lnTo>
                    <a:lnTo>
                      <a:pt x="26" y="464"/>
                    </a:lnTo>
                    <a:lnTo>
                      <a:pt x="27" y="463"/>
                    </a:lnTo>
                    <a:lnTo>
                      <a:pt x="27" y="462"/>
                    </a:lnTo>
                    <a:lnTo>
                      <a:pt x="37" y="461"/>
                    </a:lnTo>
                    <a:lnTo>
                      <a:pt x="51" y="459"/>
                    </a:lnTo>
                    <a:lnTo>
                      <a:pt x="67" y="457"/>
                    </a:lnTo>
                    <a:lnTo>
                      <a:pt x="81" y="456"/>
                    </a:lnTo>
                    <a:lnTo>
                      <a:pt x="78" y="455"/>
                    </a:lnTo>
                    <a:lnTo>
                      <a:pt x="77" y="454"/>
                    </a:lnTo>
                    <a:lnTo>
                      <a:pt x="77" y="452"/>
                    </a:lnTo>
                    <a:lnTo>
                      <a:pt x="77" y="449"/>
                    </a:lnTo>
                    <a:lnTo>
                      <a:pt x="80" y="443"/>
                    </a:lnTo>
                    <a:lnTo>
                      <a:pt x="81" y="437"/>
                    </a:lnTo>
                    <a:lnTo>
                      <a:pt x="91" y="437"/>
                    </a:lnTo>
                    <a:lnTo>
                      <a:pt x="100" y="437"/>
                    </a:lnTo>
                    <a:lnTo>
                      <a:pt x="99" y="433"/>
                    </a:lnTo>
                    <a:lnTo>
                      <a:pt x="96" y="428"/>
                    </a:lnTo>
                    <a:lnTo>
                      <a:pt x="92" y="424"/>
                    </a:lnTo>
                    <a:lnTo>
                      <a:pt x="87" y="419"/>
                    </a:lnTo>
                    <a:lnTo>
                      <a:pt x="97" y="416"/>
                    </a:lnTo>
                    <a:lnTo>
                      <a:pt x="107" y="413"/>
                    </a:lnTo>
                    <a:lnTo>
                      <a:pt x="117" y="412"/>
                    </a:lnTo>
                    <a:lnTo>
                      <a:pt x="127" y="412"/>
                    </a:lnTo>
                    <a:lnTo>
                      <a:pt x="129" y="412"/>
                    </a:lnTo>
                    <a:lnTo>
                      <a:pt x="130" y="409"/>
                    </a:lnTo>
                    <a:lnTo>
                      <a:pt x="130" y="406"/>
                    </a:lnTo>
                    <a:lnTo>
                      <a:pt x="129" y="402"/>
                    </a:lnTo>
                    <a:lnTo>
                      <a:pt x="128" y="394"/>
                    </a:lnTo>
                    <a:lnTo>
                      <a:pt x="127" y="388"/>
                    </a:lnTo>
                    <a:lnTo>
                      <a:pt x="147" y="388"/>
                    </a:lnTo>
                    <a:lnTo>
                      <a:pt x="133" y="382"/>
                    </a:lnTo>
                    <a:lnTo>
                      <a:pt x="220" y="382"/>
                    </a:lnTo>
                    <a:lnTo>
                      <a:pt x="207" y="376"/>
                    </a:lnTo>
                    <a:lnTo>
                      <a:pt x="213" y="373"/>
                    </a:lnTo>
                    <a:lnTo>
                      <a:pt x="218" y="370"/>
                    </a:lnTo>
                    <a:lnTo>
                      <a:pt x="221" y="367"/>
                    </a:lnTo>
                    <a:lnTo>
                      <a:pt x="224" y="362"/>
                    </a:lnTo>
                    <a:lnTo>
                      <a:pt x="227" y="351"/>
                    </a:lnTo>
                    <a:lnTo>
                      <a:pt x="227" y="339"/>
                    </a:lnTo>
                    <a:lnTo>
                      <a:pt x="243" y="339"/>
                    </a:lnTo>
                    <a:lnTo>
                      <a:pt x="255" y="339"/>
                    </a:lnTo>
                    <a:lnTo>
                      <a:pt x="266" y="339"/>
                    </a:lnTo>
                    <a:lnTo>
                      <a:pt x="279" y="339"/>
                    </a:lnTo>
                    <a:lnTo>
                      <a:pt x="279" y="333"/>
                    </a:lnTo>
                    <a:lnTo>
                      <a:pt x="282" y="327"/>
                    </a:lnTo>
                    <a:lnTo>
                      <a:pt x="283" y="325"/>
                    </a:lnTo>
                    <a:lnTo>
                      <a:pt x="285" y="323"/>
                    </a:lnTo>
                    <a:lnTo>
                      <a:pt x="288" y="321"/>
                    </a:lnTo>
                    <a:lnTo>
                      <a:pt x="293" y="321"/>
                    </a:lnTo>
                    <a:lnTo>
                      <a:pt x="286" y="318"/>
                    </a:lnTo>
                    <a:lnTo>
                      <a:pt x="279" y="314"/>
                    </a:lnTo>
                    <a:lnTo>
                      <a:pt x="280" y="312"/>
                    </a:lnTo>
                    <a:lnTo>
                      <a:pt x="282" y="310"/>
                    </a:lnTo>
                    <a:lnTo>
                      <a:pt x="284" y="308"/>
                    </a:lnTo>
                    <a:lnTo>
                      <a:pt x="287" y="305"/>
                    </a:lnTo>
                    <a:lnTo>
                      <a:pt x="294" y="300"/>
                    </a:lnTo>
                    <a:lnTo>
                      <a:pt x="299" y="295"/>
                    </a:lnTo>
                    <a:lnTo>
                      <a:pt x="298" y="292"/>
                    </a:lnTo>
                    <a:lnTo>
                      <a:pt x="297" y="288"/>
                    </a:lnTo>
                    <a:lnTo>
                      <a:pt x="298" y="285"/>
                    </a:lnTo>
                    <a:lnTo>
                      <a:pt x="299" y="281"/>
                    </a:lnTo>
                    <a:lnTo>
                      <a:pt x="305" y="274"/>
                    </a:lnTo>
                    <a:lnTo>
                      <a:pt x="311" y="267"/>
                    </a:lnTo>
                    <a:lnTo>
                      <a:pt x="325" y="254"/>
                    </a:lnTo>
                    <a:lnTo>
                      <a:pt x="333" y="246"/>
                    </a:lnTo>
                    <a:lnTo>
                      <a:pt x="333" y="244"/>
                    </a:lnTo>
                    <a:lnTo>
                      <a:pt x="335" y="243"/>
                    </a:lnTo>
                    <a:lnTo>
                      <a:pt x="338" y="243"/>
                    </a:lnTo>
                    <a:lnTo>
                      <a:pt x="340" y="244"/>
                    </a:lnTo>
                    <a:lnTo>
                      <a:pt x="344" y="245"/>
                    </a:lnTo>
                    <a:lnTo>
                      <a:pt x="346" y="246"/>
                    </a:lnTo>
                    <a:lnTo>
                      <a:pt x="344" y="239"/>
                    </a:lnTo>
                    <a:lnTo>
                      <a:pt x="343" y="233"/>
                    </a:lnTo>
                    <a:lnTo>
                      <a:pt x="343" y="226"/>
                    </a:lnTo>
                    <a:lnTo>
                      <a:pt x="344" y="220"/>
                    </a:lnTo>
                    <a:lnTo>
                      <a:pt x="345" y="210"/>
                    </a:lnTo>
                    <a:lnTo>
                      <a:pt x="346" y="204"/>
                    </a:lnTo>
                    <a:lnTo>
                      <a:pt x="370" y="204"/>
                    </a:lnTo>
                    <a:lnTo>
                      <a:pt x="385" y="203"/>
                    </a:lnTo>
                    <a:lnTo>
                      <a:pt x="388" y="202"/>
                    </a:lnTo>
                    <a:lnTo>
                      <a:pt x="390" y="200"/>
                    </a:lnTo>
                    <a:lnTo>
                      <a:pt x="392" y="198"/>
                    </a:lnTo>
                    <a:lnTo>
                      <a:pt x="394" y="196"/>
                    </a:lnTo>
                    <a:lnTo>
                      <a:pt x="397" y="188"/>
                    </a:lnTo>
                    <a:lnTo>
                      <a:pt x="399" y="178"/>
                    </a:lnTo>
                    <a:lnTo>
                      <a:pt x="395" y="173"/>
                    </a:lnTo>
                    <a:lnTo>
                      <a:pt x="390" y="166"/>
                    </a:lnTo>
                    <a:lnTo>
                      <a:pt x="387" y="157"/>
                    </a:lnTo>
                    <a:lnTo>
                      <a:pt x="386" y="148"/>
                    </a:lnTo>
                    <a:lnTo>
                      <a:pt x="384" y="148"/>
                    </a:lnTo>
                    <a:lnTo>
                      <a:pt x="379" y="147"/>
                    </a:lnTo>
                    <a:lnTo>
                      <a:pt x="377" y="147"/>
                    </a:lnTo>
                    <a:lnTo>
                      <a:pt x="375" y="146"/>
                    </a:lnTo>
                    <a:lnTo>
                      <a:pt x="373" y="144"/>
                    </a:lnTo>
                    <a:lnTo>
                      <a:pt x="373" y="142"/>
                    </a:lnTo>
                    <a:lnTo>
                      <a:pt x="363" y="150"/>
                    </a:lnTo>
                    <a:lnTo>
                      <a:pt x="353" y="156"/>
                    </a:lnTo>
                    <a:lnTo>
                      <a:pt x="347" y="158"/>
                    </a:lnTo>
                    <a:lnTo>
                      <a:pt x="343" y="159"/>
                    </a:lnTo>
                    <a:lnTo>
                      <a:pt x="338" y="160"/>
                    </a:lnTo>
                    <a:lnTo>
                      <a:pt x="333" y="160"/>
                    </a:lnTo>
                    <a:lnTo>
                      <a:pt x="334" y="154"/>
                    </a:lnTo>
                    <a:lnTo>
                      <a:pt x="338" y="148"/>
                    </a:lnTo>
                    <a:lnTo>
                      <a:pt x="341" y="143"/>
                    </a:lnTo>
                    <a:lnTo>
                      <a:pt x="345" y="138"/>
                    </a:lnTo>
                    <a:lnTo>
                      <a:pt x="355" y="128"/>
                    </a:lnTo>
                    <a:lnTo>
                      <a:pt x="367" y="120"/>
                    </a:lnTo>
                    <a:lnTo>
                      <a:pt x="378" y="112"/>
                    </a:lnTo>
                    <a:lnTo>
                      <a:pt x="390" y="103"/>
                    </a:lnTo>
                    <a:lnTo>
                      <a:pt x="395" y="98"/>
                    </a:lnTo>
                    <a:lnTo>
                      <a:pt x="399" y="93"/>
                    </a:lnTo>
                    <a:lnTo>
                      <a:pt x="403" y="87"/>
                    </a:lnTo>
                    <a:lnTo>
                      <a:pt x="406" y="80"/>
                    </a:lnTo>
                    <a:lnTo>
                      <a:pt x="407" y="83"/>
                    </a:lnTo>
                    <a:lnTo>
                      <a:pt x="409" y="88"/>
                    </a:lnTo>
                    <a:lnTo>
                      <a:pt x="411" y="96"/>
                    </a:lnTo>
                    <a:lnTo>
                      <a:pt x="412" y="105"/>
                    </a:lnTo>
                    <a:lnTo>
                      <a:pt x="414" y="107"/>
                    </a:lnTo>
                    <a:lnTo>
                      <a:pt x="420" y="111"/>
                    </a:lnTo>
                    <a:lnTo>
                      <a:pt x="426" y="115"/>
                    </a:lnTo>
                    <a:lnTo>
                      <a:pt x="432" y="117"/>
                    </a:lnTo>
                    <a:lnTo>
                      <a:pt x="450" y="116"/>
                    </a:lnTo>
                    <a:lnTo>
                      <a:pt x="463" y="114"/>
                    </a:lnTo>
                    <a:lnTo>
                      <a:pt x="473" y="112"/>
                    </a:lnTo>
                    <a:lnTo>
                      <a:pt x="479" y="111"/>
                    </a:lnTo>
                    <a:lnTo>
                      <a:pt x="474" y="106"/>
                    </a:lnTo>
                    <a:lnTo>
                      <a:pt x="469" y="101"/>
                    </a:lnTo>
                    <a:lnTo>
                      <a:pt x="468" y="98"/>
                    </a:lnTo>
                    <a:lnTo>
                      <a:pt x="467" y="95"/>
                    </a:lnTo>
                    <a:lnTo>
                      <a:pt x="466" y="91"/>
                    </a:lnTo>
                    <a:lnTo>
                      <a:pt x="466" y="87"/>
                    </a:lnTo>
                    <a:lnTo>
                      <a:pt x="485" y="83"/>
                    </a:lnTo>
                    <a:lnTo>
                      <a:pt x="510" y="78"/>
                    </a:lnTo>
                    <a:lnTo>
                      <a:pt x="523" y="75"/>
                    </a:lnTo>
                    <a:lnTo>
                      <a:pt x="536" y="72"/>
                    </a:lnTo>
                    <a:lnTo>
                      <a:pt x="548" y="67"/>
                    </a:lnTo>
                    <a:lnTo>
                      <a:pt x="558" y="61"/>
                    </a:lnTo>
                    <a:lnTo>
                      <a:pt x="565" y="57"/>
                    </a:lnTo>
                    <a:lnTo>
                      <a:pt x="573" y="53"/>
                    </a:lnTo>
                    <a:lnTo>
                      <a:pt x="579" y="50"/>
                    </a:lnTo>
                    <a:lnTo>
                      <a:pt x="586" y="49"/>
                    </a:lnTo>
                    <a:lnTo>
                      <a:pt x="587" y="55"/>
                    </a:lnTo>
                    <a:lnTo>
                      <a:pt x="589" y="61"/>
                    </a:lnTo>
                    <a:lnTo>
                      <a:pt x="591" y="63"/>
                    </a:lnTo>
                    <a:lnTo>
                      <a:pt x="593" y="65"/>
                    </a:lnTo>
                    <a:lnTo>
                      <a:pt x="596" y="67"/>
                    </a:lnTo>
                    <a:lnTo>
                      <a:pt x="599" y="67"/>
                    </a:lnTo>
                    <a:lnTo>
                      <a:pt x="609" y="66"/>
                    </a:lnTo>
                    <a:lnTo>
                      <a:pt x="624" y="61"/>
                    </a:lnTo>
                    <a:lnTo>
                      <a:pt x="638" y="57"/>
                    </a:lnTo>
                    <a:lnTo>
                      <a:pt x="645" y="55"/>
                    </a:lnTo>
                    <a:lnTo>
                      <a:pt x="643" y="53"/>
                    </a:lnTo>
                    <a:lnTo>
                      <a:pt x="641" y="51"/>
                    </a:lnTo>
                    <a:lnTo>
                      <a:pt x="638" y="48"/>
                    </a:lnTo>
                    <a:lnTo>
                      <a:pt x="638" y="46"/>
                    </a:lnTo>
                    <a:lnTo>
                      <a:pt x="638" y="42"/>
                    </a:lnTo>
                    <a:lnTo>
                      <a:pt x="641" y="37"/>
                    </a:lnTo>
                    <a:lnTo>
                      <a:pt x="645" y="33"/>
                    </a:lnTo>
                    <a:lnTo>
                      <a:pt x="650" y="28"/>
                    </a:lnTo>
                    <a:lnTo>
                      <a:pt x="657" y="24"/>
                    </a:lnTo>
                    <a:lnTo>
                      <a:pt x="665" y="20"/>
                    </a:lnTo>
                    <a:lnTo>
                      <a:pt x="674" y="17"/>
                    </a:lnTo>
                    <a:lnTo>
                      <a:pt x="682" y="15"/>
                    </a:lnTo>
                    <a:lnTo>
                      <a:pt x="691" y="14"/>
                    </a:lnTo>
                    <a:lnTo>
                      <a:pt x="699" y="13"/>
                    </a:lnTo>
                    <a:lnTo>
                      <a:pt x="708" y="13"/>
                    </a:lnTo>
                    <a:lnTo>
                      <a:pt x="714" y="13"/>
                    </a:lnTo>
                    <a:lnTo>
                      <a:pt x="721" y="15"/>
                    </a:lnTo>
                    <a:lnTo>
                      <a:pt x="725" y="18"/>
                    </a:lnTo>
                    <a:lnTo>
                      <a:pt x="717" y="20"/>
                    </a:lnTo>
                    <a:lnTo>
                      <a:pt x="709" y="26"/>
                    </a:lnTo>
                    <a:lnTo>
                      <a:pt x="705" y="29"/>
                    </a:lnTo>
                    <a:lnTo>
                      <a:pt x="701" y="32"/>
                    </a:lnTo>
                    <a:lnTo>
                      <a:pt x="699" y="35"/>
                    </a:lnTo>
                    <a:lnTo>
                      <a:pt x="699" y="37"/>
                    </a:lnTo>
                    <a:lnTo>
                      <a:pt x="702" y="39"/>
                    </a:lnTo>
                    <a:lnTo>
                      <a:pt x="705" y="40"/>
                    </a:lnTo>
                    <a:lnTo>
                      <a:pt x="709" y="41"/>
                    </a:lnTo>
                    <a:lnTo>
                      <a:pt x="712" y="40"/>
                    </a:lnTo>
                    <a:lnTo>
                      <a:pt x="719" y="39"/>
                    </a:lnTo>
                    <a:lnTo>
                      <a:pt x="725" y="36"/>
                    </a:lnTo>
                    <a:lnTo>
                      <a:pt x="733" y="32"/>
                    </a:lnTo>
                    <a:lnTo>
                      <a:pt x="741" y="29"/>
                    </a:lnTo>
                    <a:lnTo>
                      <a:pt x="748" y="26"/>
                    </a:lnTo>
                    <a:lnTo>
                      <a:pt x="758" y="24"/>
                    </a:lnTo>
                    <a:lnTo>
                      <a:pt x="758" y="12"/>
                    </a:lnTo>
                    <a:lnTo>
                      <a:pt x="758" y="0"/>
                    </a:lnTo>
                    <a:lnTo>
                      <a:pt x="777" y="0"/>
                    </a:lnTo>
                    <a:lnTo>
                      <a:pt x="793" y="1"/>
                    </a:lnTo>
                    <a:lnTo>
                      <a:pt x="800" y="1"/>
                    </a:lnTo>
                    <a:lnTo>
                      <a:pt x="806" y="2"/>
                    </a:lnTo>
                    <a:lnTo>
                      <a:pt x="813" y="4"/>
                    </a:lnTo>
                    <a:lnTo>
                      <a:pt x="817" y="6"/>
                    </a:lnTo>
                    <a:lnTo>
                      <a:pt x="812" y="11"/>
                    </a:lnTo>
                    <a:lnTo>
                      <a:pt x="805" y="18"/>
                    </a:lnTo>
                    <a:lnTo>
                      <a:pt x="800" y="26"/>
                    </a:lnTo>
                    <a:lnTo>
                      <a:pt x="798" y="31"/>
                    </a:lnTo>
                    <a:lnTo>
                      <a:pt x="815" y="22"/>
                    </a:lnTo>
                    <a:lnTo>
                      <a:pt x="828" y="15"/>
                    </a:lnTo>
                    <a:lnTo>
                      <a:pt x="844" y="8"/>
                    </a:lnTo>
                    <a:lnTo>
                      <a:pt x="865" y="0"/>
                    </a:lnTo>
                    <a:lnTo>
                      <a:pt x="865" y="4"/>
                    </a:lnTo>
                    <a:lnTo>
                      <a:pt x="864" y="9"/>
                    </a:lnTo>
                    <a:lnTo>
                      <a:pt x="861" y="14"/>
                    </a:lnTo>
                    <a:lnTo>
                      <a:pt x="858" y="18"/>
                    </a:lnTo>
                    <a:lnTo>
                      <a:pt x="860" y="14"/>
                    </a:lnTo>
                    <a:lnTo>
                      <a:pt x="862" y="11"/>
                    </a:lnTo>
                    <a:lnTo>
                      <a:pt x="866" y="9"/>
                    </a:lnTo>
                    <a:lnTo>
                      <a:pt x="869" y="7"/>
                    </a:lnTo>
                    <a:lnTo>
                      <a:pt x="876" y="6"/>
                    </a:lnTo>
                    <a:lnTo>
                      <a:pt x="884" y="6"/>
                    </a:lnTo>
                    <a:lnTo>
                      <a:pt x="892" y="6"/>
                    </a:lnTo>
                    <a:lnTo>
                      <a:pt x="907" y="6"/>
                    </a:lnTo>
                    <a:lnTo>
                      <a:pt x="924" y="6"/>
                    </a:lnTo>
                    <a:lnTo>
                      <a:pt x="930" y="6"/>
                    </a:lnTo>
                    <a:lnTo>
                      <a:pt x="947" y="12"/>
                    </a:lnTo>
                    <a:lnTo>
                      <a:pt x="979" y="22"/>
                    </a:lnTo>
                    <a:lnTo>
                      <a:pt x="996" y="28"/>
                    </a:lnTo>
                    <a:lnTo>
                      <a:pt x="1013" y="33"/>
                    </a:lnTo>
                    <a:lnTo>
                      <a:pt x="1027" y="38"/>
                    </a:lnTo>
                    <a:lnTo>
                      <a:pt x="1037" y="43"/>
                    </a:lnTo>
                    <a:lnTo>
                      <a:pt x="1031" y="52"/>
                    </a:lnTo>
                    <a:lnTo>
                      <a:pt x="1025" y="61"/>
                    </a:lnTo>
                    <a:lnTo>
                      <a:pt x="1022" y="66"/>
                    </a:lnTo>
                    <a:lnTo>
                      <a:pt x="1019" y="70"/>
                    </a:lnTo>
                    <a:lnTo>
                      <a:pt x="1017" y="75"/>
                    </a:lnTo>
                    <a:lnTo>
                      <a:pt x="1017" y="80"/>
                    </a:lnTo>
                    <a:lnTo>
                      <a:pt x="1005" y="79"/>
                    </a:lnTo>
                    <a:lnTo>
                      <a:pt x="993" y="76"/>
                    </a:lnTo>
                    <a:lnTo>
                      <a:pt x="982" y="72"/>
                    </a:lnTo>
                    <a:lnTo>
                      <a:pt x="971" y="67"/>
                    </a:lnTo>
                    <a:lnTo>
                      <a:pt x="961" y="63"/>
                    </a:lnTo>
                    <a:lnTo>
                      <a:pt x="951" y="59"/>
                    </a:lnTo>
                    <a:lnTo>
                      <a:pt x="940" y="56"/>
                    </a:lnTo>
                    <a:lnTo>
                      <a:pt x="930" y="55"/>
                    </a:lnTo>
                    <a:lnTo>
                      <a:pt x="919" y="55"/>
                    </a:lnTo>
                    <a:lnTo>
                      <a:pt x="906" y="55"/>
                    </a:lnTo>
                    <a:lnTo>
                      <a:pt x="892" y="55"/>
                    </a:lnTo>
                    <a:lnTo>
                      <a:pt x="878" y="55"/>
                    </a:lnTo>
                    <a:lnTo>
                      <a:pt x="877" y="62"/>
                    </a:lnTo>
                    <a:lnTo>
                      <a:pt x="876" y="68"/>
                    </a:lnTo>
                    <a:lnTo>
                      <a:pt x="873" y="74"/>
                    </a:lnTo>
                    <a:lnTo>
                      <a:pt x="871" y="80"/>
                    </a:lnTo>
                    <a:lnTo>
                      <a:pt x="869" y="88"/>
                    </a:lnTo>
                    <a:lnTo>
                      <a:pt x="867" y="95"/>
                    </a:lnTo>
                    <a:lnTo>
                      <a:pt x="865" y="102"/>
                    </a:lnTo>
                    <a:lnTo>
                      <a:pt x="865" y="111"/>
                    </a:lnTo>
                    <a:lnTo>
                      <a:pt x="854" y="114"/>
                    </a:lnTo>
                    <a:lnTo>
                      <a:pt x="848" y="116"/>
                    </a:lnTo>
                    <a:lnTo>
                      <a:pt x="844" y="116"/>
                    </a:lnTo>
                    <a:lnTo>
                      <a:pt x="842" y="115"/>
                    </a:lnTo>
                    <a:lnTo>
                      <a:pt x="838" y="114"/>
                    </a:lnTo>
                    <a:lnTo>
                      <a:pt x="835" y="113"/>
                    </a:lnTo>
                    <a:lnTo>
                      <a:pt x="828" y="111"/>
                    </a:lnTo>
                    <a:lnTo>
                      <a:pt x="817" y="111"/>
                    </a:lnTo>
                    <a:lnTo>
                      <a:pt x="811" y="111"/>
                    </a:lnTo>
                    <a:lnTo>
                      <a:pt x="804" y="112"/>
                    </a:lnTo>
                    <a:lnTo>
                      <a:pt x="798" y="113"/>
                    </a:lnTo>
                    <a:lnTo>
                      <a:pt x="790" y="115"/>
                    </a:lnTo>
                    <a:lnTo>
                      <a:pt x="776" y="121"/>
                    </a:lnTo>
                    <a:lnTo>
                      <a:pt x="758" y="129"/>
                    </a:lnTo>
                    <a:lnTo>
                      <a:pt x="750" y="129"/>
                    </a:lnTo>
                    <a:lnTo>
                      <a:pt x="745" y="128"/>
                    </a:lnTo>
                    <a:lnTo>
                      <a:pt x="738" y="126"/>
                    </a:lnTo>
                    <a:lnTo>
                      <a:pt x="734" y="124"/>
                    </a:lnTo>
                    <a:lnTo>
                      <a:pt x="724" y="119"/>
                    </a:lnTo>
                    <a:lnTo>
                      <a:pt x="716" y="112"/>
                    </a:lnTo>
                    <a:lnTo>
                      <a:pt x="709" y="105"/>
                    </a:lnTo>
                    <a:lnTo>
                      <a:pt x="702" y="98"/>
                    </a:lnTo>
                    <a:lnTo>
                      <a:pt x="694" y="92"/>
                    </a:lnTo>
                    <a:lnTo>
                      <a:pt x="685" y="87"/>
                    </a:lnTo>
                    <a:lnTo>
                      <a:pt x="677" y="92"/>
                    </a:lnTo>
                    <a:lnTo>
                      <a:pt x="669" y="96"/>
                    </a:lnTo>
                    <a:lnTo>
                      <a:pt x="661" y="100"/>
                    </a:lnTo>
                    <a:lnTo>
                      <a:pt x="654" y="103"/>
                    </a:lnTo>
                    <a:lnTo>
                      <a:pt x="637" y="109"/>
                    </a:lnTo>
                    <a:lnTo>
                      <a:pt x="620" y="112"/>
                    </a:lnTo>
                    <a:lnTo>
                      <a:pt x="602" y="116"/>
                    </a:lnTo>
                    <a:lnTo>
                      <a:pt x="584" y="119"/>
                    </a:lnTo>
                    <a:lnTo>
                      <a:pt x="565" y="123"/>
                    </a:lnTo>
                    <a:lnTo>
                      <a:pt x="545" y="129"/>
                    </a:lnTo>
                    <a:lnTo>
                      <a:pt x="542" y="130"/>
                    </a:lnTo>
                    <a:lnTo>
                      <a:pt x="537" y="131"/>
                    </a:lnTo>
                    <a:lnTo>
                      <a:pt x="534" y="134"/>
                    </a:lnTo>
                    <a:lnTo>
                      <a:pt x="530" y="138"/>
                    </a:lnTo>
                    <a:lnTo>
                      <a:pt x="521" y="147"/>
                    </a:lnTo>
                    <a:lnTo>
                      <a:pt x="513" y="158"/>
                    </a:lnTo>
                    <a:lnTo>
                      <a:pt x="506" y="170"/>
                    </a:lnTo>
                    <a:lnTo>
                      <a:pt x="498" y="184"/>
                    </a:lnTo>
                    <a:lnTo>
                      <a:pt x="491" y="198"/>
                    </a:lnTo>
                    <a:lnTo>
                      <a:pt x="486" y="210"/>
                    </a:lnTo>
                    <a:lnTo>
                      <a:pt x="482" y="217"/>
                    </a:lnTo>
                    <a:lnTo>
                      <a:pt x="478" y="225"/>
                    </a:lnTo>
                    <a:lnTo>
                      <a:pt x="473" y="232"/>
                    </a:lnTo>
                    <a:lnTo>
                      <a:pt x="466" y="239"/>
                    </a:lnTo>
                    <a:lnTo>
                      <a:pt x="453" y="255"/>
                    </a:lnTo>
                    <a:lnTo>
                      <a:pt x="437" y="270"/>
                    </a:lnTo>
                    <a:lnTo>
                      <a:pt x="430" y="279"/>
                    </a:lnTo>
                    <a:lnTo>
                      <a:pt x="423" y="288"/>
                    </a:lnTo>
                    <a:lnTo>
                      <a:pt x="417" y="298"/>
                    </a:lnTo>
                    <a:lnTo>
                      <a:pt x="411" y="309"/>
                    </a:lnTo>
                    <a:lnTo>
                      <a:pt x="406" y="321"/>
                    </a:lnTo>
                    <a:lnTo>
                      <a:pt x="402" y="334"/>
                    </a:lnTo>
                    <a:lnTo>
                      <a:pt x="400" y="348"/>
                    </a:lnTo>
                    <a:lnTo>
                      <a:pt x="399" y="364"/>
                    </a:lnTo>
                    <a:lnTo>
                      <a:pt x="396" y="362"/>
                    </a:lnTo>
                    <a:lnTo>
                      <a:pt x="392" y="361"/>
                    </a:lnTo>
                    <a:lnTo>
                      <a:pt x="387" y="361"/>
                    </a:lnTo>
                    <a:lnTo>
                      <a:pt x="381" y="362"/>
                    </a:lnTo>
                    <a:lnTo>
                      <a:pt x="367" y="363"/>
                    </a:lnTo>
                    <a:lnTo>
                      <a:pt x="353" y="364"/>
                    </a:lnTo>
                    <a:lnTo>
                      <a:pt x="333" y="425"/>
                    </a:lnTo>
                    <a:lnTo>
                      <a:pt x="333" y="441"/>
                    </a:lnTo>
                    <a:lnTo>
                      <a:pt x="336" y="464"/>
                    </a:lnTo>
                    <a:lnTo>
                      <a:pt x="340" y="477"/>
                    </a:lnTo>
                    <a:lnTo>
                      <a:pt x="344" y="487"/>
                    </a:lnTo>
                    <a:lnTo>
                      <a:pt x="347" y="491"/>
                    </a:lnTo>
                    <a:lnTo>
                      <a:pt x="351" y="495"/>
                    </a:lnTo>
                    <a:lnTo>
                      <a:pt x="355" y="497"/>
                    </a:lnTo>
                    <a:lnTo>
                      <a:pt x="360" y="499"/>
                    </a:lnTo>
                    <a:lnTo>
                      <a:pt x="358" y="515"/>
                    </a:lnTo>
                    <a:lnTo>
                      <a:pt x="357" y="528"/>
                    </a:lnTo>
                    <a:lnTo>
                      <a:pt x="356" y="537"/>
                    </a:lnTo>
                    <a:lnTo>
                      <a:pt x="354" y="544"/>
                    </a:lnTo>
                    <a:lnTo>
                      <a:pt x="354" y="551"/>
                    </a:lnTo>
                    <a:lnTo>
                      <a:pt x="354" y="558"/>
                    </a:lnTo>
                    <a:lnTo>
                      <a:pt x="355" y="567"/>
                    </a:lnTo>
                    <a:lnTo>
                      <a:pt x="360" y="579"/>
                    </a:lnTo>
                    <a:lnTo>
                      <a:pt x="352" y="585"/>
                    </a:lnTo>
                    <a:lnTo>
                      <a:pt x="346" y="591"/>
                    </a:lnTo>
                    <a:lnTo>
                      <a:pt x="340" y="598"/>
                    </a:lnTo>
                    <a:lnTo>
                      <a:pt x="335" y="606"/>
                    </a:lnTo>
                    <a:lnTo>
                      <a:pt x="331" y="615"/>
                    </a:lnTo>
                    <a:lnTo>
                      <a:pt x="329" y="625"/>
                    </a:lnTo>
                    <a:lnTo>
                      <a:pt x="327" y="635"/>
                    </a:lnTo>
                    <a:lnTo>
                      <a:pt x="327" y="647"/>
                    </a:lnTo>
                    <a:lnTo>
                      <a:pt x="318" y="646"/>
                    </a:lnTo>
                    <a:lnTo>
                      <a:pt x="306" y="645"/>
                    </a:lnTo>
                    <a:lnTo>
                      <a:pt x="300" y="645"/>
                    </a:lnTo>
                    <a:lnTo>
                      <a:pt x="295" y="645"/>
                    </a:lnTo>
                    <a:lnTo>
                      <a:pt x="289" y="646"/>
                    </a:lnTo>
                    <a:lnTo>
                      <a:pt x="286" y="647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06" name="Freeform 228">
                <a:extLst>
                  <a:ext uri="{FF2B5EF4-FFF2-40B4-BE49-F238E27FC236}">
                    <a16:creationId xmlns="" xmlns:a16="http://schemas.microsoft.com/office/drawing/2014/main" id="{9BAC2A68-E0F9-427F-AFAC-8D3F86FC3EA0}"/>
                  </a:ext>
                </a:extLst>
              </p:cNvPr>
              <p:cNvSpPr>
                <a:spLocks/>
              </p:cNvSpPr>
              <p:nvPr>
                <p:custDataLst>
                  <p:tags r:id="rId155"/>
                </p:custDataLst>
              </p:nvPr>
            </p:nvSpPr>
            <p:spPr bwMode="auto">
              <a:xfrm>
                <a:off x="4443413" y="2319338"/>
                <a:ext cx="49212" cy="90487"/>
              </a:xfrm>
              <a:custGeom>
                <a:avLst/>
                <a:gdLst>
                  <a:gd name="T0" fmla="*/ 2147483646 w 120"/>
                  <a:gd name="T1" fmla="*/ 2147483646 h 173"/>
                  <a:gd name="T2" fmla="*/ 2147483646 w 120"/>
                  <a:gd name="T3" fmla="*/ 2147483646 h 173"/>
                  <a:gd name="T4" fmla="*/ 2147483646 w 120"/>
                  <a:gd name="T5" fmla="*/ 2147483646 h 173"/>
                  <a:gd name="T6" fmla="*/ 2147483646 w 120"/>
                  <a:gd name="T7" fmla="*/ 2147483646 h 173"/>
                  <a:gd name="T8" fmla="*/ 2147483646 w 120"/>
                  <a:gd name="T9" fmla="*/ 2147483646 h 173"/>
                  <a:gd name="T10" fmla="*/ 2147483646 w 120"/>
                  <a:gd name="T11" fmla="*/ 2147483646 h 173"/>
                  <a:gd name="T12" fmla="*/ 2147483646 w 120"/>
                  <a:gd name="T13" fmla="*/ 2147483646 h 173"/>
                  <a:gd name="T14" fmla="*/ 2147483646 w 120"/>
                  <a:gd name="T15" fmla="*/ 2147483646 h 173"/>
                  <a:gd name="T16" fmla="*/ 2147483646 w 120"/>
                  <a:gd name="T17" fmla="*/ 0 h 173"/>
                  <a:gd name="T18" fmla="*/ 2147483646 w 120"/>
                  <a:gd name="T19" fmla="*/ 0 h 173"/>
                  <a:gd name="T20" fmla="*/ 2147483646 w 120"/>
                  <a:gd name="T21" fmla="*/ 2147483646 h 173"/>
                  <a:gd name="T22" fmla="*/ 2147483646 w 120"/>
                  <a:gd name="T23" fmla="*/ 2147483646 h 173"/>
                  <a:gd name="T24" fmla="*/ 2147483646 w 120"/>
                  <a:gd name="T25" fmla="*/ 2147483646 h 173"/>
                  <a:gd name="T26" fmla="*/ 2147483646 w 120"/>
                  <a:gd name="T27" fmla="*/ 2147483646 h 173"/>
                  <a:gd name="T28" fmla="*/ 2147483646 w 120"/>
                  <a:gd name="T29" fmla="*/ 2147483646 h 173"/>
                  <a:gd name="T30" fmla="*/ 2147483646 w 120"/>
                  <a:gd name="T31" fmla="*/ 2147483646 h 173"/>
                  <a:gd name="T32" fmla="*/ 2147483646 w 120"/>
                  <a:gd name="T33" fmla="*/ 2147483646 h 173"/>
                  <a:gd name="T34" fmla="*/ 2147483646 w 120"/>
                  <a:gd name="T35" fmla="*/ 2147483646 h 173"/>
                  <a:gd name="T36" fmla="*/ 2147483646 w 120"/>
                  <a:gd name="T37" fmla="*/ 2147483646 h 173"/>
                  <a:gd name="T38" fmla="*/ 2147483646 w 120"/>
                  <a:gd name="T39" fmla="*/ 2147483646 h 173"/>
                  <a:gd name="T40" fmla="*/ 2147483646 w 120"/>
                  <a:gd name="T41" fmla="*/ 2147483646 h 173"/>
                  <a:gd name="T42" fmla="*/ 2147483646 w 120"/>
                  <a:gd name="T43" fmla="*/ 2147483646 h 173"/>
                  <a:gd name="T44" fmla="*/ 0 w 120"/>
                  <a:gd name="T45" fmla="*/ 2147483646 h 173"/>
                  <a:gd name="T46" fmla="*/ 2147483646 w 120"/>
                  <a:gd name="T47" fmla="*/ 2147483646 h 173"/>
                  <a:gd name="T48" fmla="*/ 2147483646 w 120"/>
                  <a:gd name="T49" fmla="*/ 2147483646 h 173"/>
                  <a:gd name="T50" fmla="*/ 2147483646 w 120"/>
                  <a:gd name="T51" fmla="*/ 2147483646 h 173"/>
                  <a:gd name="T52" fmla="*/ 2147483646 w 120"/>
                  <a:gd name="T53" fmla="*/ 2147483646 h 173"/>
                  <a:gd name="T54" fmla="*/ 2147483646 w 120"/>
                  <a:gd name="T55" fmla="*/ 2147483646 h 173"/>
                  <a:gd name="T56" fmla="*/ 2147483646 w 120"/>
                  <a:gd name="T57" fmla="*/ 2147483646 h 173"/>
                  <a:gd name="T58" fmla="*/ 2147483646 w 120"/>
                  <a:gd name="T59" fmla="*/ 2147483646 h 173"/>
                  <a:gd name="T60" fmla="*/ 2147483646 w 120"/>
                  <a:gd name="T61" fmla="*/ 2147483646 h 173"/>
                  <a:gd name="T62" fmla="*/ 2147483646 w 120"/>
                  <a:gd name="T63" fmla="*/ 2147483646 h 173"/>
                  <a:gd name="T64" fmla="*/ 2147483646 w 120"/>
                  <a:gd name="T65" fmla="*/ 2147483646 h 173"/>
                  <a:gd name="T66" fmla="*/ 2147483646 w 120"/>
                  <a:gd name="T67" fmla="*/ 2147483646 h 173"/>
                  <a:gd name="T68" fmla="*/ 2147483646 w 120"/>
                  <a:gd name="T69" fmla="*/ 2147483646 h 173"/>
                  <a:gd name="T70" fmla="*/ 2147483646 w 120"/>
                  <a:gd name="T71" fmla="*/ 2147483646 h 173"/>
                  <a:gd name="T72" fmla="*/ 2147483646 w 120"/>
                  <a:gd name="T73" fmla="*/ 2147483646 h 173"/>
                  <a:gd name="T74" fmla="*/ 2147483646 w 120"/>
                  <a:gd name="T75" fmla="*/ 2147483646 h 173"/>
                  <a:gd name="T76" fmla="*/ 2147483646 w 120"/>
                  <a:gd name="T77" fmla="*/ 2147483646 h 173"/>
                  <a:gd name="T78" fmla="*/ 2147483646 w 120"/>
                  <a:gd name="T79" fmla="*/ 2147483646 h 173"/>
                  <a:gd name="T80" fmla="*/ 2147483646 w 120"/>
                  <a:gd name="T81" fmla="*/ 2147483646 h 173"/>
                  <a:gd name="T82" fmla="*/ 2147483646 w 120"/>
                  <a:gd name="T83" fmla="*/ 2147483646 h 173"/>
                  <a:gd name="T84" fmla="*/ 2147483646 w 120"/>
                  <a:gd name="T85" fmla="*/ 2147483646 h 173"/>
                  <a:gd name="T86" fmla="*/ 2147483646 w 120"/>
                  <a:gd name="T87" fmla="*/ 2147483646 h 173"/>
                  <a:gd name="T88" fmla="*/ 2147483646 w 120"/>
                  <a:gd name="T89" fmla="*/ 2147483646 h 173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20"/>
                  <a:gd name="T136" fmla="*/ 0 h 173"/>
                  <a:gd name="T137" fmla="*/ 120 w 120"/>
                  <a:gd name="T138" fmla="*/ 173 h 173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20" h="173">
                    <a:moveTo>
                      <a:pt x="120" y="99"/>
                    </a:moveTo>
                    <a:lnTo>
                      <a:pt x="92" y="60"/>
                    </a:lnTo>
                    <a:lnTo>
                      <a:pt x="70" y="28"/>
                    </a:lnTo>
                    <a:lnTo>
                      <a:pt x="60" y="16"/>
                    </a:lnTo>
                    <a:lnTo>
                      <a:pt x="53" y="8"/>
                    </a:lnTo>
                    <a:lnTo>
                      <a:pt x="48" y="4"/>
                    </a:lnTo>
                    <a:lnTo>
                      <a:pt x="45" y="2"/>
                    </a:lnTo>
                    <a:lnTo>
                      <a:pt x="43" y="1"/>
                    </a:lnTo>
                    <a:lnTo>
                      <a:pt x="39" y="0"/>
                    </a:lnTo>
                    <a:lnTo>
                      <a:pt x="33" y="0"/>
                    </a:lnTo>
                    <a:lnTo>
                      <a:pt x="27" y="1"/>
                    </a:lnTo>
                    <a:lnTo>
                      <a:pt x="24" y="3"/>
                    </a:lnTo>
                    <a:lnTo>
                      <a:pt x="21" y="5"/>
                    </a:lnTo>
                    <a:lnTo>
                      <a:pt x="19" y="8"/>
                    </a:lnTo>
                    <a:lnTo>
                      <a:pt x="16" y="12"/>
                    </a:lnTo>
                    <a:lnTo>
                      <a:pt x="15" y="15"/>
                    </a:lnTo>
                    <a:lnTo>
                      <a:pt x="15" y="20"/>
                    </a:lnTo>
                    <a:lnTo>
                      <a:pt x="14" y="30"/>
                    </a:lnTo>
                    <a:lnTo>
                      <a:pt x="12" y="42"/>
                    </a:lnTo>
                    <a:lnTo>
                      <a:pt x="10" y="48"/>
                    </a:lnTo>
                    <a:lnTo>
                      <a:pt x="8" y="54"/>
                    </a:lnTo>
                    <a:lnTo>
                      <a:pt x="4" y="61"/>
                    </a:lnTo>
                    <a:lnTo>
                      <a:pt x="0" y="68"/>
                    </a:lnTo>
                    <a:lnTo>
                      <a:pt x="5" y="82"/>
                    </a:lnTo>
                    <a:lnTo>
                      <a:pt x="10" y="99"/>
                    </a:lnTo>
                    <a:lnTo>
                      <a:pt x="15" y="115"/>
                    </a:lnTo>
                    <a:lnTo>
                      <a:pt x="20" y="129"/>
                    </a:lnTo>
                    <a:lnTo>
                      <a:pt x="24" y="134"/>
                    </a:lnTo>
                    <a:lnTo>
                      <a:pt x="30" y="139"/>
                    </a:lnTo>
                    <a:lnTo>
                      <a:pt x="37" y="145"/>
                    </a:lnTo>
                    <a:lnTo>
                      <a:pt x="46" y="151"/>
                    </a:lnTo>
                    <a:lnTo>
                      <a:pt x="54" y="157"/>
                    </a:lnTo>
                    <a:lnTo>
                      <a:pt x="60" y="163"/>
                    </a:lnTo>
                    <a:lnTo>
                      <a:pt x="62" y="165"/>
                    </a:lnTo>
                    <a:lnTo>
                      <a:pt x="65" y="168"/>
                    </a:lnTo>
                    <a:lnTo>
                      <a:pt x="66" y="170"/>
                    </a:lnTo>
                    <a:lnTo>
                      <a:pt x="67" y="173"/>
                    </a:lnTo>
                    <a:lnTo>
                      <a:pt x="76" y="167"/>
                    </a:lnTo>
                    <a:lnTo>
                      <a:pt x="86" y="160"/>
                    </a:lnTo>
                    <a:lnTo>
                      <a:pt x="93" y="152"/>
                    </a:lnTo>
                    <a:lnTo>
                      <a:pt x="101" y="142"/>
                    </a:lnTo>
                    <a:lnTo>
                      <a:pt x="106" y="132"/>
                    </a:lnTo>
                    <a:lnTo>
                      <a:pt x="112" y="121"/>
                    </a:lnTo>
                    <a:lnTo>
                      <a:pt x="116" y="110"/>
                    </a:lnTo>
                    <a:lnTo>
                      <a:pt x="120" y="99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07" name="Freeform 229">
                <a:extLst>
                  <a:ext uri="{FF2B5EF4-FFF2-40B4-BE49-F238E27FC236}">
                    <a16:creationId xmlns="" xmlns:a16="http://schemas.microsoft.com/office/drawing/2014/main" id="{4CA98FBD-0EBE-4F8A-B604-3FC30F15E5F3}"/>
                  </a:ext>
                </a:extLst>
              </p:cNvPr>
              <p:cNvSpPr>
                <a:spLocks/>
              </p:cNvSpPr>
              <p:nvPr>
                <p:custDataLst>
                  <p:tags r:id="rId156"/>
                </p:custDataLst>
              </p:nvPr>
            </p:nvSpPr>
            <p:spPr bwMode="auto">
              <a:xfrm>
                <a:off x="4151313" y="2159000"/>
                <a:ext cx="84137" cy="58738"/>
              </a:xfrm>
              <a:custGeom>
                <a:avLst/>
                <a:gdLst>
                  <a:gd name="T0" fmla="*/ 2147483646 w 200"/>
                  <a:gd name="T1" fmla="*/ 2147483646 h 98"/>
                  <a:gd name="T2" fmla="*/ 2147483646 w 200"/>
                  <a:gd name="T3" fmla="*/ 2147483646 h 98"/>
                  <a:gd name="T4" fmla="*/ 2147483646 w 200"/>
                  <a:gd name="T5" fmla="*/ 2147483646 h 98"/>
                  <a:gd name="T6" fmla="*/ 2147483646 w 200"/>
                  <a:gd name="T7" fmla="*/ 2147483646 h 98"/>
                  <a:gd name="T8" fmla="*/ 2147483646 w 200"/>
                  <a:gd name="T9" fmla="*/ 2147483646 h 98"/>
                  <a:gd name="T10" fmla="*/ 2147483646 w 200"/>
                  <a:gd name="T11" fmla="*/ 2147483646 h 98"/>
                  <a:gd name="T12" fmla="*/ 2147483646 w 200"/>
                  <a:gd name="T13" fmla="*/ 2147483646 h 98"/>
                  <a:gd name="T14" fmla="*/ 2147483646 w 200"/>
                  <a:gd name="T15" fmla="*/ 2147483646 h 98"/>
                  <a:gd name="T16" fmla="*/ 2147483646 w 200"/>
                  <a:gd name="T17" fmla="*/ 2147483646 h 98"/>
                  <a:gd name="T18" fmla="*/ 2147483646 w 200"/>
                  <a:gd name="T19" fmla="*/ 2147483646 h 98"/>
                  <a:gd name="T20" fmla="*/ 2147483646 w 200"/>
                  <a:gd name="T21" fmla="*/ 2147483646 h 98"/>
                  <a:gd name="T22" fmla="*/ 2147483646 w 200"/>
                  <a:gd name="T23" fmla="*/ 2147483646 h 98"/>
                  <a:gd name="T24" fmla="*/ 2147483646 w 200"/>
                  <a:gd name="T25" fmla="*/ 2147483646 h 98"/>
                  <a:gd name="T26" fmla="*/ 2147483646 w 200"/>
                  <a:gd name="T27" fmla="*/ 2147483646 h 98"/>
                  <a:gd name="T28" fmla="*/ 2147483646 w 200"/>
                  <a:gd name="T29" fmla="*/ 2147483646 h 98"/>
                  <a:gd name="T30" fmla="*/ 2147483646 w 200"/>
                  <a:gd name="T31" fmla="*/ 2147483646 h 98"/>
                  <a:gd name="T32" fmla="*/ 2147483646 w 200"/>
                  <a:gd name="T33" fmla="*/ 2147483646 h 98"/>
                  <a:gd name="T34" fmla="*/ 2147483646 w 200"/>
                  <a:gd name="T35" fmla="*/ 2147483646 h 98"/>
                  <a:gd name="T36" fmla="*/ 2147483646 w 200"/>
                  <a:gd name="T37" fmla="*/ 2147483646 h 98"/>
                  <a:gd name="T38" fmla="*/ 2147483646 w 200"/>
                  <a:gd name="T39" fmla="*/ 2147483646 h 98"/>
                  <a:gd name="T40" fmla="*/ 2147483646 w 200"/>
                  <a:gd name="T41" fmla="*/ 2147483646 h 98"/>
                  <a:gd name="T42" fmla="*/ 2147483646 w 200"/>
                  <a:gd name="T43" fmla="*/ 2147483646 h 98"/>
                  <a:gd name="T44" fmla="*/ 2147483646 w 200"/>
                  <a:gd name="T45" fmla="*/ 2147483646 h 98"/>
                  <a:gd name="T46" fmla="*/ 2147483646 w 200"/>
                  <a:gd name="T47" fmla="*/ 2147483646 h 98"/>
                  <a:gd name="T48" fmla="*/ 2147483646 w 200"/>
                  <a:gd name="T49" fmla="*/ 2147483646 h 98"/>
                  <a:gd name="T50" fmla="*/ 2147483646 w 200"/>
                  <a:gd name="T51" fmla="*/ 2147483646 h 98"/>
                  <a:gd name="T52" fmla="*/ 2147483646 w 200"/>
                  <a:gd name="T53" fmla="*/ 2147483646 h 98"/>
                  <a:gd name="T54" fmla="*/ 2147483646 w 200"/>
                  <a:gd name="T55" fmla="*/ 2147483646 h 98"/>
                  <a:gd name="T56" fmla="*/ 2147483646 w 200"/>
                  <a:gd name="T57" fmla="*/ 2147483646 h 98"/>
                  <a:gd name="T58" fmla="*/ 2147483646 w 200"/>
                  <a:gd name="T59" fmla="*/ 2147483646 h 98"/>
                  <a:gd name="T60" fmla="*/ 2147483646 w 200"/>
                  <a:gd name="T61" fmla="*/ 2147483646 h 98"/>
                  <a:gd name="T62" fmla="*/ 0 w 200"/>
                  <a:gd name="T63" fmla="*/ 2147483646 h 98"/>
                  <a:gd name="T64" fmla="*/ 2147483646 w 200"/>
                  <a:gd name="T65" fmla="*/ 2147483646 h 98"/>
                  <a:gd name="T66" fmla="*/ 2147483646 w 200"/>
                  <a:gd name="T67" fmla="*/ 2147483646 h 98"/>
                  <a:gd name="T68" fmla="*/ 2147483646 w 200"/>
                  <a:gd name="T69" fmla="*/ 2147483646 h 98"/>
                  <a:gd name="T70" fmla="*/ 2147483646 w 200"/>
                  <a:gd name="T71" fmla="*/ 2147483646 h 98"/>
                  <a:gd name="T72" fmla="*/ 2147483646 w 200"/>
                  <a:gd name="T73" fmla="*/ 2147483646 h 98"/>
                  <a:gd name="T74" fmla="*/ 2147483646 w 200"/>
                  <a:gd name="T75" fmla="*/ 2147483646 h 98"/>
                  <a:gd name="T76" fmla="*/ 2147483646 w 200"/>
                  <a:gd name="T77" fmla="*/ 2147483646 h 98"/>
                  <a:gd name="T78" fmla="*/ 2147483646 w 200"/>
                  <a:gd name="T79" fmla="*/ 2147483646 h 98"/>
                  <a:gd name="T80" fmla="*/ 2147483646 w 200"/>
                  <a:gd name="T81" fmla="*/ 2147483646 h 98"/>
                  <a:gd name="T82" fmla="*/ 2147483646 w 200"/>
                  <a:gd name="T83" fmla="*/ 2147483646 h 98"/>
                  <a:gd name="T84" fmla="*/ 2147483646 w 200"/>
                  <a:gd name="T85" fmla="*/ 2147483646 h 98"/>
                  <a:gd name="T86" fmla="*/ 2147483646 w 200"/>
                  <a:gd name="T87" fmla="*/ 0 h 98"/>
                  <a:gd name="T88" fmla="*/ 2147483646 w 200"/>
                  <a:gd name="T89" fmla="*/ 2147483646 h 98"/>
                  <a:gd name="T90" fmla="*/ 2147483646 w 200"/>
                  <a:gd name="T91" fmla="*/ 2147483646 h 98"/>
                  <a:gd name="T92" fmla="*/ 2147483646 w 200"/>
                  <a:gd name="T93" fmla="*/ 2147483646 h 98"/>
                  <a:gd name="T94" fmla="*/ 2147483646 w 200"/>
                  <a:gd name="T95" fmla="*/ 2147483646 h 98"/>
                  <a:gd name="T96" fmla="*/ 2147483646 w 200"/>
                  <a:gd name="T97" fmla="*/ 2147483646 h 98"/>
                  <a:gd name="T98" fmla="*/ 2147483646 w 200"/>
                  <a:gd name="T99" fmla="*/ 2147483646 h 98"/>
                  <a:gd name="T100" fmla="*/ 2147483646 w 200"/>
                  <a:gd name="T101" fmla="*/ 2147483646 h 98"/>
                  <a:gd name="T102" fmla="*/ 2147483646 w 200"/>
                  <a:gd name="T103" fmla="*/ 2147483646 h 98"/>
                  <a:gd name="T104" fmla="*/ 2147483646 w 200"/>
                  <a:gd name="T105" fmla="*/ 2147483646 h 98"/>
                  <a:gd name="T106" fmla="*/ 2147483646 w 200"/>
                  <a:gd name="T107" fmla="*/ 2147483646 h 98"/>
                  <a:gd name="T108" fmla="*/ 2147483646 w 200"/>
                  <a:gd name="T109" fmla="*/ 2147483646 h 98"/>
                  <a:gd name="T110" fmla="*/ 2147483646 w 200"/>
                  <a:gd name="T111" fmla="*/ 2147483646 h 98"/>
                  <a:gd name="T112" fmla="*/ 2147483646 w 200"/>
                  <a:gd name="T113" fmla="*/ 2147483646 h 9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00"/>
                  <a:gd name="T172" fmla="*/ 0 h 98"/>
                  <a:gd name="T173" fmla="*/ 200 w 200"/>
                  <a:gd name="T174" fmla="*/ 98 h 98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00" h="98">
                    <a:moveTo>
                      <a:pt x="200" y="55"/>
                    </a:moveTo>
                    <a:lnTo>
                      <a:pt x="195" y="56"/>
                    </a:lnTo>
                    <a:lnTo>
                      <a:pt x="186" y="60"/>
                    </a:lnTo>
                    <a:lnTo>
                      <a:pt x="177" y="65"/>
                    </a:lnTo>
                    <a:lnTo>
                      <a:pt x="166" y="73"/>
                    </a:lnTo>
                    <a:lnTo>
                      <a:pt x="155" y="80"/>
                    </a:lnTo>
                    <a:lnTo>
                      <a:pt x="145" y="87"/>
                    </a:lnTo>
                    <a:lnTo>
                      <a:pt x="137" y="93"/>
                    </a:lnTo>
                    <a:lnTo>
                      <a:pt x="133" y="98"/>
                    </a:lnTo>
                    <a:lnTo>
                      <a:pt x="127" y="98"/>
                    </a:lnTo>
                    <a:lnTo>
                      <a:pt x="122" y="98"/>
                    </a:lnTo>
                    <a:lnTo>
                      <a:pt x="116" y="97"/>
                    </a:lnTo>
                    <a:lnTo>
                      <a:pt x="111" y="95"/>
                    </a:lnTo>
                    <a:lnTo>
                      <a:pt x="106" y="93"/>
                    </a:lnTo>
                    <a:lnTo>
                      <a:pt x="103" y="88"/>
                    </a:lnTo>
                    <a:lnTo>
                      <a:pt x="101" y="82"/>
                    </a:lnTo>
                    <a:lnTo>
                      <a:pt x="100" y="74"/>
                    </a:lnTo>
                    <a:lnTo>
                      <a:pt x="91" y="80"/>
                    </a:lnTo>
                    <a:lnTo>
                      <a:pt x="82" y="86"/>
                    </a:lnTo>
                    <a:lnTo>
                      <a:pt x="78" y="90"/>
                    </a:lnTo>
                    <a:lnTo>
                      <a:pt x="72" y="93"/>
                    </a:lnTo>
                    <a:lnTo>
                      <a:pt x="67" y="96"/>
                    </a:lnTo>
                    <a:lnTo>
                      <a:pt x="60" y="98"/>
                    </a:lnTo>
                    <a:lnTo>
                      <a:pt x="39" y="98"/>
                    </a:lnTo>
                    <a:lnTo>
                      <a:pt x="34" y="98"/>
                    </a:lnTo>
                    <a:lnTo>
                      <a:pt x="28" y="95"/>
                    </a:lnTo>
                    <a:lnTo>
                      <a:pt x="22" y="92"/>
                    </a:lnTo>
                    <a:lnTo>
                      <a:pt x="15" y="89"/>
                    </a:lnTo>
                    <a:lnTo>
                      <a:pt x="9" y="85"/>
                    </a:lnTo>
                    <a:lnTo>
                      <a:pt x="4" y="81"/>
                    </a:lnTo>
                    <a:lnTo>
                      <a:pt x="1" y="77"/>
                    </a:lnTo>
                    <a:lnTo>
                      <a:pt x="0" y="74"/>
                    </a:lnTo>
                    <a:lnTo>
                      <a:pt x="5" y="71"/>
                    </a:lnTo>
                    <a:lnTo>
                      <a:pt x="10" y="67"/>
                    </a:lnTo>
                    <a:lnTo>
                      <a:pt x="14" y="60"/>
                    </a:lnTo>
                    <a:lnTo>
                      <a:pt x="20" y="53"/>
                    </a:lnTo>
                    <a:lnTo>
                      <a:pt x="23" y="45"/>
                    </a:lnTo>
                    <a:lnTo>
                      <a:pt x="27" y="37"/>
                    </a:lnTo>
                    <a:lnTo>
                      <a:pt x="30" y="28"/>
                    </a:lnTo>
                    <a:lnTo>
                      <a:pt x="33" y="19"/>
                    </a:lnTo>
                    <a:lnTo>
                      <a:pt x="66" y="14"/>
                    </a:lnTo>
                    <a:lnTo>
                      <a:pt x="103" y="9"/>
                    </a:lnTo>
                    <a:lnTo>
                      <a:pt x="145" y="4"/>
                    </a:lnTo>
                    <a:lnTo>
                      <a:pt x="193" y="0"/>
                    </a:lnTo>
                    <a:lnTo>
                      <a:pt x="166" y="31"/>
                    </a:lnTo>
                    <a:lnTo>
                      <a:pt x="166" y="34"/>
                    </a:lnTo>
                    <a:lnTo>
                      <a:pt x="164" y="37"/>
                    </a:lnTo>
                    <a:lnTo>
                      <a:pt x="162" y="39"/>
                    </a:lnTo>
                    <a:lnTo>
                      <a:pt x="161" y="41"/>
                    </a:lnTo>
                    <a:lnTo>
                      <a:pt x="157" y="45"/>
                    </a:lnTo>
                    <a:lnTo>
                      <a:pt x="156" y="47"/>
                    </a:lnTo>
                    <a:lnTo>
                      <a:pt x="156" y="49"/>
                    </a:lnTo>
                    <a:lnTo>
                      <a:pt x="157" y="50"/>
                    </a:lnTo>
                    <a:lnTo>
                      <a:pt x="159" y="50"/>
                    </a:lnTo>
                    <a:lnTo>
                      <a:pt x="163" y="51"/>
                    </a:lnTo>
                    <a:lnTo>
                      <a:pt x="177" y="53"/>
                    </a:lnTo>
                    <a:lnTo>
                      <a:pt x="200" y="55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08" name="Freeform 230">
                <a:extLst>
                  <a:ext uri="{FF2B5EF4-FFF2-40B4-BE49-F238E27FC236}">
                    <a16:creationId xmlns="" xmlns:a16="http://schemas.microsoft.com/office/drawing/2014/main" id="{20F77143-B345-493A-ACA5-DED32018B6D9}"/>
                  </a:ext>
                </a:extLst>
              </p:cNvPr>
              <p:cNvSpPr>
                <a:spLocks/>
              </p:cNvSpPr>
              <p:nvPr>
                <p:custDataLst>
                  <p:tags r:id="rId157"/>
                </p:custDataLst>
              </p:nvPr>
            </p:nvSpPr>
            <p:spPr bwMode="auto">
              <a:xfrm>
                <a:off x="4089400" y="1978025"/>
                <a:ext cx="84138" cy="73025"/>
              </a:xfrm>
              <a:custGeom>
                <a:avLst/>
                <a:gdLst>
                  <a:gd name="T0" fmla="*/ 0 w 186"/>
                  <a:gd name="T1" fmla="*/ 2147483646 h 142"/>
                  <a:gd name="T2" fmla="*/ 2147483646 w 186"/>
                  <a:gd name="T3" fmla="*/ 2147483646 h 142"/>
                  <a:gd name="T4" fmla="*/ 2147483646 w 186"/>
                  <a:gd name="T5" fmla="*/ 2147483646 h 142"/>
                  <a:gd name="T6" fmla="*/ 2147483646 w 186"/>
                  <a:gd name="T7" fmla="*/ 2147483646 h 142"/>
                  <a:gd name="T8" fmla="*/ 2147483646 w 186"/>
                  <a:gd name="T9" fmla="*/ 2147483646 h 142"/>
                  <a:gd name="T10" fmla="*/ 2147483646 w 186"/>
                  <a:gd name="T11" fmla="*/ 2147483646 h 142"/>
                  <a:gd name="T12" fmla="*/ 2147483646 w 186"/>
                  <a:gd name="T13" fmla="*/ 2147483646 h 142"/>
                  <a:gd name="T14" fmla="*/ 2147483646 w 186"/>
                  <a:gd name="T15" fmla="*/ 2147483646 h 142"/>
                  <a:gd name="T16" fmla="*/ 2147483646 w 186"/>
                  <a:gd name="T17" fmla="*/ 2147483646 h 142"/>
                  <a:gd name="T18" fmla="*/ 2147483646 w 186"/>
                  <a:gd name="T19" fmla="*/ 2147483646 h 142"/>
                  <a:gd name="T20" fmla="*/ 2147483646 w 186"/>
                  <a:gd name="T21" fmla="*/ 2147483646 h 142"/>
                  <a:gd name="T22" fmla="*/ 2147483646 w 186"/>
                  <a:gd name="T23" fmla="*/ 2147483646 h 142"/>
                  <a:gd name="T24" fmla="*/ 2147483646 w 186"/>
                  <a:gd name="T25" fmla="*/ 2147483646 h 142"/>
                  <a:gd name="T26" fmla="*/ 2147483646 w 186"/>
                  <a:gd name="T27" fmla="*/ 2147483646 h 142"/>
                  <a:gd name="T28" fmla="*/ 2147483646 w 186"/>
                  <a:gd name="T29" fmla="*/ 2147483646 h 142"/>
                  <a:gd name="T30" fmla="*/ 2147483646 w 186"/>
                  <a:gd name="T31" fmla="*/ 2147483646 h 142"/>
                  <a:gd name="T32" fmla="*/ 2147483646 w 186"/>
                  <a:gd name="T33" fmla="*/ 2147483646 h 142"/>
                  <a:gd name="T34" fmla="*/ 2147483646 w 186"/>
                  <a:gd name="T35" fmla="*/ 2147483646 h 142"/>
                  <a:gd name="T36" fmla="*/ 2147483646 w 186"/>
                  <a:gd name="T37" fmla="*/ 2147483646 h 142"/>
                  <a:gd name="T38" fmla="*/ 2147483646 w 186"/>
                  <a:gd name="T39" fmla="*/ 2147483646 h 142"/>
                  <a:gd name="T40" fmla="*/ 2147483646 w 186"/>
                  <a:gd name="T41" fmla="*/ 2147483646 h 142"/>
                  <a:gd name="T42" fmla="*/ 2147483646 w 186"/>
                  <a:gd name="T43" fmla="*/ 2147483646 h 142"/>
                  <a:gd name="T44" fmla="*/ 2147483646 w 186"/>
                  <a:gd name="T45" fmla="*/ 2147483646 h 142"/>
                  <a:gd name="T46" fmla="*/ 2147483646 w 186"/>
                  <a:gd name="T47" fmla="*/ 2147483646 h 142"/>
                  <a:gd name="T48" fmla="*/ 2147483646 w 186"/>
                  <a:gd name="T49" fmla="*/ 2147483646 h 142"/>
                  <a:gd name="T50" fmla="*/ 2147483646 w 186"/>
                  <a:gd name="T51" fmla="*/ 2147483646 h 142"/>
                  <a:gd name="T52" fmla="*/ 2147483646 w 186"/>
                  <a:gd name="T53" fmla="*/ 2147483646 h 142"/>
                  <a:gd name="T54" fmla="*/ 2147483646 w 186"/>
                  <a:gd name="T55" fmla="*/ 2147483646 h 142"/>
                  <a:gd name="T56" fmla="*/ 2147483646 w 186"/>
                  <a:gd name="T57" fmla="*/ 2147483646 h 142"/>
                  <a:gd name="T58" fmla="*/ 2147483646 w 186"/>
                  <a:gd name="T59" fmla="*/ 2147483646 h 142"/>
                  <a:gd name="T60" fmla="*/ 2147483646 w 186"/>
                  <a:gd name="T61" fmla="*/ 2147483646 h 142"/>
                  <a:gd name="T62" fmla="*/ 2147483646 w 186"/>
                  <a:gd name="T63" fmla="*/ 2147483646 h 142"/>
                  <a:gd name="T64" fmla="*/ 2147483646 w 186"/>
                  <a:gd name="T65" fmla="*/ 2147483646 h 142"/>
                  <a:gd name="T66" fmla="*/ 2147483646 w 186"/>
                  <a:gd name="T67" fmla="*/ 2147483646 h 142"/>
                  <a:gd name="T68" fmla="*/ 2147483646 w 186"/>
                  <a:gd name="T69" fmla="*/ 2147483646 h 142"/>
                  <a:gd name="T70" fmla="*/ 2147483646 w 186"/>
                  <a:gd name="T71" fmla="*/ 2147483646 h 142"/>
                  <a:gd name="T72" fmla="*/ 2147483646 w 186"/>
                  <a:gd name="T73" fmla="*/ 2147483646 h 14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86"/>
                  <a:gd name="T112" fmla="*/ 0 h 142"/>
                  <a:gd name="T113" fmla="*/ 186 w 186"/>
                  <a:gd name="T114" fmla="*/ 142 h 142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86" h="142">
                    <a:moveTo>
                      <a:pt x="0" y="111"/>
                    </a:moveTo>
                    <a:lnTo>
                      <a:pt x="0" y="112"/>
                    </a:lnTo>
                    <a:lnTo>
                      <a:pt x="1" y="114"/>
                    </a:lnTo>
                    <a:lnTo>
                      <a:pt x="2" y="116"/>
                    </a:lnTo>
                    <a:lnTo>
                      <a:pt x="7" y="117"/>
                    </a:lnTo>
                    <a:lnTo>
                      <a:pt x="3" y="107"/>
                    </a:lnTo>
                    <a:lnTo>
                      <a:pt x="2" y="99"/>
                    </a:lnTo>
                    <a:lnTo>
                      <a:pt x="3" y="93"/>
                    </a:lnTo>
                    <a:lnTo>
                      <a:pt x="6" y="87"/>
                    </a:lnTo>
                    <a:lnTo>
                      <a:pt x="9" y="82"/>
                    </a:lnTo>
                    <a:lnTo>
                      <a:pt x="13" y="76"/>
                    </a:lnTo>
                    <a:lnTo>
                      <a:pt x="17" y="69"/>
                    </a:lnTo>
                    <a:lnTo>
                      <a:pt x="20" y="61"/>
                    </a:lnTo>
                    <a:lnTo>
                      <a:pt x="20" y="56"/>
                    </a:lnTo>
                    <a:lnTo>
                      <a:pt x="21" y="51"/>
                    </a:lnTo>
                    <a:lnTo>
                      <a:pt x="23" y="46"/>
                    </a:lnTo>
                    <a:lnTo>
                      <a:pt x="25" y="42"/>
                    </a:lnTo>
                    <a:lnTo>
                      <a:pt x="28" y="37"/>
                    </a:lnTo>
                    <a:lnTo>
                      <a:pt x="31" y="34"/>
                    </a:lnTo>
                    <a:lnTo>
                      <a:pt x="35" y="32"/>
                    </a:lnTo>
                    <a:lnTo>
                      <a:pt x="40" y="31"/>
                    </a:lnTo>
                    <a:lnTo>
                      <a:pt x="41" y="38"/>
                    </a:lnTo>
                    <a:lnTo>
                      <a:pt x="41" y="43"/>
                    </a:lnTo>
                    <a:lnTo>
                      <a:pt x="43" y="49"/>
                    </a:lnTo>
                    <a:lnTo>
                      <a:pt x="45" y="54"/>
                    </a:lnTo>
                    <a:lnTo>
                      <a:pt x="47" y="58"/>
                    </a:lnTo>
                    <a:lnTo>
                      <a:pt x="51" y="62"/>
                    </a:lnTo>
                    <a:lnTo>
                      <a:pt x="55" y="65"/>
                    </a:lnTo>
                    <a:lnTo>
                      <a:pt x="59" y="67"/>
                    </a:lnTo>
                    <a:lnTo>
                      <a:pt x="87" y="67"/>
                    </a:lnTo>
                    <a:lnTo>
                      <a:pt x="87" y="43"/>
                    </a:lnTo>
                    <a:lnTo>
                      <a:pt x="79" y="41"/>
                    </a:lnTo>
                    <a:lnTo>
                      <a:pt x="74" y="38"/>
                    </a:lnTo>
                    <a:lnTo>
                      <a:pt x="69" y="36"/>
                    </a:lnTo>
                    <a:lnTo>
                      <a:pt x="66" y="33"/>
                    </a:lnTo>
                    <a:lnTo>
                      <a:pt x="63" y="30"/>
                    </a:lnTo>
                    <a:lnTo>
                      <a:pt x="62" y="27"/>
                    </a:lnTo>
                    <a:lnTo>
                      <a:pt x="61" y="23"/>
                    </a:lnTo>
                    <a:lnTo>
                      <a:pt x="59" y="18"/>
                    </a:lnTo>
                    <a:lnTo>
                      <a:pt x="70" y="17"/>
                    </a:lnTo>
                    <a:lnTo>
                      <a:pt x="79" y="16"/>
                    </a:lnTo>
                    <a:lnTo>
                      <a:pt x="87" y="14"/>
                    </a:lnTo>
                    <a:lnTo>
                      <a:pt x="92" y="12"/>
                    </a:lnTo>
                    <a:lnTo>
                      <a:pt x="98" y="10"/>
                    </a:lnTo>
                    <a:lnTo>
                      <a:pt x="103" y="8"/>
                    </a:lnTo>
                    <a:lnTo>
                      <a:pt x="111" y="6"/>
                    </a:lnTo>
                    <a:lnTo>
                      <a:pt x="120" y="6"/>
                    </a:lnTo>
                    <a:lnTo>
                      <a:pt x="130" y="3"/>
                    </a:lnTo>
                    <a:lnTo>
                      <a:pt x="140" y="0"/>
                    </a:lnTo>
                    <a:lnTo>
                      <a:pt x="147" y="1"/>
                    </a:lnTo>
                    <a:lnTo>
                      <a:pt x="154" y="2"/>
                    </a:lnTo>
                    <a:lnTo>
                      <a:pt x="159" y="2"/>
                    </a:lnTo>
                    <a:lnTo>
                      <a:pt x="165" y="2"/>
                    </a:lnTo>
                    <a:lnTo>
                      <a:pt x="176" y="1"/>
                    </a:lnTo>
                    <a:lnTo>
                      <a:pt x="186" y="0"/>
                    </a:lnTo>
                    <a:lnTo>
                      <a:pt x="183" y="10"/>
                    </a:lnTo>
                    <a:lnTo>
                      <a:pt x="181" y="19"/>
                    </a:lnTo>
                    <a:lnTo>
                      <a:pt x="178" y="26"/>
                    </a:lnTo>
                    <a:lnTo>
                      <a:pt x="176" y="32"/>
                    </a:lnTo>
                    <a:lnTo>
                      <a:pt x="169" y="40"/>
                    </a:lnTo>
                    <a:lnTo>
                      <a:pt x="165" y="45"/>
                    </a:lnTo>
                    <a:lnTo>
                      <a:pt x="159" y="51"/>
                    </a:lnTo>
                    <a:lnTo>
                      <a:pt x="156" y="58"/>
                    </a:lnTo>
                    <a:lnTo>
                      <a:pt x="155" y="63"/>
                    </a:lnTo>
                    <a:lnTo>
                      <a:pt x="154" y="69"/>
                    </a:lnTo>
                    <a:lnTo>
                      <a:pt x="153" y="76"/>
                    </a:lnTo>
                    <a:lnTo>
                      <a:pt x="153" y="86"/>
                    </a:lnTo>
                    <a:lnTo>
                      <a:pt x="120" y="142"/>
                    </a:lnTo>
                    <a:lnTo>
                      <a:pt x="93" y="123"/>
                    </a:lnTo>
                    <a:lnTo>
                      <a:pt x="80" y="122"/>
                    </a:lnTo>
                    <a:lnTo>
                      <a:pt x="52" y="119"/>
                    </a:lnTo>
                    <a:lnTo>
                      <a:pt x="35" y="117"/>
                    </a:lnTo>
                    <a:lnTo>
                      <a:pt x="20" y="115"/>
                    </a:lnTo>
                    <a:lnTo>
                      <a:pt x="8" y="113"/>
                    </a:lnTo>
                    <a:lnTo>
                      <a:pt x="0" y="111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09" name="Freeform 231">
                <a:extLst>
                  <a:ext uri="{FF2B5EF4-FFF2-40B4-BE49-F238E27FC236}">
                    <a16:creationId xmlns="" xmlns:a16="http://schemas.microsoft.com/office/drawing/2014/main" id="{C85F982E-8840-419B-8F58-B9659218F22A}"/>
                  </a:ext>
                </a:extLst>
              </p:cNvPr>
              <p:cNvSpPr>
                <a:spLocks/>
              </p:cNvSpPr>
              <p:nvPr>
                <p:custDataLst>
                  <p:tags r:id="rId158"/>
                </p:custDataLst>
              </p:nvPr>
            </p:nvSpPr>
            <p:spPr bwMode="auto">
              <a:xfrm>
                <a:off x="4070350" y="2041525"/>
                <a:ext cx="84138" cy="57150"/>
              </a:xfrm>
              <a:custGeom>
                <a:avLst/>
                <a:gdLst>
                  <a:gd name="T0" fmla="*/ 2147483646 w 192"/>
                  <a:gd name="T1" fmla="*/ 2147483646 h 105"/>
                  <a:gd name="T2" fmla="*/ 2147483646 w 192"/>
                  <a:gd name="T3" fmla="*/ 2147483646 h 105"/>
                  <a:gd name="T4" fmla="*/ 2147483646 w 192"/>
                  <a:gd name="T5" fmla="*/ 2147483646 h 105"/>
                  <a:gd name="T6" fmla="*/ 2147483646 w 192"/>
                  <a:gd name="T7" fmla="*/ 2147483646 h 105"/>
                  <a:gd name="T8" fmla="*/ 2147483646 w 192"/>
                  <a:gd name="T9" fmla="*/ 2147483646 h 105"/>
                  <a:gd name="T10" fmla="*/ 2147483646 w 192"/>
                  <a:gd name="T11" fmla="*/ 2147483646 h 105"/>
                  <a:gd name="T12" fmla="*/ 2147483646 w 192"/>
                  <a:gd name="T13" fmla="*/ 2147483646 h 105"/>
                  <a:gd name="T14" fmla="*/ 2147483646 w 192"/>
                  <a:gd name="T15" fmla="*/ 2147483646 h 105"/>
                  <a:gd name="T16" fmla="*/ 2147483646 w 192"/>
                  <a:gd name="T17" fmla="*/ 2147483646 h 105"/>
                  <a:gd name="T18" fmla="*/ 2147483646 w 192"/>
                  <a:gd name="T19" fmla="*/ 2147483646 h 105"/>
                  <a:gd name="T20" fmla="*/ 2147483646 w 192"/>
                  <a:gd name="T21" fmla="*/ 2147483646 h 105"/>
                  <a:gd name="T22" fmla="*/ 2147483646 w 192"/>
                  <a:gd name="T23" fmla="*/ 2147483646 h 105"/>
                  <a:gd name="T24" fmla="*/ 2147483646 w 192"/>
                  <a:gd name="T25" fmla="*/ 2147483646 h 105"/>
                  <a:gd name="T26" fmla="*/ 2147483646 w 192"/>
                  <a:gd name="T27" fmla="*/ 2147483646 h 105"/>
                  <a:gd name="T28" fmla="*/ 2147483646 w 192"/>
                  <a:gd name="T29" fmla="*/ 2147483646 h 105"/>
                  <a:gd name="T30" fmla="*/ 2147483646 w 192"/>
                  <a:gd name="T31" fmla="*/ 2147483646 h 105"/>
                  <a:gd name="T32" fmla="*/ 2147483646 w 192"/>
                  <a:gd name="T33" fmla="*/ 2147483646 h 105"/>
                  <a:gd name="T34" fmla="*/ 2147483646 w 192"/>
                  <a:gd name="T35" fmla="*/ 2147483646 h 105"/>
                  <a:gd name="T36" fmla="*/ 0 w 192"/>
                  <a:gd name="T37" fmla="*/ 2147483646 h 105"/>
                  <a:gd name="T38" fmla="*/ 0 w 192"/>
                  <a:gd name="T39" fmla="*/ 2147483646 h 105"/>
                  <a:gd name="T40" fmla="*/ 2147483646 w 192"/>
                  <a:gd name="T41" fmla="*/ 2147483646 h 105"/>
                  <a:gd name="T42" fmla="*/ 2147483646 w 192"/>
                  <a:gd name="T43" fmla="*/ 2147483646 h 105"/>
                  <a:gd name="T44" fmla="*/ 2147483646 w 192"/>
                  <a:gd name="T45" fmla="*/ 2147483646 h 105"/>
                  <a:gd name="T46" fmla="*/ 2147483646 w 192"/>
                  <a:gd name="T47" fmla="*/ 0 h 105"/>
                  <a:gd name="T48" fmla="*/ 2147483646 w 192"/>
                  <a:gd name="T49" fmla="*/ 2147483646 h 105"/>
                  <a:gd name="T50" fmla="*/ 2147483646 w 192"/>
                  <a:gd name="T51" fmla="*/ 2147483646 h 105"/>
                  <a:gd name="T52" fmla="*/ 2147483646 w 192"/>
                  <a:gd name="T53" fmla="*/ 2147483646 h 105"/>
                  <a:gd name="T54" fmla="*/ 2147483646 w 192"/>
                  <a:gd name="T55" fmla="*/ 2147483646 h 105"/>
                  <a:gd name="T56" fmla="*/ 2147483646 w 192"/>
                  <a:gd name="T57" fmla="*/ 2147483646 h 105"/>
                  <a:gd name="T58" fmla="*/ 2147483646 w 192"/>
                  <a:gd name="T59" fmla="*/ 2147483646 h 105"/>
                  <a:gd name="T60" fmla="*/ 2147483646 w 192"/>
                  <a:gd name="T61" fmla="*/ 2147483646 h 105"/>
                  <a:gd name="T62" fmla="*/ 2147483646 w 192"/>
                  <a:gd name="T63" fmla="*/ 2147483646 h 105"/>
                  <a:gd name="T64" fmla="*/ 2147483646 w 192"/>
                  <a:gd name="T65" fmla="*/ 2147483646 h 105"/>
                  <a:gd name="T66" fmla="*/ 2147483646 w 192"/>
                  <a:gd name="T67" fmla="*/ 2147483646 h 105"/>
                  <a:gd name="T68" fmla="*/ 2147483646 w 192"/>
                  <a:gd name="T69" fmla="*/ 2147483646 h 105"/>
                  <a:gd name="T70" fmla="*/ 2147483646 w 192"/>
                  <a:gd name="T71" fmla="*/ 2147483646 h 105"/>
                  <a:gd name="T72" fmla="*/ 2147483646 w 192"/>
                  <a:gd name="T73" fmla="*/ 2147483646 h 105"/>
                  <a:gd name="T74" fmla="*/ 2147483646 w 192"/>
                  <a:gd name="T75" fmla="*/ 2147483646 h 105"/>
                  <a:gd name="T76" fmla="*/ 2147483646 w 192"/>
                  <a:gd name="T77" fmla="*/ 2147483646 h 105"/>
                  <a:gd name="T78" fmla="*/ 2147483646 w 192"/>
                  <a:gd name="T79" fmla="*/ 2147483646 h 105"/>
                  <a:gd name="T80" fmla="*/ 2147483646 w 192"/>
                  <a:gd name="T81" fmla="*/ 2147483646 h 105"/>
                  <a:gd name="T82" fmla="*/ 2147483646 w 192"/>
                  <a:gd name="T83" fmla="*/ 2147483646 h 105"/>
                  <a:gd name="T84" fmla="*/ 2147483646 w 192"/>
                  <a:gd name="T85" fmla="*/ 2147483646 h 10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92"/>
                  <a:gd name="T130" fmla="*/ 0 h 105"/>
                  <a:gd name="T131" fmla="*/ 192 w 192"/>
                  <a:gd name="T132" fmla="*/ 105 h 105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92" h="105">
                    <a:moveTo>
                      <a:pt x="192" y="61"/>
                    </a:moveTo>
                    <a:lnTo>
                      <a:pt x="189" y="62"/>
                    </a:lnTo>
                    <a:lnTo>
                      <a:pt x="184" y="63"/>
                    </a:lnTo>
                    <a:lnTo>
                      <a:pt x="180" y="64"/>
                    </a:lnTo>
                    <a:lnTo>
                      <a:pt x="177" y="67"/>
                    </a:lnTo>
                    <a:lnTo>
                      <a:pt x="168" y="72"/>
                    </a:lnTo>
                    <a:lnTo>
                      <a:pt x="160" y="79"/>
                    </a:lnTo>
                    <a:lnTo>
                      <a:pt x="154" y="86"/>
                    </a:lnTo>
                    <a:lnTo>
                      <a:pt x="147" y="93"/>
                    </a:lnTo>
                    <a:lnTo>
                      <a:pt x="143" y="99"/>
                    </a:lnTo>
                    <a:lnTo>
                      <a:pt x="139" y="105"/>
                    </a:lnTo>
                    <a:lnTo>
                      <a:pt x="120" y="97"/>
                    </a:lnTo>
                    <a:lnTo>
                      <a:pt x="102" y="89"/>
                    </a:lnTo>
                    <a:lnTo>
                      <a:pt x="86" y="80"/>
                    </a:lnTo>
                    <a:lnTo>
                      <a:pt x="69" y="71"/>
                    </a:lnTo>
                    <a:lnTo>
                      <a:pt x="53" y="61"/>
                    </a:lnTo>
                    <a:lnTo>
                      <a:pt x="36" y="53"/>
                    </a:lnTo>
                    <a:lnTo>
                      <a:pt x="19" y="44"/>
                    </a:lnTo>
                    <a:lnTo>
                      <a:pt x="0" y="37"/>
                    </a:lnTo>
                    <a:lnTo>
                      <a:pt x="0" y="13"/>
                    </a:lnTo>
                    <a:lnTo>
                      <a:pt x="7" y="7"/>
                    </a:lnTo>
                    <a:lnTo>
                      <a:pt x="16" y="4"/>
                    </a:lnTo>
                    <a:lnTo>
                      <a:pt x="29" y="1"/>
                    </a:lnTo>
                    <a:lnTo>
                      <a:pt x="40" y="0"/>
                    </a:lnTo>
                    <a:lnTo>
                      <a:pt x="60" y="2"/>
                    </a:lnTo>
                    <a:lnTo>
                      <a:pt x="93" y="5"/>
                    </a:lnTo>
                    <a:lnTo>
                      <a:pt x="111" y="7"/>
                    </a:lnTo>
                    <a:lnTo>
                      <a:pt x="128" y="7"/>
                    </a:lnTo>
                    <a:lnTo>
                      <a:pt x="143" y="7"/>
                    </a:lnTo>
                    <a:lnTo>
                      <a:pt x="153" y="6"/>
                    </a:lnTo>
                    <a:lnTo>
                      <a:pt x="155" y="11"/>
                    </a:lnTo>
                    <a:lnTo>
                      <a:pt x="159" y="17"/>
                    </a:lnTo>
                    <a:lnTo>
                      <a:pt x="161" y="20"/>
                    </a:lnTo>
                    <a:lnTo>
                      <a:pt x="164" y="23"/>
                    </a:lnTo>
                    <a:lnTo>
                      <a:pt x="165" y="27"/>
                    </a:lnTo>
                    <a:lnTo>
                      <a:pt x="166" y="31"/>
                    </a:lnTo>
                    <a:lnTo>
                      <a:pt x="170" y="32"/>
                    </a:lnTo>
                    <a:lnTo>
                      <a:pt x="177" y="33"/>
                    </a:lnTo>
                    <a:lnTo>
                      <a:pt x="180" y="34"/>
                    </a:lnTo>
                    <a:lnTo>
                      <a:pt x="183" y="34"/>
                    </a:lnTo>
                    <a:lnTo>
                      <a:pt x="188" y="33"/>
                    </a:lnTo>
                    <a:lnTo>
                      <a:pt x="192" y="31"/>
                    </a:lnTo>
                    <a:lnTo>
                      <a:pt x="192" y="61"/>
                    </a:lnTo>
                  </a:path>
                </a:pathLst>
              </a:custGeom>
              <a:solidFill>
                <a:schemeClr val="tx2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10" name="Freeform 232">
                <a:extLst>
                  <a:ext uri="{FF2B5EF4-FFF2-40B4-BE49-F238E27FC236}">
                    <a16:creationId xmlns="" xmlns:a16="http://schemas.microsoft.com/office/drawing/2014/main" id="{5FDFFB9D-16F4-498F-BFDD-DAC5EC17A709}"/>
                  </a:ext>
                </a:extLst>
              </p:cNvPr>
              <p:cNvSpPr>
                <a:spLocks/>
              </p:cNvSpPr>
              <p:nvPr>
                <p:custDataLst>
                  <p:tags r:id="rId159"/>
                </p:custDataLst>
              </p:nvPr>
            </p:nvSpPr>
            <p:spPr bwMode="auto">
              <a:xfrm>
                <a:off x="4830763" y="2595563"/>
                <a:ext cx="33337" cy="131762"/>
              </a:xfrm>
              <a:custGeom>
                <a:avLst/>
                <a:gdLst>
                  <a:gd name="T0" fmla="*/ 2147483646 w 80"/>
                  <a:gd name="T1" fmla="*/ 0 h 254"/>
                  <a:gd name="T2" fmla="*/ 2147483646 w 80"/>
                  <a:gd name="T3" fmla="*/ 2147483646 h 254"/>
                  <a:gd name="T4" fmla="*/ 2147483646 w 80"/>
                  <a:gd name="T5" fmla="*/ 2147483646 h 254"/>
                  <a:gd name="T6" fmla="*/ 2147483646 w 80"/>
                  <a:gd name="T7" fmla="*/ 2147483646 h 254"/>
                  <a:gd name="T8" fmla="*/ 2147483646 w 80"/>
                  <a:gd name="T9" fmla="*/ 2147483646 h 254"/>
                  <a:gd name="T10" fmla="*/ 2147483646 w 80"/>
                  <a:gd name="T11" fmla="*/ 2147483646 h 254"/>
                  <a:gd name="T12" fmla="*/ 2147483646 w 80"/>
                  <a:gd name="T13" fmla="*/ 2147483646 h 254"/>
                  <a:gd name="T14" fmla="*/ 2147483646 w 80"/>
                  <a:gd name="T15" fmla="*/ 2147483646 h 254"/>
                  <a:gd name="T16" fmla="*/ 2147483646 w 80"/>
                  <a:gd name="T17" fmla="*/ 2147483646 h 254"/>
                  <a:gd name="T18" fmla="*/ 2147483646 w 80"/>
                  <a:gd name="T19" fmla="*/ 2147483646 h 254"/>
                  <a:gd name="T20" fmla="*/ 2147483646 w 80"/>
                  <a:gd name="T21" fmla="*/ 2147483646 h 254"/>
                  <a:gd name="T22" fmla="*/ 2147483646 w 80"/>
                  <a:gd name="T23" fmla="*/ 2147483646 h 254"/>
                  <a:gd name="T24" fmla="*/ 2147483646 w 80"/>
                  <a:gd name="T25" fmla="*/ 2147483646 h 254"/>
                  <a:gd name="T26" fmla="*/ 2147483646 w 80"/>
                  <a:gd name="T27" fmla="*/ 2147483646 h 254"/>
                  <a:gd name="T28" fmla="*/ 2147483646 w 80"/>
                  <a:gd name="T29" fmla="*/ 2147483646 h 254"/>
                  <a:gd name="T30" fmla="*/ 2147483646 w 80"/>
                  <a:gd name="T31" fmla="*/ 2147483646 h 254"/>
                  <a:gd name="T32" fmla="*/ 0 w 80"/>
                  <a:gd name="T33" fmla="*/ 2147483646 h 254"/>
                  <a:gd name="T34" fmla="*/ 2147483646 w 80"/>
                  <a:gd name="T35" fmla="*/ 2147483646 h 254"/>
                  <a:gd name="T36" fmla="*/ 2147483646 w 80"/>
                  <a:gd name="T37" fmla="*/ 2147483646 h 254"/>
                  <a:gd name="T38" fmla="*/ 2147483646 w 80"/>
                  <a:gd name="T39" fmla="*/ 2147483646 h 254"/>
                  <a:gd name="T40" fmla="*/ 2147483646 w 80"/>
                  <a:gd name="T41" fmla="*/ 2147483646 h 254"/>
                  <a:gd name="T42" fmla="*/ 2147483646 w 80"/>
                  <a:gd name="T43" fmla="*/ 2147483646 h 254"/>
                  <a:gd name="T44" fmla="*/ 2147483646 w 80"/>
                  <a:gd name="T45" fmla="*/ 0 h 25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80"/>
                  <a:gd name="T70" fmla="*/ 0 h 254"/>
                  <a:gd name="T71" fmla="*/ 80 w 80"/>
                  <a:gd name="T72" fmla="*/ 254 h 254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80" h="254">
                    <a:moveTo>
                      <a:pt x="33" y="0"/>
                    </a:moveTo>
                    <a:lnTo>
                      <a:pt x="37" y="2"/>
                    </a:lnTo>
                    <a:lnTo>
                      <a:pt x="40" y="4"/>
                    </a:lnTo>
                    <a:lnTo>
                      <a:pt x="43" y="7"/>
                    </a:lnTo>
                    <a:lnTo>
                      <a:pt x="46" y="10"/>
                    </a:lnTo>
                    <a:lnTo>
                      <a:pt x="52" y="18"/>
                    </a:lnTo>
                    <a:lnTo>
                      <a:pt x="56" y="25"/>
                    </a:lnTo>
                    <a:lnTo>
                      <a:pt x="62" y="32"/>
                    </a:lnTo>
                    <a:lnTo>
                      <a:pt x="67" y="38"/>
                    </a:lnTo>
                    <a:lnTo>
                      <a:pt x="70" y="40"/>
                    </a:lnTo>
                    <a:lnTo>
                      <a:pt x="73" y="42"/>
                    </a:lnTo>
                    <a:lnTo>
                      <a:pt x="76" y="43"/>
                    </a:lnTo>
                    <a:lnTo>
                      <a:pt x="80" y="44"/>
                    </a:lnTo>
                    <a:lnTo>
                      <a:pt x="80" y="53"/>
                    </a:lnTo>
                    <a:lnTo>
                      <a:pt x="80" y="62"/>
                    </a:lnTo>
                    <a:lnTo>
                      <a:pt x="53" y="254"/>
                    </a:lnTo>
                    <a:lnTo>
                      <a:pt x="0" y="93"/>
                    </a:lnTo>
                    <a:lnTo>
                      <a:pt x="4" y="88"/>
                    </a:lnTo>
                    <a:lnTo>
                      <a:pt x="11" y="71"/>
                    </a:lnTo>
                    <a:lnTo>
                      <a:pt x="17" y="57"/>
                    </a:lnTo>
                    <a:lnTo>
                      <a:pt x="22" y="41"/>
                    </a:lnTo>
                    <a:lnTo>
                      <a:pt x="28" y="23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11" name="Freeform 233">
                <a:extLst>
                  <a:ext uri="{FF2B5EF4-FFF2-40B4-BE49-F238E27FC236}">
                    <a16:creationId xmlns="" xmlns:a16="http://schemas.microsoft.com/office/drawing/2014/main" id="{6F4E1A19-6997-4AAD-BC07-B83F72132609}"/>
                  </a:ext>
                </a:extLst>
              </p:cNvPr>
              <p:cNvSpPr>
                <a:spLocks/>
              </p:cNvSpPr>
              <p:nvPr>
                <p:custDataLst>
                  <p:tags r:id="rId160"/>
                </p:custDataLst>
              </p:nvPr>
            </p:nvSpPr>
            <p:spPr bwMode="auto">
              <a:xfrm>
                <a:off x="4779963" y="2647950"/>
                <a:ext cx="69850" cy="130175"/>
              </a:xfrm>
              <a:custGeom>
                <a:avLst/>
                <a:gdLst>
                  <a:gd name="T0" fmla="*/ 2147483646 w 167"/>
                  <a:gd name="T1" fmla="*/ 0 h 259"/>
                  <a:gd name="T2" fmla="*/ 2147483646 w 167"/>
                  <a:gd name="T3" fmla="*/ 2147483646 h 259"/>
                  <a:gd name="T4" fmla="*/ 2147483646 w 167"/>
                  <a:gd name="T5" fmla="*/ 2147483646 h 259"/>
                  <a:gd name="T6" fmla="*/ 2147483646 w 167"/>
                  <a:gd name="T7" fmla="*/ 2147483646 h 259"/>
                  <a:gd name="T8" fmla="*/ 2147483646 w 167"/>
                  <a:gd name="T9" fmla="*/ 2147483646 h 259"/>
                  <a:gd name="T10" fmla="*/ 2147483646 w 167"/>
                  <a:gd name="T11" fmla="*/ 2147483646 h 259"/>
                  <a:gd name="T12" fmla="*/ 2147483646 w 167"/>
                  <a:gd name="T13" fmla="*/ 2147483646 h 259"/>
                  <a:gd name="T14" fmla="*/ 2147483646 w 167"/>
                  <a:gd name="T15" fmla="*/ 2147483646 h 259"/>
                  <a:gd name="T16" fmla="*/ 2147483646 w 167"/>
                  <a:gd name="T17" fmla="*/ 2147483646 h 259"/>
                  <a:gd name="T18" fmla="*/ 2147483646 w 167"/>
                  <a:gd name="T19" fmla="*/ 2147483646 h 259"/>
                  <a:gd name="T20" fmla="*/ 2147483646 w 167"/>
                  <a:gd name="T21" fmla="*/ 2147483646 h 259"/>
                  <a:gd name="T22" fmla="*/ 2147483646 w 167"/>
                  <a:gd name="T23" fmla="*/ 2147483646 h 259"/>
                  <a:gd name="T24" fmla="*/ 2147483646 w 167"/>
                  <a:gd name="T25" fmla="*/ 2147483646 h 259"/>
                  <a:gd name="T26" fmla="*/ 2147483646 w 167"/>
                  <a:gd name="T27" fmla="*/ 2147483646 h 259"/>
                  <a:gd name="T28" fmla="*/ 2147483646 w 167"/>
                  <a:gd name="T29" fmla="*/ 2147483646 h 259"/>
                  <a:gd name="T30" fmla="*/ 2147483646 w 167"/>
                  <a:gd name="T31" fmla="*/ 2147483646 h 259"/>
                  <a:gd name="T32" fmla="*/ 2147483646 w 167"/>
                  <a:gd name="T33" fmla="*/ 2147483646 h 259"/>
                  <a:gd name="T34" fmla="*/ 2147483646 w 167"/>
                  <a:gd name="T35" fmla="*/ 2147483646 h 259"/>
                  <a:gd name="T36" fmla="*/ 2147483646 w 167"/>
                  <a:gd name="T37" fmla="*/ 2147483646 h 259"/>
                  <a:gd name="T38" fmla="*/ 2147483646 w 167"/>
                  <a:gd name="T39" fmla="*/ 2147483646 h 259"/>
                  <a:gd name="T40" fmla="*/ 2147483646 w 167"/>
                  <a:gd name="T41" fmla="*/ 2147483646 h 259"/>
                  <a:gd name="T42" fmla="*/ 2147483646 w 167"/>
                  <a:gd name="T43" fmla="*/ 2147483646 h 259"/>
                  <a:gd name="T44" fmla="*/ 2147483646 w 167"/>
                  <a:gd name="T45" fmla="*/ 2147483646 h 259"/>
                  <a:gd name="T46" fmla="*/ 2147483646 w 167"/>
                  <a:gd name="T47" fmla="*/ 2147483646 h 259"/>
                  <a:gd name="T48" fmla="*/ 2147483646 w 167"/>
                  <a:gd name="T49" fmla="*/ 2147483646 h 259"/>
                  <a:gd name="T50" fmla="*/ 2147483646 w 167"/>
                  <a:gd name="T51" fmla="*/ 2147483646 h 259"/>
                  <a:gd name="T52" fmla="*/ 2147483646 w 167"/>
                  <a:gd name="T53" fmla="*/ 2147483646 h 259"/>
                  <a:gd name="T54" fmla="*/ 2147483646 w 167"/>
                  <a:gd name="T55" fmla="*/ 2147483646 h 259"/>
                  <a:gd name="T56" fmla="*/ 2147483646 w 167"/>
                  <a:gd name="T57" fmla="*/ 2147483646 h 259"/>
                  <a:gd name="T58" fmla="*/ 2147483646 w 167"/>
                  <a:gd name="T59" fmla="*/ 2147483646 h 259"/>
                  <a:gd name="T60" fmla="*/ 2147483646 w 167"/>
                  <a:gd name="T61" fmla="*/ 2147483646 h 259"/>
                  <a:gd name="T62" fmla="*/ 2147483646 w 167"/>
                  <a:gd name="T63" fmla="*/ 2147483646 h 259"/>
                  <a:gd name="T64" fmla="*/ 2147483646 w 167"/>
                  <a:gd name="T65" fmla="*/ 2147483646 h 259"/>
                  <a:gd name="T66" fmla="*/ 0 w 167"/>
                  <a:gd name="T67" fmla="*/ 2147483646 h 259"/>
                  <a:gd name="T68" fmla="*/ 0 w 167"/>
                  <a:gd name="T69" fmla="*/ 2147483646 h 259"/>
                  <a:gd name="T70" fmla="*/ 0 w 167"/>
                  <a:gd name="T71" fmla="*/ 2147483646 h 259"/>
                  <a:gd name="T72" fmla="*/ 2147483646 w 167"/>
                  <a:gd name="T73" fmla="*/ 2147483646 h 259"/>
                  <a:gd name="T74" fmla="*/ 2147483646 w 167"/>
                  <a:gd name="T75" fmla="*/ 2147483646 h 259"/>
                  <a:gd name="T76" fmla="*/ 2147483646 w 167"/>
                  <a:gd name="T77" fmla="*/ 2147483646 h 259"/>
                  <a:gd name="T78" fmla="*/ 2147483646 w 167"/>
                  <a:gd name="T79" fmla="*/ 2147483646 h 259"/>
                  <a:gd name="T80" fmla="*/ 2147483646 w 167"/>
                  <a:gd name="T81" fmla="*/ 2147483646 h 259"/>
                  <a:gd name="T82" fmla="*/ 2147483646 w 167"/>
                  <a:gd name="T83" fmla="*/ 2147483646 h 259"/>
                  <a:gd name="T84" fmla="*/ 2147483646 w 167"/>
                  <a:gd name="T85" fmla="*/ 2147483646 h 259"/>
                  <a:gd name="T86" fmla="*/ 2147483646 w 167"/>
                  <a:gd name="T87" fmla="*/ 2147483646 h 259"/>
                  <a:gd name="T88" fmla="*/ 2147483646 w 167"/>
                  <a:gd name="T89" fmla="*/ 2147483646 h 259"/>
                  <a:gd name="T90" fmla="*/ 2147483646 w 167"/>
                  <a:gd name="T91" fmla="*/ 2147483646 h 259"/>
                  <a:gd name="T92" fmla="*/ 2147483646 w 167"/>
                  <a:gd name="T93" fmla="*/ 2147483646 h 259"/>
                  <a:gd name="T94" fmla="*/ 2147483646 w 167"/>
                  <a:gd name="T95" fmla="*/ 2147483646 h 259"/>
                  <a:gd name="T96" fmla="*/ 2147483646 w 167"/>
                  <a:gd name="T97" fmla="*/ 2147483646 h 259"/>
                  <a:gd name="T98" fmla="*/ 2147483646 w 167"/>
                  <a:gd name="T99" fmla="*/ 2147483646 h 259"/>
                  <a:gd name="T100" fmla="*/ 2147483646 w 167"/>
                  <a:gd name="T101" fmla="*/ 0 h 25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67"/>
                  <a:gd name="T154" fmla="*/ 0 h 259"/>
                  <a:gd name="T155" fmla="*/ 167 w 167"/>
                  <a:gd name="T156" fmla="*/ 259 h 259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67" h="259">
                    <a:moveTo>
                      <a:pt x="114" y="0"/>
                    </a:moveTo>
                    <a:lnTo>
                      <a:pt x="167" y="155"/>
                    </a:lnTo>
                    <a:lnTo>
                      <a:pt x="121" y="259"/>
                    </a:lnTo>
                    <a:lnTo>
                      <a:pt x="113" y="259"/>
                    </a:lnTo>
                    <a:lnTo>
                      <a:pt x="107" y="257"/>
                    </a:lnTo>
                    <a:lnTo>
                      <a:pt x="100" y="254"/>
                    </a:lnTo>
                    <a:lnTo>
                      <a:pt x="95" y="251"/>
                    </a:lnTo>
                    <a:lnTo>
                      <a:pt x="89" y="245"/>
                    </a:lnTo>
                    <a:lnTo>
                      <a:pt x="85" y="240"/>
                    </a:lnTo>
                    <a:lnTo>
                      <a:pt x="80" y="235"/>
                    </a:lnTo>
                    <a:lnTo>
                      <a:pt x="76" y="229"/>
                    </a:lnTo>
                    <a:lnTo>
                      <a:pt x="69" y="217"/>
                    </a:lnTo>
                    <a:lnTo>
                      <a:pt x="65" y="205"/>
                    </a:lnTo>
                    <a:lnTo>
                      <a:pt x="62" y="194"/>
                    </a:lnTo>
                    <a:lnTo>
                      <a:pt x="62" y="185"/>
                    </a:lnTo>
                    <a:lnTo>
                      <a:pt x="55" y="184"/>
                    </a:lnTo>
                    <a:lnTo>
                      <a:pt x="51" y="183"/>
                    </a:lnTo>
                    <a:lnTo>
                      <a:pt x="45" y="182"/>
                    </a:lnTo>
                    <a:lnTo>
                      <a:pt x="42" y="180"/>
                    </a:lnTo>
                    <a:lnTo>
                      <a:pt x="39" y="177"/>
                    </a:lnTo>
                    <a:lnTo>
                      <a:pt x="36" y="174"/>
                    </a:lnTo>
                    <a:lnTo>
                      <a:pt x="34" y="170"/>
                    </a:lnTo>
                    <a:lnTo>
                      <a:pt x="32" y="167"/>
                    </a:lnTo>
                    <a:lnTo>
                      <a:pt x="30" y="158"/>
                    </a:lnTo>
                    <a:lnTo>
                      <a:pt x="29" y="149"/>
                    </a:lnTo>
                    <a:lnTo>
                      <a:pt x="28" y="140"/>
                    </a:lnTo>
                    <a:lnTo>
                      <a:pt x="28" y="129"/>
                    </a:lnTo>
                    <a:lnTo>
                      <a:pt x="21" y="129"/>
                    </a:lnTo>
                    <a:lnTo>
                      <a:pt x="16" y="127"/>
                    </a:lnTo>
                    <a:lnTo>
                      <a:pt x="11" y="125"/>
                    </a:lnTo>
                    <a:lnTo>
                      <a:pt x="7" y="121"/>
                    </a:lnTo>
                    <a:lnTo>
                      <a:pt x="5" y="117"/>
                    </a:lnTo>
                    <a:lnTo>
                      <a:pt x="2" y="112"/>
                    </a:lnTo>
                    <a:lnTo>
                      <a:pt x="0" y="107"/>
                    </a:lnTo>
                    <a:lnTo>
                      <a:pt x="0" y="101"/>
                    </a:lnTo>
                    <a:lnTo>
                      <a:pt x="0" y="75"/>
                    </a:lnTo>
                    <a:lnTo>
                      <a:pt x="1" y="50"/>
                    </a:lnTo>
                    <a:lnTo>
                      <a:pt x="12" y="52"/>
                    </a:lnTo>
                    <a:lnTo>
                      <a:pt x="22" y="53"/>
                    </a:lnTo>
                    <a:lnTo>
                      <a:pt x="32" y="53"/>
                    </a:lnTo>
                    <a:lnTo>
                      <a:pt x="42" y="52"/>
                    </a:lnTo>
                    <a:lnTo>
                      <a:pt x="50" y="51"/>
                    </a:lnTo>
                    <a:lnTo>
                      <a:pt x="58" y="49"/>
                    </a:lnTo>
                    <a:lnTo>
                      <a:pt x="66" y="47"/>
                    </a:lnTo>
                    <a:lnTo>
                      <a:pt x="73" y="44"/>
                    </a:lnTo>
                    <a:lnTo>
                      <a:pt x="79" y="40"/>
                    </a:lnTo>
                    <a:lnTo>
                      <a:pt x="86" y="36"/>
                    </a:lnTo>
                    <a:lnTo>
                      <a:pt x="91" y="31"/>
                    </a:lnTo>
                    <a:lnTo>
                      <a:pt x="97" y="26"/>
                    </a:lnTo>
                    <a:lnTo>
                      <a:pt x="107" y="13"/>
                    </a:lnTo>
                    <a:lnTo>
                      <a:pt x="114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12" name="Freeform 234">
                <a:extLst>
                  <a:ext uri="{FF2B5EF4-FFF2-40B4-BE49-F238E27FC236}">
                    <a16:creationId xmlns="" xmlns:a16="http://schemas.microsoft.com/office/drawing/2014/main" id="{E0129647-709F-46B0-9D48-AAE3DADDAA6E}"/>
                  </a:ext>
                </a:extLst>
              </p:cNvPr>
              <p:cNvSpPr>
                <a:spLocks/>
              </p:cNvSpPr>
              <p:nvPr>
                <p:custDataLst>
                  <p:tags r:id="rId161"/>
                </p:custDataLst>
              </p:nvPr>
            </p:nvSpPr>
            <p:spPr bwMode="auto">
              <a:xfrm>
                <a:off x="3781425" y="1901825"/>
                <a:ext cx="96838" cy="144463"/>
              </a:xfrm>
              <a:custGeom>
                <a:avLst/>
                <a:gdLst>
                  <a:gd name="T0" fmla="*/ 2147483646 w 225"/>
                  <a:gd name="T1" fmla="*/ 2147483646 h 273"/>
                  <a:gd name="T2" fmla="*/ 2147483646 w 225"/>
                  <a:gd name="T3" fmla="*/ 2147483646 h 273"/>
                  <a:gd name="T4" fmla="*/ 2147483646 w 225"/>
                  <a:gd name="T5" fmla="*/ 2147483646 h 273"/>
                  <a:gd name="T6" fmla="*/ 2147483646 w 225"/>
                  <a:gd name="T7" fmla="*/ 2147483646 h 273"/>
                  <a:gd name="T8" fmla="*/ 2147483646 w 225"/>
                  <a:gd name="T9" fmla="*/ 2147483646 h 273"/>
                  <a:gd name="T10" fmla="*/ 2147483646 w 225"/>
                  <a:gd name="T11" fmla="*/ 2147483646 h 273"/>
                  <a:gd name="T12" fmla="*/ 2147483646 w 225"/>
                  <a:gd name="T13" fmla="*/ 2147483646 h 273"/>
                  <a:gd name="T14" fmla="*/ 2147483646 w 225"/>
                  <a:gd name="T15" fmla="*/ 2147483646 h 273"/>
                  <a:gd name="T16" fmla="*/ 2147483646 w 225"/>
                  <a:gd name="T17" fmla="*/ 2147483646 h 273"/>
                  <a:gd name="T18" fmla="*/ 2147483646 w 225"/>
                  <a:gd name="T19" fmla="*/ 2147483646 h 273"/>
                  <a:gd name="T20" fmla="*/ 2147483646 w 225"/>
                  <a:gd name="T21" fmla="*/ 2147483646 h 273"/>
                  <a:gd name="T22" fmla="*/ 2147483646 w 225"/>
                  <a:gd name="T23" fmla="*/ 2147483646 h 273"/>
                  <a:gd name="T24" fmla="*/ 2147483646 w 225"/>
                  <a:gd name="T25" fmla="*/ 2147483646 h 273"/>
                  <a:gd name="T26" fmla="*/ 2147483646 w 225"/>
                  <a:gd name="T27" fmla="*/ 2147483646 h 273"/>
                  <a:gd name="T28" fmla="*/ 2147483646 w 225"/>
                  <a:gd name="T29" fmla="*/ 2147483646 h 273"/>
                  <a:gd name="T30" fmla="*/ 2147483646 w 225"/>
                  <a:gd name="T31" fmla="*/ 2147483646 h 273"/>
                  <a:gd name="T32" fmla="*/ 2147483646 w 225"/>
                  <a:gd name="T33" fmla="*/ 2147483646 h 273"/>
                  <a:gd name="T34" fmla="*/ 2147483646 w 225"/>
                  <a:gd name="T35" fmla="*/ 2147483646 h 273"/>
                  <a:gd name="T36" fmla="*/ 2147483646 w 225"/>
                  <a:gd name="T37" fmla="*/ 2147483646 h 273"/>
                  <a:gd name="T38" fmla="*/ 2147483646 w 225"/>
                  <a:gd name="T39" fmla="*/ 2147483646 h 273"/>
                  <a:gd name="T40" fmla="*/ 0 w 225"/>
                  <a:gd name="T41" fmla="*/ 2147483646 h 273"/>
                  <a:gd name="T42" fmla="*/ 2147483646 w 225"/>
                  <a:gd name="T43" fmla="*/ 2147483646 h 273"/>
                  <a:gd name="T44" fmla="*/ 2147483646 w 225"/>
                  <a:gd name="T45" fmla="*/ 2147483646 h 273"/>
                  <a:gd name="T46" fmla="*/ 2147483646 w 225"/>
                  <a:gd name="T47" fmla="*/ 2147483646 h 273"/>
                  <a:gd name="T48" fmla="*/ 2147483646 w 225"/>
                  <a:gd name="T49" fmla="*/ 2147483646 h 273"/>
                  <a:gd name="T50" fmla="*/ 2147483646 w 225"/>
                  <a:gd name="T51" fmla="*/ 2147483646 h 273"/>
                  <a:gd name="T52" fmla="*/ 2147483646 w 225"/>
                  <a:gd name="T53" fmla="*/ 2147483646 h 273"/>
                  <a:gd name="T54" fmla="*/ 2147483646 w 225"/>
                  <a:gd name="T55" fmla="*/ 2147483646 h 273"/>
                  <a:gd name="T56" fmla="*/ 2147483646 w 225"/>
                  <a:gd name="T57" fmla="*/ 2147483646 h 273"/>
                  <a:gd name="T58" fmla="*/ 2147483646 w 225"/>
                  <a:gd name="T59" fmla="*/ 2147483646 h 273"/>
                  <a:gd name="T60" fmla="*/ 2147483646 w 225"/>
                  <a:gd name="T61" fmla="*/ 2147483646 h 273"/>
                  <a:gd name="T62" fmla="*/ 2147483646 w 225"/>
                  <a:gd name="T63" fmla="*/ 2147483646 h 273"/>
                  <a:gd name="T64" fmla="*/ 2147483646 w 225"/>
                  <a:gd name="T65" fmla="*/ 2147483646 h 273"/>
                  <a:gd name="T66" fmla="*/ 2147483646 w 225"/>
                  <a:gd name="T67" fmla="*/ 2147483646 h 273"/>
                  <a:gd name="T68" fmla="*/ 2147483646 w 225"/>
                  <a:gd name="T69" fmla="*/ 2147483646 h 273"/>
                  <a:gd name="T70" fmla="*/ 2147483646 w 225"/>
                  <a:gd name="T71" fmla="*/ 2147483646 h 273"/>
                  <a:gd name="T72" fmla="*/ 2147483646 w 225"/>
                  <a:gd name="T73" fmla="*/ 2147483646 h 273"/>
                  <a:gd name="T74" fmla="*/ 2147483646 w 225"/>
                  <a:gd name="T75" fmla="*/ 2147483646 h 273"/>
                  <a:gd name="T76" fmla="*/ 2147483646 w 225"/>
                  <a:gd name="T77" fmla="*/ 2147483646 h 273"/>
                  <a:gd name="T78" fmla="*/ 2147483646 w 225"/>
                  <a:gd name="T79" fmla="*/ 2147483646 h 273"/>
                  <a:gd name="T80" fmla="*/ 2147483646 w 225"/>
                  <a:gd name="T81" fmla="*/ 2147483646 h 273"/>
                  <a:gd name="T82" fmla="*/ 2147483646 w 225"/>
                  <a:gd name="T83" fmla="*/ 2147483646 h 273"/>
                  <a:gd name="T84" fmla="*/ 2147483646 w 225"/>
                  <a:gd name="T85" fmla="*/ 2147483646 h 273"/>
                  <a:gd name="T86" fmla="*/ 2147483646 w 225"/>
                  <a:gd name="T87" fmla="*/ 2147483646 h 273"/>
                  <a:gd name="T88" fmla="*/ 2147483646 w 225"/>
                  <a:gd name="T89" fmla="*/ 2147483646 h 273"/>
                  <a:gd name="T90" fmla="*/ 2147483646 w 225"/>
                  <a:gd name="T91" fmla="*/ 2147483646 h 27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225"/>
                  <a:gd name="T139" fmla="*/ 0 h 273"/>
                  <a:gd name="T140" fmla="*/ 225 w 225"/>
                  <a:gd name="T141" fmla="*/ 273 h 273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225" h="273">
                    <a:moveTo>
                      <a:pt x="192" y="58"/>
                    </a:moveTo>
                    <a:lnTo>
                      <a:pt x="189" y="63"/>
                    </a:lnTo>
                    <a:lnTo>
                      <a:pt x="185" y="67"/>
                    </a:lnTo>
                    <a:lnTo>
                      <a:pt x="182" y="71"/>
                    </a:lnTo>
                    <a:lnTo>
                      <a:pt x="178" y="75"/>
                    </a:lnTo>
                    <a:lnTo>
                      <a:pt x="173" y="78"/>
                    </a:lnTo>
                    <a:lnTo>
                      <a:pt x="169" y="80"/>
                    </a:lnTo>
                    <a:lnTo>
                      <a:pt x="163" y="82"/>
                    </a:lnTo>
                    <a:lnTo>
                      <a:pt x="159" y="82"/>
                    </a:lnTo>
                    <a:lnTo>
                      <a:pt x="159" y="86"/>
                    </a:lnTo>
                    <a:lnTo>
                      <a:pt x="161" y="90"/>
                    </a:lnTo>
                    <a:lnTo>
                      <a:pt x="163" y="93"/>
                    </a:lnTo>
                    <a:lnTo>
                      <a:pt x="167" y="96"/>
                    </a:lnTo>
                    <a:lnTo>
                      <a:pt x="170" y="99"/>
                    </a:lnTo>
                    <a:lnTo>
                      <a:pt x="174" y="101"/>
                    </a:lnTo>
                    <a:lnTo>
                      <a:pt x="179" y="102"/>
                    </a:lnTo>
                    <a:lnTo>
                      <a:pt x="184" y="103"/>
                    </a:lnTo>
                    <a:lnTo>
                      <a:pt x="195" y="105"/>
                    </a:lnTo>
                    <a:lnTo>
                      <a:pt x="206" y="106"/>
                    </a:lnTo>
                    <a:lnTo>
                      <a:pt x="216" y="106"/>
                    </a:lnTo>
                    <a:lnTo>
                      <a:pt x="225" y="106"/>
                    </a:lnTo>
                    <a:lnTo>
                      <a:pt x="225" y="124"/>
                    </a:lnTo>
                    <a:lnTo>
                      <a:pt x="225" y="138"/>
                    </a:lnTo>
                    <a:lnTo>
                      <a:pt x="225" y="152"/>
                    </a:lnTo>
                    <a:lnTo>
                      <a:pt x="225" y="169"/>
                    </a:lnTo>
                    <a:lnTo>
                      <a:pt x="225" y="172"/>
                    </a:lnTo>
                    <a:lnTo>
                      <a:pt x="224" y="176"/>
                    </a:lnTo>
                    <a:lnTo>
                      <a:pt x="222" y="179"/>
                    </a:lnTo>
                    <a:lnTo>
                      <a:pt x="220" y="182"/>
                    </a:lnTo>
                    <a:lnTo>
                      <a:pt x="215" y="187"/>
                    </a:lnTo>
                    <a:lnTo>
                      <a:pt x="208" y="193"/>
                    </a:lnTo>
                    <a:lnTo>
                      <a:pt x="203" y="199"/>
                    </a:lnTo>
                    <a:lnTo>
                      <a:pt x="197" y="205"/>
                    </a:lnTo>
                    <a:lnTo>
                      <a:pt x="195" y="208"/>
                    </a:lnTo>
                    <a:lnTo>
                      <a:pt x="193" y="211"/>
                    </a:lnTo>
                    <a:lnTo>
                      <a:pt x="192" y="214"/>
                    </a:lnTo>
                    <a:lnTo>
                      <a:pt x="192" y="217"/>
                    </a:lnTo>
                    <a:lnTo>
                      <a:pt x="184" y="218"/>
                    </a:lnTo>
                    <a:lnTo>
                      <a:pt x="179" y="218"/>
                    </a:lnTo>
                    <a:lnTo>
                      <a:pt x="172" y="220"/>
                    </a:lnTo>
                    <a:lnTo>
                      <a:pt x="168" y="223"/>
                    </a:lnTo>
                    <a:lnTo>
                      <a:pt x="164" y="225"/>
                    </a:lnTo>
                    <a:lnTo>
                      <a:pt x="161" y="229"/>
                    </a:lnTo>
                    <a:lnTo>
                      <a:pt x="159" y="232"/>
                    </a:lnTo>
                    <a:lnTo>
                      <a:pt x="159" y="236"/>
                    </a:lnTo>
                    <a:lnTo>
                      <a:pt x="151" y="237"/>
                    </a:lnTo>
                    <a:lnTo>
                      <a:pt x="146" y="239"/>
                    </a:lnTo>
                    <a:lnTo>
                      <a:pt x="140" y="242"/>
                    </a:lnTo>
                    <a:lnTo>
                      <a:pt x="136" y="246"/>
                    </a:lnTo>
                    <a:lnTo>
                      <a:pt x="131" y="249"/>
                    </a:lnTo>
                    <a:lnTo>
                      <a:pt x="128" y="252"/>
                    </a:lnTo>
                    <a:lnTo>
                      <a:pt x="124" y="254"/>
                    </a:lnTo>
                    <a:lnTo>
                      <a:pt x="118" y="255"/>
                    </a:lnTo>
                    <a:lnTo>
                      <a:pt x="101" y="255"/>
                    </a:lnTo>
                    <a:lnTo>
                      <a:pt x="85" y="257"/>
                    </a:lnTo>
                    <a:lnTo>
                      <a:pt x="72" y="259"/>
                    </a:lnTo>
                    <a:lnTo>
                      <a:pt x="60" y="261"/>
                    </a:lnTo>
                    <a:lnTo>
                      <a:pt x="38" y="267"/>
                    </a:lnTo>
                    <a:lnTo>
                      <a:pt x="13" y="273"/>
                    </a:lnTo>
                    <a:lnTo>
                      <a:pt x="19" y="261"/>
                    </a:lnTo>
                    <a:lnTo>
                      <a:pt x="10" y="261"/>
                    </a:lnTo>
                    <a:lnTo>
                      <a:pt x="0" y="261"/>
                    </a:lnTo>
                    <a:lnTo>
                      <a:pt x="0" y="217"/>
                    </a:lnTo>
                    <a:lnTo>
                      <a:pt x="8" y="216"/>
                    </a:lnTo>
                    <a:lnTo>
                      <a:pt x="17" y="214"/>
                    </a:lnTo>
                    <a:lnTo>
                      <a:pt x="21" y="212"/>
                    </a:lnTo>
                    <a:lnTo>
                      <a:pt x="24" y="210"/>
                    </a:lnTo>
                    <a:lnTo>
                      <a:pt x="25" y="208"/>
                    </a:lnTo>
                    <a:lnTo>
                      <a:pt x="26" y="205"/>
                    </a:lnTo>
                    <a:lnTo>
                      <a:pt x="40" y="205"/>
                    </a:lnTo>
                    <a:lnTo>
                      <a:pt x="54" y="204"/>
                    </a:lnTo>
                    <a:lnTo>
                      <a:pt x="60" y="202"/>
                    </a:lnTo>
                    <a:lnTo>
                      <a:pt x="64" y="200"/>
                    </a:lnTo>
                    <a:lnTo>
                      <a:pt x="69" y="197"/>
                    </a:lnTo>
                    <a:lnTo>
                      <a:pt x="72" y="193"/>
                    </a:lnTo>
                    <a:lnTo>
                      <a:pt x="64" y="195"/>
                    </a:lnTo>
                    <a:lnTo>
                      <a:pt x="54" y="198"/>
                    </a:lnTo>
                    <a:lnTo>
                      <a:pt x="48" y="198"/>
                    </a:lnTo>
                    <a:lnTo>
                      <a:pt x="44" y="198"/>
                    </a:lnTo>
                    <a:lnTo>
                      <a:pt x="41" y="198"/>
                    </a:lnTo>
                    <a:lnTo>
                      <a:pt x="40" y="197"/>
                    </a:lnTo>
                    <a:lnTo>
                      <a:pt x="39" y="195"/>
                    </a:lnTo>
                    <a:lnTo>
                      <a:pt x="39" y="193"/>
                    </a:lnTo>
                    <a:lnTo>
                      <a:pt x="39" y="188"/>
                    </a:lnTo>
                    <a:lnTo>
                      <a:pt x="41" y="183"/>
                    </a:lnTo>
                    <a:lnTo>
                      <a:pt x="44" y="178"/>
                    </a:lnTo>
                    <a:lnTo>
                      <a:pt x="46" y="173"/>
                    </a:lnTo>
                    <a:lnTo>
                      <a:pt x="50" y="166"/>
                    </a:lnTo>
                    <a:lnTo>
                      <a:pt x="52" y="162"/>
                    </a:lnTo>
                    <a:lnTo>
                      <a:pt x="39" y="160"/>
                    </a:lnTo>
                    <a:lnTo>
                      <a:pt x="28" y="157"/>
                    </a:lnTo>
                    <a:lnTo>
                      <a:pt x="21" y="154"/>
                    </a:lnTo>
                    <a:lnTo>
                      <a:pt x="14" y="150"/>
                    </a:lnTo>
                    <a:lnTo>
                      <a:pt x="10" y="145"/>
                    </a:lnTo>
                    <a:lnTo>
                      <a:pt x="7" y="138"/>
                    </a:lnTo>
                    <a:lnTo>
                      <a:pt x="6" y="130"/>
                    </a:lnTo>
                    <a:lnTo>
                      <a:pt x="6" y="120"/>
                    </a:lnTo>
                    <a:lnTo>
                      <a:pt x="15" y="117"/>
                    </a:lnTo>
                    <a:lnTo>
                      <a:pt x="22" y="115"/>
                    </a:lnTo>
                    <a:lnTo>
                      <a:pt x="26" y="112"/>
                    </a:lnTo>
                    <a:lnTo>
                      <a:pt x="30" y="109"/>
                    </a:lnTo>
                    <a:lnTo>
                      <a:pt x="35" y="102"/>
                    </a:lnTo>
                    <a:lnTo>
                      <a:pt x="39" y="94"/>
                    </a:lnTo>
                    <a:lnTo>
                      <a:pt x="56" y="94"/>
                    </a:lnTo>
                    <a:lnTo>
                      <a:pt x="68" y="94"/>
                    </a:lnTo>
                    <a:lnTo>
                      <a:pt x="77" y="94"/>
                    </a:lnTo>
                    <a:lnTo>
                      <a:pt x="85" y="94"/>
                    </a:lnTo>
                    <a:lnTo>
                      <a:pt x="90" y="94"/>
                    </a:lnTo>
                    <a:lnTo>
                      <a:pt x="94" y="93"/>
                    </a:lnTo>
                    <a:lnTo>
                      <a:pt x="97" y="91"/>
                    </a:lnTo>
                    <a:lnTo>
                      <a:pt x="100" y="88"/>
                    </a:lnTo>
                    <a:lnTo>
                      <a:pt x="104" y="82"/>
                    </a:lnTo>
                    <a:lnTo>
                      <a:pt x="106" y="73"/>
                    </a:lnTo>
                    <a:lnTo>
                      <a:pt x="108" y="52"/>
                    </a:lnTo>
                    <a:lnTo>
                      <a:pt x="112" y="33"/>
                    </a:lnTo>
                    <a:lnTo>
                      <a:pt x="117" y="32"/>
                    </a:lnTo>
                    <a:lnTo>
                      <a:pt x="120" y="31"/>
                    </a:lnTo>
                    <a:lnTo>
                      <a:pt x="124" y="29"/>
                    </a:lnTo>
                    <a:lnTo>
                      <a:pt x="126" y="26"/>
                    </a:lnTo>
                    <a:lnTo>
                      <a:pt x="130" y="20"/>
                    </a:lnTo>
                    <a:lnTo>
                      <a:pt x="136" y="13"/>
                    </a:lnTo>
                    <a:lnTo>
                      <a:pt x="138" y="10"/>
                    </a:lnTo>
                    <a:lnTo>
                      <a:pt x="141" y="7"/>
                    </a:lnTo>
                    <a:lnTo>
                      <a:pt x="145" y="4"/>
                    </a:lnTo>
                    <a:lnTo>
                      <a:pt x="149" y="2"/>
                    </a:lnTo>
                    <a:lnTo>
                      <a:pt x="155" y="1"/>
                    </a:lnTo>
                    <a:lnTo>
                      <a:pt x="161" y="0"/>
                    </a:lnTo>
                    <a:lnTo>
                      <a:pt x="169" y="1"/>
                    </a:lnTo>
                    <a:lnTo>
                      <a:pt x="179" y="3"/>
                    </a:lnTo>
                    <a:lnTo>
                      <a:pt x="186" y="20"/>
                    </a:lnTo>
                    <a:lnTo>
                      <a:pt x="194" y="34"/>
                    </a:lnTo>
                    <a:lnTo>
                      <a:pt x="195" y="38"/>
                    </a:lnTo>
                    <a:lnTo>
                      <a:pt x="196" y="41"/>
                    </a:lnTo>
                    <a:lnTo>
                      <a:pt x="196" y="44"/>
                    </a:lnTo>
                    <a:lnTo>
                      <a:pt x="196" y="47"/>
                    </a:lnTo>
                    <a:lnTo>
                      <a:pt x="195" y="50"/>
                    </a:lnTo>
                    <a:lnTo>
                      <a:pt x="193" y="52"/>
                    </a:lnTo>
                    <a:lnTo>
                      <a:pt x="190" y="56"/>
                    </a:lnTo>
                    <a:lnTo>
                      <a:pt x="185" y="58"/>
                    </a:lnTo>
                    <a:lnTo>
                      <a:pt x="192" y="58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13" name="Freeform 235">
                <a:extLst>
                  <a:ext uri="{FF2B5EF4-FFF2-40B4-BE49-F238E27FC236}">
                    <a16:creationId xmlns="" xmlns:a16="http://schemas.microsoft.com/office/drawing/2014/main" id="{6851D30A-74C5-4706-867D-DE65A8A5D2AC}"/>
                  </a:ext>
                </a:extLst>
              </p:cNvPr>
              <p:cNvSpPr>
                <a:spLocks/>
              </p:cNvSpPr>
              <p:nvPr>
                <p:custDataLst>
                  <p:tags r:id="rId162"/>
                </p:custDataLst>
              </p:nvPr>
            </p:nvSpPr>
            <p:spPr bwMode="auto">
              <a:xfrm>
                <a:off x="3594100" y="2813050"/>
                <a:ext cx="306388" cy="390525"/>
              </a:xfrm>
              <a:custGeom>
                <a:avLst/>
                <a:gdLst>
                  <a:gd name="T0" fmla="*/ 2147483646 w 232"/>
                  <a:gd name="T1" fmla="*/ 2147483646 h 248"/>
                  <a:gd name="T2" fmla="*/ 2147483646 w 232"/>
                  <a:gd name="T3" fmla="*/ 2147483646 h 248"/>
                  <a:gd name="T4" fmla="*/ 2147483646 w 232"/>
                  <a:gd name="T5" fmla="*/ 2147483646 h 248"/>
                  <a:gd name="T6" fmla="*/ 2147483646 w 232"/>
                  <a:gd name="T7" fmla="*/ 2147483646 h 248"/>
                  <a:gd name="T8" fmla="*/ 2147483646 w 232"/>
                  <a:gd name="T9" fmla="*/ 2147483646 h 248"/>
                  <a:gd name="T10" fmla="*/ 2147483646 w 232"/>
                  <a:gd name="T11" fmla="*/ 2147483646 h 248"/>
                  <a:gd name="T12" fmla="*/ 2147483646 w 232"/>
                  <a:gd name="T13" fmla="*/ 2147483646 h 248"/>
                  <a:gd name="T14" fmla="*/ 2147483646 w 232"/>
                  <a:gd name="T15" fmla="*/ 2147483646 h 248"/>
                  <a:gd name="T16" fmla="*/ 2147483646 w 232"/>
                  <a:gd name="T17" fmla="*/ 2147483646 h 248"/>
                  <a:gd name="T18" fmla="*/ 2147483646 w 232"/>
                  <a:gd name="T19" fmla="*/ 2147483646 h 248"/>
                  <a:gd name="T20" fmla="*/ 2147483646 w 232"/>
                  <a:gd name="T21" fmla="*/ 2147483646 h 248"/>
                  <a:gd name="T22" fmla="*/ 2147483646 w 232"/>
                  <a:gd name="T23" fmla="*/ 2147483646 h 248"/>
                  <a:gd name="T24" fmla="*/ 2147483646 w 232"/>
                  <a:gd name="T25" fmla="*/ 2147483646 h 248"/>
                  <a:gd name="T26" fmla="*/ 2147483646 w 232"/>
                  <a:gd name="T27" fmla="*/ 2147483646 h 248"/>
                  <a:gd name="T28" fmla="*/ 2147483646 w 232"/>
                  <a:gd name="T29" fmla="*/ 2147483646 h 248"/>
                  <a:gd name="T30" fmla="*/ 2147483646 w 232"/>
                  <a:gd name="T31" fmla="*/ 2147483646 h 248"/>
                  <a:gd name="T32" fmla="*/ 2147483646 w 232"/>
                  <a:gd name="T33" fmla="*/ 2147483646 h 248"/>
                  <a:gd name="T34" fmla="*/ 2147483646 w 232"/>
                  <a:gd name="T35" fmla="*/ 2147483646 h 248"/>
                  <a:gd name="T36" fmla="*/ 2147483646 w 232"/>
                  <a:gd name="T37" fmla="*/ 2147483646 h 248"/>
                  <a:gd name="T38" fmla="*/ 2147483646 w 232"/>
                  <a:gd name="T39" fmla="*/ 2147483646 h 248"/>
                  <a:gd name="T40" fmla="*/ 2147483646 w 232"/>
                  <a:gd name="T41" fmla="*/ 2147483646 h 248"/>
                  <a:gd name="T42" fmla="*/ 2147483646 w 232"/>
                  <a:gd name="T43" fmla="*/ 2147483646 h 248"/>
                  <a:gd name="T44" fmla="*/ 2147483646 w 232"/>
                  <a:gd name="T45" fmla="*/ 2147483646 h 248"/>
                  <a:gd name="T46" fmla="*/ 2147483646 w 232"/>
                  <a:gd name="T47" fmla="*/ 2147483646 h 248"/>
                  <a:gd name="T48" fmla="*/ 2147483646 w 232"/>
                  <a:gd name="T49" fmla="*/ 2147483646 h 248"/>
                  <a:gd name="T50" fmla="*/ 2147483646 w 232"/>
                  <a:gd name="T51" fmla="*/ 2147483646 h 248"/>
                  <a:gd name="T52" fmla="*/ 2147483646 w 232"/>
                  <a:gd name="T53" fmla="*/ 2147483646 h 248"/>
                  <a:gd name="T54" fmla="*/ 2147483646 w 232"/>
                  <a:gd name="T55" fmla="*/ 2147483646 h 248"/>
                  <a:gd name="T56" fmla="*/ 2147483646 w 232"/>
                  <a:gd name="T57" fmla="*/ 2147483646 h 248"/>
                  <a:gd name="T58" fmla="*/ 2147483646 w 232"/>
                  <a:gd name="T59" fmla="*/ 2147483646 h 248"/>
                  <a:gd name="T60" fmla="*/ 2147483646 w 232"/>
                  <a:gd name="T61" fmla="*/ 2147483646 h 248"/>
                  <a:gd name="T62" fmla="*/ 2147483646 w 232"/>
                  <a:gd name="T63" fmla="*/ 2147483646 h 248"/>
                  <a:gd name="T64" fmla="*/ 2147483646 w 232"/>
                  <a:gd name="T65" fmla="*/ 2147483646 h 248"/>
                  <a:gd name="T66" fmla="*/ 2147483646 w 232"/>
                  <a:gd name="T67" fmla="*/ 2147483646 h 248"/>
                  <a:gd name="T68" fmla="*/ 2147483646 w 232"/>
                  <a:gd name="T69" fmla="*/ 2147483646 h 248"/>
                  <a:gd name="T70" fmla="*/ 2147483646 w 232"/>
                  <a:gd name="T71" fmla="*/ 2147483646 h 248"/>
                  <a:gd name="T72" fmla="*/ 2147483646 w 232"/>
                  <a:gd name="T73" fmla="*/ 2147483646 h 248"/>
                  <a:gd name="T74" fmla="*/ 2147483646 w 232"/>
                  <a:gd name="T75" fmla="*/ 2147483646 h 248"/>
                  <a:gd name="T76" fmla="*/ 2147483646 w 232"/>
                  <a:gd name="T77" fmla="*/ 2147483646 h 248"/>
                  <a:gd name="T78" fmla="*/ 2147483646 w 232"/>
                  <a:gd name="T79" fmla="*/ 2147483646 h 248"/>
                  <a:gd name="T80" fmla="*/ 2147483646 w 232"/>
                  <a:gd name="T81" fmla="*/ 2147483646 h 248"/>
                  <a:gd name="T82" fmla="*/ 2147483646 w 232"/>
                  <a:gd name="T83" fmla="*/ 2147483646 h 248"/>
                  <a:gd name="T84" fmla="*/ 2147483646 w 232"/>
                  <a:gd name="T85" fmla="*/ 2147483646 h 248"/>
                  <a:gd name="T86" fmla="*/ 2147483646 w 232"/>
                  <a:gd name="T87" fmla="*/ 2147483646 h 248"/>
                  <a:gd name="T88" fmla="*/ 2147483646 w 232"/>
                  <a:gd name="T89" fmla="*/ 2147483646 h 248"/>
                  <a:gd name="T90" fmla="*/ 2147483646 w 232"/>
                  <a:gd name="T91" fmla="*/ 2147483646 h 248"/>
                  <a:gd name="T92" fmla="*/ 2147483646 w 232"/>
                  <a:gd name="T93" fmla="*/ 2147483646 h 248"/>
                  <a:gd name="T94" fmla="*/ 2147483646 w 232"/>
                  <a:gd name="T95" fmla="*/ 2147483646 h 248"/>
                  <a:gd name="T96" fmla="*/ 2147483646 w 232"/>
                  <a:gd name="T97" fmla="*/ 2147483646 h 248"/>
                  <a:gd name="T98" fmla="*/ 2147483646 w 232"/>
                  <a:gd name="T99" fmla="*/ 2147483646 h 248"/>
                  <a:gd name="T100" fmla="*/ 2147483646 w 232"/>
                  <a:gd name="T101" fmla="*/ 2147483646 h 248"/>
                  <a:gd name="T102" fmla="*/ 2147483646 w 232"/>
                  <a:gd name="T103" fmla="*/ 2147483646 h 248"/>
                  <a:gd name="T104" fmla="*/ 2147483646 w 232"/>
                  <a:gd name="T105" fmla="*/ 2147483646 h 248"/>
                  <a:gd name="T106" fmla="*/ 2147483646 w 232"/>
                  <a:gd name="T107" fmla="*/ 2147483646 h 248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32"/>
                  <a:gd name="T163" fmla="*/ 0 h 248"/>
                  <a:gd name="T164" fmla="*/ 232 w 232"/>
                  <a:gd name="T165" fmla="*/ 248 h 248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32" h="248">
                    <a:moveTo>
                      <a:pt x="91" y="248"/>
                    </a:moveTo>
                    <a:lnTo>
                      <a:pt x="94" y="246"/>
                    </a:lnTo>
                    <a:lnTo>
                      <a:pt x="95" y="245"/>
                    </a:lnTo>
                    <a:lnTo>
                      <a:pt x="96" y="243"/>
                    </a:lnTo>
                    <a:lnTo>
                      <a:pt x="97" y="240"/>
                    </a:lnTo>
                    <a:lnTo>
                      <a:pt x="98" y="238"/>
                    </a:lnTo>
                    <a:lnTo>
                      <a:pt x="99" y="235"/>
                    </a:lnTo>
                    <a:lnTo>
                      <a:pt x="100" y="232"/>
                    </a:lnTo>
                    <a:lnTo>
                      <a:pt x="103" y="230"/>
                    </a:lnTo>
                    <a:lnTo>
                      <a:pt x="103" y="231"/>
                    </a:lnTo>
                    <a:lnTo>
                      <a:pt x="103" y="236"/>
                    </a:lnTo>
                    <a:lnTo>
                      <a:pt x="104" y="238"/>
                    </a:lnTo>
                    <a:lnTo>
                      <a:pt x="105" y="240"/>
                    </a:lnTo>
                    <a:lnTo>
                      <a:pt x="106" y="241"/>
                    </a:lnTo>
                    <a:lnTo>
                      <a:pt x="107" y="241"/>
                    </a:lnTo>
                    <a:lnTo>
                      <a:pt x="108" y="242"/>
                    </a:lnTo>
                    <a:lnTo>
                      <a:pt x="109" y="242"/>
                    </a:lnTo>
                    <a:lnTo>
                      <a:pt x="110" y="242"/>
                    </a:lnTo>
                    <a:lnTo>
                      <a:pt x="112" y="241"/>
                    </a:lnTo>
                    <a:lnTo>
                      <a:pt x="113" y="241"/>
                    </a:lnTo>
                    <a:lnTo>
                      <a:pt x="114" y="240"/>
                    </a:lnTo>
                    <a:lnTo>
                      <a:pt x="116" y="238"/>
                    </a:lnTo>
                    <a:lnTo>
                      <a:pt x="118" y="236"/>
                    </a:lnTo>
                    <a:lnTo>
                      <a:pt x="216" y="234"/>
                    </a:lnTo>
                    <a:lnTo>
                      <a:pt x="215" y="225"/>
                    </a:lnTo>
                    <a:lnTo>
                      <a:pt x="213" y="204"/>
                    </a:lnTo>
                    <a:lnTo>
                      <a:pt x="210" y="173"/>
                    </a:lnTo>
                    <a:lnTo>
                      <a:pt x="207" y="138"/>
                    </a:lnTo>
                    <a:lnTo>
                      <a:pt x="204" y="103"/>
                    </a:lnTo>
                    <a:lnTo>
                      <a:pt x="201" y="73"/>
                    </a:lnTo>
                    <a:lnTo>
                      <a:pt x="199" y="51"/>
                    </a:lnTo>
                    <a:lnTo>
                      <a:pt x="198" y="43"/>
                    </a:lnTo>
                    <a:lnTo>
                      <a:pt x="203" y="43"/>
                    </a:lnTo>
                    <a:lnTo>
                      <a:pt x="215" y="44"/>
                    </a:lnTo>
                    <a:lnTo>
                      <a:pt x="226" y="45"/>
                    </a:lnTo>
                    <a:lnTo>
                      <a:pt x="232" y="46"/>
                    </a:lnTo>
                    <a:lnTo>
                      <a:pt x="161" y="0"/>
                    </a:lnTo>
                    <a:lnTo>
                      <a:pt x="161" y="2"/>
                    </a:lnTo>
                    <a:lnTo>
                      <a:pt x="160" y="5"/>
                    </a:lnTo>
                    <a:lnTo>
                      <a:pt x="160" y="8"/>
                    </a:lnTo>
                    <a:lnTo>
                      <a:pt x="161" y="11"/>
                    </a:lnTo>
                    <a:lnTo>
                      <a:pt x="161" y="18"/>
                    </a:lnTo>
                    <a:lnTo>
                      <a:pt x="161" y="24"/>
                    </a:lnTo>
                    <a:lnTo>
                      <a:pt x="98" y="24"/>
                    </a:lnTo>
                    <a:lnTo>
                      <a:pt x="94" y="22"/>
                    </a:lnTo>
                    <a:lnTo>
                      <a:pt x="98" y="74"/>
                    </a:lnTo>
                    <a:lnTo>
                      <a:pt x="97" y="75"/>
                    </a:lnTo>
                    <a:lnTo>
                      <a:pt x="95" y="76"/>
                    </a:lnTo>
                    <a:lnTo>
                      <a:pt x="91" y="77"/>
                    </a:lnTo>
                    <a:lnTo>
                      <a:pt x="87" y="78"/>
                    </a:lnTo>
                    <a:lnTo>
                      <a:pt x="78" y="80"/>
                    </a:lnTo>
                    <a:lnTo>
                      <a:pt x="72" y="82"/>
                    </a:lnTo>
                    <a:lnTo>
                      <a:pt x="73" y="85"/>
                    </a:lnTo>
                    <a:lnTo>
                      <a:pt x="74" y="88"/>
                    </a:lnTo>
                    <a:lnTo>
                      <a:pt x="76" y="92"/>
                    </a:lnTo>
                    <a:lnTo>
                      <a:pt x="78" y="96"/>
                    </a:lnTo>
                    <a:lnTo>
                      <a:pt x="79" y="99"/>
                    </a:lnTo>
                    <a:lnTo>
                      <a:pt x="80" y="105"/>
                    </a:lnTo>
                    <a:lnTo>
                      <a:pt x="80" y="112"/>
                    </a:lnTo>
                    <a:lnTo>
                      <a:pt x="81" y="115"/>
                    </a:lnTo>
                    <a:lnTo>
                      <a:pt x="13" y="115"/>
                    </a:lnTo>
                    <a:lnTo>
                      <a:pt x="9" y="119"/>
                    </a:lnTo>
                    <a:lnTo>
                      <a:pt x="4" y="123"/>
                    </a:lnTo>
                    <a:lnTo>
                      <a:pt x="5" y="130"/>
                    </a:lnTo>
                    <a:lnTo>
                      <a:pt x="5" y="137"/>
                    </a:lnTo>
                    <a:lnTo>
                      <a:pt x="6" y="143"/>
                    </a:lnTo>
                    <a:lnTo>
                      <a:pt x="7" y="149"/>
                    </a:lnTo>
                    <a:lnTo>
                      <a:pt x="8" y="155"/>
                    </a:lnTo>
                    <a:lnTo>
                      <a:pt x="8" y="161"/>
                    </a:lnTo>
                    <a:lnTo>
                      <a:pt x="9" y="168"/>
                    </a:lnTo>
                    <a:lnTo>
                      <a:pt x="9" y="176"/>
                    </a:lnTo>
                    <a:lnTo>
                      <a:pt x="9" y="182"/>
                    </a:lnTo>
                    <a:lnTo>
                      <a:pt x="8" y="188"/>
                    </a:lnTo>
                    <a:lnTo>
                      <a:pt x="8" y="194"/>
                    </a:lnTo>
                    <a:lnTo>
                      <a:pt x="7" y="200"/>
                    </a:lnTo>
                    <a:lnTo>
                      <a:pt x="6" y="206"/>
                    </a:lnTo>
                    <a:lnTo>
                      <a:pt x="4" y="211"/>
                    </a:lnTo>
                    <a:lnTo>
                      <a:pt x="2" y="216"/>
                    </a:lnTo>
                    <a:lnTo>
                      <a:pt x="0" y="221"/>
                    </a:lnTo>
                    <a:lnTo>
                      <a:pt x="2" y="219"/>
                    </a:lnTo>
                    <a:lnTo>
                      <a:pt x="3" y="219"/>
                    </a:lnTo>
                    <a:lnTo>
                      <a:pt x="3" y="220"/>
                    </a:lnTo>
                    <a:lnTo>
                      <a:pt x="3" y="221"/>
                    </a:lnTo>
                    <a:lnTo>
                      <a:pt x="3" y="222"/>
                    </a:lnTo>
                    <a:lnTo>
                      <a:pt x="4" y="217"/>
                    </a:lnTo>
                    <a:lnTo>
                      <a:pt x="7" y="217"/>
                    </a:lnTo>
                    <a:lnTo>
                      <a:pt x="12" y="215"/>
                    </a:lnTo>
                    <a:lnTo>
                      <a:pt x="18" y="213"/>
                    </a:lnTo>
                    <a:lnTo>
                      <a:pt x="25" y="211"/>
                    </a:lnTo>
                    <a:lnTo>
                      <a:pt x="36" y="207"/>
                    </a:lnTo>
                    <a:lnTo>
                      <a:pt x="41" y="205"/>
                    </a:lnTo>
                    <a:lnTo>
                      <a:pt x="45" y="208"/>
                    </a:lnTo>
                    <a:lnTo>
                      <a:pt x="48" y="210"/>
                    </a:lnTo>
                    <a:lnTo>
                      <a:pt x="51" y="212"/>
                    </a:lnTo>
                    <a:lnTo>
                      <a:pt x="53" y="213"/>
                    </a:lnTo>
                    <a:lnTo>
                      <a:pt x="56" y="214"/>
                    </a:lnTo>
                    <a:lnTo>
                      <a:pt x="59" y="215"/>
                    </a:lnTo>
                    <a:lnTo>
                      <a:pt x="62" y="215"/>
                    </a:lnTo>
                    <a:lnTo>
                      <a:pt x="66" y="215"/>
                    </a:lnTo>
                    <a:lnTo>
                      <a:pt x="66" y="219"/>
                    </a:lnTo>
                    <a:lnTo>
                      <a:pt x="66" y="222"/>
                    </a:lnTo>
                    <a:lnTo>
                      <a:pt x="67" y="225"/>
                    </a:lnTo>
                    <a:lnTo>
                      <a:pt x="69" y="228"/>
                    </a:lnTo>
                    <a:lnTo>
                      <a:pt x="70" y="231"/>
                    </a:lnTo>
                    <a:lnTo>
                      <a:pt x="72" y="233"/>
                    </a:lnTo>
                    <a:lnTo>
                      <a:pt x="74" y="235"/>
                    </a:lnTo>
                    <a:lnTo>
                      <a:pt x="76" y="237"/>
                    </a:lnTo>
                    <a:lnTo>
                      <a:pt x="85" y="243"/>
                    </a:lnTo>
                    <a:lnTo>
                      <a:pt x="91" y="248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14" name="Freeform 236">
                <a:extLst>
                  <a:ext uri="{FF2B5EF4-FFF2-40B4-BE49-F238E27FC236}">
                    <a16:creationId xmlns="" xmlns:a16="http://schemas.microsoft.com/office/drawing/2014/main" id="{552939A1-CDB8-4FB6-A5C8-0A6929F6BC55}"/>
                  </a:ext>
                </a:extLst>
              </p:cNvPr>
              <p:cNvSpPr>
                <a:spLocks/>
              </p:cNvSpPr>
              <p:nvPr>
                <p:custDataLst>
                  <p:tags r:id="rId163"/>
                </p:custDataLst>
              </p:nvPr>
            </p:nvSpPr>
            <p:spPr bwMode="auto">
              <a:xfrm>
                <a:off x="3709988" y="2873375"/>
                <a:ext cx="414337" cy="468313"/>
              </a:xfrm>
              <a:custGeom>
                <a:avLst/>
                <a:gdLst>
                  <a:gd name="T0" fmla="*/ 2147483646 w 948"/>
                  <a:gd name="T1" fmla="*/ 2147483646 h 893"/>
                  <a:gd name="T2" fmla="*/ 2147483646 w 948"/>
                  <a:gd name="T3" fmla="*/ 2147483646 h 893"/>
                  <a:gd name="T4" fmla="*/ 2147483646 w 948"/>
                  <a:gd name="T5" fmla="*/ 2147483646 h 893"/>
                  <a:gd name="T6" fmla="*/ 2147483646 w 948"/>
                  <a:gd name="T7" fmla="*/ 2147483646 h 893"/>
                  <a:gd name="T8" fmla="*/ 2147483646 w 948"/>
                  <a:gd name="T9" fmla="*/ 2147483646 h 893"/>
                  <a:gd name="T10" fmla="*/ 2147483646 w 948"/>
                  <a:gd name="T11" fmla="*/ 2147483646 h 893"/>
                  <a:gd name="T12" fmla="*/ 2147483646 w 948"/>
                  <a:gd name="T13" fmla="*/ 2147483646 h 893"/>
                  <a:gd name="T14" fmla="*/ 2147483646 w 948"/>
                  <a:gd name="T15" fmla="*/ 2147483646 h 893"/>
                  <a:gd name="T16" fmla="*/ 2147483646 w 948"/>
                  <a:gd name="T17" fmla="*/ 2147483646 h 893"/>
                  <a:gd name="T18" fmla="*/ 2147483646 w 948"/>
                  <a:gd name="T19" fmla="*/ 2147483646 h 893"/>
                  <a:gd name="T20" fmla="*/ 2147483646 w 948"/>
                  <a:gd name="T21" fmla="*/ 2147483646 h 893"/>
                  <a:gd name="T22" fmla="*/ 2147483646 w 948"/>
                  <a:gd name="T23" fmla="*/ 2147483646 h 893"/>
                  <a:gd name="T24" fmla="*/ 2147483646 w 948"/>
                  <a:gd name="T25" fmla="*/ 2147483646 h 893"/>
                  <a:gd name="T26" fmla="*/ 2147483646 w 948"/>
                  <a:gd name="T27" fmla="*/ 2147483646 h 893"/>
                  <a:gd name="T28" fmla="*/ 2147483646 w 948"/>
                  <a:gd name="T29" fmla="*/ 2147483646 h 893"/>
                  <a:gd name="T30" fmla="*/ 2147483646 w 948"/>
                  <a:gd name="T31" fmla="*/ 2147483646 h 893"/>
                  <a:gd name="T32" fmla="*/ 2147483646 w 948"/>
                  <a:gd name="T33" fmla="*/ 2147483646 h 893"/>
                  <a:gd name="T34" fmla="*/ 2147483646 w 948"/>
                  <a:gd name="T35" fmla="*/ 2147483646 h 893"/>
                  <a:gd name="T36" fmla="*/ 2147483646 w 948"/>
                  <a:gd name="T37" fmla="*/ 2147483646 h 893"/>
                  <a:gd name="T38" fmla="*/ 2147483646 w 948"/>
                  <a:gd name="T39" fmla="*/ 2147483646 h 893"/>
                  <a:gd name="T40" fmla="*/ 2147483646 w 948"/>
                  <a:gd name="T41" fmla="*/ 2147483646 h 893"/>
                  <a:gd name="T42" fmla="*/ 2147483646 w 948"/>
                  <a:gd name="T43" fmla="*/ 2147483646 h 893"/>
                  <a:gd name="T44" fmla="*/ 2147483646 w 948"/>
                  <a:gd name="T45" fmla="*/ 2147483646 h 893"/>
                  <a:gd name="T46" fmla="*/ 2147483646 w 948"/>
                  <a:gd name="T47" fmla="*/ 2147483646 h 893"/>
                  <a:gd name="T48" fmla="*/ 2147483646 w 948"/>
                  <a:gd name="T49" fmla="*/ 2147483646 h 893"/>
                  <a:gd name="T50" fmla="*/ 2147483646 w 948"/>
                  <a:gd name="T51" fmla="*/ 2147483646 h 893"/>
                  <a:gd name="T52" fmla="*/ 2147483646 w 948"/>
                  <a:gd name="T53" fmla="*/ 2147483646 h 893"/>
                  <a:gd name="T54" fmla="*/ 2147483646 w 948"/>
                  <a:gd name="T55" fmla="*/ 2147483646 h 893"/>
                  <a:gd name="T56" fmla="*/ 2147483646 w 948"/>
                  <a:gd name="T57" fmla="*/ 2147483646 h 893"/>
                  <a:gd name="T58" fmla="*/ 2147483646 w 948"/>
                  <a:gd name="T59" fmla="*/ 2147483646 h 893"/>
                  <a:gd name="T60" fmla="*/ 2147483646 w 948"/>
                  <a:gd name="T61" fmla="*/ 2147483646 h 893"/>
                  <a:gd name="T62" fmla="*/ 2147483646 w 948"/>
                  <a:gd name="T63" fmla="*/ 2147483646 h 893"/>
                  <a:gd name="T64" fmla="*/ 2147483646 w 948"/>
                  <a:gd name="T65" fmla="*/ 2147483646 h 893"/>
                  <a:gd name="T66" fmla="*/ 2147483646 w 948"/>
                  <a:gd name="T67" fmla="*/ 2147483646 h 893"/>
                  <a:gd name="T68" fmla="*/ 2147483646 w 948"/>
                  <a:gd name="T69" fmla="*/ 2147483646 h 893"/>
                  <a:gd name="T70" fmla="*/ 2147483646 w 948"/>
                  <a:gd name="T71" fmla="*/ 2147483646 h 893"/>
                  <a:gd name="T72" fmla="*/ 2147483646 w 948"/>
                  <a:gd name="T73" fmla="*/ 2147483646 h 893"/>
                  <a:gd name="T74" fmla="*/ 2147483646 w 948"/>
                  <a:gd name="T75" fmla="*/ 2147483646 h 893"/>
                  <a:gd name="T76" fmla="*/ 2147483646 w 948"/>
                  <a:gd name="T77" fmla="*/ 2147483646 h 893"/>
                  <a:gd name="T78" fmla="*/ 2147483646 w 948"/>
                  <a:gd name="T79" fmla="*/ 2147483646 h 893"/>
                  <a:gd name="T80" fmla="*/ 2147483646 w 948"/>
                  <a:gd name="T81" fmla="*/ 2147483646 h 893"/>
                  <a:gd name="T82" fmla="*/ 2147483646 w 948"/>
                  <a:gd name="T83" fmla="*/ 2147483646 h 893"/>
                  <a:gd name="T84" fmla="*/ 2147483646 w 948"/>
                  <a:gd name="T85" fmla="*/ 2147483646 h 893"/>
                  <a:gd name="T86" fmla="*/ 2147483646 w 948"/>
                  <a:gd name="T87" fmla="*/ 2147483646 h 893"/>
                  <a:gd name="T88" fmla="*/ 2147483646 w 948"/>
                  <a:gd name="T89" fmla="*/ 2147483646 h 893"/>
                  <a:gd name="T90" fmla="*/ 2147483646 w 948"/>
                  <a:gd name="T91" fmla="*/ 2147483646 h 893"/>
                  <a:gd name="T92" fmla="*/ 2147483646 w 948"/>
                  <a:gd name="T93" fmla="*/ 2147483646 h 893"/>
                  <a:gd name="T94" fmla="*/ 2147483646 w 948"/>
                  <a:gd name="T95" fmla="*/ 2147483646 h 893"/>
                  <a:gd name="T96" fmla="*/ 2147483646 w 948"/>
                  <a:gd name="T97" fmla="*/ 2147483646 h 893"/>
                  <a:gd name="T98" fmla="*/ 2147483646 w 948"/>
                  <a:gd name="T99" fmla="*/ 2147483646 h 893"/>
                  <a:gd name="T100" fmla="*/ 2147483646 w 948"/>
                  <a:gd name="T101" fmla="*/ 2147483646 h 893"/>
                  <a:gd name="T102" fmla="*/ 2147483646 w 948"/>
                  <a:gd name="T103" fmla="*/ 2147483646 h 893"/>
                  <a:gd name="T104" fmla="*/ 2147483646 w 948"/>
                  <a:gd name="T105" fmla="*/ 2147483646 h 893"/>
                  <a:gd name="T106" fmla="*/ 2147483646 w 948"/>
                  <a:gd name="T107" fmla="*/ 2147483646 h 893"/>
                  <a:gd name="T108" fmla="*/ 2147483646 w 948"/>
                  <a:gd name="T109" fmla="*/ 2147483646 h 893"/>
                  <a:gd name="T110" fmla="*/ 2147483646 w 948"/>
                  <a:gd name="T111" fmla="*/ 2147483646 h 893"/>
                  <a:gd name="T112" fmla="*/ 2147483646 w 948"/>
                  <a:gd name="T113" fmla="*/ 2147483646 h 893"/>
                  <a:gd name="T114" fmla="*/ 2147483646 w 948"/>
                  <a:gd name="T115" fmla="*/ 2147483646 h 893"/>
                  <a:gd name="T116" fmla="*/ 2147483646 w 948"/>
                  <a:gd name="T117" fmla="*/ 2147483646 h 893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948"/>
                  <a:gd name="T178" fmla="*/ 0 h 893"/>
                  <a:gd name="T179" fmla="*/ 948 w 948"/>
                  <a:gd name="T180" fmla="*/ 893 h 893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948" h="893">
                    <a:moveTo>
                      <a:pt x="54" y="788"/>
                    </a:moveTo>
                    <a:lnTo>
                      <a:pt x="74" y="788"/>
                    </a:lnTo>
                    <a:lnTo>
                      <a:pt x="90" y="788"/>
                    </a:lnTo>
                    <a:lnTo>
                      <a:pt x="100" y="788"/>
                    </a:lnTo>
                    <a:lnTo>
                      <a:pt x="106" y="788"/>
                    </a:lnTo>
                    <a:lnTo>
                      <a:pt x="121" y="788"/>
                    </a:lnTo>
                    <a:lnTo>
                      <a:pt x="135" y="787"/>
                    </a:lnTo>
                    <a:lnTo>
                      <a:pt x="140" y="785"/>
                    </a:lnTo>
                    <a:lnTo>
                      <a:pt x="146" y="783"/>
                    </a:lnTo>
                    <a:lnTo>
                      <a:pt x="150" y="780"/>
                    </a:lnTo>
                    <a:lnTo>
                      <a:pt x="152" y="776"/>
                    </a:lnTo>
                    <a:lnTo>
                      <a:pt x="186" y="776"/>
                    </a:lnTo>
                    <a:lnTo>
                      <a:pt x="189" y="788"/>
                    </a:lnTo>
                    <a:lnTo>
                      <a:pt x="193" y="800"/>
                    </a:lnTo>
                    <a:lnTo>
                      <a:pt x="197" y="813"/>
                    </a:lnTo>
                    <a:lnTo>
                      <a:pt x="204" y="825"/>
                    </a:lnTo>
                    <a:lnTo>
                      <a:pt x="207" y="830"/>
                    </a:lnTo>
                    <a:lnTo>
                      <a:pt x="212" y="835"/>
                    </a:lnTo>
                    <a:lnTo>
                      <a:pt x="216" y="839"/>
                    </a:lnTo>
                    <a:lnTo>
                      <a:pt x="221" y="843"/>
                    </a:lnTo>
                    <a:lnTo>
                      <a:pt x="226" y="846"/>
                    </a:lnTo>
                    <a:lnTo>
                      <a:pt x="233" y="848"/>
                    </a:lnTo>
                    <a:lnTo>
                      <a:pt x="239" y="849"/>
                    </a:lnTo>
                    <a:lnTo>
                      <a:pt x="246" y="850"/>
                    </a:lnTo>
                    <a:lnTo>
                      <a:pt x="246" y="862"/>
                    </a:lnTo>
                    <a:lnTo>
                      <a:pt x="246" y="871"/>
                    </a:lnTo>
                    <a:lnTo>
                      <a:pt x="246" y="881"/>
                    </a:lnTo>
                    <a:lnTo>
                      <a:pt x="246" y="893"/>
                    </a:lnTo>
                    <a:lnTo>
                      <a:pt x="326" y="893"/>
                    </a:lnTo>
                    <a:lnTo>
                      <a:pt x="326" y="889"/>
                    </a:lnTo>
                    <a:lnTo>
                      <a:pt x="328" y="884"/>
                    </a:lnTo>
                    <a:lnTo>
                      <a:pt x="330" y="880"/>
                    </a:lnTo>
                    <a:lnTo>
                      <a:pt x="334" y="876"/>
                    </a:lnTo>
                    <a:lnTo>
                      <a:pt x="339" y="868"/>
                    </a:lnTo>
                    <a:lnTo>
                      <a:pt x="346" y="862"/>
                    </a:lnTo>
                    <a:lnTo>
                      <a:pt x="347" y="871"/>
                    </a:lnTo>
                    <a:lnTo>
                      <a:pt x="348" y="880"/>
                    </a:lnTo>
                    <a:lnTo>
                      <a:pt x="349" y="884"/>
                    </a:lnTo>
                    <a:lnTo>
                      <a:pt x="348" y="888"/>
                    </a:lnTo>
                    <a:lnTo>
                      <a:pt x="348" y="891"/>
                    </a:lnTo>
                    <a:lnTo>
                      <a:pt x="346" y="893"/>
                    </a:lnTo>
                    <a:lnTo>
                      <a:pt x="358" y="893"/>
                    </a:lnTo>
                    <a:lnTo>
                      <a:pt x="371" y="893"/>
                    </a:lnTo>
                    <a:lnTo>
                      <a:pt x="381" y="893"/>
                    </a:lnTo>
                    <a:lnTo>
                      <a:pt x="385" y="893"/>
                    </a:lnTo>
                    <a:lnTo>
                      <a:pt x="392" y="881"/>
                    </a:lnTo>
                    <a:lnTo>
                      <a:pt x="397" y="868"/>
                    </a:lnTo>
                    <a:lnTo>
                      <a:pt x="401" y="854"/>
                    </a:lnTo>
                    <a:lnTo>
                      <a:pt x="404" y="841"/>
                    </a:lnTo>
                    <a:lnTo>
                      <a:pt x="408" y="813"/>
                    </a:lnTo>
                    <a:lnTo>
                      <a:pt x="412" y="788"/>
                    </a:lnTo>
                    <a:lnTo>
                      <a:pt x="415" y="782"/>
                    </a:lnTo>
                    <a:lnTo>
                      <a:pt x="418" y="776"/>
                    </a:lnTo>
                    <a:lnTo>
                      <a:pt x="424" y="771"/>
                    </a:lnTo>
                    <a:lnTo>
                      <a:pt x="428" y="767"/>
                    </a:lnTo>
                    <a:lnTo>
                      <a:pt x="440" y="759"/>
                    </a:lnTo>
                    <a:lnTo>
                      <a:pt x="452" y="754"/>
                    </a:lnTo>
                    <a:lnTo>
                      <a:pt x="464" y="750"/>
                    </a:lnTo>
                    <a:lnTo>
                      <a:pt x="475" y="746"/>
                    </a:lnTo>
                    <a:lnTo>
                      <a:pt x="485" y="743"/>
                    </a:lnTo>
                    <a:lnTo>
                      <a:pt x="492" y="739"/>
                    </a:lnTo>
                    <a:lnTo>
                      <a:pt x="496" y="734"/>
                    </a:lnTo>
                    <a:lnTo>
                      <a:pt x="501" y="729"/>
                    </a:lnTo>
                    <a:lnTo>
                      <a:pt x="505" y="723"/>
                    </a:lnTo>
                    <a:lnTo>
                      <a:pt x="508" y="716"/>
                    </a:lnTo>
                    <a:lnTo>
                      <a:pt x="515" y="702"/>
                    </a:lnTo>
                    <a:lnTo>
                      <a:pt x="521" y="690"/>
                    </a:lnTo>
                    <a:lnTo>
                      <a:pt x="528" y="678"/>
                    </a:lnTo>
                    <a:lnTo>
                      <a:pt x="535" y="668"/>
                    </a:lnTo>
                    <a:lnTo>
                      <a:pt x="539" y="664"/>
                    </a:lnTo>
                    <a:lnTo>
                      <a:pt x="542" y="662"/>
                    </a:lnTo>
                    <a:lnTo>
                      <a:pt x="547" y="660"/>
                    </a:lnTo>
                    <a:lnTo>
                      <a:pt x="551" y="659"/>
                    </a:lnTo>
                    <a:lnTo>
                      <a:pt x="562" y="660"/>
                    </a:lnTo>
                    <a:lnTo>
                      <a:pt x="572" y="659"/>
                    </a:lnTo>
                    <a:lnTo>
                      <a:pt x="581" y="657"/>
                    </a:lnTo>
                    <a:lnTo>
                      <a:pt x="588" y="653"/>
                    </a:lnTo>
                    <a:lnTo>
                      <a:pt x="605" y="644"/>
                    </a:lnTo>
                    <a:lnTo>
                      <a:pt x="620" y="634"/>
                    </a:lnTo>
                    <a:lnTo>
                      <a:pt x="629" y="629"/>
                    </a:lnTo>
                    <a:lnTo>
                      <a:pt x="639" y="624"/>
                    </a:lnTo>
                    <a:lnTo>
                      <a:pt x="649" y="620"/>
                    </a:lnTo>
                    <a:lnTo>
                      <a:pt x="661" y="616"/>
                    </a:lnTo>
                    <a:lnTo>
                      <a:pt x="674" y="613"/>
                    </a:lnTo>
                    <a:lnTo>
                      <a:pt x="688" y="610"/>
                    </a:lnTo>
                    <a:lnTo>
                      <a:pt x="706" y="609"/>
                    </a:lnTo>
                    <a:lnTo>
                      <a:pt x="724" y="610"/>
                    </a:lnTo>
                    <a:lnTo>
                      <a:pt x="777" y="610"/>
                    </a:lnTo>
                    <a:lnTo>
                      <a:pt x="783" y="606"/>
                    </a:lnTo>
                    <a:lnTo>
                      <a:pt x="788" y="602"/>
                    </a:lnTo>
                    <a:lnTo>
                      <a:pt x="795" y="600"/>
                    </a:lnTo>
                    <a:lnTo>
                      <a:pt x="800" y="598"/>
                    </a:lnTo>
                    <a:lnTo>
                      <a:pt x="815" y="594"/>
                    </a:lnTo>
                    <a:lnTo>
                      <a:pt x="830" y="592"/>
                    </a:lnTo>
                    <a:lnTo>
                      <a:pt x="845" y="591"/>
                    </a:lnTo>
                    <a:lnTo>
                      <a:pt x="863" y="590"/>
                    </a:lnTo>
                    <a:lnTo>
                      <a:pt x="879" y="588"/>
                    </a:lnTo>
                    <a:lnTo>
                      <a:pt x="897" y="585"/>
                    </a:lnTo>
                    <a:lnTo>
                      <a:pt x="901" y="583"/>
                    </a:lnTo>
                    <a:lnTo>
                      <a:pt x="906" y="580"/>
                    </a:lnTo>
                    <a:lnTo>
                      <a:pt x="909" y="577"/>
                    </a:lnTo>
                    <a:lnTo>
                      <a:pt x="913" y="574"/>
                    </a:lnTo>
                    <a:lnTo>
                      <a:pt x="920" y="565"/>
                    </a:lnTo>
                    <a:lnTo>
                      <a:pt x="925" y="555"/>
                    </a:lnTo>
                    <a:lnTo>
                      <a:pt x="931" y="544"/>
                    </a:lnTo>
                    <a:lnTo>
                      <a:pt x="935" y="531"/>
                    </a:lnTo>
                    <a:lnTo>
                      <a:pt x="940" y="518"/>
                    </a:lnTo>
                    <a:lnTo>
                      <a:pt x="943" y="504"/>
                    </a:lnTo>
                    <a:lnTo>
                      <a:pt x="945" y="490"/>
                    </a:lnTo>
                    <a:lnTo>
                      <a:pt x="947" y="475"/>
                    </a:lnTo>
                    <a:lnTo>
                      <a:pt x="948" y="461"/>
                    </a:lnTo>
                    <a:lnTo>
                      <a:pt x="948" y="447"/>
                    </a:lnTo>
                    <a:lnTo>
                      <a:pt x="948" y="434"/>
                    </a:lnTo>
                    <a:lnTo>
                      <a:pt x="947" y="421"/>
                    </a:lnTo>
                    <a:lnTo>
                      <a:pt x="945" y="410"/>
                    </a:lnTo>
                    <a:lnTo>
                      <a:pt x="943" y="400"/>
                    </a:lnTo>
                    <a:lnTo>
                      <a:pt x="943" y="363"/>
                    </a:lnTo>
                    <a:lnTo>
                      <a:pt x="939" y="362"/>
                    </a:lnTo>
                    <a:lnTo>
                      <a:pt x="931" y="359"/>
                    </a:lnTo>
                    <a:lnTo>
                      <a:pt x="922" y="356"/>
                    </a:lnTo>
                    <a:lnTo>
                      <a:pt x="912" y="350"/>
                    </a:lnTo>
                    <a:lnTo>
                      <a:pt x="888" y="337"/>
                    </a:lnTo>
                    <a:lnTo>
                      <a:pt x="862" y="322"/>
                    </a:lnTo>
                    <a:lnTo>
                      <a:pt x="835" y="305"/>
                    </a:lnTo>
                    <a:lnTo>
                      <a:pt x="811" y="290"/>
                    </a:lnTo>
                    <a:lnTo>
                      <a:pt x="794" y="278"/>
                    </a:lnTo>
                    <a:lnTo>
                      <a:pt x="784" y="271"/>
                    </a:lnTo>
                    <a:lnTo>
                      <a:pt x="764" y="240"/>
                    </a:lnTo>
                    <a:lnTo>
                      <a:pt x="738" y="216"/>
                    </a:lnTo>
                    <a:lnTo>
                      <a:pt x="405" y="0"/>
                    </a:lnTo>
                    <a:lnTo>
                      <a:pt x="408" y="6"/>
                    </a:lnTo>
                    <a:lnTo>
                      <a:pt x="412" y="12"/>
                    </a:lnTo>
                    <a:lnTo>
                      <a:pt x="339" y="12"/>
                    </a:lnTo>
                    <a:lnTo>
                      <a:pt x="341" y="36"/>
                    </a:lnTo>
                    <a:lnTo>
                      <a:pt x="348" y="102"/>
                    </a:lnTo>
                    <a:lnTo>
                      <a:pt x="358" y="193"/>
                    </a:lnTo>
                    <a:lnTo>
                      <a:pt x="368" y="299"/>
                    </a:lnTo>
                    <a:lnTo>
                      <a:pt x="379" y="405"/>
                    </a:lnTo>
                    <a:lnTo>
                      <a:pt x="386" y="498"/>
                    </a:lnTo>
                    <a:lnTo>
                      <a:pt x="390" y="535"/>
                    </a:lnTo>
                    <a:lnTo>
                      <a:pt x="392" y="565"/>
                    </a:lnTo>
                    <a:lnTo>
                      <a:pt x="393" y="583"/>
                    </a:lnTo>
                    <a:lnTo>
                      <a:pt x="392" y="591"/>
                    </a:lnTo>
                    <a:lnTo>
                      <a:pt x="93" y="591"/>
                    </a:lnTo>
                    <a:lnTo>
                      <a:pt x="88" y="597"/>
                    </a:lnTo>
                    <a:lnTo>
                      <a:pt x="82" y="603"/>
                    </a:lnTo>
                    <a:lnTo>
                      <a:pt x="79" y="606"/>
                    </a:lnTo>
                    <a:lnTo>
                      <a:pt x="76" y="608"/>
                    </a:lnTo>
                    <a:lnTo>
                      <a:pt x="71" y="609"/>
                    </a:lnTo>
                    <a:lnTo>
                      <a:pt x="67" y="610"/>
                    </a:lnTo>
                    <a:lnTo>
                      <a:pt x="64" y="609"/>
                    </a:lnTo>
                    <a:lnTo>
                      <a:pt x="60" y="608"/>
                    </a:lnTo>
                    <a:lnTo>
                      <a:pt x="57" y="607"/>
                    </a:lnTo>
                    <a:lnTo>
                      <a:pt x="55" y="604"/>
                    </a:lnTo>
                    <a:lnTo>
                      <a:pt x="51" y="598"/>
                    </a:lnTo>
                    <a:lnTo>
                      <a:pt x="49" y="591"/>
                    </a:lnTo>
                    <a:lnTo>
                      <a:pt x="47" y="578"/>
                    </a:lnTo>
                    <a:lnTo>
                      <a:pt x="47" y="573"/>
                    </a:lnTo>
                    <a:lnTo>
                      <a:pt x="40" y="581"/>
                    </a:lnTo>
                    <a:lnTo>
                      <a:pt x="36" y="590"/>
                    </a:lnTo>
                    <a:lnTo>
                      <a:pt x="33" y="598"/>
                    </a:lnTo>
                    <a:lnTo>
                      <a:pt x="29" y="605"/>
                    </a:lnTo>
                    <a:lnTo>
                      <a:pt x="26" y="612"/>
                    </a:lnTo>
                    <a:lnTo>
                      <a:pt x="22" y="618"/>
                    </a:lnTo>
                    <a:lnTo>
                      <a:pt x="15" y="623"/>
                    </a:lnTo>
                    <a:lnTo>
                      <a:pt x="6" y="628"/>
                    </a:lnTo>
                    <a:lnTo>
                      <a:pt x="0" y="709"/>
                    </a:lnTo>
                    <a:lnTo>
                      <a:pt x="67" y="733"/>
                    </a:lnTo>
                    <a:lnTo>
                      <a:pt x="65" y="738"/>
                    </a:lnTo>
                    <a:lnTo>
                      <a:pt x="62" y="743"/>
                    </a:lnTo>
                    <a:lnTo>
                      <a:pt x="61" y="748"/>
                    </a:lnTo>
                    <a:lnTo>
                      <a:pt x="61" y="753"/>
                    </a:lnTo>
                    <a:lnTo>
                      <a:pt x="61" y="757"/>
                    </a:lnTo>
                    <a:lnTo>
                      <a:pt x="62" y="760"/>
                    </a:lnTo>
                    <a:lnTo>
                      <a:pt x="65" y="763"/>
                    </a:lnTo>
                    <a:lnTo>
                      <a:pt x="67" y="764"/>
                    </a:lnTo>
                    <a:lnTo>
                      <a:pt x="54" y="788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15" name="Freeform 237">
                <a:extLst>
                  <a:ext uri="{FF2B5EF4-FFF2-40B4-BE49-F238E27FC236}">
                    <a16:creationId xmlns="" xmlns:a16="http://schemas.microsoft.com/office/drawing/2014/main" id="{4103B842-92CB-45DD-95AE-EA041123079B}"/>
                  </a:ext>
                </a:extLst>
              </p:cNvPr>
              <p:cNvSpPr>
                <a:spLocks/>
              </p:cNvSpPr>
              <p:nvPr>
                <p:custDataLst>
                  <p:tags r:id="rId164"/>
                </p:custDataLst>
              </p:nvPr>
            </p:nvSpPr>
            <p:spPr bwMode="auto">
              <a:xfrm>
                <a:off x="3808413" y="2479675"/>
                <a:ext cx="493712" cy="579438"/>
              </a:xfrm>
              <a:custGeom>
                <a:avLst/>
                <a:gdLst>
                  <a:gd name="T0" fmla="*/ 2147483646 w 373"/>
                  <a:gd name="T1" fmla="*/ 2147483646 h 370"/>
                  <a:gd name="T2" fmla="*/ 2147483646 w 373"/>
                  <a:gd name="T3" fmla="*/ 2147483646 h 370"/>
                  <a:gd name="T4" fmla="*/ 2147483646 w 373"/>
                  <a:gd name="T5" fmla="*/ 2147483646 h 370"/>
                  <a:gd name="T6" fmla="*/ 2147483646 w 373"/>
                  <a:gd name="T7" fmla="*/ 2147483646 h 370"/>
                  <a:gd name="T8" fmla="*/ 2147483646 w 373"/>
                  <a:gd name="T9" fmla="*/ 2147483646 h 370"/>
                  <a:gd name="T10" fmla="*/ 2147483646 w 373"/>
                  <a:gd name="T11" fmla="*/ 2147483646 h 370"/>
                  <a:gd name="T12" fmla="*/ 2147483646 w 373"/>
                  <a:gd name="T13" fmla="*/ 2147483646 h 370"/>
                  <a:gd name="T14" fmla="*/ 2147483646 w 373"/>
                  <a:gd name="T15" fmla="*/ 2147483646 h 370"/>
                  <a:gd name="T16" fmla="*/ 2147483646 w 373"/>
                  <a:gd name="T17" fmla="*/ 2147483646 h 370"/>
                  <a:gd name="T18" fmla="*/ 2147483646 w 373"/>
                  <a:gd name="T19" fmla="*/ 2147483646 h 370"/>
                  <a:gd name="T20" fmla="*/ 2147483646 w 373"/>
                  <a:gd name="T21" fmla="*/ 2147483646 h 370"/>
                  <a:gd name="T22" fmla="*/ 2147483646 w 373"/>
                  <a:gd name="T23" fmla="*/ 2147483646 h 370"/>
                  <a:gd name="T24" fmla="*/ 2147483646 w 373"/>
                  <a:gd name="T25" fmla="*/ 2147483646 h 370"/>
                  <a:gd name="T26" fmla="*/ 2147483646 w 373"/>
                  <a:gd name="T27" fmla="*/ 2147483646 h 370"/>
                  <a:gd name="T28" fmla="*/ 2147483646 w 373"/>
                  <a:gd name="T29" fmla="*/ 2147483646 h 370"/>
                  <a:gd name="T30" fmla="*/ 2147483646 w 373"/>
                  <a:gd name="T31" fmla="*/ 2147483646 h 370"/>
                  <a:gd name="T32" fmla="*/ 2147483646 w 373"/>
                  <a:gd name="T33" fmla="*/ 2147483646 h 370"/>
                  <a:gd name="T34" fmla="*/ 2147483646 w 373"/>
                  <a:gd name="T35" fmla="*/ 2147483646 h 370"/>
                  <a:gd name="T36" fmla="*/ 2147483646 w 373"/>
                  <a:gd name="T37" fmla="*/ 2147483646 h 370"/>
                  <a:gd name="T38" fmla="*/ 2147483646 w 373"/>
                  <a:gd name="T39" fmla="*/ 2147483646 h 370"/>
                  <a:gd name="T40" fmla="*/ 2147483646 w 373"/>
                  <a:gd name="T41" fmla="*/ 2147483646 h 370"/>
                  <a:gd name="T42" fmla="*/ 2147483646 w 373"/>
                  <a:gd name="T43" fmla="*/ 2147483646 h 370"/>
                  <a:gd name="T44" fmla="*/ 2147483646 w 373"/>
                  <a:gd name="T45" fmla="*/ 2147483646 h 370"/>
                  <a:gd name="T46" fmla="*/ 2147483646 w 373"/>
                  <a:gd name="T47" fmla="*/ 2147483646 h 370"/>
                  <a:gd name="T48" fmla="*/ 2147483646 w 373"/>
                  <a:gd name="T49" fmla="*/ 2147483646 h 370"/>
                  <a:gd name="T50" fmla="*/ 2147483646 w 373"/>
                  <a:gd name="T51" fmla="*/ 2147483646 h 370"/>
                  <a:gd name="T52" fmla="*/ 2147483646 w 373"/>
                  <a:gd name="T53" fmla="*/ 2147483646 h 370"/>
                  <a:gd name="T54" fmla="*/ 2147483646 w 373"/>
                  <a:gd name="T55" fmla="*/ 2147483646 h 370"/>
                  <a:gd name="T56" fmla="*/ 2147483646 w 373"/>
                  <a:gd name="T57" fmla="*/ 2147483646 h 370"/>
                  <a:gd name="T58" fmla="*/ 2147483646 w 373"/>
                  <a:gd name="T59" fmla="*/ 2147483646 h 370"/>
                  <a:gd name="T60" fmla="*/ 2147483646 w 373"/>
                  <a:gd name="T61" fmla="*/ 2147483646 h 370"/>
                  <a:gd name="T62" fmla="*/ 2147483646 w 373"/>
                  <a:gd name="T63" fmla="*/ 2147483646 h 370"/>
                  <a:gd name="T64" fmla="*/ 2147483646 w 373"/>
                  <a:gd name="T65" fmla="*/ 2147483646 h 370"/>
                  <a:gd name="T66" fmla="*/ 2147483646 w 373"/>
                  <a:gd name="T67" fmla="*/ 2147483646 h 370"/>
                  <a:gd name="T68" fmla="*/ 2147483646 w 373"/>
                  <a:gd name="T69" fmla="*/ 2147483646 h 370"/>
                  <a:gd name="T70" fmla="*/ 2147483646 w 373"/>
                  <a:gd name="T71" fmla="*/ 2147483646 h 370"/>
                  <a:gd name="T72" fmla="*/ 2147483646 w 373"/>
                  <a:gd name="T73" fmla="*/ 2147483646 h 370"/>
                  <a:gd name="T74" fmla="*/ 2147483646 w 373"/>
                  <a:gd name="T75" fmla="*/ 2147483646 h 370"/>
                  <a:gd name="T76" fmla="*/ 2147483646 w 373"/>
                  <a:gd name="T77" fmla="*/ 2147483646 h 370"/>
                  <a:gd name="T78" fmla="*/ 2147483646 w 373"/>
                  <a:gd name="T79" fmla="*/ 2147483646 h 370"/>
                  <a:gd name="T80" fmla="*/ 2147483646 w 373"/>
                  <a:gd name="T81" fmla="*/ 2147483646 h 370"/>
                  <a:gd name="T82" fmla="*/ 2147483646 w 373"/>
                  <a:gd name="T83" fmla="*/ 2147483646 h 370"/>
                  <a:gd name="T84" fmla="*/ 2147483646 w 373"/>
                  <a:gd name="T85" fmla="*/ 2147483646 h 370"/>
                  <a:gd name="T86" fmla="*/ 2147483646 w 373"/>
                  <a:gd name="T87" fmla="*/ 2147483646 h 370"/>
                  <a:gd name="T88" fmla="*/ 0 w 373"/>
                  <a:gd name="T89" fmla="*/ 2147483646 h 370"/>
                  <a:gd name="T90" fmla="*/ 2147483646 w 373"/>
                  <a:gd name="T91" fmla="*/ 2147483646 h 370"/>
                  <a:gd name="T92" fmla="*/ 2147483646 w 373"/>
                  <a:gd name="T93" fmla="*/ 2147483646 h 370"/>
                  <a:gd name="T94" fmla="*/ 2147483646 w 373"/>
                  <a:gd name="T95" fmla="*/ 2147483646 h 37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373"/>
                  <a:gd name="T145" fmla="*/ 0 h 370"/>
                  <a:gd name="T146" fmla="*/ 373 w 373"/>
                  <a:gd name="T147" fmla="*/ 370 h 370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373" h="370">
                    <a:moveTo>
                      <a:pt x="235" y="370"/>
                    </a:moveTo>
                    <a:lnTo>
                      <a:pt x="237" y="369"/>
                    </a:lnTo>
                    <a:lnTo>
                      <a:pt x="238" y="367"/>
                    </a:lnTo>
                    <a:lnTo>
                      <a:pt x="240" y="366"/>
                    </a:lnTo>
                    <a:lnTo>
                      <a:pt x="241" y="366"/>
                    </a:lnTo>
                    <a:lnTo>
                      <a:pt x="242" y="365"/>
                    </a:lnTo>
                    <a:lnTo>
                      <a:pt x="244" y="365"/>
                    </a:lnTo>
                    <a:lnTo>
                      <a:pt x="245" y="365"/>
                    </a:lnTo>
                    <a:lnTo>
                      <a:pt x="249" y="366"/>
                    </a:lnTo>
                    <a:lnTo>
                      <a:pt x="252" y="367"/>
                    </a:lnTo>
                    <a:lnTo>
                      <a:pt x="255" y="368"/>
                    </a:lnTo>
                    <a:lnTo>
                      <a:pt x="257" y="370"/>
                    </a:lnTo>
                    <a:lnTo>
                      <a:pt x="373" y="282"/>
                    </a:lnTo>
                    <a:lnTo>
                      <a:pt x="373" y="279"/>
                    </a:lnTo>
                    <a:lnTo>
                      <a:pt x="372" y="277"/>
                    </a:lnTo>
                    <a:lnTo>
                      <a:pt x="372" y="275"/>
                    </a:lnTo>
                    <a:lnTo>
                      <a:pt x="371" y="273"/>
                    </a:lnTo>
                    <a:lnTo>
                      <a:pt x="370" y="271"/>
                    </a:lnTo>
                    <a:lnTo>
                      <a:pt x="369" y="270"/>
                    </a:lnTo>
                    <a:lnTo>
                      <a:pt x="368" y="268"/>
                    </a:lnTo>
                    <a:lnTo>
                      <a:pt x="367" y="267"/>
                    </a:lnTo>
                    <a:lnTo>
                      <a:pt x="364" y="265"/>
                    </a:lnTo>
                    <a:lnTo>
                      <a:pt x="361" y="264"/>
                    </a:lnTo>
                    <a:lnTo>
                      <a:pt x="358" y="262"/>
                    </a:lnTo>
                    <a:lnTo>
                      <a:pt x="354" y="261"/>
                    </a:lnTo>
                    <a:lnTo>
                      <a:pt x="351" y="260"/>
                    </a:lnTo>
                    <a:lnTo>
                      <a:pt x="347" y="259"/>
                    </a:lnTo>
                    <a:lnTo>
                      <a:pt x="344" y="258"/>
                    </a:lnTo>
                    <a:lnTo>
                      <a:pt x="342" y="256"/>
                    </a:lnTo>
                    <a:lnTo>
                      <a:pt x="340" y="255"/>
                    </a:lnTo>
                    <a:lnTo>
                      <a:pt x="339" y="254"/>
                    </a:lnTo>
                    <a:lnTo>
                      <a:pt x="338" y="252"/>
                    </a:lnTo>
                    <a:lnTo>
                      <a:pt x="337" y="251"/>
                    </a:lnTo>
                    <a:lnTo>
                      <a:pt x="337" y="249"/>
                    </a:lnTo>
                    <a:lnTo>
                      <a:pt x="336" y="247"/>
                    </a:lnTo>
                    <a:lnTo>
                      <a:pt x="336" y="245"/>
                    </a:lnTo>
                    <a:lnTo>
                      <a:pt x="336" y="243"/>
                    </a:lnTo>
                    <a:lnTo>
                      <a:pt x="336" y="235"/>
                    </a:lnTo>
                    <a:lnTo>
                      <a:pt x="337" y="228"/>
                    </a:lnTo>
                    <a:lnTo>
                      <a:pt x="338" y="220"/>
                    </a:lnTo>
                    <a:lnTo>
                      <a:pt x="338" y="214"/>
                    </a:lnTo>
                    <a:lnTo>
                      <a:pt x="338" y="205"/>
                    </a:lnTo>
                    <a:lnTo>
                      <a:pt x="337" y="196"/>
                    </a:lnTo>
                    <a:lnTo>
                      <a:pt x="337" y="186"/>
                    </a:lnTo>
                    <a:lnTo>
                      <a:pt x="336" y="177"/>
                    </a:lnTo>
                    <a:lnTo>
                      <a:pt x="335" y="172"/>
                    </a:lnTo>
                    <a:lnTo>
                      <a:pt x="334" y="168"/>
                    </a:lnTo>
                    <a:lnTo>
                      <a:pt x="333" y="164"/>
                    </a:lnTo>
                    <a:lnTo>
                      <a:pt x="332" y="160"/>
                    </a:lnTo>
                    <a:lnTo>
                      <a:pt x="330" y="157"/>
                    </a:lnTo>
                    <a:lnTo>
                      <a:pt x="329" y="155"/>
                    </a:lnTo>
                    <a:lnTo>
                      <a:pt x="327" y="153"/>
                    </a:lnTo>
                    <a:lnTo>
                      <a:pt x="325" y="152"/>
                    </a:lnTo>
                    <a:lnTo>
                      <a:pt x="324" y="147"/>
                    </a:lnTo>
                    <a:lnTo>
                      <a:pt x="323" y="142"/>
                    </a:lnTo>
                    <a:lnTo>
                      <a:pt x="322" y="136"/>
                    </a:lnTo>
                    <a:lnTo>
                      <a:pt x="321" y="130"/>
                    </a:lnTo>
                    <a:lnTo>
                      <a:pt x="319" y="120"/>
                    </a:lnTo>
                    <a:lnTo>
                      <a:pt x="315" y="109"/>
                    </a:lnTo>
                    <a:lnTo>
                      <a:pt x="313" y="104"/>
                    </a:lnTo>
                    <a:lnTo>
                      <a:pt x="311" y="99"/>
                    </a:lnTo>
                    <a:lnTo>
                      <a:pt x="308" y="94"/>
                    </a:lnTo>
                    <a:lnTo>
                      <a:pt x="306" y="90"/>
                    </a:lnTo>
                    <a:lnTo>
                      <a:pt x="304" y="86"/>
                    </a:lnTo>
                    <a:lnTo>
                      <a:pt x="301" y="83"/>
                    </a:lnTo>
                    <a:lnTo>
                      <a:pt x="299" y="80"/>
                    </a:lnTo>
                    <a:lnTo>
                      <a:pt x="297" y="78"/>
                    </a:lnTo>
                    <a:lnTo>
                      <a:pt x="298" y="74"/>
                    </a:lnTo>
                    <a:lnTo>
                      <a:pt x="299" y="69"/>
                    </a:lnTo>
                    <a:lnTo>
                      <a:pt x="300" y="66"/>
                    </a:lnTo>
                    <a:lnTo>
                      <a:pt x="300" y="63"/>
                    </a:lnTo>
                    <a:lnTo>
                      <a:pt x="301" y="60"/>
                    </a:lnTo>
                    <a:lnTo>
                      <a:pt x="303" y="57"/>
                    </a:lnTo>
                    <a:lnTo>
                      <a:pt x="302" y="50"/>
                    </a:lnTo>
                    <a:lnTo>
                      <a:pt x="301" y="43"/>
                    </a:lnTo>
                    <a:lnTo>
                      <a:pt x="301" y="37"/>
                    </a:lnTo>
                    <a:lnTo>
                      <a:pt x="301" y="32"/>
                    </a:lnTo>
                    <a:lnTo>
                      <a:pt x="301" y="27"/>
                    </a:lnTo>
                    <a:lnTo>
                      <a:pt x="302" y="23"/>
                    </a:lnTo>
                    <a:lnTo>
                      <a:pt x="303" y="19"/>
                    </a:lnTo>
                    <a:lnTo>
                      <a:pt x="304" y="16"/>
                    </a:lnTo>
                    <a:lnTo>
                      <a:pt x="307" y="11"/>
                    </a:lnTo>
                    <a:lnTo>
                      <a:pt x="310" y="7"/>
                    </a:lnTo>
                    <a:lnTo>
                      <a:pt x="312" y="3"/>
                    </a:lnTo>
                    <a:lnTo>
                      <a:pt x="314" y="0"/>
                    </a:lnTo>
                    <a:lnTo>
                      <a:pt x="308" y="3"/>
                    </a:lnTo>
                    <a:lnTo>
                      <a:pt x="302" y="6"/>
                    </a:lnTo>
                    <a:lnTo>
                      <a:pt x="297" y="8"/>
                    </a:lnTo>
                    <a:lnTo>
                      <a:pt x="290" y="9"/>
                    </a:lnTo>
                    <a:lnTo>
                      <a:pt x="284" y="11"/>
                    </a:lnTo>
                    <a:lnTo>
                      <a:pt x="278" y="12"/>
                    </a:lnTo>
                    <a:lnTo>
                      <a:pt x="271" y="12"/>
                    </a:lnTo>
                    <a:lnTo>
                      <a:pt x="264" y="12"/>
                    </a:lnTo>
                    <a:lnTo>
                      <a:pt x="256" y="12"/>
                    </a:lnTo>
                    <a:lnTo>
                      <a:pt x="245" y="12"/>
                    </a:lnTo>
                    <a:lnTo>
                      <a:pt x="233" y="12"/>
                    </a:lnTo>
                    <a:lnTo>
                      <a:pt x="222" y="12"/>
                    </a:lnTo>
                    <a:lnTo>
                      <a:pt x="215" y="13"/>
                    </a:lnTo>
                    <a:lnTo>
                      <a:pt x="206" y="14"/>
                    </a:lnTo>
                    <a:lnTo>
                      <a:pt x="197" y="16"/>
                    </a:lnTo>
                    <a:lnTo>
                      <a:pt x="187" y="18"/>
                    </a:lnTo>
                    <a:lnTo>
                      <a:pt x="177" y="21"/>
                    </a:lnTo>
                    <a:lnTo>
                      <a:pt x="168" y="24"/>
                    </a:lnTo>
                    <a:lnTo>
                      <a:pt x="159" y="26"/>
                    </a:lnTo>
                    <a:lnTo>
                      <a:pt x="153" y="29"/>
                    </a:lnTo>
                    <a:lnTo>
                      <a:pt x="150" y="30"/>
                    </a:lnTo>
                    <a:lnTo>
                      <a:pt x="145" y="32"/>
                    </a:lnTo>
                    <a:lnTo>
                      <a:pt x="140" y="34"/>
                    </a:lnTo>
                    <a:lnTo>
                      <a:pt x="135" y="37"/>
                    </a:lnTo>
                    <a:lnTo>
                      <a:pt x="130" y="40"/>
                    </a:lnTo>
                    <a:lnTo>
                      <a:pt x="124" y="44"/>
                    </a:lnTo>
                    <a:lnTo>
                      <a:pt x="119" y="48"/>
                    </a:lnTo>
                    <a:lnTo>
                      <a:pt x="116" y="51"/>
                    </a:lnTo>
                    <a:lnTo>
                      <a:pt x="118" y="52"/>
                    </a:lnTo>
                    <a:lnTo>
                      <a:pt x="123" y="52"/>
                    </a:lnTo>
                    <a:lnTo>
                      <a:pt x="128" y="53"/>
                    </a:lnTo>
                    <a:lnTo>
                      <a:pt x="131" y="53"/>
                    </a:lnTo>
                    <a:lnTo>
                      <a:pt x="131" y="88"/>
                    </a:lnTo>
                    <a:lnTo>
                      <a:pt x="131" y="89"/>
                    </a:lnTo>
                    <a:lnTo>
                      <a:pt x="131" y="90"/>
                    </a:lnTo>
                    <a:lnTo>
                      <a:pt x="132" y="91"/>
                    </a:lnTo>
                    <a:lnTo>
                      <a:pt x="133" y="92"/>
                    </a:lnTo>
                    <a:lnTo>
                      <a:pt x="134" y="93"/>
                    </a:lnTo>
                    <a:lnTo>
                      <a:pt x="136" y="94"/>
                    </a:lnTo>
                    <a:lnTo>
                      <a:pt x="138" y="95"/>
                    </a:lnTo>
                    <a:lnTo>
                      <a:pt x="140" y="97"/>
                    </a:lnTo>
                    <a:lnTo>
                      <a:pt x="141" y="98"/>
                    </a:lnTo>
                    <a:lnTo>
                      <a:pt x="141" y="99"/>
                    </a:lnTo>
                    <a:lnTo>
                      <a:pt x="142" y="100"/>
                    </a:lnTo>
                    <a:lnTo>
                      <a:pt x="142" y="101"/>
                    </a:lnTo>
                    <a:lnTo>
                      <a:pt x="142" y="102"/>
                    </a:lnTo>
                    <a:lnTo>
                      <a:pt x="141" y="104"/>
                    </a:lnTo>
                    <a:lnTo>
                      <a:pt x="141" y="105"/>
                    </a:lnTo>
                    <a:lnTo>
                      <a:pt x="140" y="106"/>
                    </a:lnTo>
                    <a:lnTo>
                      <a:pt x="139" y="107"/>
                    </a:lnTo>
                    <a:lnTo>
                      <a:pt x="138" y="107"/>
                    </a:lnTo>
                    <a:lnTo>
                      <a:pt x="136" y="107"/>
                    </a:lnTo>
                    <a:lnTo>
                      <a:pt x="135" y="108"/>
                    </a:lnTo>
                    <a:lnTo>
                      <a:pt x="128" y="107"/>
                    </a:lnTo>
                    <a:lnTo>
                      <a:pt x="120" y="107"/>
                    </a:lnTo>
                    <a:lnTo>
                      <a:pt x="116" y="108"/>
                    </a:lnTo>
                    <a:lnTo>
                      <a:pt x="112" y="111"/>
                    </a:lnTo>
                    <a:lnTo>
                      <a:pt x="106" y="113"/>
                    </a:lnTo>
                    <a:lnTo>
                      <a:pt x="101" y="116"/>
                    </a:lnTo>
                    <a:lnTo>
                      <a:pt x="99" y="118"/>
                    </a:lnTo>
                    <a:lnTo>
                      <a:pt x="97" y="120"/>
                    </a:lnTo>
                    <a:lnTo>
                      <a:pt x="95" y="122"/>
                    </a:lnTo>
                    <a:lnTo>
                      <a:pt x="93" y="124"/>
                    </a:lnTo>
                    <a:lnTo>
                      <a:pt x="92" y="126"/>
                    </a:lnTo>
                    <a:lnTo>
                      <a:pt x="91" y="128"/>
                    </a:lnTo>
                    <a:lnTo>
                      <a:pt x="90" y="131"/>
                    </a:lnTo>
                    <a:lnTo>
                      <a:pt x="90" y="133"/>
                    </a:lnTo>
                    <a:lnTo>
                      <a:pt x="87" y="134"/>
                    </a:lnTo>
                    <a:lnTo>
                      <a:pt x="84" y="135"/>
                    </a:lnTo>
                    <a:lnTo>
                      <a:pt x="82" y="137"/>
                    </a:lnTo>
                    <a:lnTo>
                      <a:pt x="79" y="139"/>
                    </a:lnTo>
                    <a:lnTo>
                      <a:pt x="74" y="143"/>
                    </a:lnTo>
                    <a:lnTo>
                      <a:pt x="69" y="148"/>
                    </a:lnTo>
                    <a:lnTo>
                      <a:pt x="66" y="150"/>
                    </a:lnTo>
                    <a:lnTo>
                      <a:pt x="62" y="152"/>
                    </a:lnTo>
                    <a:lnTo>
                      <a:pt x="59" y="155"/>
                    </a:lnTo>
                    <a:lnTo>
                      <a:pt x="55" y="156"/>
                    </a:lnTo>
                    <a:lnTo>
                      <a:pt x="51" y="158"/>
                    </a:lnTo>
                    <a:lnTo>
                      <a:pt x="46" y="159"/>
                    </a:lnTo>
                    <a:lnTo>
                      <a:pt x="41" y="160"/>
                    </a:lnTo>
                    <a:lnTo>
                      <a:pt x="35" y="160"/>
                    </a:lnTo>
                    <a:lnTo>
                      <a:pt x="31" y="160"/>
                    </a:lnTo>
                    <a:lnTo>
                      <a:pt x="29" y="161"/>
                    </a:lnTo>
                    <a:lnTo>
                      <a:pt x="26" y="161"/>
                    </a:lnTo>
                    <a:lnTo>
                      <a:pt x="24" y="162"/>
                    </a:lnTo>
                    <a:lnTo>
                      <a:pt x="20" y="164"/>
                    </a:lnTo>
                    <a:lnTo>
                      <a:pt x="17" y="167"/>
                    </a:lnTo>
                    <a:lnTo>
                      <a:pt x="13" y="169"/>
                    </a:lnTo>
                    <a:lnTo>
                      <a:pt x="10" y="172"/>
                    </a:lnTo>
                    <a:lnTo>
                      <a:pt x="8" y="174"/>
                    </a:lnTo>
                    <a:lnTo>
                      <a:pt x="6" y="175"/>
                    </a:lnTo>
                    <a:lnTo>
                      <a:pt x="3" y="176"/>
                    </a:lnTo>
                    <a:lnTo>
                      <a:pt x="0" y="177"/>
                    </a:lnTo>
                    <a:lnTo>
                      <a:pt x="0" y="200"/>
                    </a:lnTo>
                    <a:lnTo>
                      <a:pt x="0" y="208"/>
                    </a:lnTo>
                    <a:lnTo>
                      <a:pt x="69" y="253"/>
                    </a:lnTo>
                    <a:lnTo>
                      <a:pt x="170" y="323"/>
                    </a:lnTo>
                    <a:lnTo>
                      <a:pt x="179" y="331"/>
                    </a:lnTo>
                    <a:lnTo>
                      <a:pt x="185" y="341"/>
                    </a:lnTo>
                    <a:lnTo>
                      <a:pt x="189" y="344"/>
                    </a:lnTo>
                    <a:lnTo>
                      <a:pt x="194" y="347"/>
                    </a:lnTo>
                    <a:lnTo>
                      <a:pt x="201" y="352"/>
                    </a:lnTo>
                    <a:lnTo>
                      <a:pt x="210" y="357"/>
                    </a:lnTo>
                    <a:lnTo>
                      <a:pt x="218" y="362"/>
                    </a:lnTo>
                    <a:lnTo>
                      <a:pt x="226" y="366"/>
                    </a:lnTo>
                    <a:lnTo>
                      <a:pt x="229" y="368"/>
                    </a:lnTo>
                    <a:lnTo>
                      <a:pt x="232" y="369"/>
                    </a:lnTo>
                    <a:lnTo>
                      <a:pt x="234" y="370"/>
                    </a:lnTo>
                    <a:lnTo>
                      <a:pt x="235" y="37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16" name="Freeform 238">
                <a:extLst>
                  <a:ext uri="{FF2B5EF4-FFF2-40B4-BE49-F238E27FC236}">
                    <a16:creationId xmlns="" xmlns:a16="http://schemas.microsoft.com/office/drawing/2014/main" id="{C2059E0B-F65D-4A23-9FD4-2D750CEC8FA9}"/>
                  </a:ext>
                </a:extLst>
              </p:cNvPr>
              <p:cNvSpPr>
                <a:spLocks/>
              </p:cNvSpPr>
              <p:nvPr>
                <p:custDataLst>
                  <p:tags r:id="rId165"/>
                </p:custDataLst>
              </p:nvPr>
            </p:nvSpPr>
            <p:spPr bwMode="auto">
              <a:xfrm>
                <a:off x="4244975" y="2614613"/>
                <a:ext cx="384175" cy="436562"/>
              </a:xfrm>
              <a:custGeom>
                <a:avLst/>
                <a:gdLst>
                  <a:gd name="T0" fmla="*/ 2147483646 w 877"/>
                  <a:gd name="T1" fmla="*/ 2147483646 h 826"/>
                  <a:gd name="T2" fmla="*/ 2147483646 w 877"/>
                  <a:gd name="T3" fmla="*/ 2147483646 h 826"/>
                  <a:gd name="T4" fmla="*/ 2147483646 w 877"/>
                  <a:gd name="T5" fmla="*/ 2147483646 h 826"/>
                  <a:gd name="T6" fmla="*/ 2147483646 w 877"/>
                  <a:gd name="T7" fmla="*/ 2147483646 h 826"/>
                  <a:gd name="T8" fmla="*/ 2147483646 w 877"/>
                  <a:gd name="T9" fmla="*/ 2147483646 h 826"/>
                  <a:gd name="T10" fmla="*/ 2147483646 w 877"/>
                  <a:gd name="T11" fmla="*/ 2147483646 h 826"/>
                  <a:gd name="T12" fmla="*/ 2147483646 w 877"/>
                  <a:gd name="T13" fmla="*/ 2147483646 h 826"/>
                  <a:gd name="T14" fmla="*/ 2147483646 w 877"/>
                  <a:gd name="T15" fmla="*/ 2147483646 h 826"/>
                  <a:gd name="T16" fmla="*/ 2147483646 w 877"/>
                  <a:gd name="T17" fmla="*/ 2147483646 h 826"/>
                  <a:gd name="T18" fmla="*/ 2147483646 w 877"/>
                  <a:gd name="T19" fmla="*/ 2147483646 h 826"/>
                  <a:gd name="T20" fmla="*/ 2147483646 w 877"/>
                  <a:gd name="T21" fmla="*/ 2147483646 h 826"/>
                  <a:gd name="T22" fmla="*/ 2147483646 w 877"/>
                  <a:gd name="T23" fmla="*/ 2147483646 h 826"/>
                  <a:gd name="T24" fmla="*/ 2147483646 w 877"/>
                  <a:gd name="T25" fmla="*/ 2147483646 h 826"/>
                  <a:gd name="T26" fmla="*/ 2147483646 w 877"/>
                  <a:gd name="T27" fmla="*/ 2147483646 h 826"/>
                  <a:gd name="T28" fmla="*/ 2147483646 w 877"/>
                  <a:gd name="T29" fmla="*/ 2147483646 h 826"/>
                  <a:gd name="T30" fmla="*/ 2147483646 w 877"/>
                  <a:gd name="T31" fmla="*/ 2147483646 h 826"/>
                  <a:gd name="T32" fmla="*/ 2147483646 w 877"/>
                  <a:gd name="T33" fmla="*/ 2147483646 h 826"/>
                  <a:gd name="T34" fmla="*/ 2147483646 w 877"/>
                  <a:gd name="T35" fmla="*/ 2147483646 h 826"/>
                  <a:gd name="T36" fmla="*/ 2147483646 w 877"/>
                  <a:gd name="T37" fmla="*/ 2147483646 h 826"/>
                  <a:gd name="T38" fmla="*/ 2147483646 w 877"/>
                  <a:gd name="T39" fmla="*/ 2147483646 h 826"/>
                  <a:gd name="T40" fmla="*/ 2147483646 w 877"/>
                  <a:gd name="T41" fmla="*/ 2147483646 h 826"/>
                  <a:gd name="T42" fmla="*/ 2147483646 w 877"/>
                  <a:gd name="T43" fmla="*/ 2147483646 h 826"/>
                  <a:gd name="T44" fmla="*/ 2147483646 w 877"/>
                  <a:gd name="T45" fmla="*/ 2147483646 h 826"/>
                  <a:gd name="T46" fmla="*/ 2147483646 w 877"/>
                  <a:gd name="T47" fmla="*/ 0 h 826"/>
                  <a:gd name="T48" fmla="*/ 2147483646 w 877"/>
                  <a:gd name="T49" fmla="*/ 2147483646 h 826"/>
                  <a:gd name="T50" fmla="*/ 2147483646 w 877"/>
                  <a:gd name="T51" fmla="*/ 2147483646 h 826"/>
                  <a:gd name="T52" fmla="*/ 2147483646 w 877"/>
                  <a:gd name="T53" fmla="*/ 2147483646 h 826"/>
                  <a:gd name="T54" fmla="*/ 2147483646 w 877"/>
                  <a:gd name="T55" fmla="*/ 2147483646 h 826"/>
                  <a:gd name="T56" fmla="*/ 2147483646 w 877"/>
                  <a:gd name="T57" fmla="*/ 2147483646 h 826"/>
                  <a:gd name="T58" fmla="*/ 2147483646 w 877"/>
                  <a:gd name="T59" fmla="*/ 2147483646 h 826"/>
                  <a:gd name="T60" fmla="*/ 2147483646 w 877"/>
                  <a:gd name="T61" fmla="*/ 2147483646 h 826"/>
                  <a:gd name="T62" fmla="*/ 2147483646 w 877"/>
                  <a:gd name="T63" fmla="*/ 2147483646 h 826"/>
                  <a:gd name="T64" fmla="*/ 2147483646 w 877"/>
                  <a:gd name="T65" fmla="*/ 2147483646 h 826"/>
                  <a:gd name="T66" fmla="*/ 2147483646 w 877"/>
                  <a:gd name="T67" fmla="*/ 2147483646 h 826"/>
                  <a:gd name="T68" fmla="*/ 2147483646 w 877"/>
                  <a:gd name="T69" fmla="*/ 2147483646 h 826"/>
                  <a:gd name="T70" fmla="*/ 2147483646 w 877"/>
                  <a:gd name="T71" fmla="*/ 2147483646 h 826"/>
                  <a:gd name="T72" fmla="*/ 2147483646 w 877"/>
                  <a:gd name="T73" fmla="*/ 2147483646 h 826"/>
                  <a:gd name="T74" fmla="*/ 2147483646 w 877"/>
                  <a:gd name="T75" fmla="*/ 2147483646 h 826"/>
                  <a:gd name="T76" fmla="*/ 2147483646 w 877"/>
                  <a:gd name="T77" fmla="*/ 2147483646 h 826"/>
                  <a:gd name="T78" fmla="*/ 2147483646 w 877"/>
                  <a:gd name="T79" fmla="*/ 2147483646 h 826"/>
                  <a:gd name="T80" fmla="*/ 2147483646 w 877"/>
                  <a:gd name="T81" fmla="*/ 2147483646 h 826"/>
                  <a:gd name="T82" fmla="*/ 2147483646 w 877"/>
                  <a:gd name="T83" fmla="*/ 2147483646 h 826"/>
                  <a:gd name="T84" fmla="*/ 2147483646 w 877"/>
                  <a:gd name="T85" fmla="*/ 2147483646 h 826"/>
                  <a:gd name="T86" fmla="*/ 2147483646 w 877"/>
                  <a:gd name="T87" fmla="*/ 2147483646 h 826"/>
                  <a:gd name="T88" fmla="*/ 2147483646 w 877"/>
                  <a:gd name="T89" fmla="*/ 2147483646 h 826"/>
                  <a:gd name="T90" fmla="*/ 2147483646 w 877"/>
                  <a:gd name="T91" fmla="*/ 2147483646 h 826"/>
                  <a:gd name="T92" fmla="*/ 2147483646 w 877"/>
                  <a:gd name="T93" fmla="*/ 2147483646 h 826"/>
                  <a:gd name="T94" fmla="*/ 2147483646 w 877"/>
                  <a:gd name="T95" fmla="*/ 2147483646 h 826"/>
                  <a:gd name="T96" fmla="*/ 2147483646 w 877"/>
                  <a:gd name="T97" fmla="*/ 2147483646 h 826"/>
                  <a:gd name="T98" fmla="*/ 2147483646 w 877"/>
                  <a:gd name="T99" fmla="*/ 2147483646 h 826"/>
                  <a:gd name="T100" fmla="*/ 2147483646 w 877"/>
                  <a:gd name="T101" fmla="*/ 2147483646 h 826"/>
                  <a:gd name="T102" fmla="*/ 2147483646 w 877"/>
                  <a:gd name="T103" fmla="*/ 2147483646 h 826"/>
                  <a:gd name="T104" fmla="*/ 2147483646 w 877"/>
                  <a:gd name="T105" fmla="*/ 2147483646 h 826"/>
                  <a:gd name="T106" fmla="*/ 2147483646 w 877"/>
                  <a:gd name="T107" fmla="*/ 2147483646 h 826"/>
                  <a:gd name="T108" fmla="*/ 2147483646 w 877"/>
                  <a:gd name="T109" fmla="*/ 2147483646 h 826"/>
                  <a:gd name="T110" fmla="*/ 2147483646 w 877"/>
                  <a:gd name="T111" fmla="*/ 2147483646 h 826"/>
                  <a:gd name="T112" fmla="*/ 2147483646 w 877"/>
                  <a:gd name="T113" fmla="*/ 2147483646 h 826"/>
                  <a:gd name="T114" fmla="*/ 2147483646 w 877"/>
                  <a:gd name="T115" fmla="*/ 2147483646 h 82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877"/>
                  <a:gd name="T175" fmla="*/ 0 h 826"/>
                  <a:gd name="T176" fmla="*/ 877 w 877"/>
                  <a:gd name="T177" fmla="*/ 826 h 82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877" h="826">
                    <a:moveTo>
                      <a:pt x="0" y="190"/>
                    </a:moveTo>
                    <a:lnTo>
                      <a:pt x="16" y="167"/>
                    </a:lnTo>
                    <a:lnTo>
                      <a:pt x="33" y="147"/>
                    </a:lnTo>
                    <a:lnTo>
                      <a:pt x="36" y="141"/>
                    </a:lnTo>
                    <a:lnTo>
                      <a:pt x="39" y="133"/>
                    </a:lnTo>
                    <a:lnTo>
                      <a:pt x="41" y="126"/>
                    </a:lnTo>
                    <a:lnTo>
                      <a:pt x="43" y="118"/>
                    </a:lnTo>
                    <a:lnTo>
                      <a:pt x="46" y="109"/>
                    </a:lnTo>
                    <a:lnTo>
                      <a:pt x="47" y="99"/>
                    </a:lnTo>
                    <a:lnTo>
                      <a:pt x="47" y="87"/>
                    </a:lnTo>
                    <a:lnTo>
                      <a:pt x="46" y="73"/>
                    </a:lnTo>
                    <a:lnTo>
                      <a:pt x="46" y="70"/>
                    </a:lnTo>
                    <a:lnTo>
                      <a:pt x="47" y="67"/>
                    </a:lnTo>
                    <a:lnTo>
                      <a:pt x="49" y="66"/>
                    </a:lnTo>
                    <a:lnTo>
                      <a:pt x="52" y="65"/>
                    </a:lnTo>
                    <a:lnTo>
                      <a:pt x="61" y="64"/>
                    </a:lnTo>
                    <a:lnTo>
                      <a:pt x="72" y="63"/>
                    </a:lnTo>
                    <a:lnTo>
                      <a:pt x="78" y="61"/>
                    </a:lnTo>
                    <a:lnTo>
                      <a:pt x="83" y="59"/>
                    </a:lnTo>
                    <a:lnTo>
                      <a:pt x="89" y="55"/>
                    </a:lnTo>
                    <a:lnTo>
                      <a:pt x="93" y="50"/>
                    </a:lnTo>
                    <a:lnTo>
                      <a:pt x="96" y="42"/>
                    </a:lnTo>
                    <a:lnTo>
                      <a:pt x="98" y="33"/>
                    </a:lnTo>
                    <a:lnTo>
                      <a:pt x="99" y="20"/>
                    </a:lnTo>
                    <a:lnTo>
                      <a:pt x="98" y="6"/>
                    </a:lnTo>
                    <a:lnTo>
                      <a:pt x="124" y="4"/>
                    </a:lnTo>
                    <a:lnTo>
                      <a:pt x="147" y="5"/>
                    </a:lnTo>
                    <a:lnTo>
                      <a:pt x="168" y="6"/>
                    </a:lnTo>
                    <a:lnTo>
                      <a:pt x="188" y="9"/>
                    </a:lnTo>
                    <a:lnTo>
                      <a:pt x="208" y="13"/>
                    </a:lnTo>
                    <a:lnTo>
                      <a:pt x="226" y="18"/>
                    </a:lnTo>
                    <a:lnTo>
                      <a:pt x="242" y="24"/>
                    </a:lnTo>
                    <a:lnTo>
                      <a:pt x="259" y="31"/>
                    </a:lnTo>
                    <a:lnTo>
                      <a:pt x="264" y="35"/>
                    </a:lnTo>
                    <a:lnTo>
                      <a:pt x="269" y="39"/>
                    </a:lnTo>
                    <a:lnTo>
                      <a:pt x="273" y="43"/>
                    </a:lnTo>
                    <a:lnTo>
                      <a:pt x="276" y="47"/>
                    </a:lnTo>
                    <a:lnTo>
                      <a:pt x="281" y="57"/>
                    </a:lnTo>
                    <a:lnTo>
                      <a:pt x="283" y="67"/>
                    </a:lnTo>
                    <a:lnTo>
                      <a:pt x="285" y="78"/>
                    </a:lnTo>
                    <a:lnTo>
                      <a:pt x="288" y="88"/>
                    </a:lnTo>
                    <a:lnTo>
                      <a:pt x="289" y="93"/>
                    </a:lnTo>
                    <a:lnTo>
                      <a:pt x="292" y="97"/>
                    </a:lnTo>
                    <a:lnTo>
                      <a:pt x="295" y="101"/>
                    </a:lnTo>
                    <a:lnTo>
                      <a:pt x="298" y="105"/>
                    </a:lnTo>
                    <a:lnTo>
                      <a:pt x="306" y="108"/>
                    </a:lnTo>
                    <a:lnTo>
                      <a:pt x="315" y="110"/>
                    </a:lnTo>
                    <a:lnTo>
                      <a:pt x="325" y="110"/>
                    </a:lnTo>
                    <a:lnTo>
                      <a:pt x="334" y="110"/>
                    </a:lnTo>
                    <a:lnTo>
                      <a:pt x="344" y="109"/>
                    </a:lnTo>
                    <a:lnTo>
                      <a:pt x="354" y="109"/>
                    </a:lnTo>
                    <a:lnTo>
                      <a:pt x="363" y="109"/>
                    </a:lnTo>
                    <a:lnTo>
                      <a:pt x="372" y="111"/>
                    </a:lnTo>
                    <a:lnTo>
                      <a:pt x="388" y="117"/>
                    </a:lnTo>
                    <a:lnTo>
                      <a:pt x="405" y="124"/>
                    </a:lnTo>
                    <a:lnTo>
                      <a:pt x="421" y="133"/>
                    </a:lnTo>
                    <a:lnTo>
                      <a:pt x="438" y="143"/>
                    </a:lnTo>
                    <a:lnTo>
                      <a:pt x="454" y="152"/>
                    </a:lnTo>
                    <a:lnTo>
                      <a:pt x="471" y="159"/>
                    </a:lnTo>
                    <a:lnTo>
                      <a:pt x="478" y="162"/>
                    </a:lnTo>
                    <a:lnTo>
                      <a:pt x="487" y="164"/>
                    </a:lnTo>
                    <a:lnTo>
                      <a:pt x="496" y="166"/>
                    </a:lnTo>
                    <a:lnTo>
                      <a:pt x="505" y="166"/>
                    </a:lnTo>
                    <a:lnTo>
                      <a:pt x="513" y="166"/>
                    </a:lnTo>
                    <a:lnTo>
                      <a:pt x="521" y="166"/>
                    </a:lnTo>
                    <a:lnTo>
                      <a:pt x="529" y="166"/>
                    </a:lnTo>
                    <a:lnTo>
                      <a:pt x="538" y="166"/>
                    </a:lnTo>
                    <a:lnTo>
                      <a:pt x="538" y="158"/>
                    </a:lnTo>
                    <a:lnTo>
                      <a:pt x="540" y="150"/>
                    </a:lnTo>
                    <a:lnTo>
                      <a:pt x="542" y="143"/>
                    </a:lnTo>
                    <a:lnTo>
                      <a:pt x="544" y="137"/>
                    </a:lnTo>
                    <a:lnTo>
                      <a:pt x="549" y="126"/>
                    </a:lnTo>
                    <a:lnTo>
                      <a:pt x="551" y="117"/>
                    </a:lnTo>
                    <a:lnTo>
                      <a:pt x="550" y="112"/>
                    </a:lnTo>
                    <a:lnTo>
                      <a:pt x="547" y="108"/>
                    </a:lnTo>
                    <a:lnTo>
                      <a:pt x="544" y="103"/>
                    </a:lnTo>
                    <a:lnTo>
                      <a:pt x="541" y="98"/>
                    </a:lnTo>
                    <a:lnTo>
                      <a:pt x="537" y="93"/>
                    </a:lnTo>
                    <a:lnTo>
                      <a:pt x="534" y="87"/>
                    </a:lnTo>
                    <a:lnTo>
                      <a:pt x="531" y="81"/>
                    </a:lnTo>
                    <a:lnTo>
                      <a:pt x="531" y="73"/>
                    </a:lnTo>
                    <a:lnTo>
                      <a:pt x="531" y="61"/>
                    </a:lnTo>
                    <a:lnTo>
                      <a:pt x="531" y="49"/>
                    </a:lnTo>
                    <a:lnTo>
                      <a:pt x="539" y="49"/>
                    </a:lnTo>
                    <a:lnTo>
                      <a:pt x="547" y="47"/>
                    </a:lnTo>
                    <a:lnTo>
                      <a:pt x="554" y="45"/>
                    </a:lnTo>
                    <a:lnTo>
                      <a:pt x="562" y="42"/>
                    </a:lnTo>
                    <a:lnTo>
                      <a:pt x="574" y="34"/>
                    </a:lnTo>
                    <a:lnTo>
                      <a:pt x="586" y="24"/>
                    </a:lnTo>
                    <a:lnTo>
                      <a:pt x="598" y="15"/>
                    </a:lnTo>
                    <a:lnTo>
                      <a:pt x="610" y="7"/>
                    </a:lnTo>
                    <a:lnTo>
                      <a:pt x="617" y="4"/>
                    </a:lnTo>
                    <a:lnTo>
                      <a:pt x="623" y="2"/>
                    </a:lnTo>
                    <a:lnTo>
                      <a:pt x="630" y="0"/>
                    </a:lnTo>
                    <a:lnTo>
                      <a:pt x="638" y="0"/>
                    </a:lnTo>
                    <a:lnTo>
                      <a:pt x="650" y="0"/>
                    </a:lnTo>
                    <a:lnTo>
                      <a:pt x="659" y="1"/>
                    </a:lnTo>
                    <a:lnTo>
                      <a:pt x="668" y="2"/>
                    </a:lnTo>
                    <a:lnTo>
                      <a:pt x="676" y="4"/>
                    </a:lnTo>
                    <a:lnTo>
                      <a:pt x="681" y="6"/>
                    </a:lnTo>
                    <a:lnTo>
                      <a:pt x="685" y="9"/>
                    </a:lnTo>
                    <a:lnTo>
                      <a:pt x="688" y="12"/>
                    </a:lnTo>
                    <a:lnTo>
                      <a:pt x="691" y="16"/>
                    </a:lnTo>
                    <a:lnTo>
                      <a:pt x="695" y="24"/>
                    </a:lnTo>
                    <a:lnTo>
                      <a:pt x="698" y="34"/>
                    </a:lnTo>
                    <a:lnTo>
                      <a:pt x="700" y="39"/>
                    </a:lnTo>
                    <a:lnTo>
                      <a:pt x="702" y="44"/>
                    </a:lnTo>
                    <a:lnTo>
                      <a:pt x="706" y="50"/>
                    </a:lnTo>
                    <a:lnTo>
                      <a:pt x="710" y="55"/>
                    </a:lnTo>
                    <a:lnTo>
                      <a:pt x="715" y="58"/>
                    </a:lnTo>
                    <a:lnTo>
                      <a:pt x="721" y="61"/>
                    </a:lnTo>
                    <a:lnTo>
                      <a:pt x="728" y="63"/>
                    </a:lnTo>
                    <a:lnTo>
                      <a:pt x="734" y="65"/>
                    </a:lnTo>
                    <a:lnTo>
                      <a:pt x="750" y="67"/>
                    </a:lnTo>
                    <a:lnTo>
                      <a:pt x="765" y="69"/>
                    </a:lnTo>
                    <a:lnTo>
                      <a:pt x="798" y="71"/>
                    </a:lnTo>
                    <a:lnTo>
                      <a:pt x="830" y="73"/>
                    </a:lnTo>
                    <a:lnTo>
                      <a:pt x="830" y="83"/>
                    </a:lnTo>
                    <a:lnTo>
                      <a:pt x="830" y="90"/>
                    </a:lnTo>
                    <a:lnTo>
                      <a:pt x="830" y="97"/>
                    </a:lnTo>
                    <a:lnTo>
                      <a:pt x="830" y="105"/>
                    </a:lnTo>
                    <a:lnTo>
                      <a:pt x="830" y="109"/>
                    </a:lnTo>
                    <a:lnTo>
                      <a:pt x="832" y="113"/>
                    </a:lnTo>
                    <a:lnTo>
                      <a:pt x="834" y="117"/>
                    </a:lnTo>
                    <a:lnTo>
                      <a:pt x="836" y="121"/>
                    </a:lnTo>
                    <a:lnTo>
                      <a:pt x="838" y="126"/>
                    </a:lnTo>
                    <a:lnTo>
                      <a:pt x="841" y="132"/>
                    </a:lnTo>
                    <a:lnTo>
                      <a:pt x="843" y="140"/>
                    </a:lnTo>
                    <a:lnTo>
                      <a:pt x="843" y="148"/>
                    </a:lnTo>
                    <a:lnTo>
                      <a:pt x="842" y="152"/>
                    </a:lnTo>
                    <a:lnTo>
                      <a:pt x="840" y="156"/>
                    </a:lnTo>
                    <a:lnTo>
                      <a:pt x="836" y="159"/>
                    </a:lnTo>
                    <a:lnTo>
                      <a:pt x="833" y="162"/>
                    </a:lnTo>
                    <a:lnTo>
                      <a:pt x="830" y="165"/>
                    </a:lnTo>
                    <a:lnTo>
                      <a:pt x="826" y="168"/>
                    </a:lnTo>
                    <a:lnTo>
                      <a:pt x="824" y="170"/>
                    </a:lnTo>
                    <a:lnTo>
                      <a:pt x="823" y="172"/>
                    </a:lnTo>
                    <a:lnTo>
                      <a:pt x="824" y="184"/>
                    </a:lnTo>
                    <a:lnTo>
                      <a:pt x="825" y="196"/>
                    </a:lnTo>
                    <a:lnTo>
                      <a:pt x="829" y="207"/>
                    </a:lnTo>
                    <a:lnTo>
                      <a:pt x="834" y="217"/>
                    </a:lnTo>
                    <a:lnTo>
                      <a:pt x="841" y="227"/>
                    </a:lnTo>
                    <a:lnTo>
                      <a:pt x="848" y="236"/>
                    </a:lnTo>
                    <a:lnTo>
                      <a:pt x="858" y="245"/>
                    </a:lnTo>
                    <a:lnTo>
                      <a:pt x="869" y="253"/>
                    </a:lnTo>
                    <a:lnTo>
                      <a:pt x="876" y="671"/>
                    </a:lnTo>
                    <a:lnTo>
                      <a:pt x="876" y="680"/>
                    </a:lnTo>
                    <a:lnTo>
                      <a:pt x="876" y="687"/>
                    </a:lnTo>
                    <a:lnTo>
                      <a:pt x="876" y="697"/>
                    </a:lnTo>
                    <a:lnTo>
                      <a:pt x="876" y="709"/>
                    </a:lnTo>
                    <a:lnTo>
                      <a:pt x="877" y="726"/>
                    </a:lnTo>
                    <a:lnTo>
                      <a:pt x="877" y="741"/>
                    </a:lnTo>
                    <a:lnTo>
                      <a:pt x="877" y="756"/>
                    </a:lnTo>
                    <a:lnTo>
                      <a:pt x="876" y="766"/>
                    </a:lnTo>
                    <a:lnTo>
                      <a:pt x="874" y="771"/>
                    </a:lnTo>
                    <a:lnTo>
                      <a:pt x="870" y="775"/>
                    </a:lnTo>
                    <a:lnTo>
                      <a:pt x="867" y="778"/>
                    </a:lnTo>
                    <a:lnTo>
                      <a:pt x="863" y="780"/>
                    </a:lnTo>
                    <a:lnTo>
                      <a:pt x="856" y="782"/>
                    </a:lnTo>
                    <a:lnTo>
                      <a:pt x="848" y="783"/>
                    </a:lnTo>
                    <a:lnTo>
                      <a:pt x="840" y="783"/>
                    </a:lnTo>
                    <a:lnTo>
                      <a:pt x="830" y="782"/>
                    </a:lnTo>
                    <a:lnTo>
                      <a:pt x="830" y="792"/>
                    </a:lnTo>
                    <a:lnTo>
                      <a:pt x="830" y="804"/>
                    </a:lnTo>
                    <a:lnTo>
                      <a:pt x="830" y="816"/>
                    </a:lnTo>
                    <a:lnTo>
                      <a:pt x="830" y="826"/>
                    </a:lnTo>
                    <a:lnTo>
                      <a:pt x="378" y="592"/>
                    </a:lnTo>
                    <a:lnTo>
                      <a:pt x="366" y="593"/>
                    </a:lnTo>
                    <a:lnTo>
                      <a:pt x="359" y="595"/>
                    </a:lnTo>
                    <a:lnTo>
                      <a:pt x="353" y="597"/>
                    </a:lnTo>
                    <a:lnTo>
                      <a:pt x="344" y="598"/>
                    </a:lnTo>
                    <a:lnTo>
                      <a:pt x="331" y="607"/>
                    </a:lnTo>
                    <a:lnTo>
                      <a:pt x="318" y="616"/>
                    </a:lnTo>
                    <a:lnTo>
                      <a:pt x="308" y="620"/>
                    </a:lnTo>
                    <a:lnTo>
                      <a:pt x="297" y="624"/>
                    </a:lnTo>
                    <a:lnTo>
                      <a:pt x="292" y="626"/>
                    </a:lnTo>
                    <a:lnTo>
                      <a:pt x="285" y="627"/>
                    </a:lnTo>
                    <a:lnTo>
                      <a:pt x="278" y="628"/>
                    </a:lnTo>
                    <a:lnTo>
                      <a:pt x="272" y="628"/>
                    </a:lnTo>
                    <a:lnTo>
                      <a:pt x="263" y="627"/>
                    </a:lnTo>
                    <a:lnTo>
                      <a:pt x="254" y="624"/>
                    </a:lnTo>
                    <a:lnTo>
                      <a:pt x="246" y="620"/>
                    </a:lnTo>
                    <a:lnTo>
                      <a:pt x="238" y="614"/>
                    </a:lnTo>
                    <a:lnTo>
                      <a:pt x="230" y="609"/>
                    </a:lnTo>
                    <a:lnTo>
                      <a:pt x="224" y="602"/>
                    </a:lnTo>
                    <a:lnTo>
                      <a:pt x="220" y="597"/>
                    </a:lnTo>
                    <a:lnTo>
                      <a:pt x="218" y="592"/>
                    </a:lnTo>
                    <a:lnTo>
                      <a:pt x="193" y="586"/>
                    </a:lnTo>
                    <a:lnTo>
                      <a:pt x="173" y="579"/>
                    </a:lnTo>
                    <a:lnTo>
                      <a:pt x="165" y="577"/>
                    </a:lnTo>
                    <a:lnTo>
                      <a:pt x="157" y="577"/>
                    </a:lnTo>
                    <a:lnTo>
                      <a:pt x="152" y="578"/>
                    </a:lnTo>
                    <a:lnTo>
                      <a:pt x="148" y="579"/>
                    </a:lnTo>
                    <a:lnTo>
                      <a:pt x="143" y="583"/>
                    </a:lnTo>
                    <a:lnTo>
                      <a:pt x="139" y="586"/>
                    </a:lnTo>
                    <a:lnTo>
                      <a:pt x="138" y="577"/>
                    </a:lnTo>
                    <a:lnTo>
                      <a:pt x="137" y="570"/>
                    </a:lnTo>
                    <a:lnTo>
                      <a:pt x="136" y="564"/>
                    </a:lnTo>
                    <a:lnTo>
                      <a:pt x="134" y="558"/>
                    </a:lnTo>
                    <a:lnTo>
                      <a:pt x="130" y="553"/>
                    </a:lnTo>
                    <a:lnTo>
                      <a:pt x="127" y="549"/>
                    </a:lnTo>
                    <a:lnTo>
                      <a:pt x="124" y="545"/>
                    </a:lnTo>
                    <a:lnTo>
                      <a:pt x="119" y="541"/>
                    </a:lnTo>
                    <a:lnTo>
                      <a:pt x="109" y="535"/>
                    </a:lnTo>
                    <a:lnTo>
                      <a:pt x="98" y="530"/>
                    </a:lnTo>
                    <a:lnTo>
                      <a:pt x="87" y="526"/>
                    </a:lnTo>
                    <a:lnTo>
                      <a:pt x="75" y="521"/>
                    </a:lnTo>
                    <a:lnTo>
                      <a:pt x="63" y="517"/>
                    </a:lnTo>
                    <a:lnTo>
                      <a:pt x="52" y="513"/>
                    </a:lnTo>
                    <a:lnTo>
                      <a:pt x="41" y="509"/>
                    </a:lnTo>
                    <a:lnTo>
                      <a:pt x="33" y="503"/>
                    </a:lnTo>
                    <a:lnTo>
                      <a:pt x="28" y="499"/>
                    </a:lnTo>
                    <a:lnTo>
                      <a:pt x="24" y="496"/>
                    </a:lnTo>
                    <a:lnTo>
                      <a:pt x="20" y="492"/>
                    </a:lnTo>
                    <a:lnTo>
                      <a:pt x="18" y="487"/>
                    </a:lnTo>
                    <a:lnTo>
                      <a:pt x="16" y="482"/>
                    </a:lnTo>
                    <a:lnTo>
                      <a:pt x="14" y="476"/>
                    </a:lnTo>
                    <a:lnTo>
                      <a:pt x="13" y="469"/>
                    </a:lnTo>
                    <a:lnTo>
                      <a:pt x="13" y="462"/>
                    </a:lnTo>
                    <a:lnTo>
                      <a:pt x="14" y="439"/>
                    </a:lnTo>
                    <a:lnTo>
                      <a:pt x="16" y="417"/>
                    </a:lnTo>
                    <a:lnTo>
                      <a:pt x="18" y="395"/>
                    </a:lnTo>
                    <a:lnTo>
                      <a:pt x="19" y="376"/>
                    </a:lnTo>
                    <a:lnTo>
                      <a:pt x="19" y="352"/>
                    </a:lnTo>
                    <a:lnTo>
                      <a:pt x="19" y="329"/>
                    </a:lnTo>
                    <a:lnTo>
                      <a:pt x="19" y="305"/>
                    </a:lnTo>
                    <a:lnTo>
                      <a:pt x="19" y="281"/>
                    </a:lnTo>
                    <a:lnTo>
                      <a:pt x="17" y="258"/>
                    </a:lnTo>
                    <a:lnTo>
                      <a:pt x="14" y="234"/>
                    </a:lnTo>
                    <a:lnTo>
                      <a:pt x="11" y="223"/>
                    </a:lnTo>
                    <a:lnTo>
                      <a:pt x="7" y="212"/>
                    </a:lnTo>
                    <a:lnTo>
                      <a:pt x="4" y="202"/>
                    </a:lnTo>
                    <a:lnTo>
                      <a:pt x="0" y="19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17" name="Freeform 239">
                <a:extLst>
                  <a:ext uri="{FF2B5EF4-FFF2-40B4-BE49-F238E27FC236}">
                    <a16:creationId xmlns="" xmlns:a16="http://schemas.microsoft.com/office/drawing/2014/main" id="{DC5F08D7-ECAB-494F-92D7-BEEC1CA22B86}"/>
                  </a:ext>
                </a:extLst>
              </p:cNvPr>
              <p:cNvSpPr>
                <a:spLocks/>
              </p:cNvSpPr>
              <p:nvPr>
                <p:custDataLst>
                  <p:tags r:id="rId166"/>
                </p:custDataLst>
              </p:nvPr>
            </p:nvSpPr>
            <p:spPr bwMode="auto">
              <a:xfrm>
                <a:off x="4197350" y="2479675"/>
                <a:ext cx="93663" cy="236538"/>
              </a:xfrm>
              <a:custGeom>
                <a:avLst/>
                <a:gdLst>
                  <a:gd name="T0" fmla="*/ 2147483646 w 206"/>
                  <a:gd name="T1" fmla="*/ 2147483646 h 455"/>
                  <a:gd name="T2" fmla="*/ 2147483646 w 206"/>
                  <a:gd name="T3" fmla="*/ 2147483646 h 455"/>
                  <a:gd name="T4" fmla="*/ 2147483646 w 206"/>
                  <a:gd name="T5" fmla="*/ 2147483646 h 455"/>
                  <a:gd name="T6" fmla="*/ 2147483646 w 206"/>
                  <a:gd name="T7" fmla="*/ 2147483646 h 455"/>
                  <a:gd name="T8" fmla="*/ 2147483646 w 206"/>
                  <a:gd name="T9" fmla="*/ 2147483646 h 455"/>
                  <a:gd name="T10" fmla="*/ 2147483646 w 206"/>
                  <a:gd name="T11" fmla="*/ 2147483646 h 455"/>
                  <a:gd name="T12" fmla="*/ 2147483646 w 206"/>
                  <a:gd name="T13" fmla="*/ 2147483646 h 455"/>
                  <a:gd name="T14" fmla="*/ 2147483646 w 206"/>
                  <a:gd name="T15" fmla="*/ 2147483646 h 455"/>
                  <a:gd name="T16" fmla="*/ 2147483646 w 206"/>
                  <a:gd name="T17" fmla="*/ 2147483646 h 455"/>
                  <a:gd name="T18" fmla="*/ 2147483646 w 206"/>
                  <a:gd name="T19" fmla="*/ 2147483646 h 455"/>
                  <a:gd name="T20" fmla="*/ 2147483646 w 206"/>
                  <a:gd name="T21" fmla="*/ 2147483646 h 455"/>
                  <a:gd name="T22" fmla="*/ 2147483646 w 206"/>
                  <a:gd name="T23" fmla="*/ 2147483646 h 455"/>
                  <a:gd name="T24" fmla="*/ 2147483646 w 206"/>
                  <a:gd name="T25" fmla="*/ 2147483646 h 455"/>
                  <a:gd name="T26" fmla="*/ 2147483646 w 206"/>
                  <a:gd name="T27" fmla="*/ 2147483646 h 455"/>
                  <a:gd name="T28" fmla="*/ 2147483646 w 206"/>
                  <a:gd name="T29" fmla="*/ 2147483646 h 455"/>
                  <a:gd name="T30" fmla="*/ 2147483646 w 206"/>
                  <a:gd name="T31" fmla="*/ 2147483646 h 455"/>
                  <a:gd name="T32" fmla="*/ 2147483646 w 206"/>
                  <a:gd name="T33" fmla="*/ 2147483646 h 455"/>
                  <a:gd name="T34" fmla="*/ 2147483646 w 206"/>
                  <a:gd name="T35" fmla="*/ 2147483646 h 455"/>
                  <a:gd name="T36" fmla="*/ 2147483646 w 206"/>
                  <a:gd name="T37" fmla="*/ 2147483646 h 455"/>
                  <a:gd name="T38" fmla="*/ 2147483646 w 206"/>
                  <a:gd name="T39" fmla="*/ 2147483646 h 455"/>
                  <a:gd name="T40" fmla="*/ 2147483646 w 206"/>
                  <a:gd name="T41" fmla="*/ 2147483646 h 455"/>
                  <a:gd name="T42" fmla="*/ 2147483646 w 206"/>
                  <a:gd name="T43" fmla="*/ 2147483646 h 455"/>
                  <a:gd name="T44" fmla="*/ 2147483646 w 206"/>
                  <a:gd name="T45" fmla="*/ 2147483646 h 455"/>
                  <a:gd name="T46" fmla="*/ 2147483646 w 206"/>
                  <a:gd name="T47" fmla="*/ 2147483646 h 455"/>
                  <a:gd name="T48" fmla="*/ 2147483646 w 206"/>
                  <a:gd name="T49" fmla="*/ 2147483646 h 455"/>
                  <a:gd name="T50" fmla="*/ 2147483646 w 206"/>
                  <a:gd name="T51" fmla="*/ 2147483646 h 455"/>
                  <a:gd name="T52" fmla="*/ 2147483646 w 206"/>
                  <a:gd name="T53" fmla="*/ 2147483646 h 455"/>
                  <a:gd name="T54" fmla="*/ 2147483646 w 206"/>
                  <a:gd name="T55" fmla="*/ 2147483646 h 455"/>
                  <a:gd name="T56" fmla="*/ 2147483646 w 206"/>
                  <a:gd name="T57" fmla="*/ 2147483646 h 455"/>
                  <a:gd name="T58" fmla="*/ 2147483646 w 206"/>
                  <a:gd name="T59" fmla="*/ 2147483646 h 455"/>
                  <a:gd name="T60" fmla="*/ 2147483646 w 206"/>
                  <a:gd name="T61" fmla="*/ 2147483646 h 455"/>
                  <a:gd name="T62" fmla="*/ 2147483646 w 206"/>
                  <a:gd name="T63" fmla="*/ 2147483646 h 455"/>
                  <a:gd name="T64" fmla="*/ 2147483646 w 206"/>
                  <a:gd name="T65" fmla="*/ 2147483646 h 455"/>
                  <a:gd name="T66" fmla="*/ 2147483646 w 206"/>
                  <a:gd name="T67" fmla="*/ 2147483646 h 455"/>
                  <a:gd name="T68" fmla="*/ 2147483646 w 206"/>
                  <a:gd name="T69" fmla="*/ 2147483646 h 455"/>
                  <a:gd name="T70" fmla="*/ 2147483646 w 206"/>
                  <a:gd name="T71" fmla="*/ 2147483646 h 455"/>
                  <a:gd name="T72" fmla="*/ 2147483646 w 206"/>
                  <a:gd name="T73" fmla="*/ 2147483646 h 455"/>
                  <a:gd name="T74" fmla="*/ 2147483646 w 206"/>
                  <a:gd name="T75" fmla="*/ 0 h 455"/>
                  <a:gd name="T76" fmla="*/ 2147483646 w 206"/>
                  <a:gd name="T77" fmla="*/ 2147483646 h 455"/>
                  <a:gd name="T78" fmla="*/ 2147483646 w 206"/>
                  <a:gd name="T79" fmla="*/ 2147483646 h 455"/>
                  <a:gd name="T80" fmla="*/ 2147483646 w 206"/>
                  <a:gd name="T81" fmla="*/ 2147483646 h 455"/>
                  <a:gd name="T82" fmla="*/ 2147483646 w 206"/>
                  <a:gd name="T83" fmla="*/ 2147483646 h 455"/>
                  <a:gd name="T84" fmla="*/ 2147483646 w 206"/>
                  <a:gd name="T85" fmla="*/ 2147483646 h 455"/>
                  <a:gd name="T86" fmla="*/ 2147483646 w 206"/>
                  <a:gd name="T87" fmla="*/ 2147483646 h 455"/>
                  <a:gd name="T88" fmla="*/ 2147483646 w 206"/>
                  <a:gd name="T89" fmla="*/ 2147483646 h 455"/>
                  <a:gd name="T90" fmla="*/ 2147483646 w 206"/>
                  <a:gd name="T91" fmla="*/ 2147483646 h 455"/>
                  <a:gd name="T92" fmla="*/ 0 w 206"/>
                  <a:gd name="T93" fmla="*/ 2147483646 h 455"/>
                  <a:gd name="T94" fmla="*/ 2147483646 w 206"/>
                  <a:gd name="T95" fmla="*/ 2147483646 h 455"/>
                  <a:gd name="T96" fmla="*/ 2147483646 w 206"/>
                  <a:gd name="T97" fmla="*/ 2147483646 h 455"/>
                  <a:gd name="T98" fmla="*/ 2147483646 w 206"/>
                  <a:gd name="T99" fmla="*/ 2147483646 h 455"/>
                  <a:gd name="T100" fmla="*/ 2147483646 w 206"/>
                  <a:gd name="T101" fmla="*/ 2147483646 h 455"/>
                  <a:gd name="T102" fmla="*/ 2147483646 w 206"/>
                  <a:gd name="T103" fmla="*/ 2147483646 h 455"/>
                  <a:gd name="T104" fmla="*/ 2147483646 w 206"/>
                  <a:gd name="T105" fmla="*/ 2147483646 h 455"/>
                  <a:gd name="T106" fmla="*/ 2147483646 w 206"/>
                  <a:gd name="T107" fmla="*/ 2147483646 h 455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06"/>
                  <a:gd name="T163" fmla="*/ 0 h 455"/>
                  <a:gd name="T164" fmla="*/ 206 w 206"/>
                  <a:gd name="T165" fmla="*/ 455 h 455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06" h="455">
                    <a:moveTo>
                      <a:pt x="93" y="455"/>
                    </a:moveTo>
                    <a:lnTo>
                      <a:pt x="103" y="441"/>
                    </a:lnTo>
                    <a:lnTo>
                      <a:pt x="114" y="430"/>
                    </a:lnTo>
                    <a:lnTo>
                      <a:pt x="125" y="420"/>
                    </a:lnTo>
                    <a:lnTo>
                      <a:pt x="135" y="409"/>
                    </a:lnTo>
                    <a:lnTo>
                      <a:pt x="140" y="404"/>
                    </a:lnTo>
                    <a:lnTo>
                      <a:pt x="144" y="397"/>
                    </a:lnTo>
                    <a:lnTo>
                      <a:pt x="147" y="390"/>
                    </a:lnTo>
                    <a:lnTo>
                      <a:pt x="149" y="382"/>
                    </a:lnTo>
                    <a:lnTo>
                      <a:pt x="152" y="373"/>
                    </a:lnTo>
                    <a:lnTo>
                      <a:pt x="153" y="363"/>
                    </a:lnTo>
                    <a:lnTo>
                      <a:pt x="154" y="352"/>
                    </a:lnTo>
                    <a:lnTo>
                      <a:pt x="153" y="338"/>
                    </a:lnTo>
                    <a:lnTo>
                      <a:pt x="153" y="335"/>
                    </a:lnTo>
                    <a:lnTo>
                      <a:pt x="154" y="332"/>
                    </a:lnTo>
                    <a:lnTo>
                      <a:pt x="156" y="331"/>
                    </a:lnTo>
                    <a:lnTo>
                      <a:pt x="159" y="330"/>
                    </a:lnTo>
                    <a:lnTo>
                      <a:pt x="168" y="329"/>
                    </a:lnTo>
                    <a:lnTo>
                      <a:pt x="179" y="327"/>
                    </a:lnTo>
                    <a:lnTo>
                      <a:pt x="185" y="325"/>
                    </a:lnTo>
                    <a:lnTo>
                      <a:pt x="190" y="322"/>
                    </a:lnTo>
                    <a:lnTo>
                      <a:pt x="196" y="318"/>
                    </a:lnTo>
                    <a:lnTo>
                      <a:pt x="200" y="312"/>
                    </a:lnTo>
                    <a:lnTo>
                      <a:pt x="203" y="304"/>
                    </a:lnTo>
                    <a:lnTo>
                      <a:pt x="205" y="294"/>
                    </a:lnTo>
                    <a:lnTo>
                      <a:pt x="206" y="280"/>
                    </a:lnTo>
                    <a:lnTo>
                      <a:pt x="205" y="265"/>
                    </a:lnTo>
                    <a:lnTo>
                      <a:pt x="202" y="265"/>
                    </a:lnTo>
                    <a:lnTo>
                      <a:pt x="198" y="265"/>
                    </a:lnTo>
                    <a:lnTo>
                      <a:pt x="193" y="264"/>
                    </a:lnTo>
                    <a:lnTo>
                      <a:pt x="188" y="262"/>
                    </a:lnTo>
                    <a:lnTo>
                      <a:pt x="177" y="256"/>
                    </a:lnTo>
                    <a:lnTo>
                      <a:pt x="166" y="249"/>
                    </a:lnTo>
                    <a:lnTo>
                      <a:pt x="155" y="242"/>
                    </a:lnTo>
                    <a:lnTo>
                      <a:pt x="144" y="235"/>
                    </a:lnTo>
                    <a:lnTo>
                      <a:pt x="140" y="231"/>
                    </a:lnTo>
                    <a:lnTo>
                      <a:pt x="134" y="229"/>
                    </a:lnTo>
                    <a:lnTo>
                      <a:pt x="130" y="228"/>
                    </a:lnTo>
                    <a:lnTo>
                      <a:pt x="126" y="227"/>
                    </a:lnTo>
                    <a:lnTo>
                      <a:pt x="119" y="222"/>
                    </a:lnTo>
                    <a:lnTo>
                      <a:pt x="107" y="215"/>
                    </a:lnTo>
                    <a:lnTo>
                      <a:pt x="101" y="212"/>
                    </a:lnTo>
                    <a:lnTo>
                      <a:pt x="97" y="209"/>
                    </a:lnTo>
                    <a:lnTo>
                      <a:pt x="95" y="206"/>
                    </a:lnTo>
                    <a:lnTo>
                      <a:pt x="93" y="203"/>
                    </a:lnTo>
                    <a:lnTo>
                      <a:pt x="95" y="199"/>
                    </a:lnTo>
                    <a:lnTo>
                      <a:pt x="98" y="191"/>
                    </a:lnTo>
                    <a:lnTo>
                      <a:pt x="104" y="181"/>
                    </a:lnTo>
                    <a:lnTo>
                      <a:pt x="111" y="169"/>
                    </a:lnTo>
                    <a:lnTo>
                      <a:pt x="119" y="158"/>
                    </a:lnTo>
                    <a:lnTo>
                      <a:pt x="126" y="148"/>
                    </a:lnTo>
                    <a:lnTo>
                      <a:pt x="134" y="140"/>
                    </a:lnTo>
                    <a:lnTo>
                      <a:pt x="140" y="136"/>
                    </a:lnTo>
                    <a:lnTo>
                      <a:pt x="136" y="129"/>
                    </a:lnTo>
                    <a:lnTo>
                      <a:pt x="132" y="122"/>
                    </a:lnTo>
                    <a:lnTo>
                      <a:pt x="126" y="116"/>
                    </a:lnTo>
                    <a:lnTo>
                      <a:pt x="121" y="111"/>
                    </a:lnTo>
                    <a:lnTo>
                      <a:pt x="115" y="105"/>
                    </a:lnTo>
                    <a:lnTo>
                      <a:pt x="111" y="99"/>
                    </a:lnTo>
                    <a:lnTo>
                      <a:pt x="108" y="93"/>
                    </a:lnTo>
                    <a:lnTo>
                      <a:pt x="107" y="86"/>
                    </a:lnTo>
                    <a:lnTo>
                      <a:pt x="107" y="84"/>
                    </a:lnTo>
                    <a:lnTo>
                      <a:pt x="109" y="81"/>
                    </a:lnTo>
                    <a:lnTo>
                      <a:pt x="111" y="78"/>
                    </a:lnTo>
                    <a:lnTo>
                      <a:pt x="113" y="75"/>
                    </a:lnTo>
                    <a:lnTo>
                      <a:pt x="116" y="72"/>
                    </a:lnTo>
                    <a:lnTo>
                      <a:pt x="120" y="70"/>
                    </a:lnTo>
                    <a:lnTo>
                      <a:pt x="123" y="69"/>
                    </a:lnTo>
                    <a:lnTo>
                      <a:pt x="126" y="68"/>
                    </a:lnTo>
                    <a:lnTo>
                      <a:pt x="126" y="37"/>
                    </a:lnTo>
                    <a:lnTo>
                      <a:pt x="120" y="36"/>
                    </a:lnTo>
                    <a:lnTo>
                      <a:pt x="110" y="32"/>
                    </a:lnTo>
                    <a:lnTo>
                      <a:pt x="99" y="27"/>
                    </a:lnTo>
                    <a:lnTo>
                      <a:pt x="87" y="21"/>
                    </a:lnTo>
                    <a:lnTo>
                      <a:pt x="65" y="8"/>
                    </a:lnTo>
                    <a:lnTo>
                      <a:pt x="53" y="0"/>
                    </a:lnTo>
                    <a:lnTo>
                      <a:pt x="52" y="2"/>
                    </a:lnTo>
                    <a:lnTo>
                      <a:pt x="47" y="11"/>
                    </a:lnTo>
                    <a:lnTo>
                      <a:pt x="41" y="26"/>
                    </a:lnTo>
                    <a:lnTo>
                      <a:pt x="34" y="44"/>
                    </a:lnTo>
                    <a:lnTo>
                      <a:pt x="31" y="56"/>
                    </a:lnTo>
                    <a:lnTo>
                      <a:pt x="28" y="70"/>
                    </a:lnTo>
                    <a:lnTo>
                      <a:pt x="24" y="83"/>
                    </a:lnTo>
                    <a:lnTo>
                      <a:pt x="22" y="99"/>
                    </a:lnTo>
                    <a:lnTo>
                      <a:pt x="20" y="115"/>
                    </a:lnTo>
                    <a:lnTo>
                      <a:pt x="20" y="133"/>
                    </a:lnTo>
                    <a:lnTo>
                      <a:pt x="19" y="152"/>
                    </a:lnTo>
                    <a:lnTo>
                      <a:pt x="20" y="172"/>
                    </a:lnTo>
                    <a:lnTo>
                      <a:pt x="15" y="180"/>
                    </a:lnTo>
                    <a:lnTo>
                      <a:pt x="12" y="188"/>
                    </a:lnTo>
                    <a:lnTo>
                      <a:pt x="9" y="197"/>
                    </a:lnTo>
                    <a:lnTo>
                      <a:pt x="8" y="206"/>
                    </a:lnTo>
                    <a:lnTo>
                      <a:pt x="3" y="222"/>
                    </a:lnTo>
                    <a:lnTo>
                      <a:pt x="0" y="235"/>
                    </a:lnTo>
                    <a:lnTo>
                      <a:pt x="12" y="247"/>
                    </a:lnTo>
                    <a:lnTo>
                      <a:pt x="22" y="259"/>
                    </a:lnTo>
                    <a:lnTo>
                      <a:pt x="32" y="270"/>
                    </a:lnTo>
                    <a:lnTo>
                      <a:pt x="41" y="281"/>
                    </a:lnTo>
                    <a:lnTo>
                      <a:pt x="48" y="294"/>
                    </a:lnTo>
                    <a:lnTo>
                      <a:pt x="55" y="305"/>
                    </a:lnTo>
                    <a:lnTo>
                      <a:pt x="60" y="317"/>
                    </a:lnTo>
                    <a:lnTo>
                      <a:pt x="66" y="329"/>
                    </a:lnTo>
                    <a:lnTo>
                      <a:pt x="71" y="341"/>
                    </a:lnTo>
                    <a:lnTo>
                      <a:pt x="75" y="355"/>
                    </a:lnTo>
                    <a:lnTo>
                      <a:pt x="79" y="369"/>
                    </a:lnTo>
                    <a:lnTo>
                      <a:pt x="82" y="384"/>
                    </a:lnTo>
                    <a:lnTo>
                      <a:pt x="88" y="417"/>
                    </a:lnTo>
                    <a:lnTo>
                      <a:pt x="93" y="455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18" name="Freeform 240">
                <a:extLst>
                  <a:ext uri="{FF2B5EF4-FFF2-40B4-BE49-F238E27FC236}">
                    <a16:creationId xmlns="" xmlns:a16="http://schemas.microsoft.com/office/drawing/2014/main" id="{536858F6-D520-4A44-A398-577D616AC05D}"/>
                  </a:ext>
                </a:extLst>
              </p:cNvPr>
              <p:cNvSpPr>
                <a:spLocks/>
              </p:cNvSpPr>
              <p:nvPr>
                <p:custDataLst>
                  <p:tags r:id="rId167"/>
                </p:custDataLst>
              </p:nvPr>
            </p:nvSpPr>
            <p:spPr bwMode="auto">
              <a:xfrm>
                <a:off x="3579813" y="2790825"/>
                <a:ext cx="231775" cy="215900"/>
              </a:xfrm>
              <a:custGeom>
                <a:avLst/>
                <a:gdLst>
                  <a:gd name="T0" fmla="*/ 2147483646 w 518"/>
                  <a:gd name="T1" fmla="*/ 2147483646 h 406"/>
                  <a:gd name="T2" fmla="*/ 2147483646 w 518"/>
                  <a:gd name="T3" fmla="*/ 2147483646 h 406"/>
                  <a:gd name="T4" fmla="*/ 2147483646 w 518"/>
                  <a:gd name="T5" fmla="*/ 2147483646 h 406"/>
                  <a:gd name="T6" fmla="*/ 2147483646 w 518"/>
                  <a:gd name="T7" fmla="*/ 2147483646 h 406"/>
                  <a:gd name="T8" fmla="*/ 2147483646 w 518"/>
                  <a:gd name="T9" fmla="*/ 2147483646 h 406"/>
                  <a:gd name="T10" fmla="*/ 2147483646 w 518"/>
                  <a:gd name="T11" fmla="*/ 2147483646 h 406"/>
                  <a:gd name="T12" fmla="*/ 2147483646 w 518"/>
                  <a:gd name="T13" fmla="*/ 2147483646 h 406"/>
                  <a:gd name="T14" fmla="*/ 2147483646 w 518"/>
                  <a:gd name="T15" fmla="*/ 2147483646 h 406"/>
                  <a:gd name="T16" fmla="*/ 2147483646 w 518"/>
                  <a:gd name="T17" fmla="*/ 2147483646 h 406"/>
                  <a:gd name="T18" fmla="*/ 2147483646 w 518"/>
                  <a:gd name="T19" fmla="*/ 2147483646 h 406"/>
                  <a:gd name="T20" fmla="*/ 2147483646 w 518"/>
                  <a:gd name="T21" fmla="*/ 2147483646 h 406"/>
                  <a:gd name="T22" fmla="*/ 2147483646 w 518"/>
                  <a:gd name="T23" fmla="*/ 2147483646 h 406"/>
                  <a:gd name="T24" fmla="*/ 2147483646 w 518"/>
                  <a:gd name="T25" fmla="*/ 2147483646 h 406"/>
                  <a:gd name="T26" fmla="*/ 2147483646 w 518"/>
                  <a:gd name="T27" fmla="*/ 2147483646 h 406"/>
                  <a:gd name="T28" fmla="*/ 2147483646 w 518"/>
                  <a:gd name="T29" fmla="*/ 2147483646 h 406"/>
                  <a:gd name="T30" fmla="*/ 2147483646 w 518"/>
                  <a:gd name="T31" fmla="*/ 2147483646 h 406"/>
                  <a:gd name="T32" fmla="*/ 2147483646 w 518"/>
                  <a:gd name="T33" fmla="*/ 2147483646 h 406"/>
                  <a:gd name="T34" fmla="*/ 2147483646 w 518"/>
                  <a:gd name="T35" fmla="*/ 2147483646 h 406"/>
                  <a:gd name="T36" fmla="*/ 2147483646 w 518"/>
                  <a:gd name="T37" fmla="*/ 2147483646 h 406"/>
                  <a:gd name="T38" fmla="*/ 2147483646 w 518"/>
                  <a:gd name="T39" fmla="*/ 2147483646 h 406"/>
                  <a:gd name="T40" fmla="*/ 2147483646 w 518"/>
                  <a:gd name="T41" fmla="*/ 2147483646 h 406"/>
                  <a:gd name="T42" fmla="*/ 2147483646 w 518"/>
                  <a:gd name="T43" fmla="*/ 2147483646 h 406"/>
                  <a:gd name="T44" fmla="*/ 2147483646 w 518"/>
                  <a:gd name="T45" fmla="*/ 2147483646 h 406"/>
                  <a:gd name="T46" fmla="*/ 2147483646 w 518"/>
                  <a:gd name="T47" fmla="*/ 2147483646 h 406"/>
                  <a:gd name="T48" fmla="*/ 2147483646 w 518"/>
                  <a:gd name="T49" fmla="*/ 2147483646 h 406"/>
                  <a:gd name="T50" fmla="*/ 2147483646 w 518"/>
                  <a:gd name="T51" fmla="*/ 2147483646 h 406"/>
                  <a:gd name="T52" fmla="*/ 2147483646 w 518"/>
                  <a:gd name="T53" fmla="*/ 2147483646 h 406"/>
                  <a:gd name="T54" fmla="*/ 2147483646 w 518"/>
                  <a:gd name="T55" fmla="*/ 2147483646 h 406"/>
                  <a:gd name="T56" fmla="*/ 2147483646 w 518"/>
                  <a:gd name="T57" fmla="*/ 2147483646 h 406"/>
                  <a:gd name="T58" fmla="*/ 2147483646 w 518"/>
                  <a:gd name="T59" fmla="*/ 2147483646 h 406"/>
                  <a:gd name="T60" fmla="*/ 2147483646 w 518"/>
                  <a:gd name="T61" fmla="*/ 2147483646 h 406"/>
                  <a:gd name="T62" fmla="*/ 2147483646 w 518"/>
                  <a:gd name="T63" fmla="*/ 2147483646 h 406"/>
                  <a:gd name="T64" fmla="*/ 2147483646 w 518"/>
                  <a:gd name="T65" fmla="*/ 2147483646 h 406"/>
                  <a:gd name="T66" fmla="*/ 2147483646 w 518"/>
                  <a:gd name="T67" fmla="*/ 2147483646 h 406"/>
                  <a:gd name="T68" fmla="*/ 2147483646 w 518"/>
                  <a:gd name="T69" fmla="*/ 2147483646 h 406"/>
                  <a:gd name="T70" fmla="*/ 2147483646 w 518"/>
                  <a:gd name="T71" fmla="*/ 2147483646 h 406"/>
                  <a:gd name="T72" fmla="*/ 2147483646 w 518"/>
                  <a:gd name="T73" fmla="*/ 2147483646 h 406"/>
                  <a:gd name="T74" fmla="*/ 2147483646 w 518"/>
                  <a:gd name="T75" fmla="*/ 2147483646 h 406"/>
                  <a:gd name="T76" fmla="*/ 2147483646 w 518"/>
                  <a:gd name="T77" fmla="*/ 0 h 406"/>
                  <a:gd name="T78" fmla="*/ 2147483646 w 518"/>
                  <a:gd name="T79" fmla="*/ 2147483646 h 406"/>
                  <a:gd name="T80" fmla="*/ 2147483646 w 518"/>
                  <a:gd name="T81" fmla="*/ 2147483646 h 40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518"/>
                  <a:gd name="T124" fmla="*/ 0 h 406"/>
                  <a:gd name="T125" fmla="*/ 518 w 518"/>
                  <a:gd name="T126" fmla="*/ 406 h 40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518" h="406">
                    <a:moveTo>
                      <a:pt x="518" y="110"/>
                    </a:moveTo>
                    <a:lnTo>
                      <a:pt x="326" y="110"/>
                    </a:lnTo>
                    <a:lnTo>
                      <a:pt x="312" y="104"/>
                    </a:lnTo>
                    <a:lnTo>
                      <a:pt x="326" y="259"/>
                    </a:lnTo>
                    <a:lnTo>
                      <a:pt x="323" y="261"/>
                    </a:lnTo>
                    <a:lnTo>
                      <a:pt x="315" y="264"/>
                    </a:lnTo>
                    <a:lnTo>
                      <a:pt x="304" y="267"/>
                    </a:lnTo>
                    <a:lnTo>
                      <a:pt x="291" y="271"/>
                    </a:lnTo>
                    <a:lnTo>
                      <a:pt x="263" y="277"/>
                    </a:lnTo>
                    <a:lnTo>
                      <a:pt x="246" y="283"/>
                    </a:lnTo>
                    <a:lnTo>
                      <a:pt x="250" y="292"/>
                    </a:lnTo>
                    <a:lnTo>
                      <a:pt x="253" y="302"/>
                    </a:lnTo>
                    <a:lnTo>
                      <a:pt x="258" y="314"/>
                    </a:lnTo>
                    <a:lnTo>
                      <a:pt x="265" y="326"/>
                    </a:lnTo>
                    <a:lnTo>
                      <a:pt x="267" y="335"/>
                    </a:lnTo>
                    <a:lnTo>
                      <a:pt x="269" y="353"/>
                    </a:lnTo>
                    <a:lnTo>
                      <a:pt x="271" y="373"/>
                    </a:lnTo>
                    <a:lnTo>
                      <a:pt x="272" y="382"/>
                    </a:lnTo>
                    <a:lnTo>
                      <a:pt x="67" y="382"/>
                    </a:lnTo>
                    <a:lnTo>
                      <a:pt x="52" y="394"/>
                    </a:lnTo>
                    <a:lnTo>
                      <a:pt x="39" y="406"/>
                    </a:lnTo>
                    <a:lnTo>
                      <a:pt x="22" y="406"/>
                    </a:lnTo>
                    <a:lnTo>
                      <a:pt x="10" y="404"/>
                    </a:lnTo>
                    <a:lnTo>
                      <a:pt x="5" y="403"/>
                    </a:lnTo>
                    <a:lnTo>
                      <a:pt x="2" y="401"/>
                    </a:lnTo>
                    <a:lnTo>
                      <a:pt x="1" y="398"/>
                    </a:lnTo>
                    <a:lnTo>
                      <a:pt x="0" y="394"/>
                    </a:lnTo>
                    <a:lnTo>
                      <a:pt x="1" y="385"/>
                    </a:lnTo>
                    <a:lnTo>
                      <a:pt x="2" y="378"/>
                    </a:lnTo>
                    <a:lnTo>
                      <a:pt x="4" y="371"/>
                    </a:lnTo>
                    <a:lnTo>
                      <a:pt x="6" y="365"/>
                    </a:lnTo>
                    <a:lnTo>
                      <a:pt x="11" y="354"/>
                    </a:lnTo>
                    <a:lnTo>
                      <a:pt x="13" y="344"/>
                    </a:lnTo>
                    <a:lnTo>
                      <a:pt x="20" y="341"/>
                    </a:lnTo>
                    <a:lnTo>
                      <a:pt x="26" y="337"/>
                    </a:lnTo>
                    <a:lnTo>
                      <a:pt x="30" y="334"/>
                    </a:lnTo>
                    <a:lnTo>
                      <a:pt x="35" y="330"/>
                    </a:lnTo>
                    <a:lnTo>
                      <a:pt x="38" y="326"/>
                    </a:lnTo>
                    <a:lnTo>
                      <a:pt x="41" y="321"/>
                    </a:lnTo>
                    <a:lnTo>
                      <a:pt x="44" y="317"/>
                    </a:lnTo>
                    <a:lnTo>
                      <a:pt x="46" y="313"/>
                    </a:lnTo>
                    <a:lnTo>
                      <a:pt x="49" y="292"/>
                    </a:lnTo>
                    <a:lnTo>
                      <a:pt x="52" y="271"/>
                    </a:lnTo>
                    <a:lnTo>
                      <a:pt x="56" y="265"/>
                    </a:lnTo>
                    <a:lnTo>
                      <a:pt x="59" y="261"/>
                    </a:lnTo>
                    <a:lnTo>
                      <a:pt x="62" y="257"/>
                    </a:lnTo>
                    <a:lnTo>
                      <a:pt x="66" y="253"/>
                    </a:lnTo>
                    <a:lnTo>
                      <a:pt x="74" y="246"/>
                    </a:lnTo>
                    <a:lnTo>
                      <a:pt x="83" y="242"/>
                    </a:lnTo>
                    <a:lnTo>
                      <a:pt x="92" y="238"/>
                    </a:lnTo>
                    <a:lnTo>
                      <a:pt x="100" y="235"/>
                    </a:lnTo>
                    <a:lnTo>
                      <a:pt x="107" y="231"/>
                    </a:lnTo>
                    <a:lnTo>
                      <a:pt x="113" y="227"/>
                    </a:lnTo>
                    <a:lnTo>
                      <a:pt x="122" y="218"/>
                    </a:lnTo>
                    <a:lnTo>
                      <a:pt x="129" y="207"/>
                    </a:lnTo>
                    <a:lnTo>
                      <a:pt x="136" y="195"/>
                    </a:lnTo>
                    <a:lnTo>
                      <a:pt x="141" y="182"/>
                    </a:lnTo>
                    <a:lnTo>
                      <a:pt x="150" y="156"/>
                    </a:lnTo>
                    <a:lnTo>
                      <a:pt x="158" y="129"/>
                    </a:lnTo>
                    <a:lnTo>
                      <a:pt x="162" y="117"/>
                    </a:lnTo>
                    <a:lnTo>
                      <a:pt x="168" y="105"/>
                    </a:lnTo>
                    <a:lnTo>
                      <a:pt x="172" y="94"/>
                    </a:lnTo>
                    <a:lnTo>
                      <a:pt x="179" y="83"/>
                    </a:lnTo>
                    <a:lnTo>
                      <a:pt x="186" y="73"/>
                    </a:lnTo>
                    <a:lnTo>
                      <a:pt x="195" y="66"/>
                    </a:lnTo>
                    <a:lnTo>
                      <a:pt x="201" y="62"/>
                    </a:lnTo>
                    <a:lnTo>
                      <a:pt x="206" y="59"/>
                    </a:lnTo>
                    <a:lnTo>
                      <a:pt x="213" y="57"/>
                    </a:lnTo>
                    <a:lnTo>
                      <a:pt x="219" y="55"/>
                    </a:lnTo>
                    <a:lnTo>
                      <a:pt x="219" y="44"/>
                    </a:lnTo>
                    <a:lnTo>
                      <a:pt x="220" y="36"/>
                    </a:lnTo>
                    <a:lnTo>
                      <a:pt x="223" y="28"/>
                    </a:lnTo>
                    <a:lnTo>
                      <a:pt x="225" y="21"/>
                    </a:lnTo>
                    <a:lnTo>
                      <a:pt x="228" y="16"/>
                    </a:lnTo>
                    <a:lnTo>
                      <a:pt x="233" y="11"/>
                    </a:lnTo>
                    <a:lnTo>
                      <a:pt x="239" y="8"/>
                    </a:lnTo>
                    <a:lnTo>
                      <a:pt x="246" y="6"/>
                    </a:lnTo>
                    <a:lnTo>
                      <a:pt x="511" y="0"/>
                    </a:lnTo>
                    <a:lnTo>
                      <a:pt x="513" y="13"/>
                    </a:lnTo>
                    <a:lnTo>
                      <a:pt x="515" y="46"/>
                    </a:lnTo>
                    <a:lnTo>
                      <a:pt x="517" y="83"/>
                    </a:lnTo>
                    <a:lnTo>
                      <a:pt x="518" y="11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19" name="Freeform 241">
                <a:extLst>
                  <a:ext uri="{FF2B5EF4-FFF2-40B4-BE49-F238E27FC236}">
                    <a16:creationId xmlns="" xmlns:a16="http://schemas.microsoft.com/office/drawing/2014/main" id="{D6D5AE9E-34CA-4F0A-9301-C6FF2D681FC0}"/>
                  </a:ext>
                </a:extLst>
              </p:cNvPr>
              <p:cNvSpPr>
                <a:spLocks/>
              </p:cNvSpPr>
              <p:nvPr>
                <p:custDataLst>
                  <p:tags r:id="rId168"/>
                </p:custDataLst>
              </p:nvPr>
            </p:nvSpPr>
            <p:spPr bwMode="auto">
              <a:xfrm>
                <a:off x="3548063" y="1598613"/>
                <a:ext cx="190500" cy="93662"/>
              </a:xfrm>
              <a:custGeom>
                <a:avLst/>
                <a:gdLst>
                  <a:gd name="T0" fmla="*/ 2147483646 w 446"/>
                  <a:gd name="T1" fmla="*/ 2147483646 h 178"/>
                  <a:gd name="T2" fmla="*/ 2147483646 w 446"/>
                  <a:gd name="T3" fmla="*/ 2147483646 h 178"/>
                  <a:gd name="T4" fmla="*/ 2147483646 w 446"/>
                  <a:gd name="T5" fmla="*/ 2147483646 h 178"/>
                  <a:gd name="T6" fmla="*/ 2147483646 w 446"/>
                  <a:gd name="T7" fmla="*/ 2147483646 h 178"/>
                  <a:gd name="T8" fmla="*/ 2147483646 w 446"/>
                  <a:gd name="T9" fmla="*/ 2147483646 h 178"/>
                  <a:gd name="T10" fmla="*/ 2147483646 w 446"/>
                  <a:gd name="T11" fmla="*/ 0 h 178"/>
                  <a:gd name="T12" fmla="*/ 2147483646 w 446"/>
                  <a:gd name="T13" fmla="*/ 2147483646 h 178"/>
                  <a:gd name="T14" fmla="*/ 2147483646 w 446"/>
                  <a:gd name="T15" fmla="*/ 2147483646 h 178"/>
                  <a:gd name="T16" fmla="*/ 2147483646 w 446"/>
                  <a:gd name="T17" fmla="*/ 2147483646 h 178"/>
                  <a:gd name="T18" fmla="*/ 2147483646 w 446"/>
                  <a:gd name="T19" fmla="*/ 2147483646 h 178"/>
                  <a:gd name="T20" fmla="*/ 2147483646 w 446"/>
                  <a:gd name="T21" fmla="*/ 2147483646 h 178"/>
                  <a:gd name="T22" fmla="*/ 2147483646 w 446"/>
                  <a:gd name="T23" fmla="*/ 2147483646 h 178"/>
                  <a:gd name="T24" fmla="*/ 2147483646 w 446"/>
                  <a:gd name="T25" fmla="*/ 2147483646 h 178"/>
                  <a:gd name="T26" fmla="*/ 2147483646 w 446"/>
                  <a:gd name="T27" fmla="*/ 2147483646 h 178"/>
                  <a:gd name="T28" fmla="*/ 2147483646 w 446"/>
                  <a:gd name="T29" fmla="*/ 2147483646 h 178"/>
                  <a:gd name="T30" fmla="*/ 2147483646 w 446"/>
                  <a:gd name="T31" fmla="*/ 2147483646 h 178"/>
                  <a:gd name="T32" fmla="*/ 2147483646 w 446"/>
                  <a:gd name="T33" fmla="*/ 2147483646 h 178"/>
                  <a:gd name="T34" fmla="*/ 2147483646 w 446"/>
                  <a:gd name="T35" fmla="*/ 2147483646 h 178"/>
                  <a:gd name="T36" fmla="*/ 2147483646 w 446"/>
                  <a:gd name="T37" fmla="*/ 2147483646 h 178"/>
                  <a:gd name="T38" fmla="*/ 2147483646 w 446"/>
                  <a:gd name="T39" fmla="*/ 2147483646 h 178"/>
                  <a:gd name="T40" fmla="*/ 2147483646 w 446"/>
                  <a:gd name="T41" fmla="*/ 2147483646 h 178"/>
                  <a:gd name="T42" fmla="*/ 2147483646 w 446"/>
                  <a:gd name="T43" fmla="*/ 2147483646 h 178"/>
                  <a:gd name="T44" fmla="*/ 2147483646 w 446"/>
                  <a:gd name="T45" fmla="*/ 2147483646 h 178"/>
                  <a:gd name="T46" fmla="*/ 2147483646 w 446"/>
                  <a:gd name="T47" fmla="*/ 2147483646 h 178"/>
                  <a:gd name="T48" fmla="*/ 2147483646 w 446"/>
                  <a:gd name="T49" fmla="*/ 2147483646 h 178"/>
                  <a:gd name="T50" fmla="*/ 2147483646 w 446"/>
                  <a:gd name="T51" fmla="*/ 2147483646 h 178"/>
                  <a:gd name="T52" fmla="*/ 2147483646 w 446"/>
                  <a:gd name="T53" fmla="*/ 2147483646 h 178"/>
                  <a:gd name="T54" fmla="*/ 2147483646 w 446"/>
                  <a:gd name="T55" fmla="*/ 2147483646 h 178"/>
                  <a:gd name="T56" fmla="*/ 2147483646 w 446"/>
                  <a:gd name="T57" fmla="*/ 2147483646 h 178"/>
                  <a:gd name="T58" fmla="*/ 2147483646 w 446"/>
                  <a:gd name="T59" fmla="*/ 2147483646 h 178"/>
                  <a:gd name="T60" fmla="*/ 2147483646 w 446"/>
                  <a:gd name="T61" fmla="*/ 2147483646 h 178"/>
                  <a:gd name="T62" fmla="*/ 2147483646 w 446"/>
                  <a:gd name="T63" fmla="*/ 2147483646 h 178"/>
                  <a:gd name="T64" fmla="*/ 2147483646 w 446"/>
                  <a:gd name="T65" fmla="*/ 2147483646 h 178"/>
                  <a:gd name="T66" fmla="*/ 2147483646 w 446"/>
                  <a:gd name="T67" fmla="*/ 2147483646 h 178"/>
                  <a:gd name="T68" fmla="*/ 2147483646 w 446"/>
                  <a:gd name="T69" fmla="*/ 2147483646 h 178"/>
                  <a:gd name="T70" fmla="*/ 2147483646 w 446"/>
                  <a:gd name="T71" fmla="*/ 2147483646 h 178"/>
                  <a:gd name="T72" fmla="*/ 2147483646 w 446"/>
                  <a:gd name="T73" fmla="*/ 2147483646 h 178"/>
                  <a:gd name="T74" fmla="*/ 2147483646 w 446"/>
                  <a:gd name="T75" fmla="*/ 2147483646 h 178"/>
                  <a:gd name="T76" fmla="*/ 2147483646 w 446"/>
                  <a:gd name="T77" fmla="*/ 2147483646 h 178"/>
                  <a:gd name="T78" fmla="*/ 2147483646 w 446"/>
                  <a:gd name="T79" fmla="*/ 2147483646 h 178"/>
                  <a:gd name="T80" fmla="*/ 0 w 446"/>
                  <a:gd name="T81" fmla="*/ 2147483646 h 178"/>
                  <a:gd name="T82" fmla="*/ 2147483646 w 446"/>
                  <a:gd name="T83" fmla="*/ 2147483646 h 178"/>
                  <a:gd name="T84" fmla="*/ 2147483646 w 446"/>
                  <a:gd name="T85" fmla="*/ 2147483646 h 178"/>
                  <a:gd name="T86" fmla="*/ 2147483646 w 446"/>
                  <a:gd name="T87" fmla="*/ 2147483646 h 178"/>
                  <a:gd name="T88" fmla="*/ 2147483646 w 446"/>
                  <a:gd name="T89" fmla="*/ 2147483646 h 178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446"/>
                  <a:gd name="T136" fmla="*/ 0 h 178"/>
                  <a:gd name="T137" fmla="*/ 446 w 446"/>
                  <a:gd name="T138" fmla="*/ 178 h 178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446" h="178">
                    <a:moveTo>
                      <a:pt x="27" y="43"/>
                    </a:moveTo>
                    <a:lnTo>
                      <a:pt x="31" y="52"/>
                    </a:lnTo>
                    <a:lnTo>
                      <a:pt x="34" y="61"/>
                    </a:lnTo>
                    <a:lnTo>
                      <a:pt x="37" y="53"/>
                    </a:lnTo>
                    <a:lnTo>
                      <a:pt x="40" y="47"/>
                    </a:lnTo>
                    <a:lnTo>
                      <a:pt x="41" y="42"/>
                    </a:lnTo>
                    <a:lnTo>
                      <a:pt x="41" y="37"/>
                    </a:lnTo>
                    <a:lnTo>
                      <a:pt x="55" y="37"/>
                    </a:lnTo>
                    <a:lnTo>
                      <a:pt x="68" y="37"/>
                    </a:lnTo>
                    <a:lnTo>
                      <a:pt x="77" y="37"/>
                    </a:lnTo>
                    <a:lnTo>
                      <a:pt x="80" y="37"/>
                    </a:lnTo>
                    <a:lnTo>
                      <a:pt x="80" y="18"/>
                    </a:lnTo>
                    <a:lnTo>
                      <a:pt x="78" y="17"/>
                    </a:lnTo>
                    <a:lnTo>
                      <a:pt x="75" y="16"/>
                    </a:lnTo>
                    <a:lnTo>
                      <a:pt x="72" y="14"/>
                    </a:lnTo>
                    <a:lnTo>
                      <a:pt x="70" y="11"/>
                    </a:lnTo>
                    <a:lnTo>
                      <a:pt x="65" y="5"/>
                    </a:lnTo>
                    <a:lnTo>
                      <a:pt x="60" y="0"/>
                    </a:lnTo>
                    <a:lnTo>
                      <a:pt x="69" y="3"/>
                    </a:lnTo>
                    <a:lnTo>
                      <a:pt x="78" y="6"/>
                    </a:lnTo>
                    <a:lnTo>
                      <a:pt x="85" y="10"/>
                    </a:lnTo>
                    <a:lnTo>
                      <a:pt x="90" y="15"/>
                    </a:lnTo>
                    <a:lnTo>
                      <a:pt x="100" y="27"/>
                    </a:lnTo>
                    <a:lnTo>
                      <a:pt x="108" y="39"/>
                    </a:lnTo>
                    <a:lnTo>
                      <a:pt x="114" y="49"/>
                    </a:lnTo>
                    <a:lnTo>
                      <a:pt x="121" y="59"/>
                    </a:lnTo>
                    <a:lnTo>
                      <a:pt x="125" y="62"/>
                    </a:lnTo>
                    <a:lnTo>
                      <a:pt x="130" y="65"/>
                    </a:lnTo>
                    <a:lnTo>
                      <a:pt x="134" y="67"/>
                    </a:lnTo>
                    <a:lnTo>
                      <a:pt x="139" y="67"/>
                    </a:lnTo>
                    <a:lnTo>
                      <a:pt x="146" y="67"/>
                    </a:lnTo>
                    <a:lnTo>
                      <a:pt x="152" y="66"/>
                    </a:lnTo>
                    <a:lnTo>
                      <a:pt x="157" y="63"/>
                    </a:lnTo>
                    <a:lnTo>
                      <a:pt x="163" y="61"/>
                    </a:lnTo>
                    <a:lnTo>
                      <a:pt x="172" y="54"/>
                    </a:lnTo>
                    <a:lnTo>
                      <a:pt x="181" y="45"/>
                    </a:lnTo>
                    <a:lnTo>
                      <a:pt x="190" y="37"/>
                    </a:lnTo>
                    <a:lnTo>
                      <a:pt x="198" y="29"/>
                    </a:lnTo>
                    <a:lnTo>
                      <a:pt x="205" y="23"/>
                    </a:lnTo>
                    <a:lnTo>
                      <a:pt x="213" y="18"/>
                    </a:lnTo>
                    <a:lnTo>
                      <a:pt x="216" y="25"/>
                    </a:lnTo>
                    <a:lnTo>
                      <a:pt x="220" y="31"/>
                    </a:lnTo>
                    <a:lnTo>
                      <a:pt x="293" y="31"/>
                    </a:lnTo>
                    <a:lnTo>
                      <a:pt x="352" y="6"/>
                    </a:lnTo>
                    <a:lnTo>
                      <a:pt x="359" y="11"/>
                    </a:lnTo>
                    <a:lnTo>
                      <a:pt x="367" y="17"/>
                    </a:lnTo>
                    <a:lnTo>
                      <a:pt x="371" y="21"/>
                    </a:lnTo>
                    <a:lnTo>
                      <a:pt x="376" y="23"/>
                    </a:lnTo>
                    <a:lnTo>
                      <a:pt x="381" y="24"/>
                    </a:lnTo>
                    <a:lnTo>
                      <a:pt x="385" y="25"/>
                    </a:lnTo>
                    <a:lnTo>
                      <a:pt x="396" y="22"/>
                    </a:lnTo>
                    <a:lnTo>
                      <a:pt x="413" y="18"/>
                    </a:lnTo>
                    <a:lnTo>
                      <a:pt x="413" y="28"/>
                    </a:lnTo>
                    <a:lnTo>
                      <a:pt x="413" y="37"/>
                    </a:lnTo>
                    <a:lnTo>
                      <a:pt x="413" y="39"/>
                    </a:lnTo>
                    <a:lnTo>
                      <a:pt x="414" y="41"/>
                    </a:lnTo>
                    <a:lnTo>
                      <a:pt x="415" y="43"/>
                    </a:lnTo>
                    <a:lnTo>
                      <a:pt x="417" y="45"/>
                    </a:lnTo>
                    <a:lnTo>
                      <a:pt x="423" y="49"/>
                    </a:lnTo>
                    <a:lnTo>
                      <a:pt x="429" y="54"/>
                    </a:lnTo>
                    <a:lnTo>
                      <a:pt x="435" y="59"/>
                    </a:lnTo>
                    <a:lnTo>
                      <a:pt x="440" y="64"/>
                    </a:lnTo>
                    <a:lnTo>
                      <a:pt x="443" y="68"/>
                    </a:lnTo>
                    <a:lnTo>
                      <a:pt x="444" y="71"/>
                    </a:lnTo>
                    <a:lnTo>
                      <a:pt x="445" y="76"/>
                    </a:lnTo>
                    <a:lnTo>
                      <a:pt x="446" y="80"/>
                    </a:lnTo>
                    <a:lnTo>
                      <a:pt x="445" y="87"/>
                    </a:lnTo>
                    <a:lnTo>
                      <a:pt x="443" y="92"/>
                    </a:lnTo>
                    <a:lnTo>
                      <a:pt x="438" y="96"/>
                    </a:lnTo>
                    <a:lnTo>
                      <a:pt x="434" y="100"/>
                    </a:lnTo>
                    <a:lnTo>
                      <a:pt x="423" y="106"/>
                    </a:lnTo>
                    <a:lnTo>
                      <a:pt x="413" y="111"/>
                    </a:lnTo>
                    <a:lnTo>
                      <a:pt x="407" y="115"/>
                    </a:lnTo>
                    <a:lnTo>
                      <a:pt x="402" y="118"/>
                    </a:lnTo>
                    <a:lnTo>
                      <a:pt x="397" y="120"/>
                    </a:lnTo>
                    <a:lnTo>
                      <a:pt x="392" y="121"/>
                    </a:lnTo>
                    <a:lnTo>
                      <a:pt x="380" y="123"/>
                    </a:lnTo>
                    <a:lnTo>
                      <a:pt x="366" y="123"/>
                    </a:lnTo>
                    <a:lnTo>
                      <a:pt x="344" y="129"/>
                    </a:lnTo>
                    <a:lnTo>
                      <a:pt x="322" y="137"/>
                    </a:lnTo>
                    <a:lnTo>
                      <a:pt x="300" y="146"/>
                    </a:lnTo>
                    <a:lnTo>
                      <a:pt x="279" y="156"/>
                    </a:lnTo>
                    <a:lnTo>
                      <a:pt x="257" y="164"/>
                    </a:lnTo>
                    <a:lnTo>
                      <a:pt x="234" y="171"/>
                    </a:lnTo>
                    <a:lnTo>
                      <a:pt x="223" y="174"/>
                    </a:lnTo>
                    <a:lnTo>
                      <a:pt x="211" y="176"/>
                    </a:lnTo>
                    <a:lnTo>
                      <a:pt x="199" y="178"/>
                    </a:lnTo>
                    <a:lnTo>
                      <a:pt x="187" y="178"/>
                    </a:lnTo>
                    <a:lnTo>
                      <a:pt x="181" y="177"/>
                    </a:lnTo>
                    <a:lnTo>
                      <a:pt x="177" y="174"/>
                    </a:lnTo>
                    <a:lnTo>
                      <a:pt x="175" y="171"/>
                    </a:lnTo>
                    <a:lnTo>
                      <a:pt x="173" y="166"/>
                    </a:lnTo>
                    <a:lnTo>
                      <a:pt x="172" y="164"/>
                    </a:lnTo>
                    <a:lnTo>
                      <a:pt x="172" y="163"/>
                    </a:lnTo>
                    <a:lnTo>
                      <a:pt x="171" y="162"/>
                    </a:lnTo>
                    <a:lnTo>
                      <a:pt x="170" y="161"/>
                    </a:lnTo>
                    <a:lnTo>
                      <a:pt x="166" y="161"/>
                    </a:lnTo>
                    <a:lnTo>
                      <a:pt x="161" y="161"/>
                    </a:lnTo>
                    <a:lnTo>
                      <a:pt x="156" y="161"/>
                    </a:lnTo>
                    <a:lnTo>
                      <a:pt x="150" y="162"/>
                    </a:lnTo>
                    <a:lnTo>
                      <a:pt x="145" y="162"/>
                    </a:lnTo>
                    <a:lnTo>
                      <a:pt x="139" y="160"/>
                    </a:lnTo>
                    <a:lnTo>
                      <a:pt x="125" y="156"/>
                    </a:lnTo>
                    <a:lnTo>
                      <a:pt x="112" y="152"/>
                    </a:lnTo>
                    <a:lnTo>
                      <a:pt x="100" y="147"/>
                    </a:lnTo>
                    <a:lnTo>
                      <a:pt x="91" y="143"/>
                    </a:lnTo>
                    <a:lnTo>
                      <a:pt x="87" y="140"/>
                    </a:lnTo>
                    <a:lnTo>
                      <a:pt x="85" y="137"/>
                    </a:lnTo>
                    <a:lnTo>
                      <a:pt x="82" y="134"/>
                    </a:lnTo>
                    <a:lnTo>
                      <a:pt x="81" y="129"/>
                    </a:lnTo>
                    <a:lnTo>
                      <a:pt x="81" y="125"/>
                    </a:lnTo>
                    <a:lnTo>
                      <a:pt x="81" y="121"/>
                    </a:lnTo>
                    <a:lnTo>
                      <a:pt x="83" y="116"/>
                    </a:lnTo>
                    <a:lnTo>
                      <a:pt x="87" y="111"/>
                    </a:lnTo>
                    <a:lnTo>
                      <a:pt x="63" y="108"/>
                    </a:lnTo>
                    <a:lnTo>
                      <a:pt x="38" y="104"/>
                    </a:lnTo>
                    <a:lnTo>
                      <a:pt x="27" y="103"/>
                    </a:lnTo>
                    <a:lnTo>
                      <a:pt x="18" y="103"/>
                    </a:lnTo>
                    <a:lnTo>
                      <a:pt x="13" y="104"/>
                    </a:lnTo>
                    <a:lnTo>
                      <a:pt x="9" y="105"/>
                    </a:lnTo>
                    <a:lnTo>
                      <a:pt x="4" y="108"/>
                    </a:lnTo>
                    <a:lnTo>
                      <a:pt x="0" y="111"/>
                    </a:lnTo>
                    <a:lnTo>
                      <a:pt x="0" y="80"/>
                    </a:lnTo>
                    <a:lnTo>
                      <a:pt x="30" y="82"/>
                    </a:lnTo>
                    <a:lnTo>
                      <a:pt x="51" y="85"/>
                    </a:lnTo>
                    <a:lnTo>
                      <a:pt x="60" y="86"/>
                    </a:lnTo>
                    <a:lnTo>
                      <a:pt x="68" y="86"/>
                    </a:lnTo>
                    <a:lnTo>
                      <a:pt x="77" y="84"/>
                    </a:lnTo>
                    <a:lnTo>
                      <a:pt x="87" y="80"/>
                    </a:lnTo>
                    <a:lnTo>
                      <a:pt x="64" y="76"/>
                    </a:lnTo>
                    <a:lnTo>
                      <a:pt x="44" y="71"/>
                    </a:lnTo>
                    <a:lnTo>
                      <a:pt x="23" y="68"/>
                    </a:lnTo>
                    <a:lnTo>
                      <a:pt x="0" y="67"/>
                    </a:lnTo>
                    <a:lnTo>
                      <a:pt x="9" y="62"/>
                    </a:lnTo>
                    <a:lnTo>
                      <a:pt x="16" y="55"/>
                    </a:lnTo>
                    <a:lnTo>
                      <a:pt x="22" y="49"/>
                    </a:lnTo>
                    <a:lnTo>
                      <a:pt x="27" y="43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20" name="Freeform 242">
                <a:extLst>
                  <a:ext uri="{FF2B5EF4-FFF2-40B4-BE49-F238E27FC236}">
                    <a16:creationId xmlns="" xmlns:a16="http://schemas.microsoft.com/office/drawing/2014/main" id="{C069F102-C1CB-4938-A3EC-885CCDF253C6}"/>
                  </a:ext>
                </a:extLst>
              </p:cNvPr>
              <p:cNvSpPr>
                <a:spLocks/>
              </p:cNvSpPr>
              <p:nvPr>
                <p:custDataLst>
                  <p:tags r:id="rId169"/>
                </p:custDataLst>
              </p:nvPr>
            </p:nvSpPr>
            <p:spPr bwMode="auto">
              <a:xfrm>
                <a:off x="4340225" y="1862138"/>
                <a:ext cx="14288" cy="57150"/>
              </a:xfrm>
              <a:custGeom>
                <a:avLst/>
                <a:gdLst>
                  <a:gd name="T0" fmla="*/ 0 w 28"/>
                  <a:gd name="T1" fmla="*/ 2147483646 h 73"/>
                  <a:gd name="T2" fmla="*/ 2147483646 w 28"/>
                  <a:gd name="T3" fmla="*/ 2147483646 h 73"/>
                  <a:gd name="T4" fmla="*/ 2147483646 w 28"/>
                  <a:gd name="T5" fmla="*/ 2147483646 h 73"/>
                  <a:gd name="T6" fmla="*/ 2147483646 w 28"/>
                  <a:gd name="T7" fmla="*/ 2147483646 h 73"/>
                  <a:gd name="T8" fmla="*/ 2147483646 w 28"/>
                  <a:gd name="T9" fmla="*/ 2147483646 h 73"/>
                  <a:gd name="T10" fmla="*/ 2147483646 w 28"/>
                  <a:gd name="T11" fmla="*/ 2147483646 h 73"/>
                  <a:gd name="T12" fmla="*/ 0 w 28"/>
                  <a:gd name="T13" fmla="*/ 0 h 73"/>
                  <a:gd name="T14" fmla="*/ 2147483646 w 28"/>
                  <a:gd name="T15" fmla="*/ 0 h 73"/>
                  <a:gd name="T16" fmla="*/ 2147483646 w 28"/>
                  <a:gd name="T17" fmla="*/ 2147483646 h 73"/>
                  <a:gd name="T18" fmla="*/ 2147483646 w 28"/>
                  <a:gd name="T19" fmla="*/ 2147483646 h 73"/>
                  <a:gd name="T20" fmla="*/ 2147483646 w 28"/>
                  <a:gd name="T21" fmla="*/ 2147483646 h 73"/>
                  <a:gd name="T22" fmla="*/ 2147483646 w 28"/>
                  <a:gd name="T23" fmla="*/ 2147483646 h 73"/>
                  <a:gd name="T24" fmla="*/ 0 w 28"/>
                  <a:gd name="T25" fmla="*/ 2147483646 h 7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8"/>
                  <a:gd name="T40" fmla="*/ 0 h 73"/>
                  <a:gd name="T41" fmla="*/ 28 w 28"/>
                  <a:gd name="T42" fmla="*/ 73 h 7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8" h="73">
                    <a:moveTo>
                      <a:pt x="0" y="73"/>
                    </a:moveTo>
                    <a:lnTo>
                      <a:pt x="2" y="47"/>
                    </a:lnTo>
                    <a:lnTo>
                      <a:pt x="6" y="28"/>
                    </a:lnTo>
                    <a:lnTo>
                      <a:pt x="7" y="20"/>
                    </a:lnTo>
                    <a:lnTo>
                      <a:pt x="6" y="13"/>
                    </a:lnTo>
                    <a:lnTo>
                      <a:pt x="4" y="7"/>
                    </a:lnTo>
                    <a:lnTo>
                      <a:pt x="0" y="0"/>
                    </a:lnTo>
                    <a:lnTo>
                      <a:pt x="28" y="0"/>
                    </a:lnTo>
                    <a:lnTo>
                      <a:pt x="22" y="16"/>
                    </a:lnTo>
                    <a:lnTo>
                      <a:pt x="17" y="30"/>
                    </a:lnTo>
                    <a:lnTo>
                      <a:pt x="12" y="43"/>
                    </a:lnTo>
                    <a:lnTo>
                      <a:pt x="7" y="55"/>
                    </a:lnTo>
                    <a:lnTo>
                      <a:pt x="0" y="73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21" name="Freeform 243">
                <a:extLst>
                  <a:ext uri="{FF2B5EF4-FFF2-40B4-BE49-F238E27FC236}">
                    <a16:creationId xmlns="" xmlns:a16="http://schemas.microsoft.com/office/drawing/2014/main" id="{B025C586-ADB3-4402-8556-A0E2E8B19B5C}"/>
                  </a:ext>
                </a:extLst>
              </p:cNvPr>
              <p:cNvSpPr>
                <a:spLocks/>
              </p:cNvSpPr>
              <p:nvPr>
                <p:custDataLst>
                  <p:tags r:id="rId170"/>
                </p:custDataLst>
              </p:nvPr>
            </p:nvSpPr>
            <p:spPr bwMode="auto">
              <a:xfrm>
                <a:off x="4227513" y="1525588"/>
                <a:ext cx="234950" cy="395287"/>
              </a:xfrm>
              <a:custGeom>
                <a:avLst/>
                <a:gdLst>
                  <a:gd name="T0" fmla="*/ 2147483646 w 531"/>
                  <a:gd name="T1" fmla="*/ 2147483646 h 757"/>
                  <a:gd name="T2" fmla="*/ 2147483646 w 531"/>
                  <a:gd name="T3" fmla="*/ 2147483646 h 757"/>
                  <a:gd name="T4" fmla="*/ 2147483646 w 531"/>
                  <a:gd name="T5" fmla="*/ 2147483646 h 757"/>
                  <a:gd name="T6" fmla="*/ 2147483646 w 531"/>
                  <a:gd name="T7" fmla="*/ 2147483646 h 757"/>
                  <a:gd name="T8" fmla="*/ 2147483646 w 531"/>
                  <a:gd name="T9" fmla="*/ 2147483646 h 757"/>
                  <a:gd name="T10" fmla="*/ 2147483646 w 531"/>
                  <a:gd name="T11" fmla="*/ 2147483646 h 757"/>
                  <a:gd name="T12" fmla="*/ 2147483646 w 531"/>
                  <a:gd name="T13" fmla="*/ 2147483646 h 757"/>
                  <a:gd name="T14" fmla="*/ 2147483646 w 531"/>
                  <a:gd name="T15" fmla="*/ 2147483646 h 757"/>
                  <a:gd name="T16" fmla="*/ 2147483646 w 531"/>
                  <a:gd name="T17" fmla="*/ 2147483646 h 757"/>
                  <a:gd name="T18" fmla="*/ 2147483646 w 531"/>
                  <a:gd name="T19" fmla="*/ 2147483646 h 757"/>
                  <a:gd name="T20" fmla="*/ 2147483646 w 531"/>
                  <a:gd name="T21" fmla="*/ 2147483646 h 757"/>
                  <a:gd name="T22" fmla="*/ 2147483646 w 531"/>
                  <a:gd name="T23" fmla="*/ 2147483646 h 757"/>
                  <a:gd name="T24" fmla="*/ 2147483646 w 531"/>
                  <a:gd name="T25" fmla="*/ 2147483646 h 757"/>
                  <a:gd name="T26" fmla="*/ 2147483646 w 531"/>
                  <a:gd name="T27" fmla="*/ 2147483646 h 757"/>
                  <a:gd name="T28" fmla="*/ 2147483646 w 531"/>
                  <a:gd name="T29" fmla="*/ 2147483646 h 757"/>
                  <a:gd name="T30" fmla="*/ 2147483646 w 531"/>
                  <a:gd name="T31" fmla="*/ 2147483646 h 757"/>
                  <a:gd name="T32" fmla="*/ 2147483646 w 531"/>
                  <a:gd name="T33" fmla="*/ 2147483646 h 757"/>
                  <a:gd name="T34" fmla="*/ 2147483646 w 531"/>
                  <a:gd name="T35" fmla="*/ 2147483646 h 757"/>
                  <a:gd name="T36" fmla="*/ 2147483646 w 531"/>
                  <a:gd name="T37" fmla="*/ 2147483646 h 757"/>
                  <a:gd name="T38" fmla="*/ 2147483646 w 531"/>
                  <a:gd name="T39" fmla="*/ 2147483646 h 757"/>
                  <a:gd name="T40" fmla="*/ 2147483646 w 531"/>
                  <a:gd name="T41" fmla="*/ 2147483646 h 757"/>
                  <a:gd name="T42" fmla="*/ 2147483646 w 531"/>
                  <a:gd name="T43" fmla="*/ 2147483646 h 757"/>
                  <a:gd name="T44" fmla="*/ 2147483646 w 531"/>
                  <a:gd name="T45" fmla="*/ 2147483646 h 757"/>
                  <a:gd name="T46" fmla="*/ 2147483646 w 531"/>
                  <a:gd name="T47" fmla="*/ 2147483646 h 757"/>
                  <a:gd name="T48" fmla="*/ 2147483646 w 531"/>
                  <a:gd name="T49" fmla="*/ 2147483646 h 757"/>
                  <a:gd name="T50" fmla="*/ 2147483646 w 531"/>
                  <a:gd name="T51" fmla="*/ 2147483646 h 757"/>
                  <a:gd name="T52" fmla="*/ 2147483646 w 531"/>
                  <a:gd name="T53" fmla="*/ 2147483646 h 757"/>
                  <a:gd name="T54" fmla="*/ 2147483646 w 531"/>
                  <a:gd name="T55" fmla="*/ 2147483646 h 757"/>
                  <a:gd name="T56" fmla="*/ 2147483646 w 531"/>
                  <a:gd name="T57" fmla="*/ 2147483646 h 757"/>
                  <a:gd name="T58" fmla="*/ 2147483646 w 531"/>
                  <a:gd name="T59" fmla="*/ 2147483646 h 757"/>
                  <a:gd name="T60" fmla="*/ 2147483646 w 531"/>
                  <a:gd name="T61" fmla="*/ 2147483646 h 757"/>
                  <a:gd name="T62" fmla="*/ 2147483646 w 531"/>
                  <a:gd name="T63" fmla="*/ 2147483646 h 757"/>
                  <a:gd name="T64" fmla="*/ 2147483646 w 531"/>
                  <a:gd name="T65" fmla="*/ 2147483646 h 757"/>
                  <a:gd name="T66" fmla="*/ 2147483646 w 531"/>
                  <a:gd name="T67" fmla="*/ 2147483646 h 757"/>
                  <a:gd name="T68" fmla="*/ 2147483646 w 531"/>
                  <a:gd name="T69" fmla="*/ 2147483646 h 757"/>
                  <a:gd name="T70" fmla="*/ 2147483646 w 531"/>
                  <a:gd name="T71" fmla="*/ 2147483646 h 757"/>
                  <a:gd name="T72" fmla="*/ 2147483646 w 531"/>
                  <a:gd name="T73" fmla="*/ 2147483646 h 757"/>
                  <a:gd name="T74" fmla="*/ 2147483646 w 531"/>
                  <a:gd name="T75" fmla="*/ 2147483646 h 757"/>
                  <a:gd name="T76" fmla="*/ 2147483646 w 531"/>
                  <a:gd name="T77" fmla="*/ 2147483646 h 757"/>
                  <a:gd name="T78" fmla="*/ 2147483646 w 531"/>
                  <a:gd name="T79" fmla="*/ 2147483646 h 757"/>
                  <a:gd name="T80" fmla="*/ 2147483646 w 531"/>
                  <a:gd name="T81" fmla="*/ 2147483646 h 757"/>
                  <a:gd name="T82" fmla="*/ 2147483646 w 531"/>
                  <a:gd name="T83" fmla="*/ 2147483646 h 757"/>
                  <a:gd name="T84" fmla="*/ 2147483646 w 531"/>
                  <a:gd name="T85" fmla="*/ 2147483646 h 757"/>
                  <a:gd name="T86" fmla="*/ 2147483646 w 531"/>
                  <a:gd name="T87" fmla="*/ 2147483646 h 757"/>
                  <a:gd name="T88" fmla="*/ 2147483646 w 531"/>
                  <a:gd name="T89" fmla="*/ 2147483646 h 757"/>
                  <a:gd name="T90" fmla="*/ 2147483646 w 531"/>
                  <a:gd name="T91" fmla="*/ 2147483646 h 757"/>
                  <a:gd name="T92" fmla="*/ 2147483646 w 531"/>
                  <a:gd name="T93" fmla="*/ 2147483646 h 757"/>
                  <a:gd name="T94" fmla="*/ 2147483646 w 531"/>
                  <a:gd name="T95" fmla="*/ 2147483646 h 757"/>
                  <a:gd name="T96" fmla="*/ 2147483646 w 531"/>
                  <a:gd name="T97" fmla="*/ 2147483646 h 757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31"/>
                  <a:gd name="T148" fmla="*/ 0 h 757"/>
                  <a:gd name="T149" fmla="*/ 531 w 531"/>
                  <a:gd name="T150" fmla="*/ 757 h 757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31" h="757">
                    <a:moveTo>
                      <a:pt x="531" y="190"/>
                    </a:moveTo>
                    <a:lnTo>
                      <a:pt x="432" y="190"/>
                    </a:lnTo>
                    <a:lnTo>
                      <a:pt x="428" y="194"/>
                    </a:lnTo>
                    <a:lnTo>
                      <a:pt x="419" y="203"/>
                    </a:lnTo>
                    <a:lnTo>
                      <a:pt x="413" y="208"/>
                    </a:lnTo>
                    <a:lnTo>
                      <a:pt x="409" y="213"/>
                    </a:lnTo>
                    <a:lnTo>
                      <a:pt x="407" y="218"/>
                    </a:lnTo>
                    <a:lnTo>
                      <a:pt x="406" y="221"/>
                    </a:lnTo>
                    <a:lnTo>
                      <a:pt x="404" y="226"/>
                    </a:lnTo>
                    <a:lnTo>
                      <a:pt x="403" y="230"/>
                    </a:lnTo>
                    <a:lnTo>
                      <a:pt x="403" y="233"/>
                    </a:lnTo>
                    <a:lnTo>
                      <a:pt x="404" y="237"/>
                    </a:lnTo>
                    <a:lnTo>
                      <a:pt x="407" y="244"/>
                    </a:lnTo>
                    <a:lnTo>
                      <a:pt x="412" y="252"/>
                    </a:lnTo>
                    <a:lnTo>
                      <a:pt x="397" y="264"/>
                    </a:lnTo>
                    <a:lnTo>
                      <a:pt x="382" y="275"/>
                    </a:lnTo>
                    <a:lnTo>
                      <a:pt x="367" y="284"/>
                    </a:lnTo>
                    <a:lnTo>
                      <a:pt x="353" y="291"/>
                    </a:lnTo>
                    <a:lnTo>
                      <a:pt x="339" y="299"/>
                    </a:lnTo>
                    <a:lnTo>
                      <a:pt x="325" y="306"/>
                    </a:lnTo>
                    <a:lnTo>
                      <a:pt x="311" y="315"/>
                    </a:lnTo>
                    <a:lnTo>
                      <a:pt x="299" y="325"/>
                    </a:lnTo>
                    <a:lnTo>
                      <a:pt x="277" y="338"/>
                    </a:lnTo>
                    <a:lnTo>
                      <a:pt x="252" y="354"/>
                    </a:lnTo>
                    <a:lnTo>
                      <a:pt x="248" y="358"/>
                    </a:lnTo>
                    <a:lnTo>
                      <a:pt x="242" y="361"/>
                    </a:lnTo>
                    <a:lnTo>
                      <a:pt x="239" y="365"/>
                    </a:lnTo>
                    <a:lnTo>
                      <a:pt x="237" y="369"/>
                    </a:lnTo>
                    <a:lnTo>
                      <a:pt x="237" y="372"/>
                    </a:lnTo>
                    <a:lnTo>
                      <a:pt x="238" y="375"/>
                    </a:lnTo>
                    <a:lnTo>
                      <a:pt x="241" y="378"/>
                    </a:lnTo>
                    <a:lnTo>
                      <a:pt x="245" y="381"/>
                    </a:lnTo>
                    <a:lnTo>
                      <a:pt x="245" y="391"/>
                    </a:lnTo>
                    <a:lnTo>
                      <a:pt x="245" y="400"/>
                    </a:lnTo>
                    <a:lnTo>
                      <a:pt x="243" y="413"/>
                    </a:lnTo>
                    <a:lnTo>
                      <a:pt x="240" y="424"/>
                    </a:lnTo>
                    <a:lnTo>
                      <a:pt x="238" y="430"/>
                    </a:lnTo>
                    <a:lnTo>
                      <a:pt x="238" y="436"/>
                    </a:lnTo>
                    <a:lnTo>
                      <a:pt x="238" y="443"/>
                    </a:lnTo>
                    <a:lnTo>
                      <a:pt x="239" y="449"/>
                    </a:lnTo>
                    <a:lnTo>
                      <a:pt x="243" y="456"/>
                    </a:lnTo>
                    <a:lnTo>
                      <a:pt x="249" y="461"/>
                    </a:lnTo>
                    <a:lnTo>
                      <a:pt x="255" y="465"/>
                    </a:lnTo>
                    <a:lnTo>
                      <a:pt x="262" y="468"/>
                    </a:lnTo>
                    <a:lnTo>
                      <a:pt x="277" y="473"/>
                    </a:lnTo>
                    <a:lnTo>
                      <a:pt x="293" y="477"/>
                    </a:lnTo>
                    <a:lnTo>
                      <a:pt x="308" y="480"/>
                    </a:lnTo>
                    <a:lnTo>
                      <a:pt x="320" y="485"/>
                    </a:lnTo>
                    <a:lnTo>
                      <a:pt x="326" y="488"/>
                    </a:lnTo>
                    <a:lnTo>
                      <a:pt x="329" y="492"/>
                    </a:lnTo>
                    <a:lnTo>
                      <a:pt x="331" y="499"/>
                    </a:lnTo>
                    <a:lnTo>
                      <a:pt x="332" y="505"/>
                    </a:lnTo>
                    <a:lnTo>
                      <a:pt x="332" y="517"/>
                    </a:lnTo>
                    <a:lnTo>
                      <a:pt x="332" y="529"/>
                    </a:lnTo>
                    <a:lnTo>
                      <a:pt x="321" y="530"/>
                    </a:lnTo>
                    <a:lnTo>
                      <a:pt x="310" y="531"/>
                    </a:lnTo>
                    <a:lnTo>
                      <a:pt x="299" y="534"/>
                    </a:lnTo>
                    <a:lnTo>
                      <a:pt x="289" y="537"/>
                    </a:lnTo>
                    <a:lnTo>
                      <a:pt x="280" y="542"/>
                    </a:lnTo>
                    <a:lnTo>
                      <a:pt x="272" y="547"/>
                    </a:lnTo>
                    <a:lnTo>
                      <a:pt x="270" y="551"/>
                    </a:lnTo>
                    <a:lnTo>
                      <a:pt x="267" y="554"/>
                    </a:lnTo>
                    <a:lnTo>
                      <a:pt x="266" y="557"/>
                    </a:lnTo>
                    <a:lnTo>
                      <a:pt x="265" y="560"/>
                    </a:lnTo>
                    <a:lnTo>
                      <a:pt x="264" y="576"/>
                    </a:lnTo>
                    <a:lnTo>
                      <a:pt x="262" y="593"/>
                    </a:lnTo>
                    <a:lnTo>
                      <a:pt x="258" y="612"/>
                    </a:lnTo>
                    <a:lnTo>
                      <a:pt x="252" y="631"/>
                    </a:lnTo>
                    <a:lnTo>
                      <a:pt x="248" y="651"/>
                    </a:lnTo>
                    <a:lnTo>
                      <a:pt x="243" y="673"/>
                    </a:lnTo>
                    <a:lnTo>
                      <a:pt x="240" y="695"/>
                    </a:lnTo>
                    <a:lnTo>
                      <a:pt x="239" y="721"/>
                    </a:lnTo>
                    <a:lnTo>
                      <a:pt x="224" y="721"/>
                    </a:lnTo>
                    <a:lnTo>
                      <a:pt x="206" y="722"/>
                    </a:lnTo>
                    <a:lnTo>
                      <a:pt x="189" y="724"/>
                    </a:lnTo>
                    <a:lnTo>
                      <a:pt x="173" y="727"/>
                    </a:lnTo>
                    <a:lnTo>
                      <a:pt x="166" y="730"/>
                    </a:lnTo>
                    <a:lnTo>
                      <a:pt x="161" y="732"/>
                    </a:lnTo>
                    <a:lnTo>
                      <a:pt x="155" y="735"/>
                    </a:lnTo>
                    <a:lnTo>
                      <a:pt x="152" y="738"/>
                    </a:lnTo>
                    <a:lnTo>
                      <a:pt x="150" y="742"/>
                    </a:lnTo>
                    <a:lnTo>
                      <a:pt x="149" y="747"/>
                    </a:lnTo>
                    <a:lnTo>
                      <a:pt x="150" y="751"/>
                    </a:lnTo>
                    <a:lnTo>
                      <a:pt x="153" y="757"/>
                    </a:lnTo>
                    <a:lnTo>
                      <a:pt x="142" y="757"/>
                    </a:lnTo>
                    <a:lnTo>
                      <a:pt x="127" y="757"/>
                    </a:lnTo>
                    <a:lnTo>
                      <a:pt x="113" y="757"/>
                    </a:lnTo>
                    <a:lnTo>
                      <a:pt x="106" y="757"/>
                    </a:lnTo>
                    <a:lnTo>
                      <a:pt x="104" y="757"/>
                    </a:lnTo>
                    <a:lnTo>
                      <a:pt x="101" y="756"/>
                    </a:lnTo>
                    <a:lnTo>
                      <a:pt x="98" y="754"/>
                    </a:lnTo>
                    <a:lnTo>
                      <a:pt x="95" y="752"/>
                    </a:lnTo>
                    <a:lnTo>
                      <a:pt x="90" y="746"/>
                    </a:lnTo>
                    <a:lnTo>
                      <a:pt x="84" y="738"/>
                    </a:lnTo>
                    <a:lnTo>
                      <a:pt x="77" y="729"/>
                    </a:lnTo>
                    <a:lnTo>
                      <a:pt x="71" y="718"/>
                    </a:lnTo>
                    <a:lnTo>
                      <a:pt x="65" y="706"/>
                    </a:lnTo>
                    <a:lnTo>
                      <a:pt x="60" y="693"/>
                    </a:lnTo>
                    <a:lnTo>
                      <a:pt x="49" y="667"/>
                    </a:lnTo>
                    <a:lnTo>
                      <a:pt x="41" y="640"/>
                    </a:lnTo>
                    <a:lnTo>
                      <a:pt x="38" y="628"/>
                    </a:lnTo>
                    <a:lnTo>
                      <a:pt x="35" y="616"/>
                    </a:lnTo>
                    <a:lnTo>
                      <a:pt x="34" y="606"/>
                    </a:lnTo>
                    <a:lnTo>
                      <a:pt x="34" y="597"/>
                    </a:lnTo>
                    <a:lnTo>
                      <a:pt x="27" y="596"/>
                    </a:lnTo>
                    <a:lnTo>
                      <a:pt x="22" y="594"/>
                    </a:lnTo>
                    <a:lnTo>
                      <a:pt x="17" y="590"/>
                    </a:lnTo>
                    <a:lnTo>
                      <a:pt x="14" y="586"/>
                    </a:lnTo>
                    <a:lnTo>
                      <a:pt x="8" y="576"/>
                    </a:lnTo>
                    <a:lnTo>
                      <a:pt x="0" y="566"/>
                    </a:lnTo>
                    <a:lnTo>
                      <a:pt x="9" y="563"/>
                    </a:lnTo>
                    <a:lnTo>
                      <a:pt x="19" y="561"/>
                    </a:lnTo>
                    <a:lnTo>
                      <a:pt x="27" y="560"/>
                    </a:lnTo>
                    <a:lnTo>
                      <a:pt x="34" y="560"/>
                    </a:lnTo>
                    <a:lnTo>
                      <a:pt x="34" y="548"/>
                    </a:lnTo>
                    <a:lnTo>
                      <a:pt x="36" y="538"/>
                    </a:lnTo>
                    <a:lnTo>
                      <a:pt x="38" y="528"/>
                    </a:lnTo>
                    <a:lnTo>
                      <a:pt x="42" y="519"/>
                    </a:lnTo>
                    <a:lnTo>
                      <a:pt x="47" y="511"/>
                    </a:lnTo>
                    <a:lnTo>
                      <a:pt x="53" y="504"/>
                    </a:lnTo>
                    <a:lnTo>
                      <a:pt x="59" y="498"/>
                    </a:lnTo>
                    <a:lnTo>
                      <a:pt x="67" y="492"/>
                    </a:lnTo>
                    <a:lnTo>
                      <a:pt x="62" y="480"/>
                    </a:lnTo>
                    <a:lnTo>
                      <a:pt x="61" y="471"/>
                    </a:lnTo>
                    <a:lnTo>
                      <a:pt x="61" y="464"/>
                    </a:lnTo>
                    <a:lnTo>
                      <a:pt x="61" y="457"/>
                    </a:lnTo>
                    <a:lnTo>
                      <a:pt x="63" y="450"/>
                    </a:lnTo>
                    <a:lnTo>
                      <a:pt x="64" y="441"/>
                    </a:lnTo>
                    <a:lnTo>
                      <a:pt x="65" y="428"/>
                    </a:lnTo>
                    <a:lnTo>
                      <a:pt x="67" y="412"/>
                    </a:lnTo>
                    <a:lnTo>
                      <a:pt x="62" y="410"/>
                    </a:lnTo>
                    <a:lnTo>
                      <a:pt x="58" y="408"/>
                    </a:lnTo>
                    <a:lnTo>
                      <a:pt x="54" y="404"/>
                    </a:lnTo>
                    <a:lnTo>
                      <a:pt x="51" y="400"/>
                    </a:lnTo>
                    <a:lnTo>
                      <a:pt x="47" y="390"/>
                    </a:lnTo>
                    <a:lnTo>
                      <a:pt x="43" y="377"/>
                    </a:lnTo>
                    <a:lnTo>
                      <a:pt x="40" y="354"/>
                    </a:lnTo>
                    <a:lnTo>
                      <a:pt x="40" y="338"/>
                    </a:lnTo>
                    <a:lnTo>
                      <a:pt x="60" y="277"/>
                    </a:lnTo>
                    <a:lnTo>
                      <a:pt x="74" y="276"/>
                    </a:lnTo>
                    <a:lnTo>
                      <a:pt x="88" y="275"/>
                    </a:lnTo>
                    <a:lnTo>
                      <a:pt x="94" y="274"/>
                    </a:lnTo>
                    <a:lnTo>
                      <a:pt x="99" y="274"/>
                    </a:lnTo>
                    <a:lnTo>
                      <a:pt x="103" y="275"/>
                    </a:lnTo>
                    <a:lnTo>
                      <a:pt x="106" y="277"/>
                    </a:lnTo>
                    <a:lnTo>
                      <a:pt x="107" y="261"/>
                    </a:lnTo>
                    <a:lnTo>
                      <a:pt x="109" y="247"/>
                    </a:lnTo>
                    <a:lnTo>
                      <a:pt x="113" y="234"/>
                    </a:lnTo>
                    <a:lnTo>
                      <a:pt x="118" y="222"/>
                    </a:lnTo>
                    <a:lnTo>
                      <a:pt x="124" y="211"/>
                    </a:lnTo>
                    <a:lnTo>
                      <a:pt x="130" y="201"/>
                    </a:lnTo>
                    <a:lnTo>
                      <a:pt x="137" y="192"/>
                    </a:lnTo>
                    <a:lnTo>
                      <a:pt x="144" y="183"/>
                    </a:lnTo>
                    <a:lnTo>
                      <a:pt x="160" y="168"/>
                    </a:lnTo>
                    <a:lnTo>
                      <a:pt x="173" y="152"/>
                    </a:lnTo>
                    <a:lnTo>
                      <a:pt x="180" y="145"/>
                    </a:lnTo>
                    <a:lnTo>
                      <a:pt x="185" y="138"/>
                    </a:lnTo>
                    <a:lnTo>
                      <a:pt x="189" y="130"/>
                    </a:lnTo>
                    <a:lnTo>
                      <a:pt x="193" y="123"/>
                    </a:lnTo>
                    <a:lnTo>
                      <a:pt x="198" y="111"/>
                    </a:lnTo>
                    <a:lnTo>
                      <a:pt x="205" y="97"/>
                    </a:lnTo>
                    <a:lnTo>
                      <a:pt x="213" y="83"/>
                    </a:lnTo>
                    <a:lnTo>
                      <a:pt x="220" y="71"/>
                    </a:lnTo>
                    <a:lnTo>
                      <a:pt x="228" y="60"/>
                    </a:lnTo>
                    <a:lnTo>
                      <a:pt x="237" y="51"/>
                    </a:lnTo>
                    <a:lnTo>
                      <a:pt x="241" y="47"/>
                    </a:lnTo>
                    <a:lnTo>
                      <a:pt x="244" y="44"/>
                    </a:lnTo>
                    <a:lnTo>
                      <a:pt x="249" y="43"/>
                    </a:lnTo>
                    <a:lnTo>
                      <a:pt x="252" y="42"/>
                    </a:lnTo>
                    <a:lnTo>
                      <a:pt x="272" y="36"/>
                    </a:lnTo>
                    <a:lnTo>
                      <a:pt x="291" y="32"/>
                    </a:lnTo>
                    <a:lnTo>
                      <a:pt x="309" y="29"/>
                    </a:lnTo>
                    <a:lnTo>
                      <a:pt x="327" y="25"/>
                    </a:lnTo>
                    <a:lnTo>
                      <a:pt x="344" y="22"/>
                    </a:lnTo>
                    <a:lnTo>
                      <a:pt x="361" y="16"/>
                    </a:lnTo>
                    <a:lnTo>
                      <a:pt x="368" y="13"/>
                    </a:lnTo>
                    <a:lnTo>
                      <a:pt x="376" y="9"/>
                    </a:lnTo>
                    <a:lnTo>
                      <a:pt x="384" y="5"/>
                    </a:lnTo>
                    <a:lnTo>
                      <a:pt x="392" y="0"/>
                    </a:lnTo>
                    <a:lnTo>
                      <a:pt x="401" y="5"/>
                    </a:lnTo>
                    <a:lnTo>
                      <a:pt x="409" y="11"/>
                    </a:lnTo>
                    <a:lnTo>
                      <a:pt x="416" y="18"/>
                    </a:lnTo>
                    <a:lnTo>
                      <a:pt x="423" y="25"/>
                    </a:lnTo>
                    <a:lnTo>
                      <a:pt x="431" y="32"/>
                    </a:lnTo>
                    <a:lnTo>
                      <a:pt x="441" y="37"/>
                    </a:lnTo>
                    <a:lnTo>
                      <a:pt x="445" y="39"/>
                    </a:lnTo>
                    <a:lnTo>
                      <a:pt x="452" y="41"/>
                    </a:lnTo>
                    <a:lnTo>
                      <a:pt x="457" y="42"/>
                    </a:lnTo>
                    <a:lnTo>
                      <a:pt x="465" y="42"/>
                    </a:lnTo>
                    <a:lnTo>
                      <a:pt x="487" y="72"/>
                    </a:lnTo>
                    <a:lnTo>
                      <a:pt x="508" y="102"/>
                    </a:lnTo>
                    <a:lnTo>
                      <a:pt x="513" y="111"/>
                    </a:lnTo>
                    <a:lnTo>
                      <a:pt x="518" y="120"/>
                    </a:lnTo>
                    <a:lnTo>
                      <a:pt x="521" y="129"/>
                    </a:lnTo>
                    <a:lnTo>
                      <a:pt x="524" y="139"/>
                    </a:lnTo>
                    <a:lnTo>
                      <a:pt x="528" y="150"/>
                    </a:lnTo>
                    <a:lnTo>
                      <a:pt x="530" y="163"/>
                    </a:lnTo>
                    <a:lnTo>
                      <a:pt x="531" y="176"/>
                    </a:lnTo>
                    <a:lnTo>
                      <a:pt x="531" y="19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22" name="Freeform 244">
                <a:extLst>
                  <a:ext uri="{FF2B5EF4-FFF2-40B4-BE49-F238E27FC236}">
                    <a16:creationId xmlns="" xmlns:a16="http://schemas.microsoft.com/office/drawing/2014/main" id="{879B737D-0AD4-410C-BB95-F921D0016E88}"/>
                  </a:ext>
                </a:extLst>
              </p:cNvPr>
              <p:cNvSpPr>
                <a:spLocks/>
              </p:cNvSpPr>
              <p:nvPr>
                <p:custDataLst>
                  <p:tags r:id="rId171"/>
                </p:custDataLst>
              </p:nvPr>
            </p:nvSpPr>
            <p:spPr bwMode="auto">
              <a:xfrm>
                <a:off x="4365625" y="1839913"/>
                <a:ext cx="26988" cy="57150"/>
              </a:xfrm>
              <a:custGeom>
                <a:avLst/>
                <a:gdLst>
                  <a:gd name="T0" fmla="*/ 0 w 60"/>
                  <a:gd name="T1" fmla="*/ 2147483646 h 51"/>
                  <a:gd name="T2" fmla="*/ 2147483646 w 60"/>
                  <a:gd name="T3" fmla="*/ 2147483646 h 51"/>
                  <a:gd name="T4" fmla="*/ 2147483646 w 60"/>
                  <a:gd name="T5" fmla="*/ 2147483646 h 51"/>
                  <a:gd name="T6" fmla="*/ 2147483646 w 60"/>
                  <a:gd name="T7" fmla="*/ 2147483646 h 51"/>
                  <a:gd name="T8" fmla="*/ 2147483646 w 60"/>
                  <a:gd name="T9" fmla="*/ 2147483646 h 51"/>
                  <a:gd name="T10" fmla="*/ 2147483646 w 60"/>
                  <a:gd name="T11" fmla="*/ 2147483646 h 51"/>
                  <a:gd name="T12" fmla="*/ 2147483646 w 60"/>
                  <a:gd name="T13" fmla="*/ 0 h 51"/>
                  <a:gd name="T14" fmla="*/ 2147483646 w 60"/>
                  <a:gd name="T15" fmla="*/ 2147483646 h 51"/>
                  <a:gd name="T16" fmla="*/ 2147483646 w 60"/>
                  <a:gd name="T17" fmla="*/ 2147483646 h 51"/>
                  <a:gd name="T18" fmla="*/ 2147483646 w 60"/>
                  <a:gd name="T19" fmla="*/ 2147483646 h 51"/>
                  <a:gd name="T20" fmla="*/ 2147483646 w 60"/>
                  <a:gd name="T21" fmla="*/ 2147483646 h 51"/>
                  <a:gd name="T22" fmla="*/ 2147483646 w 60"/>
                  <a:gd name="T23" fmla="*/ 2147483646 h 51"/>
                  <a:gd name="T24" fmla="*/ 2147483646 w 60"/>
                  <a:gd name="T25" fmla="*/ 2147483646 h 51"/>
                  <a:gd name="T26" fmla="*/ 2147483646 w 60"/>
                  <a:gd name="T27" fmla="*/ 2147483646 h 51"/>
                  <a:gd name="T28" fmla="*/ 2147483646 w 60"/>
                  <a:gd name="T29" fmla="*/ 2147483646 h 51"/>
                  <a:gd name="T30" fmla="*/ 2147483646 w 60"/>
                  <a:gd name="T31" fmla="*/ 2147483646 h 51"/>
                  <a:gd name="T32" fmla="*/ 2147483646 w 60"/>
                  <a:gd name="T33" fmla="*/ 2147483646 h 51"/>
                  <a:gd name="T34" fmla="*/ 2147483646 w 60"/>
                  <a:gd name="T35" fmla="*/ 2147483646 h 51"/>
                  <a:gd name="T36" fmla="*/ 2147483646 w 60"/>
                  <a:gd name="T37" fmla="*/ 2147483646 h 51"/>
                  <a:gd name="T38" fmla="*/ 2147483646 w 60"/>
                  <a:gd name="T39" fmla="*/ 2147483646 h 51"/>
                  <a:gd name="T40" fmla="*/ 2147483646 w 60"/>
                  <a:gd name="T41" fmla="*/ 2147483646 h 51"/>
                  <a:gd name="T42" fmla="*/ 2147483646 w 60"/>
                  <a:gd name="T43" fmla="*/ 2147483646 h 51"/>
                  <a:gd name="T44" fmla="*/ 0 w 60"/>
                  <a:gd name="T45" fmla="*/ 2147483646 h 51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60"/>
                  <a:gd name="T70" fmla="*/ 0 h 51"/>
                  <a:gd name="T71" fmla="*/ 60 w 60"/>
                  <a:gd name="T72" fmla="*/ 51 h 51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60" h="51">
                    <a:moveTo>
                      <a:pt x="0" y="37"/>
                    </a:moveTo>
                    <a:lnTo>
                      <a:pt x="6" y="30"/>
                    </a:lnTo>
                    <a:lnTo>
                      <a:pt x="15" y="19"/>
                    </a:lnTo>
                    <a:lnTo>
                      <a:pt x="20" y="13"/>
                    </a:lnTo>
                    <a:lnTo>
                      <a:pt x="27" y="8"/>
                    </a:lnTo>
                    <a:lnTo>
                      <a:pt x="33" y="4"/>
                    </a:lnTo>
                    <a:lnTo>
                      <a:pt x="40" y="0"/>
                    </a:lnTo>
                    <a:lnTo>
                      <a:pt x="50" y="7"/>
                    </a:lnTo>
                    <a:lnTo>
                      <a:pt x="60" y="13"/>
                    </a:lnTo>
                    <a:lnTo>
                      <a:pt x="59" y="20"/>
                    </a:lnTo>
                    <a:lnTo>
                      <a:pt x="56" y="29"/>
                    </a:lnTo>
                    <a:lnTo>
                      <a:pt x="54" y="34"/>
                    </a:lnTo>
                    <a:lnTo>
                      <a:pt x="52" y="38"/>
                    </a:lnTo>
                    <a:lnTo>
                      <a:pt x="49" y="42"/>
                    </a:lnTo>
                    <a:lnTo>
                      <a:pt x="45" y="45"/>
                    </a:lnTo>
                    <a:lnTo>
                      <a:pt x="41" y="48"/>
                    </a:lnTo>
                    <a:lnTo>
                      <a:pt x="37" y="50"/>
                    </a:lnTo>
                    <a:lnTo>
                      <a:pt x="31" y="51"/>
                    </a:lnTo>
                    <a:lnTo>
                      <a:pt x="27" y="51"/>
                    </a:lnTo>
                    <a:lnTo>
                      <a:pt x="20" y="50"/>
                    </a:lnTo>
                    <a:lnTo>
                      <a:pt x="15" y="47"/>
                    </a:lnTo>
                    <a:lnTo>
                      <a:pt x="7" y="43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23" name="Freeform 245">
                <a:extLst>
                  <a:ext uri="{FF2B5EF4-FFF2-40B4-BE49-F238E27FC236}">
                    <a16:creationId xmlns="" xmlns:a16="http://schemas.microsoft.com/office/drawing/2014/main" id="{0EE30CDC-BEB6-45FC-B9E3-72730A6236BE}"/>
                  </a:ext>
                </a:extLst>
              </p:cNvPr>
              <p:cNvSpPr>
                <a:spLocks/>
              </p:cNvSpPr>
              <p:nvPr>
                <p:custDataLst>
                  <p:tags r:id="rId172"/>
                </p:custDataLst>
              </p:nvPr>
            </p:nvSpPr>
            <p:spPr bwMode="auto">
              <a:xfrm>
                <a:off x="3810000" y="2001838"/>
                <a:ext cx="28575" cy="57150"/>
              </a:xfrm>
              <a:custGeom>
                <a:avLst/>
                <a:gdLst>
                  <a:gd name="T0" fmla="*/ 2147483646 w 66"/>
                  <a:gd name="T1" fmla="*/ 2147483646 h 51"/>
                  <a:gd name="T2" fmla="*/ 2147483646 w 66"/>
                  <a:gd name="T3" fmla="*/ 2147483646 h 51"/>
                  <a:gd name="T4" fmla="*/ 2147483646 w 66"/>
                  <a:gd name="T5" fmla="*/ 2147483646 h 51"/>
                  <a:gd name="T6" fmla="*/ 2147483646 w 66"/>
                  <a:gd name="T7" fmla="*/ 2147483646 h 51"/>
                  <a:gd name="T8" fmla="*/ 2147483646 w 66"/>
                  <a:gd name="T9" fmla="*/ 2147483646 h 51"/>
                  <a:gd name="T10" fmla="*/ 2147483646 w 66"/>
                  <a:gd name="T11" fmla="*/ 2147483646 h 51"/>
                  <a:gd name="T12" fmla="*/ 2147483646 w 66"/>
                  <a:gd name="T13" fmla="*/ 2147483646 h 51"/>
                  <a:gd name="T14" fmla="*/ 2147483646 w 66"/>
                  <a:gd name="T15" fmla="*/ 2147483646 h 51"/>
                  <a:gd name="T16" fmla="*/ 2147483646 w 66"/>
                  <a:gd name="T17" fmla="*/ 2147483646 h 51"/>
                  <a:gd name="T18" fmla="*/ 0 w 66"/>
                  <a:gd name="T19" fmla="*/ 2147483646 h 51"/>
                  <a:gd name="T20" fmla="*/ 0 w 66"/>
                  <a:gd name="T21" fmla="*/ 2147483646 h 51"/>
                  <a:gd name="T22" fmla="*/ 2147483646 w 66"/>
                  <a:gd name="T23" fmla="*/ 2147483646 h 51"/>
                  <a:gd name="T24" fmla="*/ 2147483646 w 66"/>
                  <a:gd name="T25" fmla="*/ 2147483646 h 51"/>
                  <a:gd name="T26" fmla="*/ 2147483646 w 66"/>
                  <a:gd name="T27" fmla="*/ 2147483646 h 51"/>
                  <a:gd name="T28" fmla="*/ 2147483646 w 66"/>
                  <a:gd name="T29" fmla="*/ 2147483646 h 51"/>
                  <a:gd name="T30" fmla="*/ 2147483646 w 66"/>
                  <a:gd name="T31" fmla="*/ 2147483646 h 51"/>
                  <a:gd name="T32" fmla="*/ 2147483646 w 66"/>
                  <a:gd name="T33" fmla="*/ 0 h 51"/>
                  <a:gd name="T34" fmla="*/ 2147483646 w 66"/>
                  <a:gd name="T35" fmla="*/ 2147483646 h 51"/>
                  <a:gd name="T36" fmla="*/ 2147483646 w 66"/>
                  <a:gd name="T37" fmla="*/ 2147483646 h 51"/>
                  <a:gd name="T38" fmla="*/ 2147483646 w 66"/>
                  <a:gd name="T39" fmla="*/ 2147483646 h 51"/>
                  <a:gd name="T40" fmla="*/ 2147483646 w 66"/>
                  <a:gd name="T41" fmla="*/ 0 h 51"/>
                  <a:gd name="T42" fmla="*/ 2147483646 w 66"/>
                  <a:gd name="T43" fmla="*/ 2147483646 h 51"/>
                  <a:gd name="T44" fmla="*/ 2147483646 w 66"/>
                  <a:gd name="T45" fmla="*/ 2147483646 h 51"/>
                  <a:gd name="T46" fmla="*/ 2147483646 w 66"/>
                  <a:gd name="T47" fmla="*/ 2147483646 h 51"/>
                  <a:gd name="T48" fmla="*/ 2147483646 w 66"/>
                  <a:gd name="T49" fmla="*/ 2147483646 h 5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66"/>
                  <a:gd name="T76" fmla="*/ 0 h 51"/>
                  <a:gd name="T77" fmla="*/ 66 w 66"/>
                  <a:gd name="T78" fmla="*/ 51 h 51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66" h="51">
                    <a:moveTo>
                      <a:pt x="59" y="48"/>
                    </a:moveTo>
                    <a:lnTo>
                      <a:pt x="42" y="50"/>
                    </a:lnTo>
                    <a:lnTo>
                      <a:pt x="22" y="51"/>
                    </a:lnTo>
                    <a:lnTo>
                      <a:pt x="17" y="50"/>
                    </a:lnTo>
                    <a:lnTo>
                      <a:pt x="13" y="49"/>
                    </a:lnTo>
                    <a:lnTo>
                      <a:pt x="10" y="48"/>
                    </a:lnTo>
                    <a:lnTo>
                      <a:pt x="7" y="46"/>
                    </a:lnTo>
                    <a:lnTo>
                      <a:pt x="3" y="43"/>
                    </a:lnTo>
                    <a:lnTo>
                      <a:pt x="1" y="40"/>
                    </a:lnTo>
                    <a:lnTo>
                      <a:pt x="0" y="35"/>
                    </a:lnTo>
                    <a:lnTo>
                      <a:pt x="0" y="30"/>
                    </a:lnTo>
                    <a:lnTo>
                      <a:pt x="4" y="29"/>
                    </a:lnTo>
                    <a:lnTo>
                      <a:pt x="10" y="27"/>
                    </a:lnTo>
                    <a:lnTo>
                      <a:pt x="14" y="24"/>
                    </a:lnTo>
                    <a:lnTo>
                      <a:pt x="19" y="20"/>
                    </a:lnTo>
                    <a:lnTo>
                      <a:pt x="26" y="10"/>
                    </a:lnTo>
                    <a:lnTo>
                      <a:pt x="33" y="0"/>
                    </a:lnTo>
                    <a:lnTo>
                      <a:pt x="46" y="1"/>
                    </a:lnTo>
                    <a:lnTo>
                      <a:pt x="52" y="2"/>
                    </a:lnTo>
                    <a:lnTo>
                      <a:pt x="56" y="3"/>
                    </a:lnTo>
                    <a:lnTo>
                      <a:pt x="66" y="0"/>
                    </a:lnTo>
                    <a:lnTo>
                      <a:pt x="65" y="13"/>
                    </a:lnTo>
                    <a:lnTo>
                      <a:pt x="63" y="24"/>
                    </a:lnTo>
                    <a:lnTo>
                      <a:pt x="60" y="36"/>
                    </a:lnTo>
                    <a:lnTo>
                      <a:pt x="59" y="48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24" name="Freeform 246">
                <a:extLst>
                  <a:ext uri="{FF2B5EF4-FFF2-40B4-BE49-F238E27FC236}">
                    <a16:creationId xmlns="" xmlns:a16="http://schemas.microsoft.com/office/drawing/2014/main" id="{F5AF85E1-41BA-4AC2-9F99-E58C805C4137}"/>
                  </a:ext>
                </a:extLst>
              </p:cNvPr>
              <p:cNvSpPr>
                <a:spLocks/>
              </p:cNvSpPr>
              <p:nvPr>
                <p:custDataLst>
                  <p:tags r:id="rId173"/>
                </p:custDataLst>
              </p:nvPr>
            </p:nvSpPr>
            <p:spPr bwMode="auto">
              <a:xfrm>
                <a:off x="4762500" y="2530475"/>
                <a:ext cx="50800" cy="57150"/>
              </a:xfrm>
              <a:custGeom>
                <a:avLst/>
                <a:gdLst>
                  <a:gd name="T0" fmla="*/ 0 w 113"/>
                  <a:gd name="T1" fmla="*/ 2147483646 h 74"/>
                  <a:gd name="T2" fmla="*/ 2147483646 w 113"/>
                  <a:gd name="T3" fmla="*/ 2147483646 h 74"/>
                  <a:gd name="T4" fmla="*/ 2147483646 w 113"/>
                  <a:gd name="T5" fmla="*/ 2147483646 h 74"/>
                  <a:gd name="T6" fmla="*/ 2147483646 w 113"/>
                  <a:gd name="T7" fmla="*/ 2147483646 h 74"/>
                  <a:gd name="T8" fmla="*/ 2147483646 w 113"/>
                  <a:gd name="T9" fmla="*/ 2147483646 h 74"/>
                  <a:gd name="T10" fmla="*/ 2147483646 w 113"/>
                  <a:gd name="T11" fmla="*/ 2147483646 h 74"/>
                  <a:gd name="T12" fmla="*/ 2147483646 w 113"/>
                  <a:gd name="T13" fmla="*/ 2147483646 h 74"/>
                  <a:gd name="T14" fmla="*/ 2147483646 w 113"/>
                  <a:gd name="T15" fmla="*/ 2147483646 h 74"/>
                  <a:gd name="T16" fmla="*/ 2147483646 w 113"/>
                  <a:gd name="T17" fmla="*/ 2147483646 h 74"/>
                  <a:gd name="T18" fmla="*/ 2147483646 w 113"/>
                  <a:gd name="T19" fmla="*/ 2147483646 h 74"/>
                  <a:gd name="T20" fmla="*/ 2147483646 w 113"/>
                  <a:gd name="T21" fmla="*/ 2147483646 h 74"/>
                  <a:gd name="T22" fmla="*/ 2147483646 w 113"/>
                  <a:gd name="T23" fmla="*/ 2147483646 h 74"/>
                  <a:gd name="T24" fmla="*/ 2147483646 w 113"/>
                  <a:gd name="T25" fmla="*/ 2147483646 h 74"/>
                  <a:gd name="T26" fmla="*/ 2147483646 w 113"/>
                  <a:gd name="T27" fmla="*/ 2147483646 h 74"/>
                  <a:gd name="T28" fmla="*/ 2147483646 w 113"/>
                  <a:gd name="T29" fmla="*/ 2147483646 h 74"/>
                  <a:gd name="T30" fmla="*/ 2147483646 w 113"/>
                  <a:gd name="T31" fmla="*/ 2147483646 h 74"/>
                  <a:gd name="T32" fmla="*/ 2147483646 w 113"/>
                  <a:gd name="T33" fmla="*/ 2147483646 h 74"/>
                  <a:gd name="T34" fmla="*/ 2147483646 w 113"/>
                  <a:gd name="T35" fmla="*/ 2147483646 h 74"/>
                  <a:gd name="T36" fmla="*/ 2147483646 w 113"/>
                  <a:gd name="T37" fmla="*/ 2147483646 h 74"/>
                  <a:gd name="T38" fmla="*/ 2147483646 w 113"/>
                  <a:gd name="T39" fmla="*/ 0 h 74"/>
                  <a:gd name="T40" fmla="*/ 2147483646 w 113"/>
                  <a:gd name="T41" fmla="*/ 2147483646 h 74"/>
                  <a:gd name="T42" fmla="*/ 2147483646 w 113"/>
                  <a:gd name="T43" fmla="*/ 2147483646 h 74"/>
                  <a:gd name="T44" fmla="*/ 2147483646 w 113"/>
                  <a:gd name="T45" fmla="*/ 2147483646 h 74"/>
                  <a:gd name="T46" fmla="*/ 2147483646 w 113"/>
                  <a:gd name="T47" fmla="*/ 2147483646 h 74"/>
                  <a:gd name="T48" fmla="*/ 2147483646 w 113"/>
                  <a:gd name="T49" fmla="*/ 2147483646 h 74"/>
                  <a:gd name="T50" fmla="*/ 0 w 113"/>
                  <a:gd name="T51" fmla="*/ 2147483646 h 74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13"/>
                  <a:gd name="T79" fmla="*/ 0 h 74"/>
                  <a:gd name="T80" fmla="*/ 113 w 113"/>
                  <a:gd name="T81" fmla="*/ 74 h 74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13" h="74">
                    <a:moveTo>
                      <a:pt x="0" y="44"/>
                    </a:moveTo>
                    <a:lnTo>
                      <a:pt x="20" y="74"/>
                    </a:lnTo>
                    <a:lnTo>
                      <a:pt x="37" y="69"/>
                    </a:lnTo>
                    <a:lnTo>
                      <a:pt x="51" y="65"/>
                    </a:lnTo>
                    <a:lnTo>
                      <a:pt x="64" y="59"/>
                    </a:lnTo>
                    <a:lnTo>
                      <a:pt x="74" y="53"/>
                    </a:lnTo>
                    <a:lnTo>
                      <a:pt x="78" y="49"/>
                    </a:lnTo>
                    <a:lnTo>
                      <a:pt x="83" y="45"/>
                    </a:lnTo>
                    <a:lnTo>
                      <a:pt x="86" y="41"/>
                    </a:lnTo>
                    <a:lnTo>
                      <a:pt x="88" y="37"/>
                    </a:lnTo>
                    <a:lnTo>
                      <a:pt x="90" y="32"/>
                    </a:lnTo>
                    <a:lnTo>
                      <a:pt x="91" y="26"/>
                    </a:lnTo>
                    <a:lnTo>
                      <a:pt x="93" y="19"/>
                    </a:lnTo>
                    <a:lnTo>
                      <a:pt x="94" y="13"/>
                    </a:lnTo>
                    <a:lnTo>
                      <a:pt x="99" y="12"/>
                    </a:lnTo>
                    <a:lnTo>
                      <a:pt x="106" y="9"/>
                    </a:lnTo>
                    <a:lnTo>
                      <a:pt x="108" y="7"/>
                    </a:lnTo>
                    <a:lnTo>
                      <a:pt x="111" y="5"/>
                    </a:lnTo>
                    <a:lnTo>
                      <a:pt x="112" y="3"/>
                    </a:lnTo>
                    <a:lnTo>
                      <a:pt x="113" y="0"/>
                    </a:lnTo>
                    <a:lnTo>
                      <a:pt x="98" y="4"/>
                    </a:lnTo>
                    <a:lnTo>
                      <a:pt x="82" y="8"/>
                    </a:lnTo>
                    <a:lnTo>
                      <a:pt x="65" y="13"/>
                    </a:lnTo>
                    <a:lnTo>
                      <a:pt x="49" y="19"/>
                    </a:lnTo>
                    <a:lnTo>
                      <a:pt x="20" y="33"/>
                    </a:lnTo>
                    <a:lnTo>
                      <a:pt x="0" y="44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25" name="Freeform 247">
                <a:extLst>
                  <a:ext uri="{FF2B5EF4-FFF2-40B4-BE49-F238E27FC236}">
                    <a16:creationId xmlns="" xmlns:a16="http://schemas.microsoft.com/office/drawing/2014/main" id="{87871752-E6B9-4FBA-9D04-C91894A924AA}"/>
                  </a:ext>
                </a:extLst>
              </p:cNvPr>
              <p:cNvSpPr>
                <a:spLocks/>
              </p:cNvSpPr>
              <p:nvPr>
                <p:custDataLst>
                  <p:tags r:id="rId174"/>
                </p:custDataLst>
              </p:nvPr>
            </p:nvSpPr>
            <p:spPr bwMode="auto">
              <a:xfrm>
                <a:off x="4370388" y="3322638"/>
                <a:ext cx="325437" cy="244475"/>
              </a:xfrm>
              <a:custGeom>
                <a:avLst/>
                <a:gdLst>
                  <a:gd name="T0" fmla="*/ 2147483646 w 746"/>
                  <a:gd name="T1" fmla="*/ 2147483646 h 469"/>
                  <a:gd name="T2" fmla="*/ 2147483646 w 746"/>
                  <a:gd name="T3" fmla="*/ 2147483646 h 469"/>
                  <a:gd name="T4" fmla="*/ 2147483646 w 746"/>
                  <a:gd name="T5" fmla="*/ 2147483646 h 469"/>
                  <a:gd name="T6" fmla="*/ 2147483646 w 746"/>
                  <a:gd name="T7" fmla="*/ 2147483646 h 469"/>
                  <a:gd name="T8" fmla="*/ 0 w 746"/>
                  <a:gd name="T9" fmla="*/ 2147483646 h 469"/>
                  <a:gd name="T10" fmla="*/ 2147483646 w 746"/>
                  <a:gd name="T11" fmla="*/ 2147483646 h 469"/>
                  <a:gd name="T12" fmla="*/ 2147483646 w 746"/>
                  <a:gd name="T13" fmla="*/ 2147483646 h 469"/>
                  <a:gd name="T14" fmla="*/ 2147483646 w 746"/>
                  <a:gd name="T15" fmla="*/ 2147483646 h 469"/>
                  <a:gd name="T16" fmla="*/ 2147483646 w 746"/>
                  <a:gd name="T17" fmla="*/ 2147483646 h 469"/>
                  <a:gd name="T18" fmla="*/ 2147483646 w 746"/>
                  <a:gd name="T19" fmla="*/ 2147483646 h 469"/>
                  <a:gd name="T20" fmla="*/ 2147483646 w 746"/>
                  <a:gd name="T21" fmla="*/ 2147483646 h 469"/>
                  <a:gd name="T22" fmla="*/ 2147483646 w 746"/>
                  <a:gd name="T23" fmla="*/ 2147483646 h 469"/>
                  <a:gd name="T24" fmla="*/ 2147483646 w 746"/>
                  <a:gd name="T25" fmla="*/ 2147483646 h 469"/>
                  <a:gd name="T26" fmla="*/ 2147483646 w 746"/>
                  <a:gd name="T27" fmla="*/ 2147483646 h 469"/>
                  <a:gd name="T28" fmla="*/ 2147483646 w 746"/>
                  <a:gd name="T29" fmla="*/ 2147483646 h 469"/>
                  <a:gd name="T30" fmla="*/ 2147483646 w 746"/>
                  <a:gd name="T31" fmla="*/ 2147483646 h 469"/>
                  <a:gd name="T32" fmla="*/ 2147483646 w 746"/>
                  <a:gd name="T33" fmla="*/ 2147483646 h 469"/>
                  <a:gd name="T34" fmla="*/ 2147483646 w 746"/>
                  <a:gd name="T35" fmla="*/ 2147483646 h 469"/>
                  <a:gd name="T36" fmla="*/ 2147483646 w 746"/>
                  <a:gd name="T37" fmla="*/ 2147483646 h 469"/>
                  <a:gd name="T38" fmla="*/ 2147483646 w 746"/>
                  <a:gd name="T39" fmla="*/ 0 h 469"/>
                  <a:gd name="T40" fmla="*/ 2147483646 w 746"/>
                  <a:gd name="T41" fmla="*/ 2147483646 h 469"/>
                  <a:gd name="T42" fmla="*/ 2147483646 w 746"/>
                  <a:gd name="T43" fmla="*/ 2147483646 h 469"/>
                  <a:gd name="T44" fmla="*/ 2147483646 w 746"/>
                  <a:gd name="T45" fmla="*/ 2147483646 h 469"/>
                  <a:gd name="T46" fmla="*/ 2147483646 w 746"/>
                  <a:gd name="T47" fmla="*/ 2147483646 h 469"/>
                  <a:gd name="T48" fmla="*/ 2147483646 w 746"/>
                  <a:gd name="T49" fmla="*/ 2147483646 h 469"/>
                  <a:gd name="T50" fmla="*/ 2147483646 w 746"/>
                  <a:gd name="T51" fmla="*/ 2147483646 h 469"/>
                  <a:gd name="T52" fmla="*/ 2147483646 w 746"/>
                  <a:gd name="T53" fmla="*/ 2147483646 h 469"/>
                  <a:gd name="T54" fmla="*/ 2147483646 w 746"/>
                  <a:gd name="T55" fmla="*/ 2147483646 h 469"/>
                  <a:gd name="T56" fmla="*/ 2147483646 w 746"/>
                  <a:gd name="T57" fmla="*/ 2147483646 h 469"/>
                  <a:gd name="T58" fmla="*/ 2147483646 w 746"/>
                  <a:gd name="T59" fmla="*/ 2147483646 h 469"/>
                  <a:gd name="T60" fmla="*/ 2147483646 w 746"/>
                  <a:gd name="T61" fmla="*/ 2147483646 h 469"/>
                  <a:gd name="T62" fmla="*/ 2147483646 w 746"/>
                  <a:gd name="T63" fmla="*/ 2147483646 h 469"/>
                  <a:gd name="T64" fmla="*/ 2147483646 w 746"/>
                  <a:gd name="T65" fmla="*/ 2147483646 h 469"/>
                  <a:gd name="T66" fmla="*/ 2147483646 w 746"/>
                  <a:gd name="T67" fmla="*/ 2147483646 h 469"/>
                  <a:gd name="T68" fmla="*/ 2147483646 w 746"/>
                  <a:gd name="T69" fmla="*/ 2147483646 h 469"/>
                  <a:gd name="T70" fmla="*/ 2147483646 w 746"/>
                  <a:gd name="T71" fmla="*/ 2147483646 h 469"/>
                  <a:gd name="T72" fmla="*/ 2147483646 w 746"/>
                  <a:gd name="T73" fmla="*/ 2147483646 h 469"/>
                  <a:gd name="T74" fmla="*/ 2147483646 w 746"/>
                  <a:gd name="T75" fmla="*/ 2147483646 h 469"/>
                  <a:gd name="T76" fmla="*/ 2147483646 w 746"/>
                  <a:gd name="T77" fmla="*/ 2147483646 h 469"/>
                  <a:gd name="T78" fmla="*/ 2147483646 w 746"/>
                  <a:gd name="T79" fmla="*/ 2147483646 h 469"/>
                  <a:gd name="T80" fmla="*/ 2147483646 w 746"/>
                  <a:gd name="T81" fmla="*/ 2147483646 h 469"/>
                  <a:gd name="T82" fmla="*/ 2147483646 w 746"/>
                  <a:gd name="T83" fmla="*/ 2147483646 h 469"/>
                  <a:gd name="T84" fmla="*/ 2147483646 w 746"/>
                  <a:gd name="T85" fmla="*/ 2147483646 h 469"/>
                  <a:gd name="T86" fmla="*/ 2147483646 w 746"/>
                  <a:gd name="T87" fmla="*/ 2147483646 h 469"/>
                  <a:gd name="T88" fmla="*/ 2147483646 w 746"/>
                  <a:gd name="T89" fmla="*/ 2147483646 h 469"/>
                  <a:gd name="T90" fmla="*/ 2147483646 w 746"/>
                  <a:gd name="T91" fmla="*/ 2147483646 h 469"/>
                  <a:gd name="T92" fmla="*/ 2147483646 w 746"/>
                  <a:gd name="T93" fmla="*/ 2147483646 h 469"/>
                  <a:gd name="T94" fmla="*/ 2147483646 w 746"/>
                  <a:gd name="T95" fmla="*/ 2147483646 h 46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46"/>
                  <a:gd name="T145" fmla="*/ 0 h 469"/>
                  <a:gd name="T146" fmla="*/ 746 w 746"/>
                  <a:gd name="T147" fmla="*/ 469 h 469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46" h="469">
                    <a:moveTo>
                      <a:pt x="114" y="469"/>
                    </a:moveTo>
                    <a:lnTo>
                      <a:pt x="109" y="463"/>
                    </a:lnTo>
                    <a:lnTo>
                      <a:pt x="103" y="456"/>
                    </a:lnTo>
                    <a:lnTo>
                      <a:pt x="98" y="452"/>
                    </a:lnTo>
                    <a:lnTo>
                      <a:pt x="92" y="449"/>
                    </a:lnTo>
                    <a:lnTo>
                      <a:pt x="79" y="445"/>
                    </a:lnTo>
                    <a:lnTo>
                      <a:pt x="67" y="442"/>
                    </a:lnTo>
                    <a:lnTo>
                      <a:pt x="54" y="440"/>
                    </a:lnTo>
                    <a:lnTo>
                      <a:pt x="39" y="437"/>
                    </a:lnTo>
                    <a:lnTo>
                      <a:pt x="33" y="435"/>
                    </a:lnTo>
                    <a:lnTo>
                      <a:pt x="26" y="433"/>
                    </a:lnTo>
                    <a:lnTo>
                      <a:pt x="21" y="429"/>
                    </a:lnTo>
                    <a:lnTo>
                      <a:pt x="14" y="425"/>
                    </a:lnTo>
                    <a:lnTo>
                      <a:pt x="11" y="422"/>
                    </a:lnTo>
                    <a:lnTo>
                      <a:pt x="8" y="418"/>
                    </a:lnTo>
                    <a:lnTo>
                      <a:pt x="5" y="413"/>
                    </a:lnTo>
                    <a:lnTo>
                      <a:pt x="3" y="408"/>
                    </a:lnTo>
                    <a:lnTo>
                      <a:pt x="1" y="396"/>
                    </a:lnTo>
                    <a:lnTo>
                      <a:pt x="0" y="385"/>
                    </a:lnTo>
                    <a:lnTo>
                      <a:pt x="0" y="363"/>
                    </a:lnTo>
                    <a:lnTo>
                      <a:pt x="1" y="345"/>
                    </a:lnTo>
                    <a:lnTo>
                      <a:pt x="1" y="332"/>
                    </a:lnTo>
                    <a:lnTo>
                      <a:pt x="3" y="320"/>
                    </a:lnTo>
                    <a:lnTo>
                      <a:pt x="5" y="309"/>
                    </a:lnTo>
                    <a:lnTo>
                      <a:pt x="10" y="299"/>
                    </a:lnTo>
                    <a:lnTo>
                      <a:pt x="13" y="289"/>
                    </a:lnTo>
                    <a:lnTo>
                      <a:pt x="19" y="281"/>
                    </a:lnTo>
                    <a:lnTo>
                      <a:pt x="23" y="273"/>
                    </a:lnTo>
                    <a:lnTo>
                      <a:pt x="30" y="265"/>
                    </a:lnTo>
                    <a:lnTo>
                      <a:pt x="41" y="251"/>
                    </a:lnTo>
                    <a:lnTo>
                      <a:pt x="52" y="236"/>
                    </a:lnTo>
                    <a:lnTo>
                      <a:pt x="56" y="228"/>
                    </a:lnTo>
                    <a:lnTo>
                      <a:pt x="60" y="220"/>
                    </a:lnTo>
                    <a:lnTo>
                      <a:pt x="65" y="212"/>
                    </a:lnTo>
                    <a:lnTo>
                      <a:pt x="67" y="204"/>
                    </a:lnTo>
                    <a:lnTo>
                      <a:pt x="121" y="204"/>
                    </a:lnTo>
                    <a:lnTo>
                      <a:pt x="131" y="198"/>
                    </a:lnTo>
                    <a:lnTo>
                      <a:pt x="142" y="194"/>
                    </a:lnTo>
                    <a:lnTo>
                      <a:pt x="154" y="191"/>
                    </a:lnTo>
                    <a:lnTo>
                      <a:pt x="166" y="188"/>
                    </a:lnTo>
                    <a:lnTo>
                      <a:pt x="190" y="184"/>
                    </a:lnTo>
                    <a:lnTo>
                      <a:pt x="213" y="178"/>
                    </a:lnTo>
                    <a:lnTo>
                      <a:pt x="224" y="176"/>
                    </a:lnTo>
                    <a:lnTo>
                      <a:pt x="235" y="173"/>
                    </a:lnTo>
                    <a:lnTo>
                      <a:pt x="244" y="170"/>
                    </a:lnTo>
                    <a:lnTo>
                      <a:pt x="251" y="165"/>
                    </a:lnTo>
                    <a:lnTo>
                      <a:pt x="258" y="160"/>
                    </a:lnTo>
                    <a:lnTo>
                      <a:pt x="262" y="153"/>
                    </a:lnTo>
                    <a:lnTo>
                      <a:pt x="265" y="150"/>
                    </a:lnTo>
                    <a:lnTo>
                      <a:pt x="266" y="145"/>
                    </a:lnTo>
                    <a:lnTo>
                      <a:pt x="267" y="141"/>
                    </a:lnTo>
                    <a:lnTo>
                      <a:pt x="267" y="136"/>
                    </a:lnTo>
                    <a:lnTo>
                      <a:pt x="267" y="126"/>
                    </a:lnTo>
                    <a:lnTo>
                      <a:pt x="267" y="117"/>
                    </a:lnTo>
                    <a:lnTo>
                      <a:pt x="280" y="119"/>
                    </a:lnTo>
                    <a:lnTo>
                      <a:pt x="292" y="120"/>
                    </a:lnTo>
                    <a:lnTo>
                      <a:pt x="303" y="120"/>
                    </a:lnTo>
                    <a:lnTo>
                      <a:pt x="313" y="119"/>
                    </a:lnTo>
                    <a:lnTo>
                      <a:pt x="323" y="117"/>
                    </a:lnTo>
                    <a:lnTo>
                      <a:pt x="332" y="115"/>
                    </a:lnTo>
                    <a:lnTo>
                      <a:pt x="339" y="112"/>
                    </a:lnTo>
                    <a:lnTo>
                      <a:pt x="347" y="109"/>
                    </a:lnTo>
                    <a:lnTo>
                      <a:pt x="354" y="105"/>
                    </a:lnTo>
                    <a:lnTo>
                      <a:pt x="359" y="101"/>
                    </a:lnTo>
                    <a:lnTo>
                      <a:pt x="366" y="96"/>
                    </a:lnTo>
                    <a:lnTo>
                      <a:pt x="370" y="91"/>
                    </a:lnTo>
                    <a:lnTo>
                      <a:pt x="380" y="80"/>
                    </a:lnTo>
                    <a:lnTo>
                      <a:pt x="389" y="67"/>
                    </a:lnTo>
                    <a:lnTo>
                      <a:pt x="397" y="56"/>
                    </a:lnTo>
                    <a:lnTo>
                      <a:pt x="405" y="44"/>
                    </a:lnTo>
                    <a:lnTo>
                      <a:pt x="414" y="32"/>
                    </a:lnTo>
                    <a:lnTo>
                      <a:pt x="425" y="22"/>
                    </a:lnTo>
                    <a:lnTo>
                      <a:pt x="430" y="18"/>
                    </a:lnTo>
                    <a:lnTo>
                      <a:pt x="436" y="13"/>
                    </a:lnTo>
                    <a:lnTo>
                      <a:pt x="442" y="9"/>
                    </a:lnTo>
                    <a:lnTo>
                      <a:pt x="450" y="6"/>
                    </a:lnTo>
                    <a:lnTo>
                      <a:pt x="458" y="3"/>
                    </a:lnTo>
                    <a:lnTo>
                      <a:pt x="467" y="1"/>
                    </a:lnTo>
                    <a:lnTo>
                      <a:pt x="475" y="0"/>
                    </a:lnTo>
                    <a:lnTo>
                      <a:pt x="486" y="0"/>
                    </a:lnTo>
                    <a:lnTo>
                      <a:pt x="486" y="6"/>
                    </a:lnTo>
                    <a:lnTo>
                      <a:pt x="492" y="14"/>
                    </a:lnTo>
                    <a:lnTo>
                      <a:pt x="498" y="22"/>
                    </a:lnTo>
                    <a:lnTo>
                      <a:pt x="507" y="29"/>
                    </a:lnTo>
                    <a:lnTo>
                      <a:pt x="515" y="35"/>
                    </a:lnTo>
                    <a:lnTo>
                      <a:pt x="523" y="41"/>
                    </a:lnTo>
                    <a:lnTo>
                      <a:pt x="530" y="49"/>
                    </a:lnTo>
                    <a:lnTo>
                      <a:pt x="532" y="53"/>
                    </a:lnTo>
                    <a:lnTo>
                      <a:pt x="536" y="57"/>
                    </a:lnTo>
                    <a:lnTo>
                      <a:pt x="538" y="62"/>
                    </a:lnTo>
                    <a:lnTo>
                      <a:pt x="539" y="67"/>
                    </a:lnTo>
                    <a:lnTo>
                      <a:pt x="553" y="107"/>
                    </a:lnTo>
                    <a:lnTo>
                      <a:pt x="564" y="141"/>
                    </a:lnTo>
                    <a:lnTo>
                      <a:pt x="569" y="148"/>
                    </a:lnTo>
                    <a:lnTo>
                      <a:pt x="573" y="154"/>
                    </a:lnTo>
                    <a:lnTo>
                      <a:pt x="579" y="159"/>
                    </a:lnTo>
                    <a:lnTo>
                      <a:pt x="585" y="164"/>
                    </a:lnTo>
                    <a:lnTo>
                      <a:pt x="593" y="168"/>
                    </a:lnTo>
                    <a:lnTo>
                      <a:pt x="602" y="170"/>
                    </a:lnTo>
                    <a:lnTo>
                      <a:pt x="613" y="172"/>
                    </a:lnTo>
                    <a:lnTo>
                      <a:pt x="626" y="172"/>
                    </a:lnTo>
                    <a:lnTo>
                      <a:pt x="626" y="179"/>
                    </a:lnTo>
                    <a:lnTo>
                      <a:pt x="627" y="187"/>
                    </a:lnTo>
                    <a:lnTo>
                      <a:pt x="628" y="193"/>
                    </a:lnTo>
                    <a:lnTo>
                      <a:pt x="630" y="199"/>
                    </a:lnTo>
                    <a:lnTo>
                      <a:pt x="636" y="211"/>
                    </a:lnTo>
                    <a:lnTo>
                      <a:pt x="642" y="222"/>
                    </a:lnTo>
                    <a:lnTo>
                      <a:pt x="650" y="233"/>
                    </a:lnTo>
                    <a:lnTo>
                      <a:pt x="660" y="244"/>
                    </a:lnTo>
                    <a:lnTo>
                      <a:pt x="670" y="254"/>
                    </a:lnTo>
                    <a:lnTo>
                      <a:pt x="681" y="263"/>
                    </a:lnTo>
                    <a:lnTo>
                      <a:pt x="702" y="279"/>
                    </a:lnTo>
                    <a:lnTo>
                      <a:pt x="720" y="294"/>
                    </a:lnTo>
                    <a:lnTo>
                      <a:pt x="729" y="302"/>
                    </a:lnTo>
                    <a:lnTo>
                      <a:pt x="736" y="309"/>
                    </a:lnTo>
                    <a:lnTo>
                      <a:pt x="741" y="315"/>
                    </a:lnTo>
                    <a:lnTo>
                      <a:pt x="746" y="321"/>
                    </a:lnTo>
                    <a:lnTo>
                      <a:pt x="738" y="345"/>
                    </a:lnTo>
                    <a:lnTo>
                      <a:pt x="728" y="345"/>
                    </a:lnTo>
                    <a:lnTo>
                      <a:pt x="711" y="345"/>
                    </a:lnTo>
                    <a:lnTo>
                      <a:pt x="706" y="345"/>
                    </a:lnTo>
                    <a:lnTo>
                      <a:pt x="700" y="344"/>
                    </a:lnTo>
                    <a:lnTo>
                      <a:pt x="695" y="343"/>
                    </a:lnTo>
                    <a:lnTo>
                      <a:pt x="691" y="342"/>
                    </a:lnTo>
                    <a:lnTo>
                      <a:pt x="685" y="339"/>
                    </a:lnTo>
                    <a:lnTo>
                      <a:pt x="682" y="335"/>
                    </a:lnTo>
                    <a:lnTo>
                      <a:pt x="680" y="329"/>
                    </a:lnTo>
                    <a:lnTo>
                      <a:pt x="679" y="321"/>
                    </a:lnTo>
                    <a:lnTo>
                      <a:pt x="666" y="321"/>
                    </a:lnTo>
                    <a:lnTo>
                      <a:pt x="659" y="321"/>
                    </a:lnTo>
                    <a:lnTo>
                      <a:pt x="654" y="325"/>
                    </a:lnTo>
                    <a:lnTo>
                      <a:pt x="651" y="330"/>
                    </a:lnTo>
                    <a:lnTo>
                      <a:pt x="648" y="334"/>
                    </a:lnTo>
                    <a:lnTo>
                      <a:pt x="647" y="338"/>
                    </a:lnTo>
                    <a:lnTo>
                      <a:pt x="642" y="345"/>
                    </a:lnTo>
                    <a:lnTo>
                      <a:pt x="639" y="352"/>
                    </a:lnTo>
                    <a:lnTo>
                      <a:pt x="630" y="354"/>
                    </a:lnTo>
                    <a:lnTo>
                      <a:pt x="621" y="355"/>
                    </a:lnTo>
                    <a:lnTo>
                      <a:pt x="613" y="355"/>
                    </a:lnTo>
                    <a:lnTo>
                      <a:pt x="604" y="356"/>
                    </a:lnTo>
                    <a:lnTo>
                      <a:pt x="586" y="355"/>
                    </a:lnTo>
                    <a:lnTo>
                      <a:pt x="570" y="355"/>
                    </a:lnTo>
                    <a:lnTo>
                      <a:pt x="561" y="355"/>
                    </a:lnTo>
                    <a:lnTo>
                      <a:pt x="553" y="356"/>
                    </a:lnTo>
                    <a:lnTo>
                      <a:pt x="545" y="357"/>
                    </a:lnTo>
                    <a:lnTo>
                      <a:pt x="537" y="359"/>
                    </a:lnTo>
                    <a:lnTo>
                      <a:pt x="529" y="361"/>
                    </a:lnTo>
                    <a:lnTo>
                      <a:pt x="522" y="365"/>
                    </a:lnTo>
                    <a:lnTo>
                      <a:pt x="514" y="370"/>
                    </a:lnTo>
                    <a:lnTo>
                      <a:pt x="506" y="376"/>
                    </a:lnTo>
                    <a:lnTo>
                      <a:pt x="501" y="381"/>
                    </a:lnTo>
                    <a:lnTo>
                      <a:pt x="496" y="387"/>
                    </a:lnTo>
                    <a:lnTo>
                      <a:pt x="493" y="390"/>
                    </a:lnTo>
                    <a:lnTo>
                      <a:pt x="491" y="392"/>
                    </a:lnTo>
                    <a:lnTo>
                      <a:pt x="489" y="394"/>
                    </a:lnTo>
                    <a:lnTo>
                      <a:pt x="486" y="394"/>
                    </a:lnTo>
                    <a:lnTo>
                      <a:pt x="466" y="395"/>
                    </a:lnTo>
                    <a:lnTo>
                      <a:pt x="451" y="397"/>
                    </a:lnTo>
                    <a:lnTo>
                      <a:pt x="439" y="399"/>
                    </a:lnTo>
                    <a:lnTo>
                      <a:pt x="426" y="400"/>
                    </a:lnTo>
                    <a:lnTo>
                      <a:pt x="417" y="400"/>
                    </a:lnTo>
                    <a:lnTo>
                      <a:pt x="410" y="398"/>
                    </a:lnTo>
                    <a:lnTo>
                      <a:pt x="403" y="395"/>
                    </a:lnTo>
                    <a:lnTo>
                      <a:pt x="396" y="392"/>
                    </a:lnTo>
                    <a:lnTo>
                      <a:pt x="384" y="383"/>
                    </a:lnTo>
                    <a:lnTo>
                      <a:pt x="373" y="373"/>
                    </a:lnTo>
                    <a:lnTo>
                      <a:pt x="361" y="363"/>
                    </a:lnTo>
                    <a:lnTo>
                      <a:pt x="349" y="354"/>
                    </a:lnTo>
                    <a:lnTo>
                      <a:pt x="343" y="351"/>
                    </a:lnTo>
                    <a:lnTo>
                      <a:pt x="336" y="347"/>
                    </a:lnTo>
                    <a:lnTo>
                      <a:pt x="328" y="345"/>
                    </a:lnTo>
                    <a:lnTo>
                      <a:pt x="319" y="345"/>
                    </a:lnTo>
                    <a:lnTo>
                      <a:pt x="313" y="345"/>
                    </a:lnTo>
                    <a:lnTo>
                      <a:pt x="305" y="347"/>
                    </a:lnTo>
                    <a:lnTo>
                      <a:pt x="299" y="351"/>
                    </a:lnTo>
                    <a:lnTo>
                      <a:pt x="291" y="355"/>
                    </a:lnTo>
                    <a:lnTo>
                      <a:pt x="284" y="360"/>
                    </a:lnTo>
                    <a:lnTo>
                      <a:pt x="278" y="365"/>
                    </a:lnTo>
                    <a:lnTo>
                      <a:pt x="272" y="371"/>
                    </a:lnTo>
                    <a:lnTo>
                      <a:pt x="266" y="377"/>
                    </a:lnTo>
                    <a:lnTo>
                      <a:pt x="255" y="392"/>
                    </a:lnTo>
                    <a:lnTo>
                      <a:pt x="244" y="408"/>
                    </a:lnTo>
                    <a:lnTo>
                      <a:pt x="235" y="423"/>
                    </a:lnTo>
                    <a:lnTo>
                      <a:pt x="227" y="437"/>
                    </a:lnTo>
                    <a:lnTo>
                      <a:pt x="197" y="437"/>
                    </a:lnTo>
                    <a:lnTo>
                      <a:pt x="176" y="437"/>
                    </a:lnTo>
                    <a:lnTo>
                      <a:pt x="160" y="437"/>
                    </a:lnTo>
                    <a:lnTo>
                      <a:pt x="150" y="439"/>
                    </a:lnTo>
                    <a:lnTo>
                      <a:pt x="146" y="440"/>
                    </a:lnTo>
                    <a:lnTo>
                      <a:pt x="143" y="442"/>
                    </a:lnTo>
                    <a:lnTo>
                      <a:pt x="139" y="445"/>
                    </a:lnTo>
                    <a:lnTo>
                      <a:pt x="135" y="448"/>
                    </a:lnTo>
                    <a:lnTo>
                      <a:pt x="126" y="456"/>
                    </a:lnTo>
                    <a:lnTo>
                      <a:pt x="114" y="469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26" name="Freeform 248">
                <a:extLst>
                  <a:ext uri="{FF2B5EF4-FFF2-40B4-BE49-F238E27FC236}">
                    <a16:creationId xmlns="" xmlns:a16="http://schemas.microsoft.com/office/drawing/2014/main" id="{740CB4D4-42E0-4A87-AC69-722169D33C18}"/>
                  </a:ext>
                </a:extLst>
              </p:cNvPr>
              <p:cNvSpPr>
                <a:spLocks/>
              </p:cNvSpPr>
              <p:nvPr>
                <p:custDataLst>
                  <p:tags r:id="rId175"/>
                </p:custDataLst>
              </p:nvPr>
            </p:nvSpPr>
            <p:spPr bwMode="auto">
              <a:xfrm>
                <a:off x="4306888" y="3490913"/>
                <a:ext cx="500062" cy="552450"/>
              </a:xfrm>
              <a:custGeom>
                <a:avLst/>
                <a:gdLst>
                  <a:gd name="T0" fmla="*/ 2147483646 w 1145"/>
                  <a:gd name="T1" fmla="*/ 2147483646 h 1053"/>
                  <a:gd name="T2" fmla="*/ 2147483646 w 1145"/>
                  <a:gd name="T3" fmla="*/ 2147483646 h 1053"/>
                  <a:gd name="T4" fmla="*/ 2147483646 w 1145"/>
                  <a:gd name="T5" fmla="*/ 2147483646 h 1053"/>
                  <a:gd name="T6" fmla="*/ 2147483646 w 1145"/>
                  <a:gd name="T7" fmla="*/ 2147483646 h 1053"/>
                  <a:gd name="T8" fmla="*/ 2147483646 w 1145"/>
                  <a:gd name="T9" fmla="*/ 2147483646 h 1053"/>
                  <a:gd name="T10" fmla="*/ 2147483646 w 1145"/>
                  <a:gd name="T11" fmla="*/ 2147483646 h 1053"/>
                  <a:gd name="T12" fmla="*/ 2147483646 w 1145"/>
                  <a:gd name="T13" fmla="*/ 2147483646 h 1053"/>
                  <a:gd name="T14" fmla="*/ 2147483646 w 1145"/>
                  <a:gd name="T15" fmla="*/ 2147483646 h 1053"/>
                  <a:gd name="T16" fmla="*/ 2147483646 w 1145"/>
                  <a:gd name="T17" fmla="*/ 2147483646 h 1053"/>
                  <a:gd name="T18" fmla="*/ 2147483646 w 1145"/>
                  <a:gd name="T19" fmla="*/ 2147483646 h 1053"/>
                  <a:gd name="T20" fmla="*/ 2147483646 w 1145"/>
                  <a:gd name="T21" fmla="*/ 2147483646 h 1053"/>
                  <a:gd name="T22" fmla="*/ 2147483646 w 1145"/>
                  <a:gd name="T23" fmla="*/ 2147483646 h 1053"/>
                  <a:gd name="T24" fmla="*/ 2147483646 w 1145"/>
                  <a:gd name="T25" fmla="*/ 2147483646 h 1053"/>
                  <a:gd name="T26" fmla="*/ 2147483646 w 1145"/>
                  <a:gd name="T27" fmla="*/ 2147483646 h 1053"/>
                  <a:gd name="T28" fmla="*/ 2147483646 w 1145"/>
                  <a:gd name="T29" fmla="*/ 2147483646 h 1053"/>
                  <a:gd name="T30" fmla="*/ 2147483646 w 1145"/>
                  <a:gd name="T31" fmla="*/ 2147483646 h 1053"/>
                  <a:gd name="T32" fmla="*/ 2147483646 w 1145"/>
                  <a:gd name="T33" fmla="*/ 2147483646 h 1053"/>
                  <a:gd name="T34" fmla="*/ 2147483646 w 1145"/>
                  <a:gd name="T35" fmla="*/ 2147483646 h 1053"/>
                  <a:gd name="T36" fmla="*/ 2147483646 w 1145"/>
                  <a:gd name="T37" fmla="*/ 2147483646 h 1053"/>
                  <a:gd name="T38" fmla="*/ 2147483646 w 1145"/>
                  <a:gd name="T39" fmla="*/ 2147483646 h 1053"/>
                  <a:gd name="T40" fmla="*/ 2147483646 w 1145"/>
                  <a:gd name="T41" fmla="*/ 2147483646 h 1053"/>
                  <a:gd name="T42" fmla="*/ 2147483646 w 1145"/>
                  <a:gd name="T43" fmla="*/ 2147483646 h 1053"/>
                  <a:gd name="T44" fmla="*/ 2147483646 w 1145"/>
                  <a:gd name="T45" fmla="*/ 2147483646 h 1053"/>
                  <a:gd name="T46" fmla="*/ 2147483646 w 1145"/>
                  <a:gd name="T47" fmla="*/ 2147483646 h 1053"/>
                  <a:gd name="T48" fmla="*/ 2147483646 w 1145"/>
                  <a:gd name="T49" fmla="*/ 2147483646 h 1053"/>
                  <a:gd name="T50" fmla="*/ 2147483646 w 1145"/>
                  <a:gd name="T51" fmla="*/ 2147483646 h 1053"/>
                  <a:gd name="T52" fmla="*/ 2147483646 w 1145"/>
                  <a:gd name="T53" fmla="*/ 2147483646 h 1053"/>
                  <a:gd name="T54" fmla="*/ 2147483646 w 1145"/>
                  <a:gd name="T55" fmla="*/ 2147483646 h 1053"/>
                  <a:gd name="T56" fmla="*/ 2147483646 w 1145"/>
                  <a:gd name="T57" fmla="*/ 2147483646 h 1053"/>
                  <a:gd name="T58" fmla="*/ 2147483646 w 1145"/>
                  <a:gd name="T59" fmla="*/ 2147483646 h 1053"/>
                  <a:gd name="T60" fmla="*/ 2147483646 w 1145"/>
                  <a:gd name="T61" fmla="*/ 2147483646 h 1053"/>
                  <a:gd name="T62" fmla="*/ 2147483646 w 1145"/>
                  <a:gd name="T63" fmla="*/ 2147483646 h 1053"/>
                  <a:gd name="T64" fmla="*/ 2147483646 w 1145"/>
                  <a:gd name="T65" fmla="*/ 2147483646 h 1053"/>
                  <a:gd name="T66" fmla="*/ 2147483646 w 1145"/>
                  <a:gd name="T67" fmla="*/ 2147483646 h 1053"/>
                  <a:gd name="T68" fmla="*/ 2147483646 w 1145"/>
                  <a:gd name="T69" fmla="*/ 2147483646 h 1053"/>
                  <a:gd name="T70" fmla="*/ 2147483646 w 1145"/>
                  <a:gd name="T71" fmla="*/ 2147483646 h 1053"/>
                  <a:gd name="T72" fmla="*/ 2147483646 w 1145"/>
                  <a:gd name="T73" fmla="*/ 2147483646 h 1053"/>
                  <a:gd name="T74" fmla="*/ 2147483646 w 1145"/>
                  <a:gd name="T75" fmla="*/ 2147483646 h 1053"/>
                  <a:gd name="T76" fmla="*/ 2147483646 w 1145"/>
                  <a:gd name="T77" fmla="*/ 2147483646 h 1053"/>
                  <a:gd name="T78" fmla="*/ 2147483646 w 1145"/>
                  <a:gd name="T79" fmla="*/ 2147483646 h 1053"/>
                  <a:gd name="T80" fmla="*/ 2147483646 w 1145"/>
                  <a:gd name="T81" fmla="*/ 2147483646 h 1053"/>
                  <a:gd name="T82" fmla="*/ 2147483646 w 1145"/>
                  <a:gd name="T83" fmla="*/ 2147483646 h 1053"/>
                  <a:gd name="T84" fmla="*/ 2147483646 w 1145"/>
                  <a:gd name="T85" fmla="*/ 2147483646 h 1053"/>
                  <a:gd name="T86" fmla="*/ 2147483646 w 1145"/>
                  <a:gd name="T87" fmla="*/ 2147483646 h 1053"/>
                  <a:gd name="T88" fmla="*/ 2147483646 w 1145"/>
                  <a:gd name="T89" fmla="*/ 2147483646 h 1053"/>
                  <a:gd name="T90" fmla="*/ 2147483646 w 1145"/>
                  <a:gd name="T91" fmla="*/ 2147483646 h 1053"/>
                  <a:gd name="T92" fmla="*/ 2147483646 w 1145"/>
                  <a:gd name="T93" fmla="*/ 2147483646 h 1053"/>
                  <a:gd name="T94" fmla="*/ 2147483646 w 1145"/>
                  <a:gd name="T95" fmla="*/ 2147483646 h 1053"/>
                  <a:gd name="T96" fmla="*/ 2147483646 w 1145"/>
                  <a:gd name="T97" fmla="*/ 2147483646 h 1053"/>
                  <a:gd name="T98" fmla="*/ 2147483646 w 1145"/>
                  <a:gd name="T99" fmla="*/ 2147483646 h 1053"/>
                  <a:gd name="T100" fmla="*/ 2147483646 w 1145"/>
                  <a:gd name="T101" fmla="*/ 2147483646 h 1053"/>
                  <a:gd name="T102" fmla="*/ 2147483646 w 1145"/>
                  <a:gd name="T103" fmla="*/ 2147483646 h 1053"/>
                  <a:gd name="T104" fmla="*/ 2147483646 w 1145"/>
                  <a:gd name="T105" fmla="*/ 2147483646 h 1053"/>
                  <a:gd name="T106" fmla="*/ 2147483646 w 1145"/>
                  <a:gd name="T107" fmla="*/ 2147483646 h 1053"/>
                  <a:gd name="T108" fmla="*/ 2147483646 w 1145"/>
                  <a:gd name="T109" fmla="*/ 2147483646 h 1053"/>
                  <a:gd name="T110" fmla="*/ 2147483646 w 1145"/>
                  <a:gd name="T111" fmla="*/ 2147483646 h 1053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145"/>
                  <a:gd name="T169" fmla="*/ 0 h 1053"/>
                  <a:gd name="T170" fmla="*/ 1145 w 1145"/>
                  <a:gd name="T171" fmla="*/ 1053 h 1053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145" h="1053">
                    <a:moveTo>
                      <a:pt x="894" y="24"/>
                    </a:moveTo>
                    <a:lnTo>
                      <a:pt x="894" y="32"/>
                    </a:lnTo>
                    <a:lnTo>
                      <a:pt x="895" y="38"/>
                    </a:lnTo>
                    <a:lnTo>
                      <a:pt x="896" y="44"/>
                    </a:lnTo>
                    <a:lnTo>
                      <a:pt x="897" y="49"/>
                    </a:lnTo>
                    <a:lnTo>
                      <a:pt x="900" y="53"/>
                    </a:lnTo>
                    <a:lnTo>
                      <a:pt x="902" y="57"/>
                    </a:lnTo>
                    <a:lnTo>
                      <a:pt x="906" y="61"/>
                    </a:lnTo>
                    <a:lnTo>
                      <a:pt x="909" y="64"/>
                    </a:lnTo>
                    <a:lnTo>
                      <a:pt x="918" y="68"/>
                    </a:lnTo>
                    <a:lnTo>
                      <a:pt x="926" y="71"/>
                    </a:lnTo>
                    <a:lnTo>
                      <a:pt x="936" y="72"/>
                    </a:lnTo>
                    <a:lnTo>
                      <a:pt x="947" y="72"/>
                    </a:lnTo>
                    <a:lnTo>
                      <a:pt x="993" y="66"/>
                    </a:lnTo>
                    <a:lnTo>
                      <a:pt x="1033" y="61"/>
                    </a:lnTo>
                    <a:lnTo>
                      <a:pt x="1038" y="61"/>
                    </a:lnTo>
                    <a:lnTo>
                      <a:pt x="1045" y="63"/>
                    </a:lnTo>
                    <a:lnTo>
                      <a:pt x="1051" y="64"/>
                    </a:lnTo>
                    <a:lnTo>
                      <a:pt x="1057" y="67"/>
                    </a:lnTo>
                    <a:lnTo>
                      <a:pt x="1069" y="73"/>
                    </a:lnTo>
                    <a:lnTo>
                      <a:pt x="1080" y="81"/>
                    </a:lnTo>
                    <a:lnTo>
                      <a:pt x="1099" y="98"/>
                    </a:lnTo>
                    <a:lnTo>
                      <a:pt x="1112" y="110"/>
                    </a:lnTo>
                    <a:lnTo>
                      <a:pt x="1113" y="124"/>
                    </a:lnTo>
                    <a:lnTo>
                      <a:pt x="1114" y="138"/>
                    </a:lnTo>
                    <a:lnTo>
                      <a:pt x="1117" y="152"/>
                    </a:lnTo>
                    <a:lnTo>
                      <a:pt x="1122" y="164"/>
                    </a:lnTo>
                    <a:lnTo>
                      <a:pt x="1126" y="175"/>
                    </a:lnTo>
                    <a:lnTo>
                      <a:pt x="1132" y="183"/>
                    </a:lnTo>
                    <a:lnTo>
                      <a:pt x="1135" y="186"/>
                    </a:lnTo>
                    <a:lnTo>
                      <a:pt x="1138" y="188"/>
                    </a:lnTo>
                    <a:lnTo>
                      <a:pt x="1142" y="190"/>
                    </a:lnTo>
                    <a:lnTo>
                      <a:pt x="1145" y="190"/>
                    </a:lnTo>
                    <a:lnTo>
                      <a:pt x="1139" y="202"/>
                    </a:lnTo>
                    <a:lnTo>
                      <a:pt x="1133" y="211"/>
                    </a:lnTo>
                    <a:lnTo>
                      <a:pt x="1125" y="220"/>
                    </a:lnTo>
                    <a:lnTo>
                      <a:pt x="1117" y="227"/>
                    </a:lnTo>
                    <a:lnTo>
                      <a:pt x="1100" y="240"/>
                    </a:lnTo>
                    <a:lnTo>
                      <a:pt x="1082" y="253"/>
                    </a:lnTo>
                    <a:lnTo>
                      <a:pt x="1074" y="259"/>
                    </a:lnTo>
                    <a:lnTo>
                      <a:pt x="1066" y="266"/>
                    </a:lnTo>
                    <a:lnTo>
                      <a:pt x="1058" y="272"/>
                    </a:lnTo>
                    <a:lnTo>
                      <a:pt x="1052" y="280"/>
                    </a:lnTo>
                    <a:lnTo>
                      <a:pt x="1046" y="288"/>
                    </a:lnTo>
                    <a:lnTo>
                      <a:pt x="1043" y="297"/>
                    </a:lnTo>
                    <a:lnTo>
                      <a:pt x="1040" y="308"/>
                    </a:lnTo>
                    <a:lnTo>
                      <a:pt x="1040" y="320"/>
                    </a:lnTo>
                    <a:lnTo>
                      <a:pt x="1041" y="339"/>
                    </a:lnTo>
                    <a:lnTo>
                      <a:pt x="1045" y="360"/>
                    </a:lnTo>
                    <a:lnTo>
                      <a:pt x="1046" y="371"/>
                    </a:lnTo>
                    <a:lnTo>
                      <a:pt x="1047" y="381"/>
                    </a:lnTo>
                    <a:lnTo>
                      <a:pt x="1047" y="391"/>
                    </a:lnTo>
                    <a:lnTo>
                      <a:pt x="1046" y="400"/>
                    </a:lnTo>
                    <a:lnTo>
                      <a:pt x="1034" y="410"/>
                    </a:lnTo>
                    <a:lnTo>
                      <a:pt x="1013" y="430"/>
                    </a:lnTo>
                    <a:lnTo>
                      <a:pt x="1003" y="440"/>
                    </a:lnTo>
                    <a:lnTo>
                      <a:pt x="995" y="450"/>
                    </a:lnTo>
                    <a:lnTo>
                      <a:pt x="991" y="455"/>
                    </a:lnTo>
                    <a:lnTo>
                      <a:pt x="988" y="460"/>
                    </a:lnTo>
                    <a:lnTo>
                      <a:pt x="987" y="464"/>
                    </a:lnTo>
                    <a:lnTo>
                      <a:pt x="986" y="467"/>
                    </a:lnTo>
                    <a:lnTo>
                      <a:pt x="987" y="470"/>
                    </a:lnTo>
                    <a:lnTo>
                      <a:pt x="990" y="476"/>
                    </a:lnTo>
                    <a:lnTo>
                      <a:pt x="995" y="481"/>
                    </a:lnTo>
                    <a:lnTo>
                      <a:pt x="999" y="486"/>
                    </a:lnTo>
                    <a:lnTo>
                      <a:pt x="1009" y="495"/>
                    </a:lnTo>
                    <a:lnTo>
                      <a:pt x="1012" y="499"/>
                    </a:lnTo>
                    <a:lnTo>
                      <a:pt x="1016" y="524"/>
                    </a:lnTo>
                    <a:lnTo>
                      <a:pt x="1019" y="550"/>
                    </a:lnTo>
                    <a:lnTo>
                      <a:pt x="1019" y="576"/>
                    </a:lnTo>
                    <a:lnTo>
                      <a:pt x="1019" y="610"/>
                    </a:lnTo>
                    <a:lnTo>
                      <a:pt x="1020" y="618"/>
                    </a:lnTo>
                    <a:lnTo>
                      <a:pt x="1022" y="625"/>
                    </a:lnTo>
                    <a:lnTo>
                      <a:pt x="1025" y="632"/>
                    </a:lnTo>
                    <a:lnTo>
                      <a:pt x="1026" y="640"/>
                    </a:lnTo>
                    <a:lnTo>
                      <a:pt x="1026" y="650"/>
                    </a:lnTo>
                    <a:lnTo>
                      <a:pt x="1026" y="664"/>
                    </a:lnTo>
                    <a:lnTo>
                      <a:pt x="1027" y="679"/>
                    </a:lnTo>
                    <a:lnTo>
                      <a:pt x="1031" y="696"/>
                    </a:lnTo>
                    <a:lnTo>
                      <a:pt x="1033" y="705"/>
                    </a:lnTo>
                    <a:lnTo>
                      <a:pt x="1035" y="713"/>
                    </a:lnTo>
                    <a:lnTo>
                      <a:pt x="1038" y="720"/>
                    </a:lnTo>
                    <a:lnTo>
                      <a:pt x="1043" y="726"/>
                    </a:lnTo>
                    <a:lnTo>
                      <a:pt x="1047" y="731"/>
                    </a:lnTo>
                    <a:lnTo>
                      <a:pt x="1053" y="735"/>
                    </a:lnTo>
                    <a:lnTo>
                      <a:pt x="1058" y="738"/>
                    </a:lnTo>
                    <a:lnTo>
                      <a:pt x="1066" y="739"/>
                    </a:lnTo>
                    <a:lnTo>
                      <a:pt x="1067" y="745"/>
                    </a:lnTo>
                    <a:lnTo>
                      <a:pt x="1070" y="751"/>
                    </a:lnTo>
                    <a:lnTo>
                      <a:pt x="1074" y="759"/>
                    </a:lnTo>
                    <a:lnTo>
                      <a:pt x="1079" y="765"/>
                    </a:lnTo>
                    <a:lnTo>
                      <a:pt x="1083" y="772"/>
                    </a:lnTo>
                    <a:lnTo>
                      <a:pt x="1088" y="780"/>
                    </a:lnTo>
                    <a:lnTo>
                      <a:pt x="1091" y="790"/>
                    </a:lnTo>
                    <a:lnTo>
                      <a:pt x="1092" y="800"/>
                    </a:lnTo>
                    <a:lnTo>
                      <a:pt x="1092" y="807"/>
                    </a:lnTo>
                    <a:lnTo>
                      <a:pt x="1092" y="816"/>
                    </a:lnTo>
                    <a:lnTo>
                      <a:pt x="1092" y="825"/>
                    </a:lnTo>
                    <a:lnTo>
                      <a:pt x="1092" y="831"/>
                    </a:lnTo>
                    <a:lnTo>
                      <a:pt x="1092" y="837"/>
                    </a:lnTo>
                    <a:lnTo>
                      <a:pt x="1080" y="836"/>
                    </a:lnTo>
                    <a:lnTo>
                      <a:pt x="1069" y="837"/>
                    </a:lnTo>
                    <a:lnTo>
                      <a:pt x="1059" y="840"/>
                    </a:lnTo>
                    <a:lnTo>
                      <a:pt x="1049" y="842"/>
                    </a:lnTo>
                    <a:lnTo>
                      <a:pt x="1040" y="844"/>
                    </a:lnTo>
                    <a:lnTo>
                      <a:pt x="1029" y="844"/>
                    </a:lnTo>
                    <a:lnTo>
                      <a:pt x="1023" y="844"/>
                    </a:lnTo>
                    <a:lnTo>
                      <a:pt x="1018" y="842"/>
                    </a:lnTo>
                    <a:lnTo>
                      <a:pt x="1012" y="840"/>
                    </a:lnTo>
                    <a:lnTo>
                      <a:pt x="1005" y="837"/>
                    </a:lnTo>
                    <a:lnTo>
                      <a:pt x="1001" y="846"/>
                    </a:lnTo>
                    <a:lnTo>
                      <a:pt x="997" y="856"/>
                    </a:lnTo>
                    <a:lnTo>
                      <a:pt x="993" y="869"/>
                    </a:lnTo>
                    <a:lnTo>
                      <a:pt x="990" y="883"/>
                    </a:lnTo>
                    <a:lnTo>
                      <a:pt x="982" y="914"/>
                    </a:lnTo>
                    <a:lnTo>
                      <a:pt x="975" y="947"/>
                    </a:lnTo>
                    <a:lnTo>
                      <a:pt x="970" y="962"/>
                    </a:lnTo>
                    <a:lnTo>
                      <a:pt x="966" y="978"/>
                    </a:lnTo>
                    <a:lnTo>
                      <a:pt x="960" y="992"/>
                    </a:lnTo>
                    <a:lnTo>
                      <a:pt x="955" y="1004"/>
                    </a:lnTo>
                    <a:lnTo>
                      <a:pt x="951" y="1009"/>
                    </a:lnTo>
                    <a:lnTo>
                      <a:pt x="947" y="1014"/>
                    </a:lnTo>
                    <a:lnTo>
                      <a:pt x="944" y="1018"/>
                    </a:lnTo>
                    <a:lnTo>
                      <a:pt x="940" y="1021"/>
                    </a:lnTo>
                    <a:lnTo>
                      <a:pt x="935" y="1024"/>
                    </a:lnTo>
                    <a:lnTo>
                      <a:pt x="930" y="1026"/>
                    </a:lnTo>
                    <a:lnTo>
                      <a:pt x="925" y="1028"/>
                    </a:lnTo>
                    <a:lnTo>
                      <a:pt x="920" y="1028"/>
                    </a:lnTo>
                    <a:lnTo>
                      <a:pt x="918" y="1029"/>
                    </a:lnTo>
                    <a:lnTo>
                      <a:pt x="912" y="1031"/>
                    </a:lnTo>
                    <a:lnTo>
                      <a:pt x="909" y="1032"/>
                    </a:lnTo>
                    <a:lnTo>
                      <a:pt x="906" y="1032"/>
                    </a:lnTo>
                    <a:lnTo>
                      <a:pt x="902" y="1031"/>
                    </a:lnTo>
                    <a:lnTo>
                      <a:pt x="900" y="1028"/>
                    </a:lnTo>
                    <a:lnTo>
                      <a:pt x="888" y="1035"/>
                    </a:lnTo>
                    <a:lnTo>
                      <a:pt x="873" y="1043"/>
                    </a:lnTo>
                    <a:lnTo>
                      <a:pt x="864" y="1047"/>
                    </a:lnTo>
                    <a:lnTo>
                      <a:pt x="856" y="1050"/>
                    </a:lnTo>
                    <a:lnTo>
                      <a:pt x="847" y="1052"/>
                    </a:lnTo>
                    <a:lnTo>
                      <a:pt x="840" y="1053"/>
                    </a:lnTo>
                    <a:lnTo>
                      <a:pt x="828" y="1053"/>
                    </a:lnTo>
                    <a:lnTo>
                      <a:pt x="816" y="1052"/>
                    </a:lnTo>
                    <a:lnTo>
                      <a:pt x="805" y="1049"/>
                    </a:lnTo>
                    <a:lnTo>
                      <a:pt x="795" y="1046"/>
                    </a:lnTo>
                    <a:lnTo>
                      <a:pt x="789" y="1043"/>
                    </a:lnTo>
                    <a:lnTo>
                      <a:pt x="786" y="1040"/>
                    </a:lnTo>
                    <a:lnTo>
                      <a:pt x="782" y="1037"/>
                    </a:lnTo>
                    <a:lnTo>
                      <a:pt x="779" y="1033"/>
                    </a:lnTo>
                    <a:lnTo>
                      <a:pt x="777" y="1027"/>
                    </a:lnTo>
                    <a:lnTo>
                      <a:pt x="775" y="1022"/>
                    </a:lnTo>
                    <a:lnTo>
                      <a:pt x="774" y="1016"/>
                    </a:lnTo>
                    <a:lnTo>
                      <a:pt x="774" y="1010"/>
                    </a:lnTo>
                    <a:lnTo>
                      <a:pt x="761" y="1011"/>
                    </a:lnTo>
                    <a:lnTo>
                      <a:pt x="743" y="1014"/>
                    </a:lnTo>
                    <a:lnTo>
                      <a:pt x="734" y="1014"/>
                    </a:lnTo>
                    <a:lnTo>
                      <a:pt x="727" y="1012"/>
                    </a:lnTo>
                    <a:lnTo>
                      <a:pt x="723" y="1011"/>
                    </a:lnTo>
                    <a:lnTo>
                      <a:pt x="719" y="1009"/>
                    </a:lnTo>
                    <a:lnTo>
                      <a:pt x="717" y="1007"/>
                    </a:lnTo>
                    <a:lnTo>
                      <a:pt x="713" y="1004"/>
                    </a:lnTo>
                    <a:lnTo>
                      <a:pt x="707" y="997"/>
                    </a:lnTo>
                    <a:lnTo>
                      <a:pt x="701" y="993"/>
                    </a:lnTo>
                    <a:lnTo>
                      <a:pt x="697" y="992"/>
                    </a:lnTo>
                    <a:lnTo>
                      <a:pt x="694" y="992"/>
                    </a:lnTo>
                    <a:lnTo>
                      <a:pt x="689" y="993"/>
                    </a:lnTo>
                    <a:lnTo>
                      <a:pt x="686" y="993"/>
                    </a:lnTo>
                    <a:lnTo>
                      <a:pt x="680" y="991"/>
                    </a:lnTo>
                    <a:lnTo>
                      <a:pt x="674" y="986"/>
                    </a:lnTo>
                    <a:lnTo>
                      <a:pt x="662" y="987"/>
                    </a:lnTo>
                    <a:lnTo>
                      <a:pt x="653" y="989"/>
                    </a:lnTo>
                    <a:lnTo>
                      <a:pt x="643" y="991"/>
                    </a:lnTo>
                    <a:lnTo>
                      <a:pt x="627" y="992"/>
                    </a:lnTo>
                    <a:lnTo>
                      <a:pt x="618" y="991"/>
                    </a:lnTo>
                    <a:lnTo>
                      <a:pt x="611" y="988"/>
                    </a:lnTo>
                    <a:lnTo>
                      <a:pt x="608" y="987"/>
                    </a:lnTo>
                    <a:lnTo>
                      <a:pt x="605" y="984"/>
                    </a:lnTo>
                    <a:lnTo>
                      <a:pt x="603" y="982"/>
                    </a:lnTo>
                    <a:lnTo>
                      <a:pt x="600" y="979"/>
                    </a:lnTo>
                    <a:lnTo>
                      <a:pt x="597" y="971"/>
                    </a:lnTo>
                    <a:lnTo>
                      <a:pt x="596" y="963"/>
                    </a:lnTo>
                    <a:lnTo>
                      <a:pt x="595" y="953"/>
                    </a:lnTo>
                    <a:lnTo>
                      <a:pt x="594" y="942"/>
                    </a:lnTo>
                    <a:lnTo>
                      <a:pt x="593" y="933"/>
                    </a:lnTo>
                    <a:lnTo>
                      <a:pt x="590" y="925"/>
                    </a:lnTo>
                    <a:lnTo>
                      <a:pt x="587" y="916"/>
                    </a:lnTo>
                    <a:lnTo>
                      <a:pt x="584" y="908"/>
                    </a:lnTo>
                    <a:lnTo>
                      <a:pt x="581" y="900"/>
                    </a:lnTo>
                    <a:lnTo>
                      <a:pt x="577" y="892"/>
                    </a:lnTo>
                    <a:lnTo>
                      <a:pt x="575" y="884"/>
                    </a:lnTo>
                    <a:lnTo>
                      <a:pt x="574" y="875"/>
                    </a:lnTo>
                    <a:lnTo>
                      <a:pt x="575" y="870"/>
                    </a:lnTo>
                    <a:lnTo>
                      <a:pt x="577" y="866"/>
                    </a:lnTo>
                    <a:lnTo>
                      <a:pt x="581" y="860"/>
                    </a:lnTo>
                    <a:lnTo>
                      <a:pt x="584" y="856"/>
                    </a:lnTo>
                    <a:lnTo>
                      <a:pt x="587" y="851"/>
                    </a:lnTo>
                    <a:lnTo>
                      <a:pt x="590" y="846"/>
                    </a:lnTo>
                    <a:lnTo>
                      <a:pt x="593" y="842"/>
                    </a:lnTo>
                    <a:lnTo>
                      <a:pt x="594" y="837"/>
                    </a:lnTo>
                    <a:lnTo>
                      <a:pt x="593" y="825"/>
                    </a:lnTo>
                    <a:lnTo>
                      <a:pt x="589" y="809"/>
                    </a:lnTo>
                    <a:lnTo>
                      <a:pt x="588" y="798"/>
                    </a:lnTo>
                    <a:lnTo>
                      <a:pt x="588" y="789"/>
                    </a:lnTo>
                    <a:lnTo>
                      <a:pt x="590" y="779"/>
                    </a:lnTo>
                    <a:lnTo>
                      <a:pt x="594" y="770"/>
                    </a:lnTo>
                    <a:lnTo>
                      <a:pt x="571" y="766"/>
                    </a:lnTo>
                    <a:lnTo>
                      <a:pt x="521" y="759"/>
                    </a:lnTo>
                    <a:lnTo>
                      <a:pt x="494" y="756"/>
                    </a:lnTo>
                    <a:lnTo>
                      <a:pt x="471" y="755"/>
                    </a:lnTo>
                    <a:lnTo>
                      <a:pt x="461" y="754"/>
                    </a:lnTo>
                    <a:lnTo>
                      <a:pt x="454" y="755"/>
                    </a:lnTo>
                    <a:lnTo>
                      <a:pt x="450" y="756"/>
                    </a:lnTo>
                    <a:lnTo>
                      <a:pt x="448" y="758"/>
                    </a:lnTo>
                    <a:lnTo>
                      <a:pt x="448" y="762"/>
                    </a:lnTo>
                    <a:lnTo>
                      <a:pt x="448" y="770"/>
                    </a:lnTo>
                    <a:lnTo>
                      <a:pt x="447" y="775"/>
                    </a:lnTo>
                    <a:lnTo>
                      <a:pt x="446" y="780"/>
                    </a:lnTo>
                    <a:lnTo>
                      <a:pt x="443" y="785"/>
                    </a:lnTo>
                    <a:lnTo>
                      <a:pt x="440" y="790"/>
                    </a:lnTo>
                    <a:lnTo>
                      <a:pt x="437" y="796"/>
                    </a:lnTo>
                    <a:lnTo>
                      <a:pt x="431" y="801"/>
                    </a:lnTo>
                    <a:lnTo>
                      <a:pt x="425" y="806"/>
                    </a:lnTo>
                    <a:lnTo>
                      <a:pt x="417" y="811"/>
                    </a:lnTo>
                    <a:lnTo>
                      <a:pt x="407" y="814"/>
                    </a:lnTo>
                    <a:lnTo>
                      <a:pt x="396" y="817"/>
                    </a:lnTo>
                    <a:lnTo>
                      <a:pt x="383" y="819"/>
                    </a:lnTo>
                    <a:lnTo>
                      <a:pt x="369" y="819"/>
                    </a:lnTo>
                    <a:lnTo>
                      <a:pt x="362" y="818"/>
                    </a:lnTo>
                    <a:lnTo>
                      <a:pt x="355" y="816"/>
                    </a:lnTo>
                    <a:lnTo>
                      <a:pt x="349" y="811"/>
                    </a:lnTo>
                    <a:lnTo>
                      <a:pt x="342" y="804"/>
                    </a:lnTo>
                    <a:lnTo>
                      <a:pt x="337" y="797"/>
                    </a:lnTo>
                    <a:lnTo>
                      <a:pt x="330" y="789"/>
                    </a:lnTo>
                    <a:lnTo>
                      <a:pt x="325" y="780"/>
                    </a:lnTo>
                    <a:lnTo>
                      <a:pt x="319" y="771"/>
                    </a:lnTo>
                    <a:lnTo>
                      <a:pt x="309" y="749"/>
                    </a:lnTo>
                    <a:lnTo>
                      <a:pt x="302" y="728"/>
                    </a:lnTo>
                    <a:lnTo>
                      <a:pt x="298" y="718"/>
                    </a:lnTo>
                    <a:lnTo>
                      <a:pt x="297" y="708"/>
                    </a:lnTo>
                    <a:lnTo>
                      <a:pt x="295" y="699"/>
                    </a:lnTo>
                    <a:lnTo>
                      <a:pt x="295" y="689"/>
                    </a:lnTo>
                    <a:lnTo>
                      <a:pt x="3" y="689"/>
                    </a:lnTo>
                    <a:lnTo>
                      <a:pt x="2" y="683"/>
                    </a:lnTo>
                    <a:lnTo>
                      <a:pt x="0" y="680"/>
                    </a:lnTo>
                    <a:lnTo>
                      <a:pt x="0" y="677"/>
                    </a:lnTo>
                    <a:lnTo>
                      <a:pt x="3" y="671"/>
                    </a:lnTo>
                    <a:lnTo>
                      <a:pt x="10" y="669"/>
                    </a:lnTo>
                    <a:lnTo>
                      <a:pt x="16" y="668"/>
                    </a:lnTo>
                    <a:lnTo>
                      <a:pt x="23" y="668"/>
                    </a:lnTo>
                    <a:lnTo>
                      <a:pt x="28" y="668"/>
                    </a:lnTo>
                    <a:lnTo>
                      <a:pt x="34" y="668"/>
                    </a:lnTo>
                    <a:lnTo>
                      <a:pt x="39" y="668"/>
                    </a:lnTo>
                    <a:lnTo>
                      <a:pt x="45" y="667"/>
                    </a:lnTo>
                    <a:lnTo>
                      <a:pt x="49" y="665"/>
                    </a:lnTo>
                    <a:lnTo>
                      <a:pt x="49" y="640"/>
                    </a:lnTo>
                    <a:lnTo>
                      <a:pt x="36" y="640"/>
                    </a:lnTo>
                    <a:lnTo>
                      <a:pt x="27" y="640"/>
                    </a:lnTo>
                    <a:lnTo>
                      <a:pt x="18" y="640"/>
                    </a:lnTo>
                    <a:lnTo>
                      <a:pt x="10" y="640"/>
                    </a:lnTo>
                    <a:lnTo>
                      <a:pt x="26" y="631"/>
                    </a:lnTo>
                    <a:lnTo>
                      <a:pt x="39" y="622"/>
                    </a:lnTo>
                    <a:lnTo>
                      <a:pt x="46" y="619"/>
                    </a:lnTo>
                    <a:lnTo>
                      <a:pt x="52" y="615"/>
                    </a:lnTo>
                    <a:lnTo>
                      <a:pt x="60" y="612"/>
                    </a:lnTo>
                    <a:lnTo>
                      <a:pt x="69" y="610"/>
                    </a:lnTo>
                    <a:lnTo>
                      <a:pt x="72" y="613"/>
                    </a:lnTo>
                    <a:lnTo>
                      <a:pt x="75" y="615"/>
                    </a:lnTo>
                    <a:lnTo>
                      <a:pt x="79" y="616"/>
                    </a:lnTo>
                    <a:lnTo>
                      <a:pt x="82" y="617"/>
                    </a:lnTo>
                    <a:lnTo>
                      <a:pt x="91" y="618"/>
                    </a:lnTo>
                    <a:lnTo>
                      <a:pt x="101" y="616"/>
                    </a:lnTo>
                    <a:lnTo>
                      <a:pt x="122" y="612"/>
                    </a:lnTo>
                    <a:lnTo>
                      <a:pt x="142" y="610"/>
                    </a:lnTo>
                    <a:lnTo>
                      <a:pt x="145" y="614"/>
                    </a:lnTo>
                    <a:lnTo>
                      <a:pt x="148" y="617"/>
                    </a:lnTo>
                    <a:lnTo>
                      <a:pt x="152" y="619"/>
                    </a:lnTo>
                    <a:lnTo>
                      <a:pt x="157" y="620"/>
                    </a:lnTo>
                    <a:lnTo>
                      <a:pt x="166" y="621"/>
                    </a:lnTo>
                    <a:lnTo>
                      <a:pt x="175" y="622"/>
                    </a:lnTo>
                    <a:lnTo>
                      <a:pt x="179" y="621"/>
                    </a:lnTo>
                    <a:lnTo>
                      <a:pt x="183" y="620"/>
                    </a:lnTo>
                    <a:lnTo>
                      <a:pt x="186" y="618"/>
                    </a:lnTo>
                    <a:lnTo>
                      <a:pt x="190" y="616"/>
                    </a:lnTo>
                    <a:lnTo>
                      <a:pt x="195" y="610"/>
                    </a:lnTo>
                    <a:lnTo>
                      <a:pt x="201" y="603"/>
                    </a:lnTo>
                    <a:lnTo>
                      <a:pt x="209" y="588"/>
                    </a:lnTo>
                    <a:lnTo>
                      <a:pt x="215" y="578"/>
                    </a:lnTo>
                    <a:lnTo>
                      <a:pt x="220" y="574"/>
                    </a:lnTo>
                    <a:lnTo>
                      <a:pt x="225" y="571"/>
                    </a:lnTo>
                    <a:lnTo>
                      <a:pt x="230" y="569"/>
                    </a:lnTo>
                    <a:lnTo>
                      <a:pt x="236" y="567"/>
                    </a:lnTo>
                    <a:lnTo>
                      <a:pt x="246" y="564"/>
                    </a:lnTo>
                    <a:lnTo>
                      <a:pt x="256" y="560"/>
                    </a:lnTo>
                    <a:lnTo>
                      <a:pt x="258" y="558"/>
                    </a:lnTo>
                    <a:lnTo>
                      <a:pt x="260" y="555"/>
                    </a:lnTo>
                    <a:lnTo>
                      <a:pt x="262" y="550"/>
                    </a:lnTo>
                    <a:lnTo>
                      <a:pt x="264" y="544"/>
                    </a:lnTo>
                    <a:lnTo>
                      <a:pt x="268" y="528"/>
                    </a:lnTo>
                    <a:lnTo>
                      <a:pt x="270" y="511"/>
                    </a:lnTo>
                    <a:lnTo>
                      <a:pt x="274" y="477"/>
                    </a:lnTo>
                    <a:lnTo>
                      <a:pt x="275" y="449"/>
                    </a:lnTo>
                    <a:lnTo>
                      <a:pt x="281" y="440"/>
                    </a:lnTo>
                    <a:lnTo>
                      <a:pt x="287" y="432"/>
                    </a:lnTo>
                    <a:lnTo>
                      <a:pt x="294" y="425"/>
                    </a:lnTo>
                    <a:lnTo>
                      <a:pt x="302" y="416"/>
                    </a:lnTo>
                    <a:lnTo>
                      <a:pt x="316" y="404"/>
                    </a:lnTo>
                    <a:lnTo>
                      <a:pt x="328" y="394"/>
                    </a:lnTo>
                    <a:lnTo>
                      <a:pt x="338" y="382"/>
                    </a:lnTo>
                    <a:lnTo>
                      <a:pt x="346" y="370"/>
                    </a:lnTo>
                    <a:lnTo>
                      <a:pt x="352" y="357"/>
                    </a:lnTo>
                    <a:lnTo>
                      <a:pt x="357" y="345"/>
                    </a:lnTo>
                    <a:lnTo>
                      <a:pt x="361" y="334"/>
                    </a:lnTo>
                    <a:lnTo>
                      <a:pt x="364" y="323"/>
                    </a:lnTo>
                    <a:lnTo>
                      <a:pt x="366" y="312"/>
                    </a:lnTo>
                    <a:lnTo>
                      <a:pt x="369" y="299"/>
                    </a:lnTo>
                    <a:lnTo>
                      <a:pt x="370" y="276"/>
                    </a:lnTo>
                    <a:lnTo>
                      <a:pt x="370" y="251"/>
                    </a:lnTo>
                    <a:lnTo>
                      <a:pt x="369" y="225"/>
                    </a:lnTo>
                    <a:lnTo>
                      <a:pt x="369" y="197"/>
                    </a:lnTo>
                    <a:lnTo>
                      <a:pt x="369" y="191"/>
                    </a:lnTo>
                    <a:lnTo>
                      <a:pt x="369" y="187"/>
                    </a:lnTo>
                    <a:lnTo>
                      <a:pt x="371" y="183"/>
                    </a:lnTo>
                    <a:lnTo>
                      <a:pt x="372" y="180"/>
                    </a:lnTo>
                    <a:lnTo>
                      <a:pt x="375" y="174"/>
                    </a:lnTo>
                    <a:lnTo>
                      <a:pt x="380" y="167"/>
                    </a:lnTo>
                    <a:lnTo>
                      <a:pt x="383" y="160"/>
                    </a:lnTo>
                    <a:lnTo>
                      <a:pt x="385" y="149"/>
                    </a:lnTo>
                    <a:lnTo>
                      <a:pt x="385" y="140"/>
                    </a:lnTo>
                    <a:lnTo>
                      <a:pt x="385" y="132"/>
                    </a:lnTo>
                    <a:lnTo>
                      <a:pt x="383" y="122"/>
                    </a:lnTo>
                    <a:lnTo>
                      <a:pt x="382" y="110"/>
                    </a:lnTo>
                    <a:lnTo>
                      <a:pt x="397" y="87"/>
                    </a:lnTo>
                    <a:lnTo>
                      <a:pt x="417" y="58"/>
                    </a:lnTo>
                    <a:lnTo>
                      <a:pt x="422" y="51"/>
                    </a:lnTo>
                    <a:lnTo>
                      <a:pt x="428" y="45"/>
                    </a:lnTo>
                    <a:lnTo>
                      <a:pt x="435" y="40"/>
                    </a:lnTo>
                    <a:lnTo>
                      <a:pt x="440" y="35"/>
                    </a:lnTo>
                    <a:lnTo>
                      <a:pt x="447" y="31"/>
                    </a:lnTo>
                    <a:lnTo>
                      <a:pt x="453" y="26"/>
                    </a:lnTo>
                    <a:lnTo>
                      <a:pt x="461" y="24"/>
                    </a:lnTo>
                    <a:lnTo>
                      <a:pt x="467" y="24"/>
                    </a:lnTo>
                    <a:lnTo>
                      <a:pt x="476" y="24"/>
                    </a:lnTo>
                    <a:lnTo>
                      <a:pt x="484" y="26"/>
                    </a:lnTo>
                    <a:lnTo>
                      <a:pt x="491" y="30"/>
                    </a:lnTo>
                    <a:lnTo>
                      <a:pt x="497" y="33"/>
                    </a:lnTo>
                    <a:lnTo>
                      <a:pt x="509" y="42"/>
                    </a:lnTo>
                    <a:lnTo>
                      <a:pt x="521" y="52"/>
                    </a:lnTo>
                    <a:lnTo>
                      <a:pt x="532" y="62"/>
                    </a:lnTo>
                    <a:lnTo>
                      <a:pt x="544" y="71"/>
                    </a:lnTo>
                    <a:lnTo>
                      <a:pt x="551" y="74"/>
                    </a:lnTo>
                    <a:lnTo>
                      <a:pt x="558" y="77"/>
                    </a:lnTo>
                    <a:lnTo>
                      <a:pt x="565" y="79"/>
                    </a:lnTo>
                    <a:lnTo>
                      <a:pt x="574" y="79"/>
                    </a:lnTo>
                    <a:lnTo>
                      <a:pt x="587" y="78"/>
                    </a:lnTo>
                    <a:lnTo>
                      <a:pt x="599" y="76"/>
                    </a:lnTo>
                    <a:lnTo>
                      <a:pt x="614" y="74"/>
                    </a:lnTo>
                    <a:lnTo>
                      <a:pt x="634" y="73"/>
                    </a:lnTo>
                    <a:lnTo>
                      <a:pt x="637" y="73"/>
                    </a:lnTo>
                    <a:lnTo>
                      <a:pt x="639" y="71"/>
                    </a:lnTo>
                    <a:lnTo>
                      <a:pt x="641" y="69"/>
                    </a:lnTo>
                    <a:lnTo>
                      <a:pt x="644" y="66"/>
                    </a:lnTo>
                    <a:lnTo>
                      <a:pt x="649" y="60"/>
                    </a:lnTo>
                    <a:lnTo>
                      <a:pt x="654" y="55"/>
                    </a:lnTo>
                    <a:lnTo>
                      <a:pt x="662" y="49"/>
                    </a:lnTo>
                    <a:lnTo>
                      <a:pt x="670" y="44"/>
                    </a:lnTo>
                    <a:lnTo>
                      <a:pt x="677" y="40"/>
                    </a:lnTo>
                    <a:lnTo>
                      <a:pt x="685" y="38"/>
                    </a:lnTo>
                    <a:lnTo>
                      <a:pt x="693" y="36"/>
                    </a:lnTo>
                    <a:lnTo>
                      <a:pt x="701" y="35"/>
                    </a:lnTo>
                    <a:lnTo>
                      <a:pt x="709" y="34"/>
                    </a:lnTo>
                    <a:lnTo>
                      <a:pt x="718" y="34"/>
                    </a:lnTo>
                    <a:lnTo>
                      <a:pt x="734" y="34"/>
                    </a:lnTo>
                    <a:lnTo>
                      <a:pt x="752" y="35"/>
                    </a:lnTo>
                    <a:lnTo>
                      <a:pt x="761" y="34"/>
                    </a:lnTo>
                    <a:lnTo>
                      <a:pt x="769" y="34"/>
                    </a:lnTo>
                    <a:lnTo>
                      <a:pt x="778" y="33"/>
                    </a:lnTo>
                    <a:lnTo>
                      <a:pt x="787" y="31"/>
                    </a:lnTo>
                    <a:lnTo>
                      <a:pt x="790" y="24"/>
                    </a:lnTo>
                    <a:lnTo>
                      <a:pt x="795" y="17"/>
                    </a:lnTo>
                    <a:lnTo>
                      <a:pt x="796" y="13"/>
                    </a:lnTo>
                    <a:lnTo>
                      <a:pt x="799" y="9"/>
                    </a:lnTo>
                    <a:lnTo>
                      <a:pt x="802" y="4"/>
                    </a:lnTo>
                    <a:lnTo>
                      <a:pt x="807" y="0"/>
                    </a:lnTo>
                    <a:lnTo>
                      <a:pt x="814" y="0"/>
                    </a:lnTo>
                    <a:lnTo>
                      <a:pt x="827" y="0"/>
                    </a:lnTo>
                    <a:lnTo>
                      <a:pt x="828" y="8"/>
                    </a:lnTo>
                    <a:lnTo>
                      <a:pt x="830" y="14"/>
                    </a:lnTo>
                    <a:lnTo>
                      <a:pt x="833" y="18"/>
                    </a:lnTo>
                    <a:lnTo>
                      <a:pt x="839" y="21"/>
                    </a:lnTo>
                    <a:lnTo>
                      <a:pt x="843" y="22"/>
                    </a:lnTo>
                    <a:lnTo>
                      <a:pt x="848" y="23"/>
                    </a:lnTo>
                    <a:lnTo>
                      <a:pt x="854" y="24"/>
                    </a:lnTo>
                    <a:lnTo>
                      <a:pt x="859" y="24"/>
                    </a:lnTo>
                    <a:lnTo>
                      <a:pt x="869" y="24"/>
                    </a:lnTo>
                    <a:lnTo>
                      <a:pt x="879" y="24"/>
                    </a:lnTo>
                    <a:lnTo>
                      <a:pt x="887" y="24"/>
                    </a:lnTo>
                    <a:lnTo>
                      <a:pt x="894" y="24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27" name="Freeform 249">
                <a:extLst>
                  <a:ext uri="{FF2B5EF4-FFF2-40B4-BE49-F238E27FC236}">
                    <a16:creationId xmlns="" xmlns:a16="http://schemas.microsoft.com/office/drawing/2014/main" id="{0E280527-2332-4FCF-BBFE-16CAD15452BC}"/>
                  </a:ext>
                </a:extLst>
              </p:cNvPr>
              <p:cNvSpPr>
                <a:spLocks/>
              </p:cNvSpPr>
              <p:nvPr>
                <p:custDataLst>
                  <p:tags r:id="rId176"/>
                </p:custDataLst>
              </p:nvPr>
            </p:nvSpPr>
            <p:spPr bwMode="auto">
              <a:xfrm>
                <a:off x="4243388" y="3590925"/>
                <a:ext cx="55562" cy="55563"/>
              </a:xfrm>
              <a:custGeom>
                <a:avLst/>
                <a:gdLst>
                  <a:gd name="T0" fmla="*/ 2147483646 w 125"/>
                  <a:gd name="T1" fmla="*/ 0 h 81"/>
                  <a:gd name="T2" fmla="*/ 2147483646 w 125"/>
                  <a:gd name="T3" fmla="*/ 2147483646 h 81"/>
                  <a:gd name="T4" fmla="*/ 2147483646 w 125"/>
                  <a:gd name="T5" fmla="*/ 2147483646 h 81"/>
                  <a:gd name="T6" fmla="*/ 2147483646 w 125"/>
                  <a:gd name="T7" fmla="*/ 2147483646 h 81"/>
                  <a:gd name="T8" fmla="*/ 2147483646 w 125"/>
                  <a:gd name="T9" fmla="*/ 2147483646 h 81"/>
                  <a:gd name="T10" fmla="*/ 2147483646 w 125"/>
                  <a:gd name="T11" fmla="*/ 2147483646 h 81"/>
                  <a:gd name="T12" fmla="*/ 2147483646 w 125"/>
                  <a:gd name="T13" fmla="*/ 2147483646 h 81"/>
                  <a:gd name="T14" fmla="*/ 2147483646 w 125"/>
                  <a:gd name="T15" fmla="*/ 2147483646 h 81"/>
                  <a:gd name="T16" fmla="*/ 2147483646 w 125"/>
                  <a:gd name="T17" fmla="*/ 2147483646 h 81"/>
                  <a:gd name="T18" fmla="*/ 2147483646 w 125"/>
                  <a:gd name="T19" fmla="*/ 2147483646 h 81"/>
                  <a:gd name="T20" fmla="*/ 2147483646 w 125"/>
                  <a:gd name="T21" fmla="*/ 2147483646 h 81"/>
                  <a:gd name="T22" fmla="*/ 2147483646 w 125"/>
                  <a:gd name="T23" fmla="*/ 2147483646 h 81"/>
                  <a:gd name="T24" fmla="*/ 2147483646 w 125"/>
                  <a:gd name="T25" fmla="*/ 2147483646 h 81"/>
                  <a:gd name="T26" fmla="*/ 2147483646 w 125"/>
                  <a:gd name="T27" fmla="*/ 2147483646 h 81"/>
                  <a:gd name="T28" fmla="*/ 2147483646 w 125"/>
                  <a:gd name="T29" fmla="*/ 2147483646 h 81"/>
                  <a:gd name="T30" fmla="*/ 2147483646 w 125"/>
                  <a:gd name="T31" fmla="*/ 2147483646 h 81"/>
                  <a:gd name="T32" fmla="*/ 0 w 125"/>
                  <a:gd name="T33" fmla="*/ 2147483646 h 81"/>
                  <a:gd name="T34" fmla="*/ 0 w 125"/>
                  <a:gd name="T35" fmla="*/ 2147483646 h 81"/>
                  <a:gd name="T36" fmla="*/ 2147483646 w 125"/>
                  <a:gd name="T37" fmla="*/ 2147483646 h 81"/>
                  <a:gd name="T38" fmla="*/ 2147483646 w 125"/>
                  <a:gd name="T39" fmla="*/ 2147483646 h 81"/>
                  <a:gd name="T40" fmla="*/ 2147483646 w 125"/>
                  <a:gd name="T41" fmla="*/ 2147483646 h 81"/>
                  <a:gd name="T42" fmla="*/ 2147483646 w 125"/>
                  <a:gd name="T43" fmla="*/ 2147483646 h 81"/>
                  <a:gd name="T44" fmla="*/ 2147483646 w 125"/>
                  <a:gd name="T45" fmla="*/ 2147483646 h 81"/>
                  <a:gd name="T46" fmla="*/ 2147483646 w 125"/>
                  <a:gd name="T47" fmla="*/ 2147483646 h 81"/>
                  <a:gd name="T48" fmla="*/ 2147483646 w 125"/>
                  <a:gd name="T49" fmla="*/ 0 h 81"/>
                  <a:gd name="T50" fmla="*/ 2147483646 w 125"/>
                  <a:gd name="T51" fmla="*/ 0 h 8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25"/>
                  <a:gd name="T79" fmla="*/ 0 h 81"/>
                  <a:gd name="T80" fmla="*/ 125 w 125"/>
                  <a:gd name="T81" fmla="*/ 81 h 81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25" h="81">
                    <a:moveTo>
                      <a:pt x="120" y="0"/>
                    </a:moveTo>
                    <a:lnTo>
                      <a:pt x="121" y="27"/>
                    </a:lnTo>
                    <a:lnTo>
                      <a:pt x="124" y="46"/>
                    </a:lnTo>
                    <a:lnTo>
                      <a:pt x="125" y="53"/>
                    </a:lnTo>
                    <a:lnTo>
                      <a:pt x="125" y="59"/>
                    </a:lnTo>
                    <a:lnTo>
                      <a:pt x="125" y="65"/>
                    </a:lnTo>
                    <a:lnTo>
                      <a:pt x="123" y="69"/>
                    </a:lnTo>
                    <a:lnTo>
                      <a:pt x="119" y="72"/>
                    </a:lnTo>
                    <a:lnTo>
                      <a:pt x="112" y="74"/>
                    </a:lnTo>
                    <a:lnTo>
                      <a:pt x="103" y="76"/>
                    </a:lnTo>
                    <a:lnTo>
                      <a:pt x="91" y="77"/>
                    </a:lnTo>
                    <a:lnTo>
                      <a:pt x="57" y="79"/>
                    </a:lnTo>
                    <a:lnTo>
                      <a:pt x="7" y="81"/>
                    </a:lnTo>
                    <a:lnTo>
                      <a:pt x="5" y="79"/>
                    </a:lnTo>
                    <a:lnTo>
                      <a:pt x="3" y="72"/>
                    </a:lnTo>
                    <a:lnTo>
                      <a:pt x="1" y="59"/>
                    </a:lnTo>
                    <a:lnTo>
                      <a:pt x="0" y="43"/>
                    </a:lnTo>
                    <a:lnTo>
                      <a:pt x="0" y="37"/>
                    </a:lnTo>
                    <a:lnTo>
                      <a:pt x="1" y="31"/>
                    </a:lnTo>
                    <a:lnTo>
                      <a:pt x="2" y="25"/>
                    </a:lnTo>
                    <a:lnTo>
                      <a:pt x="4" y="20"/>
                    </a:lnTo>
                    <a:lnTo>
                      <a:pt x="8" y="15"/>
                    </a:lnTo>
                    <a:lnTo>
                      <a:pt x="11" y="10"/>
                    </a:lnTo>
                    <a:lnTo>
                      <a:pt x="14" y="5"/>
                    </a:lnTo>
                    <a:lnTo>
                      <a:pt x="20" y="0"/>
                    </a:lnTo>
                    <a:lnTo>
                      <a:pt x="12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28" name="Freeform 250">
                <a:extLst>
                  <a:ext uri="{FF2B5EF4-FFF2-40B4-BE49-F238E27FC236}">
                    <a16:creationId xmlns="" xmlns:a16="http://schemas.microsoft.com/office/drawing/2014/main" id="{9BE57B4B-B7F4-430E-AE8D-7D451FE3CACE}"/>
                  </a:ext>
                </a:extLst>
              </p:cNvPr>
              <p:cNvSpPr>
                <a:spLocks/>
              </p:cNvSpPr>
              <p:nvPr>
                <p:custDataLst>
                  <p:tags r:id="rId177"/>
                </p:custDataLst>
              </p:nvPr>
            </p:nvSpPr>
            <p:spPr bwMode="auto">
              <a:xfrm>
                <a:off x="4225925" y="3590925"/>
                <a:ext cx="152400" cy="201613"/>
              </a:xfrm>
              <a:custGeom>
                <a:avLst/>
                <a:gdLst>
                  <a:gd name="T0" fmla="*/ 2147483646 w 355"/>
                  <a:gd name="T1" fmla="*/ 2147483646 h 388"/>
                  <a:gd name="T2" fmla="*/ 2147483646 w 355"/>
                  <a:gd name="T3" fmla="*/ 2147483646 h 388"/>
                  <a:gd name="T4" fmla="*/ 2147483646 w 355"/>
                  <a:gd name="T5" fmla="*/ 2147483646 h 388"/>
                  <a:gd name="T6" fmla="*/ 2147483646 w 355"/>
                  <a:gd name="T7" fmla="*/ 2147483646 h 388"/>
                  <a:gd name="T8" fmla="*/ 2147483646 w 355"/>
                  <a:gd name="T9" fmla="*/ 2147483646 h 388"/>
                  <a:gd name="T10" fmla="*/ 2147483646 w 355"/>
                  <a:gd name="T11" fmla="*/ 2147483646 h 388"/>
                  <a:gd name="T12" fmla="*/ 2147483646 w 355"/>
                  <a:gd name="T13" fmla="*/ 2147483646 h 388"/>
                  <a:gd name="T14" fmla="*/ 2147483646 w 355"/>
                  <a:gd name="T15" fmla="*/ 2147483646 h 388"/>
                  <a:gd name="T16" fmla="*/ 2147483646 w 355"/>
                  <a:gd name="T17" fmla="*/ 2147483646 h 388"/>
                  <a:gd name="T18" fmla="*/ 2147483646 w 355"/>
                  <a:gd name="T19" fmla="*/ 2147483646 h 388"/>
                  <a:gd name="T20" fmla="*/ 2147483646 w 355"/>
                  <a:gd name="T21" fmla="*/ 2147483646 h 388"/>
                  <a:gd name="T22" fmla="*/ 2147483646 w 355"/>
                  <a:gd name="T23" fmla="*/ 2147483646 h 388"/>
                  <a:gd name="T24" fmla="*/ 2147483646 w 355"/>
                  <a:gd name="T25" fmla="*/ 2147483646 h 388"/>
                  <a:gd name="T26" fmla="*/ 2147483646 w 355"/>
                  <a:gd name="T27" fmla="*/ 2147483646 h 388"/>
                  <a:gd name="T28" fmla="*/ 2147483646 w 355"/>
                  <a:gd name="T29" fmla="*/ 2147483646 h 388"/>
                  <a:gd name="T30" fmla="*/ 2147483646 w 355"/>
                  <a:gd name="T31" fmla="*/ 2147483646 h 388"/>
                  <a:gd name="T32" fmla="*/ 2147483646 w 355"/>
                  <a:gd name="T33" fmla="*/ 2147483646 h 388"/>
                  <a:gd name="T34" fmla="*/ 2147483646 w 355"/>
                  <a:gd name="T35" fmla="*/ 2147483646 h 388"/>
                  <a:gd name="T36" fmla="*/ 2147483646 w 355"/>
                  <a:gd name="T37" fmla="*/ 2147483646 h 388"/>
                  <a:gd name="T38" fmla="*/ 2147483646 w 355"/>
                  <a:gd name="T39" fmla="*/ 2147483646 h 388"/>
                  <a:gd name="T40" fmla="*/ 2147483646 w 355"/>
                  <a:gd name="T41" fmla="*/ 2147483646 h 388"/>
                  <a:gd name="T42" fmla="*/ 2147483646 w 355"/>
                  <a:gd name="T43" fmla="*/ 2147483646 h 388"/>
                  <a:gd name="T44" fmla="*/ 2147483646 w 355"/>
                  <a:gd name="T45" fmla="*/ 2147483646 h 388"/>
                  <a:gd name="T46" fmla="*/ 2147483646 w 355"/>
                  <a:gd name="T47" fmla="*/ 2147483646 h 388"/>
                  <a:gd name="T48" fmla="*/ 2147483646 w 355"/>
                  <a:gd name="T49" fmla="*/ 2147483646 h 388"/>
                  <a:gd name="T50" fmla="*/ 2147483646 w 355"/>
                  <a:gd name="T51" fmla="*/ 2147483646 h 388"/>
                  <a:gd name="T52" fmla="*/ 2147483646 w 355"/>
                  <a:gd name="T53" fmla="*/ 2147483646 h 388"/>
                  <a:gd name="T54" fmla="*/ 2147483646 w 355"/>
                  <a:gd name="T55" fmla="*/ 2147483646 h 388"/>
                  <a:gd name="T56" fmla="*/ 2147483646 w 355"/>
                  <a:gd name="T57" fmla="*/ 2147483646 h 388"/>
                  <a:gd name="T58" fmla="*/ 2147483646 w 355"/>
                  <a:gd name="T59" fmla="*/ 2147483646 h 388"/>
                  <a:gd name="T60" fmla="*/ 2147483646 w 355"/>
                  <a:gd name="T61" fmla="*/ 2147483646 h 388"/>
                  <a:gd name="T62" fmla="*/ 2147483646 w 355"/>
                  <a:gd name="T63" fmla="*/ 2147483646 h 388"/>
                  <a:gd name="T64" fmla="*/ 2147483646 w 355"/>
                  <a:gd name="T65" fmla="*/ 2147483646 h 388"/>
                  <a:gd name="T66" fmla="*/ 2147483646 w 355"/>
                  <a:gd name="T67" fmla="*/ 2147483646 h 388"/>
                  <a:gd name="T68" fmla="*/ 2147483646 w 355"/>
                  <a:gd name="T69" fmla="*/ 2147483646 h 388"/>
                  <a:gd name="T70" fmla="*/ 2147483646 w 355"/>
                  <a:gd name="T71" fmla="*/ 2147483646 h 388"/>
                  <a:gd name="T72" fmla="*/ 2147483646 w 355"/>
                  <a:gd name="T73" fmla="*/ 2147483646 h 388"/>
                  <a:gd name="T74" fmla="*/ 2147483646 w 355"/>
                  <a:gd name="T75" fmla="*/ 2147483646 h 388"/>
                  <a:gd name="T76" fmla="*/ 2147483646 w 355"/>
                  <a:gd name="T77" fmla="*/ 2147483646 h 388"/>
                  <a:gd name="T78" fmla="*/ 2147483646 w 355"/>
                  <a:gd name="T79" fmla="*/ 2147483646 h 388"/>
                  <a:gd name="T80" fmla="*/ 2147483646 w 355"/>
                  <a:gd name="T81" fmla="*/ 2147483646 h 388"/>
                  <a:gd name="T82" fmla="*/ 2147483646 w 355"/>
                  <a:gd name="T83" fmla="*/ 2147483646 h 388"/>
                  <a:gd name="T84" fmla="*/ 2147483646 w 355"/>
                  <a:gd name="T85" fmla="*/ 2147483646 h 388"/>
                  <a:gd name="T86" fmla="*/ 2147483646 w 355"/>
                  <a:gd name="T87" fmla="*/ 2147483646 h 388"/>
                  <a:gd name="T88" fmla="*/ 2147483646 w 355"/>
                  <a:gd name="T89" fmla="*/ 2147483646 h 388"/>
                  <a:gd name="T90" fmla="*/ 2147483646 w 355"/>
                  <a:gd name="T91" fmla="*/ 2147483646 h 388"/>
                  <a:gd name="T92" fmla="*/ 2147483646 w 355"/>
                  <a:gd name="T93" fmla="*/ 2147483646 h 388"/>
                  <a:gd name="T94" fmla="*/ 2147483646 w 355"/>
                  <a:gd name="T95" fmla="*/ 2147483646 h 388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355"/>
                  <a:gd name="T145" fmla="*/ 0 h 388"/>
                  <a:gd name="T146" fmla="*/ 355 w 355"/>
                  <a:gd name="T147" fmla="*/ 388 h 388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355" h="388">
                    <a:moveTo>
                      <a:pt x="266" y="7"/>
                    </a:moveTo>
                    <a:lnTo>
                      <a:pt x="265" y="9"/>
                    </a:lnTo>
                    <a:lnTo>
                      <a:pt x="262" y="15"/>
                    </a:lnTo>
                    <a:lnTo>
                      <a:pt x="259" y="23"/>
                    </a:lnTo>
                    <a:lnTo>
                      <a:pt x="257" y="32"/>
                    </a:lnTo>
                    <a:lnTo>
                      <a:pt x="257" y="37"/>
                    </a:lnTo>
                    <a:lnTo>
                      <a:pt x="258" y="42"/>
                    </a:lnTo>
                    <a:lnTo>
                      <a:pt x="261" y="46"/>
                    </a:lnTo>
                    <a:lnTo>
                      <a:pt x="264" y="51"/>
                    </a:lnTo>
                    <a:lnTo>
                      <a:pt x="268" y="54"/>
                    </a:lnTo>
                    <a:lnTo>
                      <a:pt x="275" y="58"/>
                    </a:lnTo>
                    <a:lnTo>
                      <a:pt x="283" y="60"/>
                    </a:lnTo>
                    <a:lnTo>
                      <a:pt x="294" y="63"/>
                    </a:lnTo>
                    <a:lnTo>
                      <a:pt x="301" y="58"/>
                    </a:lnTo>
                    <a:lnTo>
                      <a:pt x="319" y="55"/>
                    </a:lnTo>
                    <a:lnTo>
                      <a:pt x="323" y="55"/>
                    </a:lnTo>
                    <a:lnTo>
                      <a:pt x="328" y="55"/>
                    </a:lnTo>
                    <a:lnTo>
                      <a:pt x="332" y="57"/>
                    </a:lnTo>
                    <a:lnTo>
                      <a:pt x="335" y="59"/>
                    </a:lnTo>
                    <a:lnTo>
                      <a:pt x="337" y="63"/>
                    </a:lnTo>
                    <a:lnTo>
                      <a:pt x="340" y="68"/>
                    </a:lnTo>
                    <a:lnTo>
                      <a:pt x="340" y="74"/>
                    </a:lnTo>
                    <a:lnTo>
                      <a:pt x="340" y="81"/>
                    </a:lnTo>
                    <a:lnTo>
                      <a:pt x="345" y="83"/>
                    </a:lnTo>
                    <a:lnTo>
                      <a:pt x="348" y="87"/>
                    </a:lnTo>
                    <a:lnTo>
                      <a:pt x="350" y="90"/>
                    </a:lnTo>
                    <a:lnTo>
                      <a:pt x="351" y="94"/>
                    </a:lnTo>
                    <a:lnTo>
                      <a:pt x="350" y="99"/>
                    </a:lnTo>
                    <a:lnTo>
                      <a:pt x="347" y="103"/>
                    </a:lnTo>
                    <a:lnTo>
                      <a:pt x="345" y="108"/>
                    </a:lnTo>
                    <a:lnTo>
                      <a:pt x="342" y="113"/>
                    </a:lnTo>
                    <a:lnTo>
                      <a:pt x="328" y="129"/>
                    </a:lnTo>
                    <a:lnTo>
                      <a:pt x="320" y="136"/>
                    </a:lnTo>
                    <a:lnTo>
                      <a:pt x="326" y="143"/>
                    </a:lnTo>
                    <a:lnTo>
                      <a:pt x="341" y="162"/>
                    </a:lnTo>
                    <a:lnTo>
                      <a:pt x="348" y="175"/>
                    </a:lnTo>
                    <a:lnTo>
                      <a:pt x="353" y="188"/>
                    </a:lnTo>
                    <a:lnTo>
                      <a:pt x="355" y="195"/>
                    </a:lnTo>
                    <a:lnTo>
                      <a:pt x="355" y="202"/>
                    </a:lnTo>
                    <a:lnTo>
                      <a:pt x="355" y="209"/>
                    </a:lnTo>
                    <a:lnTo>
                      <a:pt x="353" y="216"/>
                    </a:lnTo>
                    <a:lnTo>
                      <a:pt x="353" y="219"/>
                    </a:lnTo>
                    <a:lnTo>
                      <a:pt x="352" y="228"/>
                    </a:lnTo>
                    <a:lnTo>
                      <a:pt x="350" y="241"/>
                    </a:lnTo>
                    <a:lnTo>
                      <a:pt x="345" y="254"/>
                    </a:lnTo>
                    <a:lnTo>
                      <a:pt x="342" y="260"/>
                    </a:lnTo>
                    <a:lnTo>
                      <a:pt x="339" y="266"/>
                    </a:lnTo>
                    <a:lnTo>
                      <a:pt x="333" y="271"/>
                    </a:lnTo>
                    <a:lnTo>
                      <a:pt x="328" y="276"/>
                    </a:lnTo>
                    <a:lnTo>
                      <a:pt x="321" y="279"/>
                    </a:lnTo>
                    <a:lnTo>
                      <a:pt x="312" y="280"/>
                    </a:lnTo>
                    <a:lnTo>
                      <a:pt x="303" y="280"/>
                    </a:lnTo>
                    <a:lnTo>
                      <a:pt x="294" y="277"/>
                    </a:lnTo>
                    <a:lnTo>
                      <a:pt x="286" y="282"/>
                    </a:lnTo>
                    <a:lnTo>
                      <a:pt x="280" y="285"/>
                    </a:lnTo>
                    <a:lnTo>
                      <a:pt x="275" y="285"/>
                    </a:lnTo>
                    <a:lnTo>
                      <a:pt x="270" y="282"/>
                    </a:lnTo>
                    <a:lnTo>
                      <a:pt x="263" y="276"/>
                    </a:lnTo>
                    <a:lnTo>
                      <a:pt x="255" y="268"/>
                    </a:lnTo>
                    <a:lnTo>
                      <a:pt x="252" y="265"/>
                    </a:lnTo>
                    <a:lnTo>
                      <a:pt x="249" y="261"/>
                    </a:lnTo>
                    <a:lnTo>
                      <a:pt x="244" y="259"/>
                    </a:lnTo>
                    <a:lnTo>
                      <a:pt x="240" y="259"/>
                    </a:lnTo>
                    <a:lnTo>
                      <a:pt x="234" y="260"/>
                    </a:lnTo>
                    <a:lnTo>
                      <a:pt x="229" y="263"/>
                    </a:lnTo>
                    <a:lnTo>
                      <a:pt x="221" y="269"/>
                    </a:lnTo>
                    <a:lnTo>
                      <a:pt x="213" y="277"/>
                    </a:lnTo>
                    <a:lnTo>
                      <a:pt x="211" y="278"/>
                    </a:lnTo>
                    <a:lnTo>
                      <a:pt x="205" y="279"/>
                    </a:lnTo>
                    <a:lnTo>
                      <a:pt x="201" y="280"/>
                    </a:lnTo>
                    <a:lnTo>
                      <a:pt x="197" y="282"/>
                    </a:lnTo>
                    <a:lnTo>
                      <a:pt x="194" y="285"/>
                    </a:lnTo>
                    <a:lnTo>
                      <a:pt x="190" y="288"/>
                    </a:lnTo>
                    <a:lnTo>
                      <a:pt x="187" y="292"/>
                    </a:lnTo>
                    <a:lnTo>
                      <a:pt x="185" y="298"/>
                    </a:lnTo>
                    <a:lnTo>
                      <a:pt x="185" y="304"/>
                    </a:lnTo>
                    <a:lnTo>
                      <a:pt x="185" y="312"/>
                    </a:lnTo>
                    <a:lnTo>
                      <a:pt x="187" y="321"/>
                    </a:lnTo>
                    <a:lnTo>
                      <a:pt x="191" y="331"/>
                    </a:lnTo>
                    <a:lnTo>
                      <a:pt x="198" y="344"/>
                    </a:lnTo>
                    <a:lnTo>
                      <a:pt x="207" y="358"/>
                    </a:lnTo>
                    <a:lnTo>
                      <a:pt x="206" y="357"/>
                    </a:lnTo>
                    <a:lnTo>
                      <a:pt x="201" y="355"/>
                    </a:lnTo>
                    <a:lnTo>
                      <a:pt x="195" y="353"/>
                    </a:lnTo>
                    <a:lnTo>
                      <a:pt x="187" y="353"/>
                    </a:lnTo>
                    <a:lnTo>
                      <a:pt x="183" y="353"/>
                    </a:lnTo>
                    <a:lnTo>
                      <a:pt x="177" y="355"/>
                    </a:lnTo>
                    <a:lnTo>
                      <a:pt x="173" y="357"/>
                    </a:lnTo>
                    <a:lnTo>
                      <a:pt x="167" y="361"/>
                    </a:lnTo>
                    <a:lnTo>
                      <a:pt x="162" y="365"/>
                    </a:lnTo>
                    <a:lnTo>
                      <a:pt x="157" y="371"/>
                    </a:lnTo>
                    <a:lnTo>
                      <a:pt x="152" y="379"/>
                    </a:lnTo>
                    <a:lnTo>
                      <a:pt x="146" y="388"/>
                    </a:lnTo>
                    <a:lnTo>
                      <a:pt x="137" y="380"/>
                    </a:lnTo>
                    <a:lnTo>
                      <a:pt x="128" y="373"/>
                    </a:lnTo>
                    <a:lnTo>
                      <a:pt x="123" y="370"/>
                    </a:lnTo>
                    <a:lnTo>
                      <a:pt x="120" y="366"/>
                    </a:lnTo>
                    <a:lnTo>
                      <a:pt x="117" y="362"/>
                    </a:lnTo>
                    <a:lnTo>
                      <a:pt x="113" y="358"/>
                    </a:lnTo>
                    <a:lnTo>
                      <a:pt x="109" y="346"/>
                    </a:lnTo>
                    <a:lnTo>
                      <a:pt x="102" y="334"/>
                    </a:lnTo>
                    <a:lnTo>
                      <a:pt x="96" y="324"/>
                    </a:lnTo>
                    <a:lnTo>
                      <a:pt x="87" y="315"/>
                    </a:lnTo>
                    <a:lnTo>
                      <a:pt x="70" y="297"/>
                    </a:lnTo>
                    <a:lnTo>
                      <a:pt x="50" y="280"/>
                    </a:lnTo>
                    <a:lnTo>
                      <a:pt x="40" y="271"/>
                    </a:lnTo>
                    <a:lnTo>
                      <a:pt x="31" y="263"/>
                    </a:lnTo>
                    <a:lnTo>
                      <a:pt x="22" y="254"/>
                    </a:lnTo>
                    <a:lnTo>
                      <a:pt x="16" y="245"/>
                    </a:lnTo>
                    <a:lnTo>
                      <a:pt x="9" y="235"/>
                    </a:lnTo>
                    <a:lnTo>
                      <a:pt x="5" y="223"/>
                    </a:lnTo>
                    <a:lnTo>
                      <a:pt x="1" y="211"/>
                    </a:lnTo>
                    <a:lnTo>
                      <a:pt x="0" y="198"/>
                    </a:lnTo>
                    <a:lnTo>
                      <a:pt x="1" y="187"/>
                    </a:lnTo>
                    <a:lnTo>
                      <a:pt x="4" y="178"/>
                    </a:lnTo>
                    <a:lnTo>
                      <a:pt x="7" y="169"/>
                    </a:lnTo>
                    <a:lnTo>
                      <a:pt x="11" y="162"/>
                    </a:lnTo>
                    <a:lnTo>
                      <a:pt x="22" y="150"/>
                    </a:lnTo>
                    <a:lnTo>
                      <a:pt x="34" y="139"/>
                    </a:lnTo>
                    <a:lnTo>
                      <a:pt x="41" y="134"/>
                    </a:lnTo>
                    <a:lnTo>
                      <a:pt x="45" y="129"/>
                    </a:lnTo>
                    <a:lnTo>
                      <a:pt x="50" y="123"/>
                    </a:lnTo>
                    <a:lnTo>
                      <a:pt x="54" y="116"/>
                    </a:lnTo>
                    <a:lnTo>
                      <a:pt x="56" y="109"/>
                    </a:lnTo>
                    <a:lnTo>
                      <a:pt x="57" y="101"/>
                    </a:lnTo>
                    <a:lnTo>
                      <a:pt x="56" y="91"/>
                    </a:lnTo>
                    <a:lnTo>
                      <a:pt x="54" y="81"/>
                    </a:lnTo>
                    <a:lnTo>
                      <a:pt x="84" y="83"/>
                    </a:lnTo>
                    <a:lnTo>
                      <a:pt x="108" y="83"/>
                    </a:lnTo>
                    <a:lnTo>
                      <a:pt x="129" y="83"/>
                    </a:lnTo>
                    <a:lnTo>
                      <a:pt x="144" y="82"/>
                    </a:lnTo>
                    <a:lnTo>
                      <a:pt x="156" y="80"/>
                    </a:lnTo>
                    <a:lnTo>
                      <a:pt x="165" y="77"/>
                    </a:lnTo>
                    <a:lnTo>
                      <a:pt x="168" y="75"/>
                    </a:lnTo>
                    <a:lnTo>
                      <a:pt x="172" y="73"/>
                    </a:lnTo>
                    <a:lnTo>
                      <a:pt x="174" y="71"/>
                    </a:lnTo>
                    <a:lnTo>
                      <a:pt x="175" y="69"/>
                    </a:lnTo>
                    <a:lnTo>
                      <a:pt x="177" y="63"/>
                    </a:lnTo>
                    <a:lnTo>
                      <a:pt x="176" y="56"/>
                    </a:lnTo>
                    <a:lnTo>
                      <a:pt x="175" y="49"/>
                    </a:lnTo>
                    <a:lnTo>
                      <a:pt x="174" y="41"/>
                    </a:lnTo>
                    <a:lnTo>
                      <a:pt x="172" y="32"/>
                    </a:lnTo>
                    <a:lnTo>
                      <a:pt x="169" y="22"/>
                    </a:lnTo>
                    <a:lnTo>
                      <a:pt x="167" y="12"/>
                    </a:lnTo>
                    <a:lnTo>
                      <a:pt x="167" y="0"/>
                    </a:lnTo>
                    <a:lnTo>
                      <a:pt x="266" y="7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29" name="Freeform 251">
                <a:extLst>
                  <a:ext uri="{FF2B5EF4-FFF2-40B4-BE49-F238E27FC236}">
                    <a16:creationId xmlns="" xmlns:a16="http://schemas.microsoft.com/office/drawing/2014/main" id="{2F0CFCC8-795E-4461-BB80-FD0DCB95FE0E}"/>
                  </a:ext>
                </a:extLst>
              </p:cNvPr>
              <p:cNvSpPr>
                <a:spLocks/>
              </p:cNvSpPr>
              <p:nvPr>
                <p:custDataLst>
                  <p:tags r:id="rId178"/>
                </p:custDataLst>
              </p:nvPr>
            </p:nvSpPr>
            <p:spPr bwMode="auto">
              <a:xfrm>
                <a:off x="4759325" y="3995738"/>
                <a:ext cx="260350" cy="520700"/>
              </a:xfrm>
              <a:custGeom>
                <a:avLst/>
                <a:gdLst>
                  <a:gd name="T0" fmla="*/ 0 w 599"/>
                  <a:gd name="T1" fmla="*/ 2147483646 h 993"/>
                  <a:gd name="T2" fmla="*/ 2147483646 w 599"/>
                  <a:gd name="T3" fmla="*/ 2147483646 h 993"/>
                  <a:gd name="T4" fmla="*/ 2147483646 w 599"/>
                  <a:gd name="T5" fmla="*/ 2147483646 h 993"/>
                  <a:gd name="T6" fmla="*/ 2147483646 w 599"/>
                  <a:gd name="T7" fmla="*/ 2147483646 h 993"/>
                  <a:gd name="T8" fmla="*/ 2147483646 w 599"/>
                  <a:gd name="T9" fmla="*/ 2147483646 h 993"/>
                  <a:gd name="T10" fmla="*/ 2147483646 w 599"/>
                  <a:gd name="T11" fmla="*/ 2147483646 h 993"/>
                  <a:gd name="T12" fmla="*/ 2147483646 w 599"/>
                  <a:gd name="T13" fmla="*/ 2147483646 h 993"/>
                  <a:gd name="T14" fmla="*/ 2147483646 w 599"/>
                  <a:gd name="T15" fmla="*/ 2147483646 h 993"/>
                  <a:gd name="T16" fmla="*/ 2147483646 w 599"/>
                  <a:gd name="T17" fmla="*/ 2147483646 h 993"/>
                  <a:gd name="T18" fmla="*/ 2147483646 w 599"/>
                  <a:gd name="T19" fmla="*/ 2147483646 h 993"/>
                  <a:gd name="T20" fmla="*/ 2147483646 w 599"/>
                  <a:gd name="T21" fmla="*/ 2147483646 h 993"/>
                  <a:gd name="T22" fmla="*/ 2147483646 w 599"/>
                  <a:gd name="T23" fmla="*/ 2147483646 h 993"/>
                  <a:gd name="T24" fmla="*/ 2147483646 w 599"/>
                  <a:gd name="T25" fmla="*/ 2147483646 h 993"/>
                  <a:gd name="T26" fmla="*/ 2147483646 w 599"/>
                  <a:gd name="T27" fmla="*/ 2147483646 h 993"/>
                  <a:gd name="T28" fmla="*/ 2147483646 w 599"/>
                  <a:gd name="T29" fmla="*/ 2147483646 h 993"/>
                  <a:gd name="T30" fmla="*/ 2147483646 w 599"/>
                  <a:gd name="T31" fmla="*/ 2147483646 h 993"/>
                  <a:gd name="T32" fmla="*/ 2147483646 w 599"/>
                  <a:gd name="T33" fmla="*/ 2147483646 h 993"/>
                  <a:gd name="T34" fmla="*/ 2147483646 w 599"/>
                  <a:gd name="T35" fmla="*/ 2147483646 h 993"/>
                  <a:gd name="T36" fmla="*/ 2147483646 w 599"/>
                  <a:gd name="T37" fmla="*/ 2147483646 h 993"/>
                  <a:gd name="T38" fmla="*/ 2147483646 w 599"/>
                  <a:gd name="T39" fmla="*/ 2147483646 h 993"/>
                  <a:gd name="T40" fmla="*/ 2147483646 w 599"/>
                  <a:gd name="T41" fmla="*/ 2147483646 h 993"/>
                  <a:gd name="T42" fmla="*/ 2147483646 w 599"/>
                  <a:gd name="T43" fmla="*/ 2147483646 h 993"/>
                  <a:gd name="T44" fmla="*/ 2147483646 w 599"/>
                  <a:gd name="T45" fmla="*/ 2147483646 h 993"/>
                  <a:gd name="T46" fmla="*/ 2147483646 w 599"/>
                  <a:gd name="T47" fmla="*/ 2147483646 h 993"/>
                  <a:gd name="T48" fmla="*/ 2147483646 w 599"/>
                  <a:gd name="T49" fmla="*/ 2147483646 h 993"/>
                  <a:gd name="T50" fmla="*/ 2147483646 w 599"/>
                  <a:gd name="T51" fmla="*/ 2147483646 h 993"/>
                  <a:gd name="T52" fmla="*/ 2147483646 w 599"/>
                  <a:gd name="T53" fmla="*/ 2147483646 h 993"/>
                  <a:gd name="T54" fmla="*/ 2147483646 w 599"/>
                  <a:gd name="T55" fmla="*/ 2147483646 h 993"/>
                  <a:gd name="T56" fmla="*/ 2147483646 w 599"/>
                  <a:gd name="T57" fmla="*/ 2147483646 h 993"/>
                  <a:gd name="T58" fmla="*/ 2147483646 w 599"/>
                  <a:gd name="T59" fmla="*/ 2147483646 h 993"/>
                  <a:gd name="T60" fmla="*/ 2147483646 w 599"/>
                  <a:gd name="T61" fmla="*/ 2147483646 h 993"/>
                  <a:gd name="T62" fmla="*/ 2147483646 w 599"/>
                  <a:gd name="T63" fmla="*/ 2147483646 h 993"/>
                  <a:gd name="T64" fmla="*/ 2147483646 w 599"/>
                  <a:gd name="T65" fmla="*/ 2147483646 h 993"/>
                  <a:gd name="T66" fmla="*/ 2147483646 w 599"/>
                  <a:gd name="T67" fmla="*/ 2147483646 h 993"/>
                  <a:gd name="T68" fmla="*/ 2147483646 w 599"/>
                  <a:gd name="T69" fmla="*/ 2147483646 h 993"/>
                  <a:gd name="T70" fmla="*/ 2147483646 w 599"/>
                  <a:gd name="T71" fmla="*/ 2147483646 h 993"/>
                  <a:gd name="T72" fmla="*/ 2147483646 w 599"/>
                  <a:gd name="T73" fmla="*/ 2147483646 h 993"/>
                  <a:gd name="T74" fmla="*/ 2147483646 w 599"/>
                  <a:gd name="T75" fmla="*/ 2147483646 h 993"/>
                  <a:gd name="T76" fmla="*/ 2147483646 w 599"/>
                  <a:gd name="T77" fmla="*/ 2147483646 h 993"/>
                  <a:gd name="T78" fmla="*/ 2147483646 w 599"/>
                  <a:gd name="T79" fmla="*/ 2147483646 h 993"/>
                  <a:gd name="T80" fmla="*/ 2147483646 w 599"/>
                  <a:gd name="T81" fmla="*/ 2147483646 h 993"/>
                  <a:gd name="T82" fmla="*/ 2147483646 w 599"/>
                  <a:gd name="T83" fmla="*/ 2147483646 h 993"/>
                  <a:gd name="T84" fmla="*/ 2147483646 w 599"/>
                  <a:gd name="T85" fmla="*/ 2147483646 h 993"/>
                  <a:gd name="T86" fmla="*/ 2147483646 w 599"/>
                  <a:gd name="T87" fmla="*/ 2147483646 h 993"/>
                  <a:gd name="T88" fmla="*/ 2147483646 w 599"/>
                  <a:gd name="T89" fmla="*/ 2147483646 h 993"/>
                  <a:gd name="T90" fmla="*/ 2147483646 w 599"/>
                  <a:gd name="T91" fmla="*/ 2147483646 h 993"/>
                  <a:gd name="T92" fmla="*/ 2147483646 w 599"/>
                  <a:gd name="T93" fmla="*/ 2147483646 h 993"/>
                  <a:gd name="T94" fmla="*/ 2147483646 w 599"/>
                  <a:gd name="T95" fmla="*/ 2147483646 h 993"/>
                  <a:gd name="T96" fmla="*/ 2147483646 w 599"/>
                  <a:gd name="T97" fmla="*/ 2147483646 h 993"/>
                  <a:gd name="T98" fmla="*/ 2147483646 w 599"/>
                  <a:gd name="T99" fmla="*/ 2147483646 h 993"/>
                  <a:gd name="T100" fmla="*/ 2147483646 w 599"/>
                  <a:gd name="T101" fmla="*/ 2147483646 h 993"/>
                  <a:gd name="T102" fmla="*/ 2147483646 w 599"/>
                  <a:gd name="T103" fmla="*/ 2147483646 h 993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599"/>
                  <a:gd name="T157" fmla="*/ 0 h 993"/>
                  <a:gd name="T158" fmla="*/ 599 w 599"/>
                  <a:gd name="T159" fmla="*/ 993 h 993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599" h="993">
                    <a:moveTo>
                      <a:pt x="15" y="309"/>
                    </a:moveTo>
                    <a:lnTo>
                      <a:pt x="9" y="291"/>
                    </a:lnTo>
                    <a:lnTo>
                      <a:pt x="3" y="273"/>
                    </a:lnTo>
                    <a:lnTo>
                      <a:pt x="1" y="266"/>
                    </a:lnTo>
                    <a:lnTo>
                      <a:pt x="0" y="259"/>
                    </a:lnTo>
                    <a:lnTo>
                      <a:pt x="0" y="253"/>
                    </a:lnTo>
                    <a:lnTo>
                      <a:pt x="2" y="248"/>
                    </a:lnTo>
                    <a:lnTo>
                      <a:pt x="174" y="216"/>
                    </a:lnTo>
                    <a:lnTo>
                      <a:pt x="177" y="220"/>
                    </a:lnTo>
                    <a:lnTo>
                      <a:pt x="182" y="224"/>
                    </a:lnTo>
                    <a:lnTo>
                      <a:pt x="187" y="227"/>
                    </a:lnTo>
                    <a:lnTo>
                      <a:pt x="193" y="229"/>
                    </a:lnTo>
                    <a:lnTo>
                      <a:pt x="207" y="234"/>
                    </a:lnTo>
                    <a:lnTo>
                      <a:pt x="222" y="238"/>
                    </a:lnTo>
                    <a:lnTo>
                      <a:pt x="230" y="240"/>
                    </a:lnTo>
                    <a:lnTo>
                      <a:pt x="237" y="242"/>
                    </a:lnTo>
                    <a:lnTo>
                      <a:pt x="243" y="245"/>
                    </a:lnTo>
                    <a:lnTo>
                      <a:pt x="249" y="249"/>
                    </a:lnTo>
                    <a:lnTo>
                      <a:pt x="253" y="253"/>
                    </a:lnTo>
                    <a:lnTo>
                      <a:pt x="258" y="258"/>
                    </a:lnTo>
                    <a:lnTo>
                      <a:pt x="260" y="264"/>
                    </a:lnTo>
                    <a:lnTo>
                      <a:pt x="261" y="272"/>
                    </a:lnTo>
                    <a:lnTo>
                      <a:pt x="260" y="280"/>
                    </a:lnTo>
                    <a:lnTo>
                      <a:pt x="256" y="289"/>
                    </a:lnTo>
                    <a:lnTo>
                      <a:pt x="252" y="296"/>
                    </a:lnTo>
                    <a:lnTo>
                      <a:pt x="248" y="302"/>
                    </a:lnTo>
                    <a:lnTo>
                      <a:pt x="242" y="308"/>
                    </a:lnTo>
                    <a:lnTo>
                      <a:pt x="238" y="314"/>
                    </a:lnTo>
                    <a:lnTo>
                      <a:pt x="236" y="321"/>
                    </a:lnTo>
                    <a:lnTo>
                      <a:pt x="234" y="327"/>
                    </a:lnTo>
                    <a:lnTo>
                      <a:pt x="234" y="333"/>
                    </a:lnTo>
                    <a:lnTo>
                      <a:pt x="236" y="338"/>
                    </a:lnTo>
                    <a:lnTo>
                      <a:pt x="238" y="344"/>
                    </a:lnTo>
                    <a:lnTo>
                      <a:pt x="241" y="349"/>
                    </a:lnTo>
                    <a:lnTo>
                      <a:pt x="250" y="357"/>
                    </a:lnTo>
                    <a:lnTo>
                      <a:pt x="259" y="365"/>
                    </a:lnTo>
                    <a:lnTo>
                      <a:pt x="278" y="378"/>
                    </a:lnTo>
                    <a:lnTo>
                      <a:pt x="294" y="389"/>
                    </a:lnTo>
                    <a:lnTo>
                      <a:pt x="294" y="376"/>
                    </a:lnTo>
                    <a:lnTo>
                      <a:pt x="294" y="365"/>
                    </a:lnTo>
                    <a:lnTo>
                      <a:pt x="294" y="356"/>
                    </a:lnTo>
                    <a:lnTo>
                      <a:pt x="294" y="346"/>
                    </a:lnTo>
                    <a:lnTo>
                      <a:pt x="305" y="346"/>
                    </a:lnTo>
                    <a:lnTo>
                      <a:pt x="315" y="343"/>
                    </a:lnTo>
                    <a:lnTo>
                      <a:pt x="319" y="340"/>
                    </a:lnTo>
                    <a:lnTo>
                      <a:pt x="323" y="338"/>
                    </a:lnTo>
                    <a:lnTo>
                      <a:pt x="327" y="335"/>
                    </a:lnTo>
                    <a:lnTo>
                      <a:pt x="329" y="332"/>
                    </a:lnTo>
                    <a:lnTo>
                      <a:pt x="334" y="326"/>
                    </a:lnTo>
                    <a:lnTo>
                      <a:pt x="338" y="317"/>
                    </a:lnTo>
                    <a:lnTo>
                      <a:pt x="340" y="308"/>
                    </a:lnTo>
                    <a:lnTo>
                      <a:pt x="340" y="297"/>
                    </a:lnTo>
                    <a:lnTo>
                      <a:pt x="339" y="283"/>
                    </a:lnTo>
                    <a:lnTo>
                      <a:pt x="337" y="272"/>
                    </a:lnTo>
                    <a:lnTo>
                      <a:pt x="332" y="261"/>
                    </a:lnTo>
                    <a:lnTo>
                      <a:pt x="327" y="251"/>
                    </a:lnTo>
                    <a:lnTo>
                      <a:pt x="322" y="240"/>
                    </a:lnTo>
                    <a:lnTo>
                      <a:pt x="318" y="229"/>
                    </a:lnTo>
                    <a:lnTo>
                      <a:pt x="315" y="217"/>
                    </a:lnTo>
                    <a:lnTo>
                      <a:pt x="314" y="204"/>
                    </a:lnTo>
                    <a:lnTo>
                      <a:pt x="309" y="202"/>
                    </a:lnTo>
                    <a:lnTo>
                      <a:pt x="301" y="194"/>
                    </a:lnTo>
                    <a:lnTo>
                      <a:pt x="292" y="184"/>
                    </a:lnTo>
                    <a:lnTo>
                      <a:pt x="282" y="171"/>
                    </a:lnTo>
                    <a:lnTo>
                      <a:pt x="271" y="157"/>
                    </a:lnTo>
                    <a:lnTo>
                      <a:pt x="262" y="144"/>
                    </a:lnTo>
                    <a:lnTo>
                      <a:pt x="259" y="139"/>
                    </a:lnTo>
                    <a:lnTo>
                      <a:pt x="256" y="133"/>
                    </a:lnTo>
                    <a:lnTo>
                      <a:pt x="254" y="128"/>
                    </a:lnTo>
                    <a:lnTo>
                      <a:pt x="254" y="125"/>
                    </a:lnTo>
                    <a:lnTo>
                      <a:pt x="255" y="110"/>
                    </a:lnTo>
                    <a:lnTo>
                      <a:pt x="259" y="90"/>
                    </a:lnTo>
                    <a:lnTo>
                      <a:pt x="262" y="80"/>
                    </a:lnTo>
                    <a:lnTo>
                      <a:pt x="265" y="71"/>
                    </a:lnTo>
                    <a:lnTo>
                      <a:pt x="270" y="62"/>
                    </a:lnTo>
                    <a:lnTo>
                      <a:pt x="274" y="56"/>
                    </a:lnTo>
                    <a:lnTo>
                      <a:pt x="286" y="57"/>
                    </a:lnTo>
                    <a:lnTo>
                      <a:pt x="298" y="58"/>
                    </a:lnTo>
                    <a:lnTo>
                      <a:pt x="309" y="57"/>
                    </a:lnTo>
                    <a:lnTo>
                      <a:pt x="320" y="55"/>
                    </a:lnTo>
                    <a:lnTo>
                      <a:pt x="343" y="52"/>
                    </a:lnTo>
                    <a:lnTo>
                      <a:pt x="367" y="50"/>
                    </a:lnTo>
                    <a:lnTo>
                      <a:pt x="378" y="52"/>
                    </a:lnTo>
                    <a:lnTo>
                      <a:pt x="398" y="56"/>
                    </a:lnTo>
                    <a:lnTo>
                      <a:pt x="418" y="60"/>
                    </a:lnTo>
                    <a:lnTo>
                      <a:pt x="433" y="62"/>
                    </a:lnTo>
                    <a:lnTo>
                      <a:pt x="445" y="60"/>
                    </a:lnTo>
                    <a:lnTo>
                      <a:pt x="466" y="54"/>
                    </a:lnTo>
                    <a:lnTo>
                      <a:pt x="493" y="46"/>
                    </a:lnTo>
                    <a:lnTo>
                      <a:pt x="521" y="36"/>
                    </a:lnTo>
                    <a:lnTo>
                      <a:pt x="550" y="26"/>
                    </a:lnTo>
                    <a:lnTo>
                      <a:pt x="574" y="16"/>
                    </a:lnTo>
                    <a:lnTo>
                      <a:pt x="584" y="12"/>
                    </a:lnTo>
                    <a:lnTo>
                      <a:pt x="591" y="7"/>
                    </a:lnTo>
                    <a:lnTo>
                      <a:pt x="597" y="3"/>
                    </a:lnTo>
                    <a:lnTo>
                      <a:pt x="599" y="0"/>
                    </a:lnTo>
                    <a:lnTo>
                      <a:pt x="598" y="12"/>
                    </a:lnTo>
                    <a:lnTo>
                      <a:pt x="597" y="20"/>
                    </a:lnTo>
                    <a:lnTo>
                      <a:pt x="597" y="25"/>
                    </a:lnTo>
                    <a:lnTo>
                      <a:pt x="597" y="30"/>
                    </a:lnTo>
                    <a:lnTo>
                      <a:pt x="598" y="36"/>
                    </a:lnTo>
                    <a:lnTo>
                      <a:pt x="599" y="44"/>
                    </a:lnTo>
                    <a:lnTo>
                      <a:pt x="599" y="76"/>
                    </a:lnTo>
                    <a:lnTo>
                      <a:pt x="598" y="102"/>
                    </a:lnTo>
                    <a:lnTo>
                      <a:pt x="597" y="126"/>
                    </a:lnTo>
                    <a:lnTo>
                      <a:pt x="596" y="146"/>
                    </a:lnTo>
                    <a:lnTo>
                      <a:pt x="595" y="165"/>
                    </a:lnTo>
                    <a:lnTo>
                      <a:pt x="594" y="185"/>
                    </a:lnTo>
                    <a:lnTo>
                      <a:pt x="592" y="205"/>
                    </a:lnTo>
                    <a:lnTo>
                      <a:pt x="592" y="228"/>
                    </a:lnTo>
                    <a:lnTo>
                      <a:pt x="592" y="239"/>
                    </a:lnTo>
                    <a:lnTo>
                      <a:pt x="591" y="249"/>
                    </a:lnTo>
                    <a:lnTo>
                      <a:pt x="589" y="258"/>
                    </a:lnTo>
                    <a:lnTo>
                      <a:pt x="587" y="267"/>
                    </a:lnTo>
                    <a:lnTo>
                      <a:pt x="585" y="276"/>
                    </a:lnTo>
                    <a:lnTo>
                      <a:pt x="581" y="285"/>
                    </a:lnTo>
                    <a:lnTo>
                      <a:pt x="577" y="295"/>
                    </a:lnTo>
                    <a:lnTo>
                      <a:pt x="573" y="304"/>
                    </a:lnTo>
                    <a:lnTo>
                      <a:pt x="562" y="321"/>
                    </a:lnTo>
                    <a:lnTo>
                      <a:pt x="550" y="337"/>
                    </a:lnTo>
                    <a:lnTo>
                      <a:pt x="535" y="353"/>
                    </a:lnTo>
                    <a:lnTo>
                      <a:pt x="520" y="367"/>
                    </a:lnTo>
                    <a:lnTo>
                      <a:pt x="503" y="379"/>
                    </a:lnTo>
                    <a:lnTo>
                      <a:pt x="487" y="391"/>
                    </a:lnTo>
                    <a:lnTo>
                      <a:pt x="468" y="402"/>
                    </a:lnTo>
                    <a:lnTo>
                      <a:pt x="450" y="410"/>
                    </a:lnTo>
                    <a:lnTo>
                      <a:pt x="431" y="417"/>
                    </a:lnTo>
                    <a:lnTo>
                      <a:pt x="411" y="422"/>
                    </a:lnTo>
                    <a:lnTo>
                      <a:pt x="393" y="425"/>
                    </a:lnTo>
                    <a:lnTo>
                      <a:pt x="374" y="426"/>
                    </a:lnTo>
                    <a:lnTo>
                      <a:pt x="372" y="433"/>
                    </a:lnTo>
                    <a:lnTo>
                      <a:pt x="368" y="440"/>
                    </a:lnTo>
                    <a:lnTo>
                      <a:pt x="365" y="446"/>
                    </a:lnTo>
                    <a:lnTo>
                      <a:pt x="362" y="452"/>
                    </a:lnTo>
                    <a:lnTo>
                      <a:pt x="353" y="464"/>
                    </a:lnTo>
                    <a:lnTo>
                      <a:pt x="342" y="474"/>
                    </a:lnTo>
                    <a:lnTo>
                      <a:pt x="331" y="483"/>
                    </a:lnTo>
                    <a:lnTo>
                      <a:pt x="318" y="491"/>
                    </a:lnTo>
                    <a:lnTo>
                      <a:pt x="306" y="499"/>
                    </a:lnTo>
                    <a:lnTo>
                      <a:pt x="293" y="507"/>
                    </a:lnTo>
                    <a:lnTo>
                      <a:pt x="281" y="516"/>
                    </a:lnTo>
                    <a:lnTo>
                      <a:pt x="269" y="525"/>
                    </a:lnTo>
                    <a:lnTo>
                      <a:pt x="258" y="534"/>
                    </a:lnTo>
                    <a:lnTo>
                      <a:pt x="248" y="544"/>
                    </a:lnTo>
                    <a:lnTo>
                      <a:pt x="243" y="549"/>
                    </a:lnTo>
                    <a:lnTo>
                      <a:pt x="239" y="555"/>
                    </a:lnTo>
                    <a:lnTo>
                      <a:pt x="236" y="561"/>
                    </a:lnTo>
                    <a:lnTo>
                      <a:pt x="232" y="568"/>
                    </a:lnTo>
                    <a:lnTo>
                      <a:pt x="230" y="575"/>
                    </a:lnTo>
                    <a:lnTo>
                      <a:pt x="229" y="582"/>
                    </a:lnTo>
                    <a:lnTo>
                      <a:pt x="228" y="590"/>
                    </a:lnTo>
                    <a:lnTo>
                      <a:pt x="227" y="598"/>
                    </a:lnTo>
                    <a:lnTo>
                      <a:pt x="228" y="604"/>
                    </a:lnTo>
                    <a:lnTo>
                      <a:pt x="231" y="611"/>
                    </a:lnTo>
                    <a:lnTo>
                      <a:pt x="237" y="619"/>
                    </a:lnTo>
                    <a:lnTo>
                      <a:pt x="242" y="629"/>
                    </a:lnTo>
                    <a:lnTo>
                      <a:pt x="249" y="637"/>
                    </a:lnTo>
                    <a:lnTo>
                      <a:pt x="255" y="645"/>
                    </a:lnTo>
                    <a:lnTo>
                      <a:pt x="262" y="650"/>
                    </a:lnTo>
                    <a:lnTo>
                      <a:pt x="267" y="654"/>
                    </a:lnTo>
                    <a:lnTo>
                      <a:pt x="262" y="663"/>
                    </a:lnTo>
                    <a:lnTo>
                      <a:pt x="258" y="671"/>
                    </a:lnTo>
                    <a:lnTo>
                      <a:pt x="255" y="680"/>
                    </a:lnTo>
                    <a:lnTo>
                      <a:pt x="254" y="685"/>
                    </a:lnTo>
                    <a:lnTo>
                      <a:pt x="254" y="694"/>
                    </a:lnTo>
                    <a:lnTo>
                      <a:pt x="256" y="701"/>
                    </a:lnTo>
                    <a:lnTo>
                      <a:pt x="258" y="709"/>
                    </a:lnTo>
                    <a:lnTo>
                      <a:pt x="261" y="715"/>
                    </a:lnTo>
                    <a:lnTo>
                      <a:pt x="263" y="722"/>
                    </a:lnTo>
                    <a:lnTo>
                      <a:pt x="265" y="729"/>
                    </a:lnTo>
                    <a:lnTo>
                      <a:pt x="266" y="738"/>
                    </a:lnTo>
                    <a:lnTo>
                      <a:pt x="267" y="747"/>
                    </a:lnTo>
                    <a:lnTo>
                      <a:pt x="267" y="766"/>
                    </a:lnTo>
                    <a:lnTo>
                      <a:pt x="267" y="780"/>
                    </a:lnTo>
                    <a:lnTo>
                      <a:pt x="267" y="790"/>
                    </a:lnTo>
                    <a:lnTo>
                      <a:pt x="267" y="796"/>
                    </a:lnTo>
                    <a:lnTo>
                      <a:pt x="266" y="799"/>
                    </a:lnTo>
                    <a:lnTo>
                      <a:pt x="264" y="803"/>
                    </a:lnTo>
                    <a:lnTo>
                      <a:pt x="261" y="808"/>
                    </a:lnTo>
                    <a:lnTo>
                      <a:pt x="256" y="814"/>
                    </a:lnTo>
                    <a:lnTo>
                      <a:pt x="244" y="827"/>
                    </a:lnTo>
                    <a:lnTo>
                      <a:pt x="230" y="841"/>
                    </a:lnTo>
                    <a:lnTo>
                      <a:pt x="215" y="856"/>
                    </a:lnTo>
                    <a:lnTo>
                      <a:pt x="200" y="868"/>
                    </a:lnTo>
                    <a:lnTo>
                      <a:pt x="193" y="873"/>
                    </a:lnTo>
                    <a:lnTo>
                      <a:pt x="186" y="877"/>
                    </a:lnTo>
                    <a:lnTo>
                      <a:pt x="180" y="880"/>
                    </a:lnTo>
                    <a:lnTo>
                      <a:pt x="174" y="882"/>
                    </a:lnTo>
                    <a:lnTo>
                      <a:pt x="161" y="885"/>
                    </a:lnTo>
                    <a:lnTo>
                      <a:pt x="147" y="887"/>
                    </a:lnTo>
                    <a:lnTo>
                      <a:pt x="132" y="889"/>
                    </a:lnTo>
                    <a:lnTo>
                      <a:pt x="118" y="890"/>
                    </a:lnTo>
                    <a:lnTo>
                      <a:pt x="113" y="891"/>
                    </a:lnTo>
                    <a:lnTo>
                      <a:pt x="106" y="892"/>
                    </a:lnTo>
                    <a:lnTo>
                      <a:pt x="102" y="894"/>
                    </a:lnTo>
                    <a:lnTo>
                      <a:pt x="96" y="896"/>
                    </a:lnTo>
                    <a:lnTo>
                      <a:pt x="93" y="900"/>
                    </a:lnTo>
                    <a:lnTo>
                      <a:pt x="91" y="904"/>
                    </a:lnTo>
                    <a:lnTo>
                      <a:pt x="88" y="908"/>
                    </a:lnTo>
                    <a:lnTo>
                      <a:pt x="87" y="913"/>
                    </a:lnTo>
                    <a:lnTo>
                      <a:pt x="88" y="920"/>
                    </a:lnTo>
                    <a:lnTo>
                      <a:pt x="90" y="925"/>
                    </a:lnTo>
                    <a:lnTo>
                      <a:pt x="91" y="931"/>
                    </a:lnTo>
                    <a:lnTo>
                      <a:pt x="93" y="935"/>
                    </a:lnTo>
                    <a:lnTo>
                      <a:pt x="95" y="939"/>
                    </a:lnTo>
                    <a:lnTo>
                      <a:pt x="99" y="941"/>
                    </a:lnTo>
                    <a:lnTo>
                      <a:pt x="103" y="943"/>
                    </a:lnTo>
                    <a:lnTo>
                      <a:pt x="108" y="943"/>
                    </a:lnTo>
                    <a:lnTo>
                      <a:pt x="94" y="993"/>
                    </a:lnTo>
                    <a:lnTo>
                      <a:pt x="91" y="992"/>
                    </a:lnTo>
                    <a:lnTo>
                      <a:pt x="82" y="990"/>
                    </a:lnTo>
                    <a:lnTo>
                      <a:pt x="75" y="988"/>
                    </a:lnTo>
                    <a:lnTo>
                      <a:pt x="74" y="987"/>
                    </a:lnTo>
                    <a:lnTo>
                      <a:pt x="74" y="820"/>
                    </a:lnTo>
                    <a:lnTo>
                      <a:pt x="74" y="810"/>
                    </a:lnTo>
                    <a:lnTo>
                      <a:pt x="73" y="801"/>
                    </a:lnTo>
                    <a:lnTo>
                      <a:pt x="71" y="793"/>
                    </a:lnTo>
                    <a:lnTo>
                      <a:pt x="70" y="785"/>
                    </a:lnTo>
                    <a:lnTo>
                      <a:pt x="64" y="774"/>
                    </a:lnTo>
                    <a:lnTo>
                      <a:pt x="58" y="765"/>
                    </a:lnTo>
                    <a:lnTo>
                      <a:pt x="52" y="755"/>
                    </a:lnTo>
                    <a:lnTo>
                      <a:pt x="47" y="744"/>
                    </a:lnTo>
                    <a:lnTo>
                      <a:pt x="45" y="738"/>
                    </a:lnTo>
                    <a:lnTo>
                      <a:pt x="42" y="729"/>
                    </a:lnTo>
                    <a:lnTo>
                      <a:pt x="41" y="720"/>
                    </a:lnTo>
                    <a:lnTo>
                      <a:pt x="41" y="709"/>
                    </a:lnTo>
                    <a:lnTo>
                      <a:pt x="51" y="704"/>
                    </a:lnTo>
                    <a:lnTo>
                      <a:pt x="72" y="690"/>
                    </a:lnTo>
                    <a:lnTo>
                      <a:pt x="95" y="675"/>
                    </a:lnTo>
                    <a:lnTo>
                      <a:pt x="108" y="666"/>
                    </a:lnTo>
                    <a:lnTo>
                      <a:pt x="107" y="653"/>
                    </a:lnTo>
                    <a:lnTo>
                      <a:pt x="106" y="636"/>
                    </a:lnTo>
                    <a:lnTo>
                      <a:pt x="106" y="627"/>
                    </a:lnTo>
                    <a:lnTo>
                      <a:pt x="108" y="617"/>
                    </a:lnTo>
                    <a:lnTo>
                      <a:pt x="109" y="614"/>
                    </a:lnTo>
                    <a:lnTo>
                      <a:pt x="110" y="610"/>
                    </a:lnTo>
                    <a:lnTo>
                      <a:pt x="113" y="607"/>
                    </a:lnTo>
                    <a:lnTo>
                      <a:pt x="115" y="604"/>
                    </a:lnTo>
                    <a:lnTo>
                      <a:pt x="129" y="591"/>
                    </a:lnTo>
                    <a:lnTo>
                      <a:pt x="149" y="571"/>
                    </a:lnTo>
                    <a:lnTo>
                      <a:pt x="159" y="558"/>
                    </a:lnTo>
                    <a:lnTo>
                      <a:pt x="166" y="546"/>
                    </a:lnTo>
                    <a:lnTo>
                      <a:pt x="170" y="539"/>
                    </a:lnTo>
                    <a:lnTo>
                      <a:pt x="172" y="532"/>
                    </a:lnTo>
                    <a:lnTo>
                      <a:pt x="174" y="526"/>
                    </a:lnTo>
                    <a:lnTo>
                      <a:pt x="174" y="519"/>
                    </a:lnTo>
                    <a:lnTo>
                      <a:pt x="174" y="498"/>
                    </a:lnTo>
                    <a:lnTo>
                      <a:pt x="172" y="479"/>
                    </a:lnTo>
                    <a:lnTo>
                      <a:pt x="170" y="460"/>
                    </a:lnTo>
                    <a:lnTo>
                      <a:pt x="168" y="441"/>
                    </a:lnTo>
                    <a:lnTo>
                      <a:pt x="165" y="423"/>
                    </a:lnTo>
                    <a:lnTo>
                      <a:pt x="163" y="404"/>
                    </a:lnTo>
                    <a:lnTo>
                      <a:pt x="161" y="384"/>
                    </a:lnTo>
                    <a:lnTo>
                      <a:pt x="161" y="364"/>
                    </a:lnTo>
                    <a:lnTo>
                      <a:pt x="152" y="364"/>
                    </a:lnTo>
                    <a:lnTo>
                      <a:pt x="142" y="363"/>
                    </a:lnTo>
                    <a:lnTo>
                      <a:pt x="132" y="361"/>
                    </a:lnTo>
                    <a:lnTo>
                      <a:pt x="122" y="358"/>
                    </a:lnTo>
                    <a:lnTo>
                      <a:pt x="102" y="350"/>
                    </a:lnTo>
                    <a:lnTo>
                      <a:pt x="81" y="341"/>
                    </a:lnTo>
                    <a:lnTo>
                      <a:pt x="42" y="323"/>
                    </a:lnTo>
                    <a:lnTo>
                      <a:pt x="15" y="309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30" name="Freeform 252">
                <a:extLst>
                  <a:ext uri="{FF2B5EF4-FFF2-40B4-BE49-F238E27FC236}">
                    <a16:creationId xmlns="" xmlns:a16="http://schemas.microsoft.com/office/drawing/2014/main" id="{7494F8A9-5C6F-4005-A6A6-C3BFA6FD952A}"/>
                  </a:ext>
                </a:extLst>
              </p:cNvPr>
              <p:cNvSpPr>
                <a:spLocks/>
              </p:cNvSpPr>
              <p:nvPr>
                <p:custDataLst>
                  <p:tags r:id="rId179"/>
                </p:custDataLst>
              </p:nvPr>
            </p:nvSpPr>
            <p:spPr bwMode="auto">
              <a:xfrm>
                <a:off x="4494213" y="4235450"/>
                <a:ext cx="238125" cy="287338"/>
              </a:xfrm>
              <a:custGeom>
                <a:avLst/>
                <a:gdLst>
                  <a:gd name="T0" fmla="*/ 2147483646 w 545"/>
                  <a:gd name="T1" fmla="*/ 2147483646 h 549"/>
                  <a:gd name="T2" fmla="*/ 2147483646 w 545"/>
                  <a:gd name="T3" fmla="*/ 2147483646 h 549"/>
                  <a:gd name="T4" fmla="*/ 2147483646 w 545"/>
                  <a:gd name="T5" fmla="*/ 2147483646 h 549"/>
                  <a:gd name="T6" fmla="*/ 2147483646 w 545"/>
                  <a:gd name="T7" fmla="*/ 2147483646 h 549"/>
                  <a:gd name="T8" fmla="*/ 2147483646 w 545"/>
                  <a:gd name="T9" fmla="*/ 2147483646 h 549"/>
                  <a:gd name="T10" fmla="*/ 2147483646 w 545"/>
                  <a:gd name="T11" fmla="*/ 2147483646 h 549"/>
                  <a:gd name="T12" fmla="*/ 2147483646 w 545"/>
                  <a:gd name="T13" fmla="*/ 2147483646 h 549"/>
                  <a:gd name="T14" fmla="*/ 2147483646 w 545"/>
                  <a:gd name="T15" fmla="*/ 2147483646 h 549"/>
                  <a:gd name="T16" fmla="*/ 2147483646 w 545"/>
                  <a:gd name="T17" fmla="*/ 2147483646 h 549"/>
                  <a:gd name="T18" fmla="*/ 2147483646 w 545"/>
                  <a:gd name="T19" fmla="*/ 2147483646 h 549"/>
                  <a:gd name="T20" fmla="*/ 2147483646 w 545"/>
                  <a:gd name="T21" fmla="*/ 2147483646 h 549"/>
                  <a:gd name="T22" fmla="*/ 2147483646 w 545"/>
                  <a:gd name="T23" fmla="*/ 2147483646 h 549"/>
                  <a:gd name="T24" fmla="*/ 2147483646 w 545"/>
                  <a:gd name="T25" fmla="*/ 2147483646 h 549"/>
                  <a:gd name="T26" fmla="*/ 2147483646 w 545"/>
                  <a:gd name="T27" fmla="*/ 2147483646 h 549"/>
                  <a:gd name="T28" fmla="*/ 2147483646 w 545"/>
                  <a:gd name="T29" fmla="*/ 2147483646 h 549"/>
                  <a:gd name="T30" fmla="*/ 2147483646 w 545"/>
                  <a:gd name="T31" fmla="*/ 2147483646 h 549"/>
                  <a:gd name="T32" fmla="*/ 2147483646 w 545"/>
                  <a:gd name="T33" fmla="*/ 2147483646 h 549"/>
                  <a:gd name="T34" fmla="*/ 2147483646 w 545"/>
                  <a:gd name="T35" fmla="*/ 2147483646 h 549"/>
                  <a:gd name="T36" fmla="*/ 2147483646 w 545"/>
                  <a:gd name="T37" fmla="*/ 2147483646 h 549"/>
                  <a:gd name="T38" fmla="*/ 2147483646 w 545"/>
                  <a:gd name="T39" fmla="*/ 2147483646 h 549"/>
                  <a:gd name="T40" fmla="*/ 2147483646 w 545"/>
                  <a:gd name="T41" fmla="*/ 2147483646 h 549"/>
                  <a:gd name="T42" fmla="*/ 2147483646 w 545"/>
                  <a:gd name="T43" fmla="*/ 2147483646 h 549"/>
                  <a:gd name="T44" fmla="*/ 2147483646 w 545"/>
                  <a:gd name="T45" fmla="*/ 2147483646 h 549"/>
                  <a:gd name="T46" fmla="*/ 2147483646 w 545"/>
                  <a:gd name="T47" fmla="*/ 2147483646 h 549"/>
                  <a:gd name="T48" fmla="*/ 2147483646 w 545"/>
                  <a:gd name="T49" fmla="*/ 2147483646 h 549"/>
                  <a:gd name="T50" fmla="*/ 2147483646 w 545"/>
                  <a:gd name="T51" fmla="*/ 2147483646 h 549"/>
                  <a:gd name="T52" fmla="*/ 2147483646 w 545"/>
                  <a:gd name="T53" fmla="*/ 2147483646 h 549"/>
                  <a:gd name="T54" fmla="*/ 2147483646 w 545"/>
                  <a:gd name="T55" fmla="*/ 2147483646 h 549"/>
                  <a:gd name="T56" fmla="*/ 2147483646 w 545"/>
                  <a:gd name="T57" fmla="*/ 2147483646 h 549"/>
                  <a:gd name="T58" fmla="*/ 2147483646 w 545"/>
                  <a:gd name="T59" fmla="*/ 2147483646 h 549"/>
                  <a:gd name="T60" fmla="*/ 2147483646 w 545"/>
                  <a:gd name="T61" fmla="*/ 2147483646 h 549"/>
                  <a:gd name="T62" fmla="*/ 2147483646 w 545"/>
                  <a:gd name="T63" fmla="*/ 2147483646 h 549"/>
                  <a:gd name="T64" fmla="*/ 2147483646 w 545"/>
                  <a:gd name="T65" fmla="*/ 0 h 549"/>
                  <a:gd name="T66" fmla="*/ 2147483646 w 545"/>
                  <a:gd name="T67" fmla="*/ 2147483646 h 549"/>
                  <a:gd name="T68" fmla="*/ 2147483646 w 545"/>
                  <a:gd name="T69" fmla="*/ 2147483646 h 549"/>
                  <a:gd name="T70" fmla="*/ 2147483646 w 545"/>
                  <a:gd name="T71" fmla="*/ 2147483646 h 549"/>
                  <a:gd name="T72" fmla="*/ 2147483646 w 545"/>
                  <a:gd name="T73" fmla="*/ 2147483646 h 549"/>
                  <a:gd name="T74" fmla="*/ 2147483646 w 545"/>
                  <a:gd name="T75" fmla="*/ 2147483646 h 549"/>
                  <a:gd name="T76" fmla="*/ 2147483646 w 545"/>
                  <a:gd name="T77" fmla="*/ 2147483646 h 549"/>
                  <a:gd name="T78" fmla="*/ 2147483646 w 545"/>
                  <a:gd name="T79" fmla="*/ 2147483646 h 549"/>
                  <a:gd name="T80" fmla="*/ 2147483646 w 545"/>
                  <a:gd name="T81" fmla="*/ 2147483646 h 549"/>
                  <a:gd name="T82" fmla="*/ 2147483646 w 545"/>
                  <a:gd name="T83" fmla="*/ 2147483646 h 549"/>
                  <a:gd name="T84" fmla="*/ 2147483646 w 545"/>
                  <a:gd name="T85" fmla="*/ 2147483646 h 549"/>
                  <a:gd name="T86" fmla="*/ 2147483646 w 545"/>
                  <a:gd name="T87" fmla="*/ 2147483646 h 549"/>
                  <a:gd name="T88" fmla="*/ 2147483646 w 545"/>
                  <a:gd name="T89" fmla="*/ 2147483646 h 549"/>
                  <a:gd name="T90" fmla="*/ 2147483646 w 545"/>
                  <a:gd name="T91" fmla="*/ 2147483646 h 549"/>
                  <a:gd name="T92" fmla="*/ 2147483646 w 545"/>
                  <a:gd name="T93" fmla="*/ 2147483646 h 549"/>
                  <a:gd name="T94" fmla="*/ 2147483646 w 545"/>
                  <a:gd name="T95" fmla="*/ 2147483646 h 549"/>
                  <a:gd name="T96" fmla="*/ 2147483646 w 545"/>
                  <a:gd name="T97" fmla="*/ 2147483646 h 549"/>
                  <a:gd name="T98" fmla="*/ 0 w 545"/>
                  <a:gd name="T99" fmla="*/ 2147483646 h 549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545"/>
                  <a:gd name="T151" fmla="*/ 0 h 549"/>
                  <a:gd name="T152" fmla="*/ 545 w 545"/>
                  <a:gd name="T153" fmla="*/ 549 h 549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545" h="549">
                    <a:moveTo>
                      <a:pt x="13" y="420"/>
                    </a:moveTo>
                    <a:lnTo>
                      <a:pt x="21" y="424"/>
                    </a:lnTo>
                    <a:lnTo>
                      <a:pt x="30" y="428"/>
                    </a:lnTo>
                    <a:lnTo>
                      <a:pt x="40" y="431"/>
                    </a:lnTo>
                    <a:lnTo>
                      <a:pt x="46" y="432"/>
                    </a:lnTo>
                    <a:lnTo>
                      <a:pt x="46" y="454"/>
                    </a:lnTo>
                    <a:lnTo>
                      <a:pt x="46" y="472"/>
                    </a:lnTo>
                    <a:lnTo>
                      <a:pt x="46" y="491"/>
                    </a:lnTo>
                    <a:lnTo>
                      <a:pt x="46" y="512"/>
                    </a:lnTo>
                    <a:lnTo>
                      <a:pt x="47" y="518"/>
                    </a:lnTo>
                    <a:lnTo>
                      <a:pt x="47" y="523"/>
                    </a:lnTo>
                    <a:lnTo>
                      <a:pt x="48" y="527"/>
                    </a:lnTo>
                    <a:lnTo>
                      <a:pt x="51" y="531"/>
                    </a:lnTo>
                    <a:lnTo>
                      <a:pt x="53" y="534"/>
                    </a:lnTo>
                    <a:lnTo>
                      <a:pt x="55" y="537"/>
                    </a:lnTo>
                    <a:lnTo>
                      <a:pt x="57" y="540"/>
                    </a:lnTo>
                    <a:lnTo>
                      <a:pt x="61" y="542"/>
                    </a:lnTo>
                    <a:lnTo>
                      <a:pt x="68" y="545"/>
                    </a:lnTo>
                    <a:lnTo>
                      <a:pt x="77" y="547"/>
                    </a:lnTo>
                    <a:lnTo>
                      <a:pt x="88" y="548"/>
                    </a:lnTo>
                    <a:lnTo>
                      <a:pt x="100" y="549"/>
                    </a:lnTo>
                    <a:lnTo>
                      <a:pt x="104" y="548"/>
                    </a:lnTo>
                    <a:lnTo>
                      <a:pt x="109" y="548"/>
                    </a:lnTo>
                    <a:lnTo>
                      <a:pt x="113" y="546"/>
                    </a:lnTo>
                    <a:lnTo>
                      <a:pt x="117" y="544"/>
                    </a:lnTo>
                    <a:lnTo>
                      <a:pt x="123" y="539"/>
                    </a:lnTo>
                    <a:lnTo>
                      <a:pt x="130" y="533"/>
                    </a:lnTo>
                    <a:lnTo>
                      <a:pt x="134" y="525"/>
                    </a:lnTo>
                    <a:lnTo>
                      <a:pt x="138" y="516"/>
                    </a:lnTo>
                    <a:lnTo>
                      <a:pt x="143" y="507"/>
                    </a:lnTo>
                    <a:lnTo>
                      <a:pt x="146" y="496"/>
                    </a:lnTo>
                    <a:lnTo>
                      <a:pt x="151" y="487"/>
                    </a:lnTo>
                    <a:lnTo>
                      <a:pt x="154" y="477"/>
                    </a:lnTo>
                    <a:lnTo>
                      <a:pt x="158" y="469"/>
                    </a:lnTo>
                    <a:lnTo>
                      <a:pt x="164" y="461"/>
                    </a:lnTo>
                    <a:lnTo>
                      <a:pt x="169" y="454"/>
                    </a:lnTo>
                    <a:lnTo>
                      <a:pt x="176" y="448"/>
                    </a:lnTo>
                    <a:lnTo>
                      <a:pt x="179" y="446"/>
                    </a:lnTo>
                    <a:lnTo>
                      <a:pt x="183" y="445"/>
                    </a:lnTo>
                    <a:lnTo>
                      <a:pt x="188" y="444"/>
                    </a:lnTo>
                    <a:lnTo>
                      <a:pt x="193" y="444"/>
                    </a:lnTo>
                    <a:lnTo>
                      <a:pt x="201" y="444"/>
                    </a:lnTo>
                    <a:lnTo>
                      <a:pt x="209" y="445"/>
                    </a:lnTo>
                    <a:lnTo>
                      <a:pt x="215" y="446"/>
                    </a:lnTo>
                    <a:lnTo>
                      <a:pt x="222" y="448"/>
                    </a:lnTo>
                    <a:lnTo>
                      <a:pt x="232" y="453"/>
                    </a:lnTo>
                    <a:lnTo>
                      <a:pt x="242" y="457"/>
                    </a:lnTo>
                    <a:lnTo>
                      <a:pt x="252" y="461"/>
                    </a:lnTo>
                    <a:lnTo>
                      <a:pt x="261" y="465"/>
                    </a:lnTo>
                    <a:lnTo>
                      <a:pt x="267" y="467"/>
                    </a:lnTo>
                    <a:lnTo>
                      <a:pt x="272" y="468"/>
                    </a:lnTo>
                    <a:lnTo>
                      <a:pt x="279" y="469"/>
                    </a:lnTo>
                    <a:lnTo>
                      <a:pt x="286" y="469"/>
                    </a:lnTo>
                    <a:lnTo>
                      <a:pt x="297" y="469"/>
                    </a:lnTo>
                    <a:lnTo>
                      <a:pt x="305" y="468"/>
                    </a:lnTo>
                    <a:lnTo>
                      <a:pt x="313" y="466"/>
                    </a:lnTo>
                    <a:lnTo>
                      <a:pt x="319" y="464"/>
                    </a:lnTo>
                    <a:lnTo>
                      <a:pt x="324" y="461"/>
                    </a:lnTo>
                    <a:lnTo>
                      <a:pt x="328" y="457"/>
                    </a:lnTo>
                    <a:lnTo>
                      <a:pt x="332" y="453"/>
                    </a:lnTo>
                    <a:lnTo>
                      <a:pt x="335" y="447"/>
                    </a:lnTo>
                    <a:lnTo>
                      <a:pt x="345" y="422"/>
                    </a:lnTo>
                    <a:lnTo>
                      <a:pt x="359" y="388"/>
                    </a:lnTo>
                    <a:lnTo>
                      <a:pt x="365" y="380"/>
                    </a:lnTo>
                    <a:lnTo>
                      <a:pt x="373" y="372"/>
                    </a:lnTo>
                    <a:lnTo>
                      <a:pt x="382" y="363"/>
                    </a:lnTo>
                    <a:lnTo>
                      <a:pt x="393" y="353"/>
                    </a:lnTo>
                    <a:lnTo>
                      <a:pt x="418" y="333"/>
                    </a:lnTo>
                    <a:lnTo>
                      <a:pt x="447" y="314"/>
                    </a:lnTo>
                    <a:lnTo>
                      <a:pt x="476" y="296"/>
                    </a:lnTo>
                    <a:lnTo>
                      <a:pt x="503" y="278"/>
                    </a:lnTo>
                    <a:lnTo>
                      <a:pt x="527" y="264"/>
                    </a:lnTo>
                    <a:lnTo>
                      <a:pt x="545" y="253"/>
                    </a:lnTo>
                    <a:lnTo>
                      <a:pt x="538" y="235"/>
                    </a:lnTo>
                    <a:lnTo>
                      <a:pt x="528" y="232"/>
                    </a:lnTo>
                    <a:lnTo>
                      <a:pt x="518" y="229"/>
                    </a:lnTo>
                    <a:lnTo>
                      <a:pt x="511" y="223"/>
                    </a:lnTo>
                    <a:lnTo>
                      <a:pt x="503" y="218"/>
                    </a:lnTo>
                    <a:lnTo>
                      <a:pt x="496" y="212"/>
                    </a:lnTo>
                    <a:lnTo>
                      <a:pt x="491" y="206"/>
                    </a:lnTo>
                    <a:lnTo>
                      <a:pt x="485" y="199"/>
                    </a:lnTo>
                    <a:lnTo>
                      <a:pt x="480" y="191"/>
                    </a:lnTo>
                    <a:lnTo>
                      <a:pt x="470" y="175"/>
                    </a:lnTo>
                    <a:lnTo>
                      <a:pt x="460" y="157"/>
                    </a:lnTo>
                    <a:lnTo>
                      <a:pt x="454" y="149"/>
                    </a:lnTo>
                    <a:lnTo>
                      <a:pt x="447" y="141"/>
                    </a:lnTo>
                    <a:lnTo>
                      <a:pt x="440" y="132"/>
                    </a:lnTo>
                    <a:lnTo>
                      <a:pt x="432" y="124"/>
                    </a:lnTo>
                    <a:lnTo>
                      <a:pt x="404" y="101"/>
                    </a:lnTo>
                    <a:lnTo>
                      <a:pt x="377" y="76"/>
                    </a:lnTo>
                    <a:lnTo>
                      <a:pt x="370" y="69"/>
                    </a:lnTo>
                    <a:lnTo>
                      <a:pt x="365" y="62"/>
                    </a:lnTo>
                    <a:lnTo>
                      <a:pt x="359" y="53"/>
                    </a:lnTo>
                    <a:lnTo>
                      <a:pt x="355" y="44"/>
                    </a:lnTo>
                    <a:lnTo>
                      <a:pt x="350" y="35"/>
                    </a:lnTo>
                    <a:lnTo>
                      <a:pt x="348" y="24"/>
                    </a:lnTo>
                    <a:lnTo>
                      <a:pt x="346" y="13"/>
                    </a:lnTo>
                    <a:lnTo>
                      <a:pt x="346" y="0"/>
                    </a:lnTo>
                    <a:lnTo>
                      <a:pt x="319" y="0"/>
                    </a:lnTo>
                    <a:lnTo>
                      <a:pt x="293" y="0"/>
                    </a:lnTo>
                    <a:lnTo>
                      <a:pt x="268" y="1"/>
                    </a:lnTo>
                    <a:lnTo>
                      <a:pt x="244" y="2"/>
                    </a:lnTo>
                    <a:lnTo>
                      <a:pt x="221" y="6"/>
                    </a:lnTo>
                    <a:lnTo>
                      <a:pt x="198" y="9"/>
                    </a:lnTo>
                    <a:lnTo>
                      <a:pt x="176" y="13"/>
                    </a:lnTo>
                    <a:lnTo>
                      <a:pt x="153" y="19"/>
                    </a:lnTo>
                    <a:lnTo>
                      <a:pt x="123" y="21"/>
                    </a:lnTo>
                    <a:lnTo>
                      <a:pt x="95" y="22"/>
                    </a:lnTo>
                    <a:lnTo>
                      <a:pt x="84" y="23"/>
                    </a:lnTo>
                    <a:lnTo>
                      <a:pt x="75" y="25"/>
                    </a:lnTo>
                    <a:lnTo>
                      <a:pt x="71" y="27"/>
                    </a:lnTo>
                    <a:lnTo>
                      <a:pt x="68" y="30"/>
                    </a:lnTo>
                    <a:lnTo>
                      <a:pt x="67" y="33"/>
                    </a:lnTo>
                    <a:lnTo>
                      <a:pt x="67" y="38"/>
                    </a:lnTo>
                    <a:lnTo>
                      <a:pt x="67" y="44"/>
                    </a:lnTo>
                    <a:lnTo>
                      <a:pt x="69" y="50"/>
                    </a:lnTo>
                    <a:lnTo>
                      <a:pt x="73" y="56"/>
                    </a:lnTo>
                    <a:lnTo>
                      <a:pt x="77" y="63"/>
                    </a:lnTo>
                    <a:lnTo>
                      <a:pt x="80" y="68"/>
                    </a:lnTo>
                    <a:lnTo>
                      <a:pt x="84" y="74"/>
                    </a:lnTo>
                    <a:lnTo>
                      <a:pt x="86" y="80"/>
                    </a:lnTo>
                    <a:lnTo>
                      <a:pt x="87" y="87"/>
                    </a:lnTo>
                    <a:lnTo>
                      <a:pt x="86" y="107"/>
                    </a:lnTo>
                    <a:lnTo>
                      <a:pt x="82" y="129"/>
                    </a:lnTo>
                    <a:lnTo>
                      <a:pt x="78" y="150"/>
                    </a:lnTo>
                    <a:lnTo>
                      <a:pt x="74" y="171"/>
                    </a:lnTo>
                    <a:lnTo>
                      <a:pt x="68" y="193"/>
                    </a:lnTo>
                    <a:lnTo>
                      <a:pt x="64" y="214"/>
                    </a:lnTo>
                    <a:lnTo>
                      <a:pt x="62" y="237"/>
                    </a:lnTo>
                    <a:lnTo>
                      <a:pt x="61" y="259"/>
                    </a:lnTo>
                    <a:lnTo>
                      <a:pt x="54" y="261"/>
                    </a:lnTo>
                    <a:lnTo>
                      <a:pt x="47" y="263"/>
                    </a:lnTo>
                    <a:lnTo>
                      <a:pt x="42" y="266"/>
                    </a:lnTo>
                    <a:lnTo>
                      <a:pt x="36" y="269"/>
                    </a:lnTo>
                    <a:lnTo>
                      <a:pt x="26" y="277"/>
                    </a:lnTo>
                    <a:lnTo>
                      <a:pt x="18" y="287"/>
                    </a:lnTo>
                    <a:lnTo>
                      <a:pt x="10" y="297"/>
                    </a:lnTo>
                    <a:lnTo>
                      <a:pt x="5" y="307"/>
                    </a:lnTo>
                    <a:lnTo>
                      <a:pt x="1" y="317"/>
                    </a:lnTo>
                    <a:lnTo>
                      <a:pt x="0" y="327"/>
                    </a:lnTo>
                    <a:lnTo>
                      <a:pt x="1" y="339"/>
                    </a:lnTo>
                    <a:lnTo>
                      <a:pt x="3" y="349"/>
                    </a:lnTo>
                    <a:lnTo>
                      <a:pt x="6" y="358"/>
                    </a:lnTo>
                    <a:lnTo>
                      <a:pt x="8" y="367"/>
                    </a:lnTo>
                    <a:lnTo>
                      <a:pt x="9" y="376"/>
                    </a:lnTo>
                    <a:lnTo>
                      <a:pt x="9" y="386"/>
                    </a:lnTo>
                    <a:lnTo>
                      <a:pt x="8" y="391"/>
                    </a:lnTo>
                    <a:lnTo>
                      <a:pt x="6" y="397"/>
                    </a:lnTo>
                    <a:lnTo>
                      <a:pt x="3" y="402"/>
                    </a:lnTo>
                    <a:lnTo>
                      <a:pt x="0" y="408"/>
                    </a:lnTo>
                    <a:lnTo>
                      <a:pt x="13" y="42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31" name="Freeform 253">
                <a:extLst>
                  <a:ext uri="{FF2B5EF4-FFF2-40B4-BE49-F238E27FC236}">
                    <a16:creationId xmlns="" xmlns:a16="http://schemas.microsoft.com/office/drawing/2014/main" id="{988C218C-CA94-4A2C-A644-9E7549ED9974}"/>
                  </a:ext>
                </a:extLst>
              </p:cNvPr>
              <p:cNvSpPr>
                <a:spLocks/>
              </p:cNvSpPr>
              <p:nvPr>
                <p:custDataLst>
                  <p:tags r:id="rId180"/>
                </p:custDataLst>
              </p:nvPr>
            </p:nvSpPr>
            <p:spPr bwMode="auto">
              <a:xfrm>
                <a:off x="5067300" y="4037013"/>
                <a:ext cx="196850" cy="434975"/>
              </a:xfrm>
              <a:custGeom>
                <a:avLst/>
                <a:gdLst>
                  <a:gd name="T0" fmla="*/ 2147483646 w 452"/>
                  <a:gd name="T1" fmla="*/ 2147483646 h 832"/>
                  <a:gd name="T2" fmla="*/ 2147483646 w 452"/>
                  <a:gd name="T3" fmla="*/ 2147483646 h 832"/>
                  <a:gd name="T4" fmla="*/ 2147483646 w 452"/>
                  <a:gd name="T5" fmla="*/ 2147483646 h 832"/>
                  <a:gd name="T6" fmla="*/ 2147483646 w 452"/>
                  <a:gd name="T7" fmla="*/ 2147483646 h 832"/>
                  <a:gd name="T8" fmla="*/ 2147483646 w 452"/>
                  <a:gd name="T9" fmla="*/ 2147483646 h 832"/>
                  <a:gd name="T10" fmla="*/ 2147483646 w 452"/>
                  <a:gd name="T11" fmla="*/ 2147483646 h 832"/>
                  <a:gd name="T12" fmla="*/ 2147483646 w 452"/>
                  <a:gd name="T13" fmla="*/ 2147483646 h 832"/>
                  <a:gd name="T14" fmla="*/ 2147483646 w 452"/>
                  <a:gd name="T15" fmla="*/ 2147483646 h 832"/>
                  <a:gd name="T16" fmla="*/ 2147483646 w 452"/>
                  <a:gd name="T17" fmla="*/ 2147483646 h 832"/>
                  <a:gd name="T18" fmla="*/ 2147483646 w 452"/>
                  <a:gd name="T19" fmla="*/ 2147483646 h 832"/>
                  <a:gd name="T20" fmla="*/ 2147483646 w 452"/>
                  <a:gd name="T21" fmla="*/ 2147483646 h 832"/>
                  <a:gd name="T22" fmla="*/ 2147483646 w 452"/>
                  <a:gd name="T23" fmla="*/ 2147483646 h 832"/>
                  <a:gd name="T24" fmla="*/ 2147483646 w 452"/>
                  <a:gd name="T25" fmla="*/ 0 h 832"/>
                  <a:gd name="T26" fmla="*/ 2147483646 w 452"/>
                  <a:gd name="T27" fmla="*/ 2147483646 h 832"/>
                  <a:gd name="T28" fmla="*/ 2147483646 w 452"/>
                  <a:gd name="T29" fmla="*/ 2147483646 h 832"/>
                  <a:gd name="T30" fmla="*/ 2147483646 w 452"/>
                  <a:gd name="T31" fmla="*/ 2147483646 h 832"/>
                  <a:gd name="T32" fmla="*/ 2147483646 w 452"/>
                  <a:gd name="T33" fmla="*/ 2147483646 h 832"/>
                  <a:gd name="T34" fmla="*/ 2147483646 w 452"/>
                  <a:gd name="T35" fmla="*/ 2147483646 h 832"/>
                  <a:gd name="T36" fmla="*/ 2147483646 w 452"/>
                  <a:gd name="T37" fmla="*/ 2147483646 h 832"/>
                  <a:gd name="T38" fmla="*/ 2147483646 w 452"/>
                  <a:gd name="T39" fmla="*/ 2147483646 h 832"/>
                  <a:gd name="T40" fmla="*/ 2147483646 w 452"/>
                  <a:gd name="T41" fmla="*/ 2147483646 h 832"/>
                  <a:gd name="T42" fmla="*/ 2147483646 w 452"/>
                  <a:gd name="T43" fmla="*/ 2147483646 h 832"/>
                  <a:gd name="T44" fmla="*/ 2147483646 w 452"/>
                  <a:gd name="T45" fmla="*/ 2147483646 h 832"/>
                  <a:gd name="T46" fmla="*/ 2147483646 w 452"/>
                  <a:gd name="T47" fmla="*/ 2147483646 h 832"/>
                  <a:gd name="T48" fmla="*/ 2147483646 w 452"/>
                  <a:gd name="T49" fmla="*/ 2147483646 h 832"/>
                  <a:gd name="T50" fmla="*/ 2147483646 w 452"/>
                  <a:gd name="T51" fmla="*/ 2147483646 h 832"/>
                  <a:gd name="T52" fmla="*/ 2147483646 w 452"/>
                  <a:gd name="T53" fmla="*/ 2147483646 h 832"/>
                  <a:gd name="T54" fmla="*/ 2147483646 w 452"/>
                  <a:gd name="T55" fmla="*/ 2147483646 h 832"/>
                  <a:gd name="T56" fmla="*/ 2147483646 w 452"/>
                  <a:gd name="T57" fmla="*/ 2147483646 h 832"/>
                  <a:gd name="T58" fmla="*/ 2147483646 w 452"/>
                  <a:gd name="T59" fmla="*/ 2147483646 h 832"/>
                  <a:gd name="T60" fmla="*/ 2147483646 w 452"/>
                  <a:gd name="T61" fmla="*/ 2147483646 h 832"/>
                  <a:gd name="T62" fmla="*/ 2147483646 w 452"/>
                  <a:gd name="T63" fmla="*/ 2147483646 h 832"/>
                  <a:gd name="T64" fmla="*/ 2147483646 w 452"/>
                  <a:gd name="T65" fmla="*/ 2147483646 h 832"/>
                  <a:gd name="T66" fmla="*/ 2147483646 w 452"/>
                  <a:gd name="T67" fmla="*/ 2147483646 h 832"/>
                  <a:gd name="T68" fmla="*/ 2147483646 w 452"/>
                  <a:gd name="T69" fmla="*/ 2147483646 h 832"/>
                  <a:gd name="T70" fmla="*/ 2147483646 w 452"/>
                  <a:gd name="T71" fmla="*/ 2147483646 h 832"/>
                  <a:gd name="T72" fmla="*/ 2147483646 w 452"/>
                  <a:gd name="T73" fmla="*/ 2147483646 h 832"/>
                  <a:gd name="T74" fmla="*/ 2147483646 w 452"/>
                  <a:gd name="T75" fmla="*/ 2147483646 h 832"/>
                  <a:gd name="T76" fmla="*/ 2147483646 w 452"/>
                  <a:gd name="T77" fmla="*/ 2147483646 h 832"/>
                  <a:gd name="T78" fmla="*/ 2147483646 w 452"/>
                  <a:gd name="T79" fmla="*/ 2147483646 h 832"/>
                  <a:gd name="T80" fmla="*/ 2147483646 w 452"/>
                  <a:gd name="T81" fmla="*/ 2147483646 h 832"/>
                  <a:gd name="T82" fmla="*/ 2147483646 w 452"/>
                  <a:gd name="T83" fmla="*/ 2147483646 h 832"/>
                  <a:gd name="T84" fmla="*/ 2147483646 w 452"/>
                  <a:gd name="T85" fmla="*/ 2147483646 h 832"/>
                  <a:gd name="T86" fmla="*/ 2147483646 w 452"/>
                  <a:gd name="T87" fmla="*/ 2147483646 h 832"/>
                  <a:gd name="T88" fmla="*/ 2147483646 w 452"/>
                  <a:gd name="T89" fmla="*/ 2147483646 h 832"/>
                  <a:gd name="T90" fmla="*/ 2147483646 w 452"/>
                  <a:gd name="T91" fmla="*/ 2147483646 h 832"/>
                  <a:gd name="T92" fmla="*/ 0 w 452"/>
                  <a:gd name="T93" fmla="*/ 2147483646 h 832"/>
                  <a:gd name="T94" fmla="*/ 2147483646 w 452"/>
                  <a:gd name="T95" fmla="*/ 2147483646 h 832"/>
                  <a:gd name="T96" fmla="*/ 2147483646 w 452"/>
                  <a:gd name="T97" fmla="*/ 2147483646 h 832"/>
                  <a:gd name="T98" fmla="*/ 2147483646 w 452"/>
                  <a:gd name="T99" fmla="*/ 2147483646 h 832"/>
                  <a:gd name="T100" fmla="*/ 0 w 452"/>
                  <a:gd name="T101" fmla="*/ 2147483646 h 832"/>
                  <a:gd name="T102" fmla="*/ 2147483646 w 452"/>
                  <a:gd name="T103" fmla="*/ 2147483646 h 832"/>
                  <a:gd name="T104" fmla="*/ 2147483646 w 452"/>
                  <a:gd name="T105" fmla="*/ 2147483646 h 832"/>
                  <a:gd name="T106" fmla="*/ 2147483646 w 452"/>
                  <a:gd name="T107" fmla="*/ 2147483646 h 832"/>
                  <a:gd name="T108" fmla="*/ 2147483646 w 452"/>
                  <a:gd name="T109" fmla="*/ 2147483646 h 832"/>
                  <a:gd name="T110" fmla="*/ 2147483646 w 452"/>
                  <a:gd name="T111" fmla="*/ 2147483646 h 832"/>
                  <a:gd name="T112" fmla="*/ 2147483646 w 452"/>
                  <a:gd name="T113" fmla="*/ 2147483646 h 832"/>
                  <a:gd name="T114" fmla="*/ 2147483646 w 452"/>
                  <a:gd name="T115" fmla="*/ 2147483646 h 832"/>
                  <a:gd name="T116" fmla="*/ 2147483646 w 452"/>
                  <a:gd name="T117" fmla="*/ 2147483646 h 832"/>
                  <a:gd name="T118" fmla="*/ 2147483646 w 452"/>
                  <a:gd name="T119" fmla="*/ 2147483646 h 832"/>
                  <a:gd name="T120" fmla="*/ 2147483646 w 452"/>
                  <a:gd name="T121" fmla="*/ 2147483646 h 832"/>
                  <a:gd name="T122" fmla="*/ 2147483646 w 452"/>
                  <a:gd name="T123" fmla="*/ 2147483646 h 832"/>
                  <a:gd name="T124" fmla="*/ 2147483646 w 452"/>
                  <a:gd name="T125" fmla="*/ 2147483646 h 832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452"/>
                  <a:gd name="T190" fmla="*/ 0 h 832"/>
                  <a:gd name="T191" fmla="*/ 452 w 452"/>
                  <a:gd name="T192" fmla="*/ 832 h 832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452" h="832">
                    <a:moveTo>
                      <a:pt x="93" y="264"/>
                    </a:moveTo>
                    <a:lnTo>
                      <a:pt x="103" y="263"/>
                    </a:lnTo>
                    <a:lnTo>
                      <a:pt x="112" y="261"/>
                    </a:lnTo>
                    <a:lnTo>
                      <a:pt x="120" y="257"/>
                    </a:lnTo>
                    <a:lnTo>
                      <a:pt x="129" y="252"/>
                    </a:lnTo>
                    <a:lnTo>
                      <a:pt x="138" y="248"/>
                    </a:lnTo>
                    <a:lnTo>
                      <a:pt x="147" y="244"/>
                    </a:lnTo>
                    <a:lnTo>
                      <a:pt x="157" y="241"/>
                    </a:lnTo>
                    <a:lnTo>
                      <a:pt x="165" y="240"/>
                    </a:lnTo>
                    <a:lnTo>
                      <a:pt x="175" y="239"/>
                    </a:lnTo>
                    <a:lnTo>
                      <a:pt x="184" y="236"/>
                    </a:lnTo>
                    <a:lnTo>
                      <a:pt x="192" y="232"/>
                    </a:lnTo>
                    <a:lnTo>
                      <a:pt x="199" y="227"/>
                    </a:lnTo>
                    <a:lnTo>
                      <a:pt x="206" y="222"/>
                    </a:lnTo>
                    <a:lnTo>
                      <a:pt x="215" y="217"/>
                    </a:lnTo>
                    <a:lnTo>
                      <a:pt x="222" y="213"/>
                    </a:lnTo>
                    <a:lnTo>
                      <a:pt x="232" y="209"/>
                    </a:lnTo>
                    <a:lnTo>
                      <a:pt x="232" y="200"/>
                    </a:lnTo>
                    <a:lnTo>
                      <a:pt x="232" y="191"/>
                    </a:lnTo>
                    <a:lnTo>
                      <a:pt x="232" y="184"/>
                    </a:lnTo>
                    <a:lnTo>
                      <a:pt x="232" y="179"/>
                    </a:lnTo>
                    <a:lnTo>
                      <a:pt x="248" y="179"/>
                    </a:lnTo>
                    <a:lnTo>
                      <a:pt x="259" y="179"/>
                    </a:lnTo>
                    <a:lnTo>
                      <a:pt x="265" y="178"/>
                    </a:lnTo>
                    <a:lnTo>
                      <a:pt x="271" y="177"/>
                    </a:lnTo>
                    <a:lnTo>
                      <a:pt x="276" y="175"/>
                    </a:lnTo>
                    <a:lnTo>
                      <a:pt x="282" y="173"/>
                    </a:lnTo>
                    <a:lnTo>
                      <a:pt x="287" y="170"/>
                    </a:lnTo>
                    <a:lnTo>
                      <a:pt x="293" y="166"/>
                    </a:lnTo>
                    <a:lnTo>
                      <a:pt x="298" y="162"/>
                    </a:lnTo>
                    <a:lnTo>
                      <a:pt x="303" y="157"/>
                    </a:lnTo>
                    <a:lnTo>
                      <a:pt x="311" y="145"/>
                    </a:lnTo>
                    <a:lnTo>
                      <a:pt x="320" y="133"/>
                    </a:lnTo>
                    <a:lnTo>
                      <a:pt x="329" y="120"/>
                    </a:lnTo>
                    <a:lnTo>
                      <a:pt x="336" y="106"/>
                    </a:lnTo>
                    <a:lnTo>
                      <a:pt x="350" y="75"/>
                    </a:lnTo>
                    <a:lnTo>
                      <a:pt x="361" y="46"/>
                    </a:lnTo>
                    <a:lnTo>
                      <a:pt x="371" y="20"/>
                    </a:lnTo>
                    <a:lnTo>
                      <a:pt x="378" y="0"/>
                    </a:lnTo>
                    <a:lnTo>
                      <a:pt x="379" y="7"/>
                    </a:lnTo>
                    <a:lnTo>
                      <a:pt x="383" y="13"/>
                    </a:lnTo>
                    <a:lnTo>
                      <a:pt x="385" y="19"/>
                    </a:lnTo>
                    <a:lnTo>
                      <a:pt x="389" y="25"/>
                    </a:lnTo>
                    <a:lnTo>
                      <a:pt x="397" y="36"/>
                    </a:lnTo>
                    <a:lnTo>
                      <a:pt x="407" y="47"/>
                    </a:lnTo>
                    <a:lnTo>
                      <a:pt x="430" y="65"/>
                    </a:lnTo>
                    <a:lnTo>
                      <a:pt x="452" y="80"/>
                    </a:lnTo>
                    <a:lnTo>
                      <a:pt x="448" y="85"/>
                    </a:lnTo>
                    <a:lnTo>
                      <a:pt x="444" y="91"/>
                    </a:lnTo>
                    <a:lnTo>
                      <a:pt x="442" y="96"/>
                    </a:lnTo>
                    <a:lnTo>
                      <a:pt x="440" y="103"/>
                    </a:lnTo>
                    <a:lnTo>
                      <a:pt x="440" y="114"/>
                    </a:lnTo>
                    <a:lnTo>
                      <a:pt x="442" y="125"/>
                    </a:lnTo>
                    <a:lnTo>
                      <a:pt x="444" y="138"/>
                    </a:lnTo>
                    <a:lnTo>
                      <a:pt x="448" y="151"/>
                    </a:lnTo>
                    <a:lnTo>
                      <a:pt x="451" y="168"/>
                    </a:lnTo>
                    <a:lnTo>
                      <a:pt x="452" y="185"/>
                    </a:lnTo>
                    <a:lnTo>
                      <a:pt x="451" y="192"/>
                    </a:lnTo>
                    <a:lnTo>
                      <a:pt x="450" y="199"/>
                    </a:lnTo>
                    <a:lnTo>
                      <a:pt x="448" y="206"/>
                    </a:lnTo>
                    <a:lnTo>
                      <a:pt x="444" y="213"/>
                    </a:lnTo>
                    <a:lnTo>
                      <a:pt x="437" y="224"/>
                    </a:lnTo>
                    <a:lnTo>
                      <a:pt x="428" y="234"/>
                    </a:lnTo>
                    <a:lnTo>
                      <a:pt x="420" y="244"/>
                    </a:lnTo>
                    <a:lnTo>
                      <a:pt x="412" y="255"/>
                    </a:lnTo>
                    <a:lnTo>
                      <a:pt x="409" y="261"/>
                    </a:lnTo>
                    <a:lnTo>
                      <a:pt x="407" y="269"/>
                    </a:lnTo>
                    <a:lnTo>
                      <a:pt x="406" y="276"/>
                    </a:lnTo>
                    <a:lnTo>
                      <a:pt x="405" y="283"/>
                    </a:lnTo>
                    <a:lnTo>
                      <a:pt x="402" y="289"/>
                    </a:lnTo>
                    <a:lnTo>
                      <a:pt x="397" y="302"/>
                    </a:lnTo>
                    <a:lnTo>
                      <a:pt x="393" y="308"/>
                    </a:lnTo>
                    <a:lnTo>
                      <a:pt x="388" y="314"/>
                    </a:lnTo>
                    <a:lnTo>
                      <a:pt x="386" y="316"/>
                    </a:lnTo>
                    <a:lnTo>
                      <a:pt x="383" y="318"/>
                    </a:lnTo>
                    <a:lnTo>
                      <a:pt x="381" y="319"/>
                    </a:lnTo>
                    <a:lnTo>
                      <a:pt x="378" y="320"/>
                    </a:lnTo>
                    <a:lnTo>
                      <a:pt x="377" y="332"/>
                    </a:lnTo>
                    <a:lnTo>
                      <a:pt x="376" y="343"/>
                    </a:lnTo>
                    <a:lnTo>
                      <a:pt x="373" y="354"/>
                    </a:lnTo>
                    <a:lnTo>
                      <a:pt x="368" y="364"/>
                    </a:lnTo>
                    <a:lnTo>
                      <a:pt x="360" y="386"/>
                    </a:lnTo>
                    <a:lnTo>
                      <a:pt x="349" y="406"/>
                    </a:lnTo>
                    <a:lnTo>
                      <a:pt x="338" y="427"/>
                    </a:lnTo>
                    <a:lnTo>
                      <a:pt x="328" y="449"/>
                    </a:lnTo>
                    <a:lnTo>
                      <a:pt x="325" y="459"/>
                    </a:lnTo>
                    <a:lnTo>
                      <a:pt x="321" y="470"/>
                    </a:lnTo>
                    <a:lnTo>
                      <a:pt x="319" y="481"/>
                    </a:lnTo>
                    <a:lnTo>
                      <a:pt x="319" y="493"/>
                    </a:lnTo>
                    <a:lnTo>
                      <a:pt x="318" y="500"/>
                    </a:lnTo>
                    <a:lnTo>
                      <a:pt x="316" y="509"/>
                    </a:lnTo>
                    <a:lnTo>
                      <a:pt x="314" y="520"/>
                    </a:lnTo>
                    <a:lnTo>
                      <a:pt x="310" y="531"/>
                    </a:lnTo>
                    <a:lnTo>
                      <a:pt x="300" y="559"/>
                    </a:lnTo>
                    <a:lnTo>
                      <a:pt x="288" y="587"/>
                    </a:lnTo>
                    <a:lnTo>
                      <a:pt x="281" y="602"/>
                    </a:lnTo>
                    <a:lnTo>
                      <a:pt x="274" y="615"/>
                    </a:lnTo>
                    <a:lnTo>
                      <a:pt x="266" y="627"/>
                    </a:lnTo>
                    <a:lnTo>
                      <a:pt x="260" y="637"/>
                    </a:lnTo>
                    <a:lnTo>
                      <a:pt x="252" y="646"/>
                    </a:lnTo>
                    <a:lnTo>
                      <a:pt x="245" y="653"/>
                    </a:lnTo>
                    <a:lnTo>
                      <a:pt x="242" y="655"/>
                    </a:lnTo>
                    <a:lnTo>
                      <a:pt x="239" y="658"/>
                    </a:lnTo>
                    <a:lnTo>
                      <a:pt x="236" y="659"/>
                    </a:lnTo>
                    <a:lnTo>
                      <a:pt x="232" y="660"/>
                    </a:lnTo>
                    <a:lnTo>
                      <a:pt x="231" y="678"/>
                    </a:lnTo>
                    <a:lnTo>
                      <a:pt x="230" y="696"/>
                    </a:lnTo>
                    <a:lnTo>
                      <a:pt x="228" y="714"/>
                    </a:lnTo>
                    <a:lnTo>
                      <a:pt x="225" y="730"/>
                    </a:lnTo>
                    <a:lnTo>
                      <a:pt x="220" y="745"/>
                    </a:lnTo>
                    <a:lnTo>
                      <a:pt x="215" y="759"/>
                    </a:lnTo>
                    <a:lnTo>
                      <a:pt x="207" y="773"/>
                    </a:lnTo>
                    <a:lnTo>
                      <a:pt x="199" y="785"/>
                    </a:lnTo>
                    <a:lnTo>
                      <a:pt x="191" y="795"/>
                    </a:lnTo>
                    <a:lnTo>
                      <a:pt x="181" y="805"/>
                    </a:lnTo>
                    <a:lnTo>
                      <a:pt x="169" y="812"/>
                    </a:lnTo>
                    <a:lnTo>
                      <a:pt x="157" y="819"/>
                    </a:lnTo>
                    <a:lnTo>
                      <a:pt x="142" y="825"/>
                    </a:lnTo>
                    <a:lnTo>
                      <a:pt x="127" y="829"/>
                    </a:lnTo>
                    <a:lnTo>
                      <a:pt x="110" y="831"/>
                    </a:lnTo>
                    <a:lnTo>
                      <a:pt x="93" y="832"/>
                    </a:lnTo>
                    <a:lnTo>
                      <a:pt x="86" y="831"/>
                    </a:lnTo>
                    <a:lnTo>
                      <a:pt x="80" y="827"/>
                    </a:lnTo>
                    <a:lnTo>
                      <a:pt x="77" y="825"/>
                    </a:lnTo>
                    <a:lnTo>
                      <a:pt x="75" y="821"/>
                    </a:lnTo>
                    <a:lnTo>
                      <a:pt x="73" y="817"/>
                    </a:lnTo>
                    <a:lnTo>
                      <a:pt x="73" y="813"/>
                    </a:lnTo>
                    <a:lnTo>
                      <a:pt x="61" y="812"/>
                    </a:lnTo>
                    <a:lnTo>
                      <a:pt x="50" y="810"/>
                    </a:lnTo>
                    <a:lnTo>
                      <a:pt x="41" y="807"/>
                    </a:lnTo>
                    <a:lnTo>
                      <a:pt x="34" y="803"/>
                    </a:lnTo>
                    <a:lnTo>
                      <a:pt x="26" y="798"/>
                    </a:lnTo>
                    <a:lnTo>
                      <a:pt x="20" y="791"/>
                    </a:lnTo>
                    <a:lnTo>
                      <a:pt x="15" y="785"/>
                    </a:lnTo>
                    <a:lnTo>
                      <a:pt x="12" y="777"/>
                    </a:lnTo>
                    <a:lnTo>
                      <a:pt x="8" y="769"/>
                    </a:lnTo>
                    <a:lnTo>
                      <a:pt x="5" y="760"/>
                    </a:lnTo>
                    <a:lnTo>
                      <a:pt x="3" y="752"/>
                    </a:lnTo>
                    <a:lnTo>
                      <a:pt x="2" y="743"/>
                    </a:lnTo>
                    <a:lnTo>
                      <a:pt x="0" y="726"/>
                    </a:lnTo>
                    <a:lnTo>
                      <a:pt x="0" y="708"/>
                    </a:lnTo>
                    <a:lnTo>
                      <a:pt x="1" y="702"/>
                    </a:lnTo>
                    <a:lnTo>
                      <a:pt x="2" y="697"/>
                    </a:lnTo>
                    <a:lnTo>
                      <a:pt x="4" y="694"/>
                    </a:lnTo>
                    <a:lnTo>
                      <a:pt x="7" y="691"/>
                    </a:lnTo>
                    <a:lnTo>
                      <a:pt x="14" y="685"/>
                    </a:lnTo>
                    <a:lnTo>
                      <a:pt x="19" y="678"/>
                    </a:lnTo>
                    <a:lnTo>
                      <a:pt x="17" y="677"/>
                    </a:lnTo>
                    <a:lnTo>
                      <a:pt x="14" y="675"/>
                    </a:lnTo>
                    <a:lnTo>
                      <a:pt x="11" y="672"/>
                    </a:lnTo>
                    <a:lnTo>
                      <a:pt x="7" y="668"/>
                    </a:lnTo>
                    <a:lnTo>
                      <a:pt x="2" y="660"/>
                    </a:lnTo>
                    <a:lnTo>
                      <a:pt x="0" y="652"/>
                    </a:lnTo>
                    <a:lnTo>
                      <a:pt x="1" y="642"/>
                    </a:lnTo>
                    <a:lnTo>
                      <a:pt x="3" y="635"/>
                    </a:lnTo>
                    <a:lnTo>
                      <a:pt x="5" y="628"/>
                    </a:lnTo>
                    <a:lnTo>
                      <a:pt x="7" y="622"/>
                    </a:lnTo>
                    <a:lnTo>
                      <a:pt x="8" y="616"/>
                    </a:lnTo>
                    <a:lnTo>
                      <a:pt x="8" y="610"/>
                    </a:lnTo>
                    <a:lnTo>
                      <a:pt x="5" y="602"/>
                    </a:lnTo>
                    <a:lnTo>
                      <a:pt x="0" y="591"/>
                    </a:lnTo>
                    <a:lnTo>
                      <a:pt x="5" y="591"/>
                    </a:lnTo>
                    <a:lnTo>
                      <a:pt x="9" y="590"/>
                    </a:lnTo>
                    <a:lnTo>
                      <a:pt x="14" y="589"/>
                    </a:lnTo>
                    <a:lnTo>
                      <a:pt x="18" y="587"/>
                    </a:lnTo>
                    <a:lnTo>
                      <a:pt x="27" y="582"/>
                    </a:lnTo>
                    <a:lnTo>
                      <a:pt x="36" y="575"/>
                    </a:lnTo>
                    <a:lnTo>
                      <a:pt x="43" y="568"/>
                    </a:lnTo>
                    <a:lnTo>
                      <a:pt x="50" y="559"/>
                    </a:lnTo>
                    <a:lnTo>
                      <a:pt x="57" y="549"/>
                    </a:lnTo>
                    <a:lnTo>
                      <a:pt x="63" y="538"/>
                    </a:lnTo>
                    <a:lnTo>
                      <a:pt x="68" y="527"/>
                    </a:lnTo>
                    <a:lnTo>
                      <a:pt x="73" y="516"/>
                    </a:lnTo>
                    <a:lnTo>
                      <a:pt x="76" y="506"/>
                    </a:lnTo>
                    <a:lnTo>
                      <a:pt x="80" y="496"/>
                    </a:lnTo>
                    <a:lnTo>
                      <a:pt x="84" y="476"/>
                    </a:lnTo>
                    <a:lnTo>
                      <a:pt x="86" y="462"/>
                    </a:lnTo>
                    <a:lnTo>
                      <a:pt x="85" y="453"/>
                    </a:lnTo>
                    <a:lnTo>
                      <a:pt x="84" y="445"/>
                    </a:lnTo>
                    <a:lnTo>
                      <a:pt x="83" y="438"/>
                    </a:lnTo>
                    <a:lnTo>
                      <a:pt x="81" y="430"/>
                    </a:lnTo>
                    <a:lnTo>
                      <a:pt x="75" y="419"/>
                    </a:lnTo>
                    <a:lnTo>
                      <a:pt x="70" y="408"/>
                    </a:lnTo>
                    <a:lnTo>
                      <a:pt x="63" y="398"/>
                    </a:lnTo>
                    <a:lnTo>
                      <a:pt x="58" y="388"/>
                    </a:lnTo>
                    <a:lnTo>
                      <a:pt x="56" y="382"/>
                    </a:lnTo>
                    <a:lnTo>
                      <a:pt x="54" y="376"/>
                    </a:lnTo>
                    <a:lnTo>
                      <a:pt x="53" y="370"/>
                    </a:lnTo>
                    <a:lnTo>
                      <a:pt x="53" y="363"/>
                    </a:lnTo>
                    <a:lnTo>
                      <a:pt x="93" y="264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32" name="Freeform 254">
                <a:extLst>
                  <a:ext uri="{FF2B5EF4-FFF2-40B4-BE49-F238E27FC236}">
                    <a16:creationId xmlns="" xmlns:a16="http://schemas.microsoft.com/office/drawing/2014/main" id="{8C408698-B53D-4685-BF96-42CDE9EA13AA}"/>
                  </a:ext>
                </a:extLst>
              </p:cNvPr>
              <p:cNvSpPr>
                <a:spLocks/>
              </p:cNvSpPr>
              <p:nvPr>
                <p:custDataLst>
                  <p:tags r:id="rId181"/>
                </p:custDataLst>
              </p:nvPr>
            </p:nvSpPr>
            <p:spPr bwMode="auto">
              <a:xfrm>
                <a:off x="4743450" y="3735388"/>
                <a:ext cx="36513" cy="66675"/>
              </a:xfrm>
              <a:custGeom>
                <a:avLst/>
                <a:gdLst>
                  <a:gd name="T0" fmla="*/ 2147483646 w 80"/>
                  <a:gd name="T1" fmla="*/ 2147483646 h 126"/>
                  <a:gd name="T2" fmla="*/ 2147483646 w 80"/>
                  <a:gd name="T3" fmla="*/ 2147483646 h 126"/>
                  <a:gd name="T4" fmla="*/ 2147483646 w 80"/>
                  <a:gd name="T5" fmla="*/ 2147483646 h 126"/>
                  <a:gd name="T6" fmla="*/ 2147483646 w 80"/>
                  <a:gd name="T7" fmla="*/ 2147483646 h 126"/>
                  <a:gd name="T8" fmla="*/ 2147483646 w 80"/>
                  <a:gd name="T9" fmla="*/ 2147483646 h 126"/>
                  <a:gd name="T10" fmla="*/ 2147483646 w 80"/>
                  <a:gd name="T11" fmla="*/ 2147483646 h 126"/>
                  <a:gd name="T12" fmla="*/ 2147483646 w 80"/>
                  <a:gd name="T13" fmla="*/ 2147483646 h 126"/>
                  <a:gd name="T14" fmla="*/ 2147483646 w 80"/>
                  <a:gd name="T15" fmla="*/ 2147483646 h 126"/>
                  <a:gd name="T16" fmla="*/ 2147483646 w 80"/>
                  <a:gd name="T17" fmla="*/ 2147483646 h 126"/>
                  <a:gd name="T18" fmla="*/ 2147483646 w 80"/>
                  <a:gd name="T19" fmla="*/ 2147483646 h 126"/>
                  <a:gd name="T20" fmla="*/ 2147483646 w 80"/>
                  <a:gd name="T21" fmla="*/ 2147483646 h 126"/>
                  <a:gd name="T22" fmla="*/ 0 w 80"/>
                  <a:gd name="T23" fmla="*/ 2147483646 h 126"/>
                  <a:gd name="T24" fmla="*/ 2147483646 w 80"/>
                  <a:gd name="T25" fmla="*/ 2147483646 h 126"/>
                  <a:gd name="T26" fmla="*/ 2147483646 w 80"/>
                  <a:gd name="T27" fmla="*/ 2147483646 h 126"/>
                  <a:gd name="T28" fmla="*/ 2147483646 w 80"/>
                  <a:gd name="T29" fmla="*/ 2147483646 h 126"/>
                  <a:gd name="T30" fmla="*/ 2147483646 w 80"/>
                  <a:gd name="T31" fmla="*/ 2147483646 h 126"/>
                  <a:gd name="T32" fmla="*/ 2147483646 w 80"/>
                  <a:gd name="T33" fmla="*/ 2147483646 h 126"/>
                  <a:gd name="T34" fmla="*/ 2147483646 w 80"/>
                  <a:gd name="T35" fmla="*/ 0 h 126"/>
                  <a:gd name="T36" fmla="*/ 2147483646 w 80"/>
                  <a:gd name="T37" fmla="*/ 0 h 126"/>
                  <a:gd name="T38" fmla="*/ 2147483646 w 80"/>
                  <a:gd name="T39" fmla="*/ 2147483646 h 126"/>
                  <a:gd name="T40" fmla="*/ 2147483646 w 80"/>
                  <a:gd name="T41" fmla="*/ 2147483646 h 12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80"/>
                  <a:gd name="T64" fmla="*/ 0 h 126"/>
                  <a:gd name="T65" fmla="*/ 80 w 80"/>
                  <a:gd name="T66" fmla="*/ 126 h 12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80" h="126">
                    <a:moveTo>
                      <a:pt x="80" y="2"/>
                    </a:moveTo>
                    <a:lnTo>
                      <a:pt x="80" y="101"/>
                    </a:lnTo>
                    <a:lnTo>
                      <a:pt x="78" y="104"/>
                    </a:lnTo>
                    <a:lnTo>
                      <a:pt x="75" y="107"/>
                    </a:lnTo>
                    <a:lnTo>
                      <a:pt x="70" y="109"/>
                    </a:lnTo>
                    <a:lnTo>
                      <a:pt x="67" y="111"/>
                    </a:lnTo>
                    <a:lnTo>
                      <a:pt x="58" y="114"/>
                    </a:lnTo>
                    <a:lnTo>
                      <a:pt x="48" y="116"/>
                    </a:lnTo>
                    <a:lnTo>
                      <a:pt x="36" y="117"/>
                    </a:lnTo>
                    <a:lnTo>
                      <a:pt x="25" y="119"/>
                    </a:lnTo>
                    <a:lnTo>
                      <a:pt x="13" y="123"/>
                    </a:lnTo>
                    <a:lnTo>
                      <a:pt x="0" y="126"/>
                    </a:lnTo>
                    <a:lnTo>
                      <a:pt x="7" y="40"/>
                    </a:lnTo>
                    <a:lnTo>
                      <a:pt x="23" y="27"/>
                    </a:lnTo>
                    <a:lnTo>
                      <a:pt x="41" y="12"/>
                    </a:lnTo>
                    <a:lnTo>
                      <a:pt x="51" y="5"/>
                    </a:lnTo>
                    <a:lnTo>
                      <a:pt x="60" y="1"/>
                    </a:lnTo>
                    <a:lnTo>
                      <a:pt x="65" y="0"/>
                    </a:lnTo>
                    <a:lnTo>
                      <a:pt x="70" y="0"/>
                    </a:lnTo>
                    <a:lnTo>
                      <a:pt x="75" y="1"/>
                    </a:lnTo>
                    <a:lnTo>
                      <a:pt x="80" y="2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33" name="Freeform 255">
                <a:extLst>
                  <a:ext uri="{FF2B5EF4-FFF2-40B4-BE49-F238E27FC236}">
                    <a16:creationId xmlns="" xmlns:a16="http://schemas.microsoft.com/office/drawing/2014/main" id="{3E39B20D-6891-41CE-9FAD-B0035AB7C7C7}"/>
                  </a:ext>
                </a:extLst>
              </p:cNvPr>
              <p:cNvSpPr>
                <a:spLocks/>
              </p:cNvSpPr>
              <p:nvPr>
                <p:custDataLst>
                  <p:tags r:id="rId182"/>
                </p:custDataLst>
              </p:nvPr>
            </p:nvSpPr>
            <p:spPr bwMode="auto">
              <a:xfrm>
                <a:off x="4732338" y="3695700"/>
                <a:ext cx="55562" cy="60325"/>
              </a:xfrm>
              <a:custGeom>
                <a:avLst/>
                <a:gdLst>
                  <a:gd name="T0" fmla="*/ 2147483646 w 124"/>
                  <a:gd name="T1" fmla="*/ 0 h 117"/>
                  <a:gd name="T2" fmla="*/ 2147483646 w 124"/>
                  <a:gd name="T3" fmla="*/ 2147483646 h 117"/>
                  <a:gd name="T4" fmla="*/ 2147483646 w 124"/>
                  <a:gd name="T5" fmla="*/ 2147483646 h 117"/>
                  <a:gd name="T6" fmla="*/ 2147483646 w 124"/>
                  <a:gd name="T7" fmla="*/ 2147483646 h 117"/>
                  <a:gd name="T8" fmla="*/ 2147483646 w 124"/>
                  <a:gd name="T9" fmla="*/ 2147483646 h 117"/>
                  <a:gd name="T10" fmla="*/ 2147483646 w 124"/>
                  <a:gd name="T11" fmla="*/ 2147483646 h 117"/>
                  <a:gd name="T12" fmla="*/ 2147483646 w 124"/>
                  <a:gd name="T13" fmla="*/ 2147483646 h 117"/>
                  <a:gd name="T14" fmla="*/ 2147483646 w 124"/>
                  <a:gd name="T15" fmla="*/ 2147483646 h 117"/>
                  <a:gd name="T16" fmla="*/ 2147483646 w 124"/>
                  <a:gd name="T17" fmla="*/ 2147483646 h 117"/>
                  <a:gd name="T18" fmla="*/ 2147483646 w 124"/>
                  <a:gd name="T19" fmla="*/ 2147483646 h 117"/>
                  <a:gd name="T20" fmla="*/ 2147483646 w 124"/>
                  <a:gd name="T21" fmla="*/ 2147483646 h 117"/>
                  <a:gd name="T22" fmla="*/ 2147483646 w 124"/>
                  <a:gd name="T23" fmla="*/ 2147483646 h 117"/>
                  <a:gd name="T24" fmla="*/ 2147483646 w 124"/>
                  <a:gd name="T25" fmla="*/ 2147483646 h 117"/>
                  <a:gd name="T26" fmla="*/ 2147483646 w 124"/>
                  <a:gd name="T27" fmla="*/ 2147483646 h 117"/>
                  <a:gd name="T28" fmla="*/ 2147483646 w 124"/>
                  <a:gd name="T29" fmla="*/ 2147483646 h 117"/>
                  <a:gd name="T30" fmla="*/ 2147483646 w 124"/>
                  <a:gd name="T31" fmla="*/ 2147483646 h 117"/>
                  <a:gd name="T32" fmla="*/ 2147483646 w 124"/>
                  <a:gd name="T33" fmla="*/ 2147483646 h 117"/>
                  <a:gd name="T34" fmla="*/ 2147483646 w 124"/>
                  <a:gd name="T35" fmla="*/ 2147483646 h 117"/>
                  <a:gd name="T36" fmla="*/ 2147483646 w 124"/>
                  <a:gd name="T37" fmla="*/ 2147483646 h 117"/>
                  <a:gd name="T38" fmla="*/ 2147483646 w 124"/>
                  <a:gd name="T39" fmla="*/ 2147483646 h 117"/>
                  <a:gd name="T40" fmla="*/ 0 w 124"/>
                  <a:gd name="T41" fmla="*/ 2147483646 h 117"/>
                  <a:gd name="T42" fmla="*/ 2147483646 w 124"/>
                  <a:gd name="T43" fmla="*/ 2147483646 h 117"/>
                  <a:gd name="T44" fmla="*/ 2147483646 w 124"/>
                  <a:gd name="T45" fmla="*/ 2147483646 h 117"/>
                  <a:gd name="T46" fmla="*/ 2147483646 w 124"/>
                  <a:gd name="T47" fmla="*/ 2147483646 h 117"/>
                  <a:gd name="T48" fmla="*/ 2147483646 w 124"/>
                  <a:gd name="T49" fmla="*/ 2147483646 h 117"/>
                  <a:gd name="T50" fmla="*/ 2147483646 w 124"/>
                  <a:gd name="T51" fmla="*/ 2147483646 h 117"/>
                  <a:gd name="T52" fmla="*/ 2147483646 w 124"/>
                  <a:gd name="T53" fmla="*/ 2147483646 h 117"/>
                  <a:gd name="T54" fmla="*/ 2147483646 w 124"/>
                  <a:gd name="T55" fmla="*/ 2147483646 h 117"/>
                  <a:gd name="T56" fmla="*/ 2147483646 w 124"/>
                  <a:gd name="T57" fmla="*/ 2147483646 h 117"/>
                  <a:gd name="T58" fmla="*/ 2147483646 w 124"/>
                  <a:gd name="T59" fmla="*/ 2147483646 h 117"/>
                  <a:gd name="T60" fmla="*/ 2147483646 w 124"/>
                  <a:gd name="T61" fmla="*/ 2147483646 h 117"/>
                  <a:gd name="T62" fmla="*/ 2147483646 w 124"/>
                  <a:gd name="T63" fmla="*/ 2147483646 h 117"/>
                  <a:gd name="T64" fmla="*/ 2147483646 w 124"/>
                  <a:gd name="T65" fmla="*/ 0 h 11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24"/>
                  <a:gd name="T100" fmla="*/ 0 h 117"/>
                  <a:gd name="T101" fmla="*/ 124 w 124"/>
                  <a:gd name="T102" fmla="*/ 117 h 117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24" h="117">
                    <a:moveTo>
                      <a:pt x="113" y="0"/>
                    </a:moveTo>
                    <a:lnTo>
                      <a:pt x="116" y="15"/>
                    </a:lnTo>
                    <a:lnTo>
                      <a:pt x="122" y="35"/>
                    </a:lnTo>
                    <a:lnTo>
                      <a:pt x="124" y="45"/>
                    </a:lnTo>
                    <a:lnTo>
                      <a:pt x="124" y="54"/>
                    </a:lnTo>
                    <a:lnTo>
                      <a:pt x="124" y="59"/>
                    </a:lnTo>
                    <a:lnTo>
                      <a:pt x="123" y="64"/>
                    </a:lnTo>
                    <a:lnTo>
                      <a:pt x="122" y="69"/>
                    </a:lnTo>
                    <a:lnTo>
                      <a:pt x="119" y="73"/>
                    </a:lnTo>
                    <a:lnTo>
                      <a:pt x="114" y="72"/>
                    </a:lnTo>
                    <a:lnTo>
                      <a:pt x="108" y="71"/>
                    </a:lnTo>
                    <a:lnTo>
                      <a:pt x="103" y="72"/>
                    </a:lnTo>
                    <a:lnTo>
                      <a:pt x="96" y="73"/>
                    </a:lnTo>
                    <a:lnTo>
                      <a:pt x="83" y="78"/>
                    </a:lnTo>
                    <a:lnTo>
                      <a:pt x="71" y="85"/>
                    </a:lnTo>
                    <a:lnTo>
                      <a:pt x="46" y="103"/>
                    </a:lnTo>
                    <a:lnTo>
                      <a:pt x="26" y="117"/>
                    </a:lnTo>
                    <a:lnTo>
                      <a:pt x="23" y="112"/>
                    </a:lnTo>
                    <a:lnTo>
                      <a:pt x="13" y="101"/>
                    </a:lnTo>
                    <a:lnTo>
                      <a:pt x="4" y="89"/>
                    </a:lnTo>
                    <a:lnTo>
                      <a:pt x="0" y="79"/>
                    </a:lnTo>
                    <a:lnTo>
                      <a:pt x="1" y="76"/>
                    </a:lnTo>
                    <a:lnTo>
                      <a:pt x="2" y="72"/>
                    </a:lnTo>
                    <a:lnTo>
                      <a:pt x="5" y="67"/>
                    </a:lnTo>
                    <a:lnTo>
                      <a:pt x="9" y="62"/>
                    </a:lnTo>
                    <a:lnTo>
                      <a:pt x="17" y="52"/>
                    </a:lnTo>
                    <a:lnTo>
                      <a:pt x="27" y="42"/>
                    </a:lnTo>
                    <a:lnTo>
                      <a:pt x="48" y="22"/>
                    </a:lnTo>
                    <a:lnTo>
                      <a:pt x="60" y="12"/>
                    </a:lnTo>
                    <a:lnTo>
                      <a:pt x="73" y="12"/>
                    </a:lnTo>
                    <a:lnTo>
                      <a:pt x="86" y="12"/>
                    </a:lnTo>
                    <a:lnTo>
                      <a:pt x="100" y="6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34" name="Freeform 256">
                <a:extLst>
                  <a:ext uri="{FF2B5EF4-FFF2-40B4-BE49-F238E27FC236}">
                    <a16:creationId xmlns="" xmlns:a16="http://schemas.microsoft.com/office/drawing/2014/main" id="{61FBCE58-3664-4AAC-AE92-C6E6A8679CA1}"/>
                  </a:ext>
                </a:extLst>
              </p:cNvPr>
              <p:cNvSpPr>
                <a:spLocks/>
              </p:cNvSpPr>
              <p:nvPr>
                <p:custDataLst>
                  <p:tags r:id="rId183"/>
                </p:custDataLst>
              </p:nvPr>
            </p:nvSpPr>
            <p:spPr bwMode="auto">
              <a:xfrm>
                <a:off x="5041900" y="2395538"/>
                <a:ext cx="503238" cy="473075"/>
              </a:xfrm>
              <a:custGeom>
                <a:avLst/>
                <a:gdLst>
                  <a:gd name="T0" fmla="*/ 2147483646 w 1156"/>
                  <a:gd name="T1" fmla="*/ 2147483646 h 900"/>
                  <a:gd name="T2" fmla="*/ 2147483646 w 1156"/>
                  <a:gd name="T3" fmla="*/ 2147483646 h 900"/>
                  <a:gd name="T4" fmla="*/ 2147483646 w 1156"/>
                  <a:gd name="T5" fmla="*/ 2147483646 h 900"/>
                  <a:gd name="T6" fmla="*/ 2147483646 w 1156"/>
                  <a:gd name="T7" fmla="*/ 2147483646 h 900"/>
                  <a:gd name="T8" fmla="*/ 2147483646 w 1156"/>
                  <a:gd name="T9" fmla="*/ 2147483646 h 900"/>
                  <a:gd name="T10" fmla="*/ 2147483646 w 1156"/>
                  <a:gd name="T11" fmla="*/ 2147483646 h 900"/>
                  <a:gd name="T12" fmla="*/ 2147483646 w 1156"/>
                  <a:gd name="T13" fmla="*/ 2147483646 h 900"/>
                  <a:gd name="T14" fmla="*/ 2147483646 w 1156"/>
                  <a:gd name="T15" fmla="*/ 2147483646 h 900"/>
                  <a:gd name="T16" fmla="*/ 2147483646 w 1156"/>
                  <a:gd name="T17" fmla="*/ 2147483646 h 900"/>
                  <a:gd name="T18" fmla="*/ 2147483646 w 1156"/>
                  <a:gd name="T19" fmla="*/ 2147483646 h 900"/>
                  <a:gd name="T20" fmla="*/ 2147483646 w 1156"/>
                  <a:gd name="T21" fmla="*/ 2147483646 h 900"/>
                  <a:gd name="T22" fmla="*/ 2147483646 w 1156"/>
                  <a:gd name="T23" fmla="*/ 2147483646 h 900"/>
                  <a:gd name="T24" fmla="*/ 2147483646 w 1156"/>
                  <a:gd name="T25" fmla="*/ 2147483646 h 900"/>
                  <a:gd name="T26" fmla="*/ 2147483646 w 1156"/>
                  <a:gd name="T27" fmla="*/ 2147483646 h 900"/>
                  <a:gd name="T28" fmla="*/ 2147483646 w 1156"/>
                  <a:gd name="T29" fmla="*/ 2147483646 h 900"/>
                  <a:gd name="T30" fmla="*/ 2147483646 w 1156"/>
                  <a:gd name="T31" fmla="*/ 2147483646 h 900"/>
                  <a:gd name="T32" fmla="*/ 2147483646 w 1156"/>
                  <a:gd name="T33" fmla="*/ 2147483646 h 900"/>
                  <a:gd name="T34" fmla="*/ 2147483646 w 1156"/>
                  <a:gd name="T35" fmla="*/ 2147483646 h 900"/>
                  <a:gd name="T36" fmla="*/ 2147483646 w 1156"/>
                  <a:gd name="T37" fmla="*/ 2147483646 h 900"/>
                  <a:gd name="T38" fmla="*/ 2147483646 w 1156"/>
                  <a:gd name="T39" fmla="*/ 2147483646 h 900"/>
                  <a:gd name="T40" fmla="*/ 2147483646 w 1156"/>
                  <a:gd name="T41" fmla="*/ 2147483646 h 900"/>
                  <a:gd name="T42" fmla="*/ 2147483646 w 1156"/>
                  <a:gd name="T43" fmla="*/ 2147483646 h 900"/>
                  <a:gd name="T44" fmla="*/ 2147483646 w 1156"/>
                  <a:gd name="T45" fmla="*/ 2147483646 h 900"/>
                  <a:gd name="T46" fmla="*/ 2147483646 w 1156"/>
                  <a:gd name="T47" fmla="*/ 2147483646 h 900"/>
                  <a:gd name="T48" fmla="*/ 2147483646 w 1156"/>
                  <a:gd name="T49" fmla="*/ 2147483646 h 900"/>
                  <a:gd name="T50" fmla="*/ 2147483646 w 1156"/>
                  <a:gd name="T51" fmla="*/ 2147483646 h 900"/>
                  <a:gd name="T52" fmla="*/ 2147483646 w 1156"/>
                  <a:gd name="T53" fmla="*/ 2147483646 h 900"/>
                  <a:gd name="T54" fmla="*/ 2147483646 w 1156"/>
                  <a:gd name="T55" fmla="*/ 2147483646 h 900"/>
                  <a:gd name="T56" fmla="*/ 2147483646 w 1156"/>
                  <a:gd name="T57" fmla="*/ 2147483646 h 900"/>
                  <a:gd name="T58" fmla="*/ 2147483646 w 1156"/>
                  <a:gd name="T59" fmla="*/ 2147483646 h 900"/>
                  <a:gd name="T60" fmla="*/ 2147483646 w 1156"/>
                  <a:gd name="T61" fmla="*/ 2147483646 h 900"/>
                  <a:gd name="T62" fmla="*/ 2147483646 w 1156"/>
                  <a:gd name="T63" fmla="*/ 2147483646 h 900"/>
                  <a:gd name="T64" fmla="*/ 2147483646 w 1156"/>
                  <a:gd name="T65" fmla="*/ 2147483646 h 900"/>
                  <a:gd name="T66" fmla="*/ 2147483646 w 1156"/>
                  <a:gd name="T67" fmla="*/ 2147483646 h 900"/>
                  <a:gd name="T68" fmla="*/ 2147483646 w 1156"/>
                  <a:gd name="T69" fmla="*/ 2147483646 h 900"/>
                  <a:gd name="T70" fmla="*/ 2147483646 w 1156"/>
                  <a:gd name="T71" fmla="*/ 2147483646 h 900"/>
                  <a:gd name="T72" fmla="*/ 2147483646 w 1156"/>
                  <a:gd name="T73" fmla="*/ 2147483646 h 900"/>
                  <a:gd name="T74" fmla="*/ 2147483646 w 1156"/>
                  <a:gd name="T75" fmla="*/ 2147483646 h 900"/>
                  <a:gd name="T76" fmla="*/ 2147483646 w 1156"/>
                  <a:gd name="T77" fmla="*/ 2147483646 h 900"/>
                  <a:gd name="T78" fmla="*/ 2147483646 w 1156"/>
                  <a:gd name="T79" fmla="*/ 2147483646 h 900"/>
                  <a:gd name="T80" fmla="*/ 2147483646 w 1156"/>
                  <a:gd name="T81" fmla="*/ 2147483646 h 900"/>
                  <a:gd name="T82" fmla="*/ 2147483646 w 1156"/>
                  <a:gd name="T83" fmla="*/ 2147483646 h 900"/>
                  <a:gd name="T84" fmla="*/ 2147483646 w 1156"/>
                  <a:gd name="T85" fmla="*/ 2147483646 h 900"/>
                  <a:gd name="T86" fmla="*/ 2147483646 w 1156"/>
                  <a:gd name="T87" fmla="*/ 2147483646 h 900"/>
                  <a:gd name="T88" fmla="*/ 2147483646 w 1156"/>
                  <a:gd name="T89" fmla="*/ 2147483646 h 900"/>
                  <a:gd name="T90" fmla="*/ 2147483646 w 1156"/>
                  <a:gd name="T91" fmla="*/ 2147483646 h 900"/>
                  <a:gd name="T92" fmla="*/ 2147483646 w 1156"/>
                  <a:gd name="T93" fmla="*/ 2147483646 h 900"/>
                  <a:gd name="T94" fmla="*/ 2147483646 w 1156"/>
                  <a:gd name="T95" fmla="*/ 2147483646 h 900"/>
                  <a:gd name="T96" fmla="*/ 2147483646 w 1156"/>
                  <a:gd name="T97" fmla="*/ 2147483646 h 900"/>
                  <a:gd name="T98" fmla="*/ 2147483646 w 1156"/>
                  <a:gd name="T99" fmla="*/ 2147483646 h 900"/>
                  <a:gd name="T100" fmla="*/ 2147483646 w 1156"/>
                  <a:gd name="T101" fmla="*/ 2147483646 h 900"/>
                  <a:gd name="T102" fmla="*/ 2147483646 w 1156"/>
                  <a:gd name="T103" fmla="*/ 2147483646 h 900"/>
                  <a:gd name="T104" fmla="*/ 2147483646 w 1156"/>
                  <a:gd name="T105" fmla="*/ 2147483646 h 900"/>
                  <a:gd name="T106" fmla="*/ 2147483646 w 1156"/>
                  <a:gd name="T107" fmla="*/ 2147483646 h 900"/>
                  <a:gd name="T108" fmla="*/ 2147483646 w 1156"/>
                  <a:gd name="T109" fmla="*/ 2147483646 h 90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156"/>
                  <a:gd name="T166" fmla="*/ 0 h 900"/>
                  <a:gd name="T167" fmla="*/ 1156 w 1156"/>
                  <a:gd name="T168" fmla="*/ 900 h 900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156" h="900">
                    <a:moveTo>
                      <a:pt x="963" y="271"/>
                    </a:moveTo>
                    <a:lnTo>
                      <a:pt x="954" y="252"/>
                    </a:lnTo>
                    <a:lnTo>
                      <a:pt x="948" y="234"/>
                    </a:lnTo>
                    <a:lnTo>
                      <a:pt x="941" y="213"/>
                    </a:lnTo>
                    <a:lnTo>
                      <a:pt x="937" y="191"/>
                    </a:lnTo>
                    <a:lnTo>
                      <a:pt x="928" y="191"/>
                    </a:lnTo>
                    <a:lnTo>
                      <a:pt x="920" y="190"/>
                    </a:lnTo>
                    <a:lnTo>
                      <a:pt x="913" y="189"/>
                    </a:lnTo>
                    <a:lnTo>
                      <a:pt x="906" y="187"/>
                    </a:lnTo>
                    <a:lnTo>
                      <a:pt x="893" y="183"/>
                    </a:lnTo>
                    <a:lnTo>
                      <a:pt x="881" y="177"/>
                    </a:lnTo>
                    <a:lnTo>
                      <a:pt x="859" y="162"/>
                    </a:lnTo>
                    <a:lnTo>
                      <a:pt x="839" y="145"/>
                    </a:lnTo>
                    <a:lnTo>
                      <a:pt x="828" y="137"/>
                    </a:lnTo>
                    <a:lnTo>
                      <a:pt x="816" y="129"/>
                    </a:lnTo>
                    <a:lnTo>
                      <a:pt x="803" y="122"/>
                    </a:lnTo>
                    <a:lnTo>
                      <a:pt x="789" y="116"/>
                    </a:lnTo>
                    <a:lnTo>
                      <a:pt x="773" y="111"/>
                    </a:lnTo>
                    <a:lnTo>
                      <a:pt x="755" y="106"/>
                    </a:lnTo>
                    <a:lnTo>
                      <a:pt x="745" y="105"/>
                    </a:lnTo>
                    <a:lnTo>
                      <a:pt x="734" y="104"/>
                    </a:lnTo>
                    <a:lnTo>
                      <a:pt x="723" y="104"/>
                    </a:lnTo>
                    <a:lnTo>
                      <a:pt x="711" y="104"/>
                    </a:lnTo>
                    <a:lnTo>
                      <a:pt x="617" y="104"/>
                    </a:lnTo>
                    <a:lnTo>
                      <a:pt x="609" y="113"/>
                    </a:lnTo>
                    <a:lnTo>
                      <a:pt x="587" y="129"/>
                    </a:lnTo>
                    <a:lnTo>
                      <a:pt x="576" y="138"/>
                    </a:lnTo>
                    <a:lnTo>
                      <a:pt x="565" y="146"/>
                    </a:lnTo>
                    <a:lnTo>
                      <a:pt x="556" y="152"/>
                    </a:lnTo>
                    <a:lnTo>
                      <a:pt x="551" y="154"/>
                    </a:lnTo>
                    <a:lnTo>
                      <a:pt x="542" y="155"/>
                    </a:lnTo>
                    <a:lnTo>
                      <a:pt x="532" y="157"/>
                    </a:lnTo>
                    <a:lnTo>
                      <a:pt x="522" y="159"/>
                    </a:lnTo>
                    <a:lnTo>
                      <a:pt x="512" y="160"/>
                    </a:lnTo>
                    <a:lnTo>
                      <a:pt x="518" y="173"/>
                    </a:lnTo>
                    <a:lnTo>
                      <a:pt x="504" y="179"/>
                    </a:lnTo>
                    <a:lnTo>
                      <a:pt x="490" y="184"/>
                    </a:lnTo>
                    <a:lnTo>
                      <a:pt x="478" y="188"/>
                    </a:lnTo>
                    <a:lnTo>
                      <a:pt x="465" y="192"/>
                    </a:lnTo>
                    <a:lnTo>
                      <a:pt x="453" y="194"/>
                    </a:lnTo>
                    <a:lnTo>
                      <a:pt x="439" y="196"/>
                    </a:lnTo>
                    <a:lnTo>
                      <a:pt x="426" y="197"/>
                    </a:lnTo>
                    <a:lnTo>
                      <a:pt x="412" y="197"/>
                    </a:lnTo>
                    <a:lnTo>
                      <a:pt x="405" y="198"/>
                    </a:lnTo>
                    <a:lnTo>
                      <a:pt x="398" y="199"/>
                    </a:lnTo>
                    <a:lnTo>
                      <a:pt x="393" y="200"/>
                    </a:lnTo>
                    <a:lnTo>
                      <a:pt x="389" y="200"/>
                    </a:lnTo>
                    <a:lnTo>
                      <a:pt x="383" y="199"/>
                    </a:lnTo>
                    <a:lnTo>
                      <a:pt x="379" y="197"/>
                    </a:lnTo>
                    <a:lnTo>
                      <a:pt x="371" y="194"/>
                    </a:lnTo>
                    <a:lnTo>
                      <a:pt x="367" y="190"/>
                    </a:lnTo>
                    <a:lnTo>
                      <a:pt x="363" y="184"/>
                    </a:lnTo>
                    <a:lnTo>
                      <a:pt x="358" y="179"/>
                    </a:lnTo>
                    <a:lnTo>
                      <a:pt x="355" y="173"/>
                    </a:lnTo>
                    <a:lnTo>
                      <a:pt x="351" y="168"/>
                    </a:lnTo>
                    <a:lnTo>
                      <a:pt x="345" y="163"/>
                    </a:lnTo>
                    <a:lnTo>
                      <a:pt x="338" y="160"/>
                    </a:lnTo>
                    <a:lnTo>
                      <a:pt x="316" y="153"/>
                    </a:lnTo>
                    <a:lnTo>
                      <a:pt x="280" y="142"/>
                    </a:lnTo>
                    <a:lnTo>
                      <a:pt x="260" y="136"/>
                    </a:lnTo>
                    <a:lnTo>
                      <a:pt x="244" y="128"/>
                    </a:lnTo>
                    <a:lnTo>
                      <a:pt x="237" y="124"/>
                    </a:lnTo>
                    <a:lnTo>
                      <a:pt x="232" y="120"/>
                    </a:lnTo>
                    <a:lnTo>
                      <a:pt x="228" y="116"/>
                    </a:lnTo>
                    <a:lnTo>
                      <a:pt x="225" y="111"/>
                    </a:lnTo>
                    <a:lnTo>
                      <a:pt x="228" y="86"/>
                    </a:lnTo>
                    <a:lnTo>
                      <a:pt x="228" y="65"/>
                    </a:lnTo>
                    <a:lnTo>
                      <a:pt x="228" y="56"/>
                    </a:lnTo>
                    <a:lnTo>
                      <a:pt x="226" y="46"/>
                    </a:lnTo>
                    <a:lnTo>
                      <a:pt x="224" y="37"/>
                    </a:lnTo>
                    <a:lnTo>
                      <a:pt x="222" y="30"/>
                    </a:lnTo>
                    <a:lnTo>
                      <a:pt x="220" y="23"/>
                    </a:lnTo>
                    <a:lnTo>
                      <a:pt x="217" y="17"/>
                    </a:lnTo>
                    <a:lnTo>
                      <a:pt x="212" y="12"/>
                    </a:lnTo>
                    <a:lnTo>
                      <a:pt x="207" y="8"/>
                    </a:lnTo>
                    <a:lnTo>
                      <a:pt x="201" y="5"/>
                    </a:lnTo>
                    <a:lnTo>
                      <a:pt x="195" y="2"/>
                    </a:lnTo>
                    <a:lnTo>
                      <a:pt x="188" y="1"/>
                    </a:lnTo>
                    <a:lnTo>
                      <a:pt x="179" y="0"/>
                    </a:lnTo>
                    <a:lnTo>
                      <a:pt x="174" y="1"/>
                    </a:lnTo>
                    <a:lnTo>
                      <a:pt x="168" y="3"/>
                    </a:lnTo>
                    <a:lnTo>
                      <a:pt x="164" y="7"/>
                    </a:lnTo>
                    <a:lnTo>
                      <a:pt x="161" y="11"/>
                    </a:lnTo>
                    <a:lnTo>
                      <a:pt x="155" y="21"/>
                    </a:lnTo>
                    <a:lnTo>
                      <a:pt x="151" y="34"/>
                    </a:lnTo>
                    <a:lnTo>
                      <a:pt x="147" y="46"/>
                    </a:lnTo>
                    <a:lnTo>
                      <a:pt x="144" y="57"/>
                    </a:lnTo>
                    <a:lnTo>
                      <a:pt x="142" y="62"/>
                    </a:lnTo>
                    <a:lnTo>
                      <a:pt x="139" y="65"/>
                    </a:lnTo>
                    <a:lnTo>
                      <a:pt x="136" y="67"/>
                    </a:lnTo>
                    <a:lnTo>
                      <a:pt x="133" y="68"/>
                    </a:lnTo>
                    <a:lnTo>
                      <a:pt x="125" y="68"/>
                    </a:lnTo>
                    <a:lnTo>
                      <a:pt x="118" y="66"/>
                    </a:lnTo>
                    <a:lnTo>
                      <a:pt x="109" y="64"/>
                    </a:lnTo>
                    <a:lnTo>
                      <a:pt x="100" y="62"/>
                    </a:lnTo>
                    <a:lnTo>
                      <a:pt x="79" y="54"/>
                    </a:lnTo>
                    <a:lnTo>
                      <a:pt x="58" y="46"/>
                    </a:lnTo>
                    <a:lnTo>
                      <a:pt x="39" y="38"/>
                    </a:lnTo>
                    <a:lnTo>
                      <a:pt x="21" y="29"/>
                    </a:lnTo>
                    <a:lnTo>
                      <a:pt x="15" y="24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25"/>
                    </a:lnTo>
                    <a:lnTo>
                      <a:pt x="0" y="37"/>
                    </a:lnTo>
                    <a:lnTo>
                      <a:pt x="0" y="49"/>
                    </a:lnTo>
                    <a:lnTo>
                      <a:pt x="1" y="62"/>
                    </a:lnTo>
                    <a:lnTo>
                      <a:pt x="5" y="72"/>
                    </a:lnTo>
                    <a:lnTo>
                      <a:pt x="7" y="81"/>
                    </a:lnTo>
                    <a:lnTo>
                      <a:pt x="15" y="96"/>
                    </a:lnTo>
                    <a:lnTo>
                      <a:pt x="24" y="111"/>
                    </a:lnTo>
                    <a:lnTo>
                      <a:pt x="33" y="124"/>
                    </a:lnTo>
                    <a:lnTo>
                      <a:pt x="42" y="138"/>
                    </a:lnTo>
                    <a:lnTo>
                      <a:pt x="45" y="146"/>
                    </a:lnTo>
                    <a:lnTo>
                      <a:pt x="49" y="156"/>
                    </a:lnTo>
                    <a:lnTo>
                      <a:pt x="52" y="167"/>
                    </a:lnTo>
                    <a:lnTo>
                      <a:pt x="53" y="179"/>
                    </a:lnTo>
                    <a:lnTo>
                      <a:pt x="60" y="179"/>
                    </a:lnTo>
                    <a:lnTo>
                      <a:pt x="64" y="190"/>
                    </a:lnTo>
                    <a:lnTo>
                      <a:pt x="73" y="205"/>
                    </a:lnTo>
                    <a:lnTo>
                      <a:pt x="83" y="223"/>
                    </a:lnTo>
                    <a:lnTo>
                      <a:pt x="96" y="241"/>
                    </a:lnTo>
                    <a:lnTo>
                      <a:pt x="109" y="258"/>
                    </a:lnTo>
                    <a:lnTo>
                      <a:pt x="122" y="273"/>
                    </a:lnTo>
                    <a:lnTo>
                      <a:pt x="129" y="280"/>
                    </a:lnTo>
                    <a:lnTo>
                      <a:pt x="135" y="284"/>
                    </a:lnTo>
                    <a:lnTo>
                      <a:pt x="141" y="288"/>
                    </a:lnTo>
                    <a:lnTo>
                      <a:pt x="146" y="290"/>
                    </a:lnTo>
                    <a:lnTo>
                      <a:pt x="139" y="296"/>
                    </a:lnTo>
                    <a:lnTo>
                      <a:pt x="130" y="304"/>
                    </a:lnTo>
                    <a:lnTo>
                      <a:pt x="127" y="310"/>
                    </a:lnTo>
                    <a:lnTo>
                      <a:pt x="122" y="316"/>
                    </a:lnTo>
                    <a:lnTo>
                      <a:pt x="120" y="324"/>
                    </a:lnTo>
                    <a:lnTo>
                      <a:pt x="120" y="332"/>
                    </a:lnTo>
                    <a:lnTo>
                      <a:pt x="120" y="341"/>
                    </a:lnTo>
                    <a:lnTo>
                      <a:pt x="123" y="350"/>
                    </a:lnTo>
                    <a:lnTo>
                      <a:pt x="128" y="360"/>
                    </a:lnTo>
                    <a:lnTo>
                      <a:pt x="133" y="370"/>
                    </a:lnTo>
                    <a:lnTo>
                      <a:pt x="140" y="380"/>
                    </a:lnTo>
                    <a:lnTo>
                      <a:pt x="147" y="391"/>
                    </a:lnTo>
                    <a:lnTo>
                      <a:pt x="157" y="401"/>
                    </a:lnTo>
                    <a:lnTo>
                      <a:pt x="167" y="410"/>
                    </a:lnTo>
                    <a:lnTo>
                      <a:pt x="177" y="420"/>
                    </a:lnTo>
                    <a:lnTo>
                      <a:pt x="188" y="428"/>
                    </a:lnTo>
                    <a:lnTo>
                      <a:pt x="200" y="436"/>
                    </a:lnTo>
                    <a:lnTo>
                      <a:pt x="212" y="442"/>
                    </a:lnTo>
                    <a:lnTo>
                      <a:pt x="224" y="449"/>
                    </a:lnTo>
                    <a:lnTo>
                      <a:pt x="236" y="453"/>
                    </a:lnTo>
                    <a:lnTo>
                      <a:pt x="247" y="455"/>
                    </a:lnTo>
                    <a:lnTo>
                      <a:pt x="259" y="456"/>
                    </a:lnTo>
                    <a:lnTo>
                      <a:pt x="260" y="469"/>
                    </a:lnTo>
                    <a:lnTo>
                      <a:pt x="264" y="483"/>
                    </a:lnTo>
                    <a:lnTo>
                      <a:pt x="265" y="490"/>
                    </a:lnTo>
                    <a:lnTo>
                      <a:pt x="265" y="500"/>
                    </a:lnTo>
                    <a:lnTo>
                      <a:pt x="263" y="511"/>
                    </a:lnTo>
                    <a:lnTo>
                      <a:pt x="259" y="524"/>
                    </a:lnTo>
                    <a:lnTo>
                      <a:pt x="305" y="573"/>
                    </a:lnTo>
                    <a:lnTo>
                      <a:pt x="312" y="574"/>
                    </a:lnTo>
                    <a:lnTo>
                      <a:pt x="319" y="576"/>
                    </a:lnTo>
                    <a:lnTo>
                      <a:pt x="324" y="578"/>
                    </a:lnTo>
                    <a:lnTo>
                      <a:pt x="330" y="580"/>
                    </a:lnTo>
                    <a:lnTo>
                      <a:pt x="335" y="581"/>
                    </a:lnTo>
                    <a:lnTo>
                      <a:pt x="342" y="581"/>
                    </a:lnTo>
                    <a:lnTo>
                      <a:pt x="349" y="578"/>
                    </a:lnTo>
                    <a:lnTo>
                      <a:pt x="358" y="573"/>
                    </a:lnTo>
                    <a:lnTo>
                      <a:pt x="372" y="593"/>
                    </a:lnTo>
                    <a:lnTo>
                      <a:pt x="404" y="639"/>
                    </a:lnTo>
                    <a:lnTo>
                      <a:pt x="423" y="664"/>
                    </a:lnTo>
                    <a:lnTo>
                      <a:pt x="439" y="687"/>
                    </a:lnTo>
                    <a:lnTo>
                      <a:pt x="447" y="697"/>
                    </a:lnTo>
                    <a:lnTo>
                      <a:pt x="455" y="705"/>
                    </a:lnTo>
                    <a:lnTo>
                      <a:pt x="460" y="711"/>
                    </a:lnTo>
                    <a:lnTo>
                      <a:pt x="465" y="714"/>
                    </a:lnTo>
                    <a:lnTo>
                      <a:pt x="471" y="720"/>
                    </a:lnTo>
                    <a:lnTo>
                      <a:pt x="479" y="727"/>
                    </a:lnTo>
                    <a:lnTo>
                      <a:pt x="483" y="729"/>
                    </a:lnTo>
                    <a:lnTo>
                      <a:pt x="488" y="731"/>
                    </a:lnTo>
                    <a:lnTo>
                      <a:pt x="493" y="733"/>
                    </a:lnTo>
                    <a:lnTo>
                      <a:pt x="498" y="733"/>
                    </a:lnTo>
                    <a:lnTo>
                      <a:pt x="504" y="733"/>
                    </a:lnTo>
                    <a:lnTo>
                      <a:pt x="512" y="733"/>
                    </a:lnTo>
                    <a:lnTo>
                      <a:pt x="522" y="733"/>
                    </a:lnTo>
                    <a:lnTo>
                      <a:pt x="532" y="733"/>
                    </a:lnTo>
                    <a:lnTo>
                      <a:pt x="533" y="741"/>
                    </a:lnTo>
                    <a:lnTo>
                      <a:pt x="537" y="748"/>
                    </a:lnTo>
                    <a:lnTo>
                      <a:pt x="542" y="755"/>
                    </a:lnTo>
                    <a:lnTo>
                      <a:pt x="547" y="761"/>
                    </a:lnTo>
                    <a:lnTo>
                      <a:pt x="554" y="766"/>
                    </a:lnTo>
                    <a:lnTo>
                      <a:pt x="561" y="771"/>
                    </a:lnTo>
                    <a:lnTo>
                      <a:pt x="570" y="776"/>
                    </a:lnTo>
                    <a:lnTo>
                      <a:pt x="579" y="781"/>
                    </a:lnTo>
                    <a:lnTo>
                      <a:pt x="598" y="787"/>
                    </a:lnTo>
                    <a:lnTo>
                      <a:pt x="616" y="791"/>
                    </a:lnTo>
                    <a:lnTo>
                      <a:pt x="635" y="794"/>
                    </a:lnTo>
                    <a:lnTo>
                      <a:pt x="651" y="795"/>
                    </a:lnTo>
                    <a:lnTo>
                      <a:pt x="663" y="795"/>
                    </a:lnTo>
                    <a:lnTo>
                      <a:pt x="671" y="795"/>
                    </a:lnTo>
                    <a:lnTo>
                      <a:pt x="685" y="795"/>
                    </a:lnTo>
                    <a:lnTo>
                      <a:pt x="700" y="793"/>
                    </a:lnTo>
                    <a:lnTo>
                      <a:pt x="706" y="792"/>
                    </a:lnTo>
                    <a:lnTo>
                      <a:pt x="713" y="790"/>
                    </a:lnTo>
                    <a:lnTo>
                      <a:pt x="718" y="787"/>
                    </a:lnTo>
                    <a:lnTo>
                      <a:pt x="724" y="783"/>
                    </a:lnTo>
                    <a:lnTo>
                      <a:pt x="732" y="780"/>
                    </a:lnTo>
                    <a:lnTo>
                      <a:pt x="742" y="773"/>
                    </a:lnTo>
                    <a:lnTo>
                      <a:pt x="749" y="769"/>
                    </a:lnTo>
                    <a:lnTo>
                      <a:pt x="756" y="766"/>
                    </a:lnTo>
                    <a:lnTo>
                      <a:pt x="763" y="764"/>
                    </a:lnTo>
                    <a:lnTo>
                      <a:pt x="771" y="764"/>
                    </a:lnTo>
                    <a:lnTo>
                      <a:pt x="779" y="764"/>
                    </a:lnTo>
                    <a:lnTo>
                      <a:pt x="785" y="767"/>
                    </a:lnTo>
                    <a:lnTo>
                      <a:pt x="790" y="771"/>
                    </a:lnTo>
                    <a:lnTo>
                      <a:pt x="794" y="775"/>
                    </a:lnTo>
                    <a:lnTo>
                      <a:pt x="796" y="782"/>
                    </a:lnTo>
                    <a:lnTo>
                      <a:pt x="798" y="789"/>
                    </a:lnTo>
                    <a:lnTo>
                      <a:pt x="801" y="796"/>
                    </a:lnTo>
                    <a:lnTo>
                      <a:pt x="802" y="804"/>
                    </a:lnTo>
                    <a:lnTo>
                      <a:pt x="803" y="820"/>
                    </a:lnTo>
                    <a:lnTo>
                      <a:pt x="805" y="837"/>
                    </a:lnTo>
                    <a:lnTo>
                      <a:pt x="807" y="845"/>
                    </a:lnTo>
                    <a:lnTo>
                      <a:pt x="809" y="851"/>
                    </a:lnTo>
                    <a:lnTo>
                      <a:pt x="813" y="857"/>
                    </a:lnTo>
                    <a:lnTo>
                      <a:pt x="817" y="862"/>
                    </a:lnTo>
                    <a:lnTo>
                      <a:pt x="822" y="865"/>
                    </a:lnTo>
                    <a:lnTo>
                      <a:pt x="828" y="867"/>
                    </a:lnTo>
                    <a:lnTo>
                      <a:pt x="838" y="869"/>
                    </a:lnTo>
                    <a:lnTo>
                      <a:pt x="849" y="871"/>
                    </a:lnTo>
                    <a:lnTo>
                      <a:pt x="874" y="874"/>
                    </a:lnTo>
                    <a:lnTo>
                      <a:pt x="897" y="875"/>
                    </a:lnTo>
                    <a:lnTo>
                      <a:pt x="925" y="876"/>
                    </a:lnTo>
                    <a:lnTo>
                      <a:pt x="948" y="878"/>
                    </a:lnTo>
                    <a:lnTo>
                      <a:pt x="970" y="882"/>
                    </a:lnTo>
                    <a:lnTo>
                      <a:pt x="991" y="887"/>
                    </a:lnTo>
                    <a:lnTo>
                      <a:pt x="1011" y="892"/>
                    </a:lnTo>
                    <a:lnTo>
                      <a:pt x="1035" y="896"/>
                    </a:lnTo>
                    <a:lnTo>
                      <a:pt x="1047" y="898"/>
                    </a:lnTo>
                    <a:lnTo>
                      <a:pt x="1060" y="899"/>
                    </a:lnTo>
                    <a:lnTo>
                      <a:pt x="1074" y="900"/>
                    </a:lnTo>
                    <a:lnTo>
                      <a:pt x="1089" y="900"/>
                    </a:lnTo>
                    <a:lnTo>
                      <a:pt x="1091" y="879"/>
                    </a:lnTo>
                    <a:lnTo>
                      <a:pt x="1093" y="865"/>
                    </a:lnTo>
                    <a:lnTo>
                      <a:pt x="1095" y="854"/>
                    </a:lnTo>
                    <a:lnTo>
                      <a:pt x="1096" y="844"/>
                    </a:lnTo>
                    <a:lnTo>
                      <a:pt x="1096" y="840"/>
                    </a:lnTo>
                    <a:lnTo>
                      <a:pt x="1097" y="836"/>
                    </a:lnTo>
                    <a:lnTo>
                      <a:pt x="1099" y="831"/>
                    </a:lnTo>
                    <a:lnTo>
                      <a:pt x="1102" y="827"/>
                    </a:lnTo>
                    <a:lnTo>
                      <a:pt x="1108" y="820"/>
                    </a:lnTo>
                    <a:lnTo>
                      <a:pt x="1116" y="814"/>
                    </a:lnTo>
                    <a:lnTo>
                      <a:pt x="1136" y="802"/>
                    </a:lnTo>
                    <a:lnTo>
                      <a:pt x="1156" y="789"/>
                    </a:lnTo>
                    <a:lnTo>
                      <a:pt x="1156" y="770"/>
                    </a:lnTo>
                    <a:lnTo>
                      <a:pt x="1151" y="769"/>
                    </a:lnTo>
                    <a:lnTo>
                      <a:pt x="1147" y="768"/>
                    </a:lnTo>
                    <a:lnTo>
                      <a:pt x="1143" y="766"/>
                    </a:lnTo>
                    <a:lnTo>
                      <a:pt x="1140" y="764"/>
                    </a:lnTo>
                    <a:lnTo>
                      <a:pt x="1136" y="758"/>
                    </a:lnTo>
                    <a:lnTo>
                      <a:pt x="1132" y="750"/>
                    </a:lnTo>
                    <a:lnTo>
                      <a:pt x="1130" y="734"/>
                    </a:lnTo>
                    <a:lnTo>
                      <a:pt x="1129" y="720"/>
                    </a:lnTo>
                    <a:lnTo>
                      <a:pt x="1121" y="719"/>
                    </a:lnTo>
                    <a:lnTo>
                      <a:pt x="1114" y="717"/>
                    </a:lnTo>
                    <a:lnTo>
                      <a:pt x="1105" y="713"/>
                    </a:lnTo>
                    <a:lnTo>
                      <a:pt x="1096" y="708"/>
                    </a:lnTo>
                    <a:lnTo>
                      <a:pt x="1087" y="701"/>
                    </a:lnTo>
                    <a:lnTo>
                      <a:pt x="1077" y="694"/>
                    </a:lnTo>
                    <a:lnTo>
                      <a:pt x="1069" y="686"/>
                    </a:lnTo>
                    <a:lnTo>
                      <a:pt x="1061" y="678"/>
                    </a:lnTo>
                    <a:lnTo>
                      <a:pt x="1044" y="660"/>
                    </a:lnTo>
                    <a:lnTo>
                      <a:pt x="1031" y="643"/>
                    </a:lnTo>
                    <a:lnTo>
                      <a:pt x="1026" y="635"/>
                    </a:lnTo>
                    <a:lnTo>
                      <a:pt x="1021" y="628"/>
                    </a:lnTo>
                    <a:lnTo>
                      <a:pt x="1018" y="622"/>
                    </a:lnTo>
                    <a:lnTo>
                      <a:pt x="1016" y="616"/>
                    </a:lnTo>
                    <a:lnTo>
                      <a:pt x="1017" y="609"/>
                    </a:lnTo>
                    <a:lnTo>
                      <a:pt x="1018" y="603"/>
                    </a:lnTo>
                    <a:lnTo>
                      <a:pt x="1019" y="598"/>
                    </a:lnTo>
                    <a:lnTo>
                      <a:pt x="1021" y="593"/>
                    </a:lnTo>
                    <a:lnTo>
                      <a:pt x="1027" y="584"/>
                    </a:lnTo>
                    <a:lnTo>
                      <a:pt x="1033" y="576"/>
                    </a:lnTo>
                    <a:lnTo>
                      <a:pt x="1039" y="568"/>
                    </a:lnTo>
                    <a:lnTo>
                      <a:pt x="1044" y="559"/>
                    </a:lnTo>
                    <a:lnTo>
                      <a:pt x="1047" y="553"/>
                    </a:lnTo>
                    <a:lnTo>
                      <a:pt x="1048" y="548"/>
                    </a:lnTo>
                    <a:lnTo>
                      <a:pt x="1049" y="542"/>
                    </a:lnTo>
                    <a:lnTo>
                      <a:pt x="1050" y="536"/>
                    </a:lnTo>
                    <a:lnTo>
                      <a:pt x="1049" y="531"/>
                    </a:lnTo>
                    <a:lnTo>
                      <a:pt x="1048" y="526"/>
                    </a:lnTo>
                    <a:lnTo>
                      <a:pt x="1047" y="522"/>
                    </a:lnTo>
                    <a:lnTo>
                      <a:pt x="1044" y="519"/>
                    </a:lnTo>
                    <a:lnTo>
                      <a:pt x="1041" y="517"/>
                    </a:lnTo>
                    <a:lnTo>
                      <a:pt x="1038" y="515"/>
                    </a:lnTo>
                    <a:lnTo>
                      <a:pt x="1035" y="513"/>
                    </a:lnTo>
                    <a:lnTo>
                      <a:pt x="1030" y="512"/>
                    </a:lnTo>
                    <a:lnTo>
                      <a:pt x="1013" y="511"/>
                    </a:lnTo>
                    <a:lnTo>
                      <a:pt x="996" y="512"/>
                    </a:lnTo>
                    <a:lnTo>
                      <a:pt x="993" y="511"/>
                    </a:lnTo>
                    <a:lnTo>
                      <a:pt x="990" y="510"/>
                    </a:lnTo>
                    <a:lnTo>
                      <a:pt x="986" y="509"/>
                    </a:lnTo>
                    <a:lnTo>
                      <a:pt x="983" y="507"/>
                    </a:lnTo>
                    <a:lnTo>
                      <a:pt x="976" y="501"/>
                    </a:lnTo>
                    <a:lnTo>
                      <a:pt x="971" y="493"/>
                    </a:lnTo>
                    <a:lnTo>
                      <a:pt x="966" y="485"/>
                    </a:lnTo>
                    <a:lnTo>
                      <a:pt x="962" y="475"/>
                    </a:lnTo>
                    <a:lnTo>
                      <a:pt x="958" y="464"/>
                    </a:lnTo>
                    <a:lnTo>
                      <a:pt x="954" y="453"/>
                    </a:lnTo>
                    <a:lnTo>
                      <a:pt x="950" y="429"/>
                    </a:lnTo>
                    <a:lnTo>
                      <a:pt x="946" y="407"/>
                    </a:lnTo>
                    <a:lnTo>
                      <a:pt x="943" y="389"/>
                    </a:lnTo>
                    <a:lnTo>
                      <a:pt x="943" y="375"/>
                    </a:lnTo>
                    <a:lnTo>
                      <a:pt x="940" y="375"/>
                    </a:lnTo>
                    <a:lnTo>
                      <a:pt x="937" y="373"/>
                    </a:lnTo>
                    <a:lnTo>
                      <a:pt x="934" y="371"/>
                    </a:lnTo>
                    <a:lnTo>
                      <a:pt x="931" y="369"/>
                    </a:lnTo>
                    <a:lnTo>
                      <a:pt x="928" y="366"/>
                    </a:lnTo>
                    <a:lnTo>
                      <a:pt x="926" y="363"/>
                    </a:lnTo>
                    <a:lnTo>
                      <a:pt x="924" y="360"/>
                    </a:lnTo>
                    <a:lnTo>
                      <a:pt x="924" y="357"/>
                    </a:lnTo>
                    <a:lnTo>
                      <a:pt x="924" y="354"/>
                    </a:lnTo>
                    <a:lnTo>
                      <a:pt x="925" y="351"/>
                    </a:lnTo>
                    <a:lnTo>
                      <a:pt x="926" y="348"/>
                    </a:lnTo>
                    <a:lnTo>
                      <a:pt x="928" y="345"/>
                    </a:lnTo>
                    <a:lnTo>
                      <a:pt x="934" y="339"/>
                    </a:lnTo>
                    <a:lnTo>
                      <a:pt x="940" y="334"/>
                    </a:lnTo>
                    <a:lnTo>
                      <a:pt x="946" y="328"/>
                    </a:lnTo>
                    <a:lnTo>
                      <a:pt x="951" y="323"/>
                    </a:lnTo>
                    <a:lnTo>
                      <a:pt x="955" y="318"/>
                    </a:lnTo>
                    <a:lnTo>
                      <a:pt x="957" y="314"/>
                    </a:lnTo>
                    <a:lnTo>
                      <a:pt x="958" y="301"/>
                    </a:lnTo>
                    <a:lnTo>
                      <a:pt x="960" y="293"/>
                    </a:lnTo>
                    <a:lnTo>
                      <a:pt x="962" y="285"/>
                    </a:lnTo>
                    <a:lnTo>
                      <a:pt x="963" y="271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35" name="Freeform 257">
                <a:extLst>
                  <a:ext uri="{FF2B5EF4-FFF2-40B4-BE49-F238E27FC236}">
                    <a16:creationId xmlns="" xmlns:a16="http://schemas.microsoft.com/office/drawing/2014/main" id="{10FBDBCC-BC83-4EC4-B989-98C5F0F79532}"/>
                  </a:ext>
                </a:extLst>
              </p:cNvPr>
              <p:cNvSpPr>
                <a:spLocks/>
              </p:cNvSpPr>
              <p:nvPr>
                <p:custDataLst>
                  <p:tags r:id="rId184"/>
                </p:custDataLst>
              </p:nvPr>
            </p:nvSpPr>
            <p:spPr bwMode="auto">
              <a:xfrm>
                <a:off x="5065713" y="3052763"/>
                <a:ext cx="247650" cy="228600"/>
              </a:xfrm>
              <a:custGeom>
                <a:avLst/>
                <a:gdLst>
                  <a:gd name="T0" fmla="*/ 2147483646 w 571"/>
                  <a:gd name="T1" fmla="*/ 2147483646 h 443"/>
                  <a:gd name="T2" fmla="*/ 2147483646 w 571"/>
                  <a:gd name="T3" fmla="*/ 2147483646 h 443"/>
                  <a:gd name="T4" fmla="*/ 2147483646 w 571"/>
                  <a:gd name="T5" fmla="*/ 2147483646 h 443"/>
                  <a:gd name="T6" fmla="*/ 2147483646 w 571"/>
                  <a:gd name="T7" fmla="*/ 2147483646 h 443"/>
                  <a:gd name="T8" fmla="*/ 2147483646 w 571"/>
                  <a:gd name="T9" fmla="*/ 2147483646 h 443"/>
                  <a:gd name="T10" fmla="*/ 2147483646 w 571"/>
                  <a:gd name="T11" fmla="*/ 2147483646 h 443"/>
                  <a:gd name="T12" fmla="*/ 2147483646 w 571"/>
                  <a:gd name="T13" fmla="*/ 2147483646 h 443"/>
                  <a:gd name="T14" fmla="*/ 2147483646 w 571"/>
                  <a:gd name="T15" fmla="*/ 2147483646 h 443"/>
                  <a:gd name="T16" fmla="*/ 2147483646 w 571"/>
                  <a:gd name="T17" fmla="*/ 2147483646 h 443"/>
                  <a:gd name="T18" fmla="*/ 2147483646 w 571"/>
                  <a:gd name="T19" fmla="*/ 2147483646 h 443"/>
                  <a:gd name="T20" fmla="*/ 2147483646 w 571"/>
                  <a:gd name="T21" fmla="*/ 2147483646 h 443"/>
                  <a:gd name="T22" fmla="*/ 2147483646 w 571"/>
                  <a:gd name="T23" fmla="*/ 2147483646 h 443"/>
                  <a:gd name="T24" fmla="*/ 2147483646 w 571"/>
                  <a:gd name="T25" fmla="*/ 2147483646 h 443"/>
                  <a:gd name="T26" fmla="*/ 2147483646 w 571"/>
                  <a:gd name="T27" fmla="*/ 2147483646 h 443"/>
                  <a:gd name="T28" fmla="*/ 2147483646 w 571"/>
                  <a:gd name="T29" fmla="*/ 2147483646 h 443"/>
                  <a:gd name="T30" fmla="*/ 2147483646 w 571"/>
                  <a:gd name="T31" fmla="*/ 2147483646 h 443"/>
                  <a:gd name="T32" fmla="*/ 2147483646 w 571"/>
                  <a:gd name="T33" fmla="*/ 2147483646 h 443"/>
                  <a:gd name="T34" fmla="*/ 2147483646 w 571"/>
                  <a:gd name="T35" fmla="*/ 2147483646 h 443"/>
                  <a:gd name="T36" fmla="*/ 2147483646 w 571"/>
                  <a:gd name="T37" fmla="*/ 2147483646 h 443"/>
                  <a:gd name="T38" fmla="*/ 2147483646 w 571"/>
                  <a:gd name="T39" fmla="*/ 2147483646 h 443"/>
                  <a:gd name="T40" fmla="*/ 2147483646 w 571"/>
                  <a:gd name="T41" fmla="*/ 2147483646 h 443"/>
                  <a:gd name="T42" fmla="*/ 2147483646 w 571"/>
                  <a:gd name="T43" fmla="*/ 2147483646 h 443"/>
                  <a:gd name="T44" fmla="*/ 2147483646 w 571"/>
                  <a:gd name="T45" fmla="*/ 2147483646 h 443"/>
                  <a:gd name="T46" fmla="*/ 2147483646 w 571"/>
                  <a:gd name="T47" fmla="*/ 2147483646 h 443"/>
                  <a:gd name="T48" fmla="*/ 2147483646 w 571"/>
                  <a:gd name="T49" fmla="*/ 2147483646 h 443"/>
                  <a:gd name="T50" fmla="*/ 2147483646 w 571"/>
                  <a:gd name="T51" fmla="*/ 2147483646 h 443"/>
                  <a:gd name="T52" fmla="*/ 2147483646 w 571"/>
                  <a:gd name="T53" fmla="*/ 2147483646 h 443"/>
                  <a:gd name="T54" fmla="*/ 2147483646 w 571"/>
                  <a:gd name="T55" fmla="*/ 2147483646 h 443"/>
                  <a:gd name="T56" fmla="*/ 2147483646 w 571"/>
                  <a:gd name="T57" fmla="*/ 2147483646 h 443"/>
                  <a:gd name="T58" fmla="*/ 2147483646 w 571"/>
                  <a:gd name="T59" fmla="*/ 2147483646 h 443"/>
                  <a:gd name="T60" fmla="*/ 2147483646 w 571"/>
                  <a:gd name="T61" fmla="*/ 2147483646 h 443"/>
                  <a:gd name="T62" fmla="*/ 2147483646 w 571"/>
                  <a:gd name="T63" fmla="*/ 2147483646 h 443"/>
                  <a:gd name="T64" fmla="*/ 2147483646 w 571"/>
                  <a:gd name="T65" fmla="*/ 2147483646 h 443"/>
                  <a:gd name="T66" fmla="*/ 2147483646 w 571"/>
                  <a:gd name="T67" fmla="*/ 2147483646 h 443"/>
                  <a:gd name="T68" fmla="*/ 2147483646 w 571"/>
                  <a:gd name="T69" fmla="*/ 2147483646 h 443"/>
                  <a:gd name="T70" fmla="*/ 2147483646 w 571"/>
                  <a:gd name="T71" fmla="*/ 2147483646 h 443"/>
                  <a:gd name="T72" fmla="*/ 2147483646 w 571"/>
                  <a:gd name="T73" fmla="*/ 2147483646 h 443"/>
                  <a:gd name="T74" fmla="*/ 2147483646 w 571"/>
                  <a:gd name="T75" fmla="*/ 2147483646 h 443"/>
                  <a:gd name="T76" fmla="*/ 2147483646 w 571"/>
                  <a:gd name="T77" fmla="*/ 2147483646 h 443"/>
                  <a:gd name="T78" fmla="*/ 2147483646 w 571"/>
                  <a:gd name="T79" fmla="*/ 2147483646 h 443"/>
                  <a:gd name="T80" fmla="*/ 2147483646 w 571"/>
                  <a:gd name="T81" fmla="*/ 2147483646 h 443"/>
                  <a:gd name="T82" fmla="*/ 0 w 571"/>
                  <a:gd name="T83" fmla="*/ 2147483646 h 443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571"/>
                  <a:gd name="T127" fmla="*/ 0 h 443"/>
                  <a:gd name="T128" fmla="*/ 571 w 571"/>
                  <a:gd name="T129" fmla="*/ 443 h 443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571" h="443">
                    <a:moveTo>
                      <a:pt x="0" y="196"/>
                    </a:moveTo>
                    <a:lnTo>
                      <a:pt x="26" y="190"/>
                    </a:lnTo>
                    <a:lnTo>
                      <a:pt x="33" y="184"/>
                    </a:lnTo>
                    <a:lnTo>
                      <a:pt x="37" y="177"/>
                    </a:lnTo>
                    <a:lnTo>
                      <a:pt x="39" y="171"/>
                    </a:lnTo>
                    <a:lnTo>
                      <a:pt x="41" y="164"/>
                    </a:lnTo>
                    <a:lnTo>
                      <a:pt x="41" y="149"/>
                    </a:lnTo>
                    <a:lnTo>
                      <a:pt x="39" y="129"/>
                    </a:lnTo>
                    <a:lnTo>
                      <a:pt x="41" y="124"/>
                    </a:lnTo>
                    <a:lnTo>
                      <a:pt x="44" y="120"/>
                    </a:lnTo>
                    <a:lnTo>
                      <a:pt x="49" y="116"/>
                    </a:lnTo>
                    <a:lnTo>
                      <a:pt x="55" y="112"/>
                    </a:lnTo>
                    <a:lnTo>
                      <a:pt x="61" y="109"/>
                    </a:lnTo>
                    <a:lnTo>
                      <a:pt x="68" y="107"/>
                    </a:lnTo>
                    <a:lnTo>
                      <a:pt x="75" y="105"/>
                    </a:lnTo>
                    <a:lnTo>
                      <a:pt x="80" y="104"/>
                    </a:lnTo>
                    <a:lnTo>
                      <a:pt x="92" y="105"/>
                    </a:lnTo>
                    <a:lnTo>
                      <a:pt x="103" y="106"/>
                    </a:lnTo>
                    <a:lnTo>
                      <a:pt x="114" y="107"/>
                    </a:lnTo>
                    <a:lnTo>
                      <a:pt x="124" y="109"/>
                    </a:lnTo>
                    <a:lnTo>
                      <a:pt x="142" y="113"/>
                    </a:lnTo>
                    <a:lnTo>
                      <a:pt x="158" y="120"/>
                    </a:lnTo>
                    <a:lnTo>
                      <a:pt x="172" y="127"/>
                    </a:lnTo>
                    <a:lnTo>
                      <a:pt x="184" y="135"/>
                    </a:lnTo>
                    <a:lnTo>
                      <a:pt x="195" y="145"/>
                    </a:lnTo>
                    <a:lnTo>
                      <a:pt x="206" y="154"/>
                    </a:lnTo>
                    <a:lnTo>
                      <a:pt x="227" y="127"/>
                    </a:lnTo>
                    <a:lnTo>
                      <a:pt x="254" y="92"/>
                    </a:lnTo>
                    <a:lnTo>
                      <a:pt x="276" y="62"/>
                    </a:lnTo>
                    <a:lnTo>
                      <a:pt x="285" y="49"/>
                    </a:lnTo>
                    <a:lnTo>
                      <a:pt x="538" y="0"/>
                    </a:lnTo>
                    <a:lnTo>
                      <a:pt x="538" y="43"/>
                    </a:lnTo>
                    <a:lnTo>
                      <a:pt x="548" y="60"/>
                    </a:lnTo>
                    <a:lnTo>
                      <a:pt x="557" y="78"/>
                    </a:lnTo>
                    <a:lnTo>
                      <a:pt x="560" y="87"/>
                    </a:lnTo>
                    <a:lnTo>
                      <a:pt x="562" y="98"/>
                    </a:lnTo>
                    <a:lnTo>
                      <a:pt x="564" y="110"/>
                    </a:lnTo>
                    <a:lnTo>
                      <a:pt x="564" y="123"/>
                    </a:lnTo>
                    <a:lnTo>
                      <a:pt x="565" y="136"/>
                    </a:lnTo>
                    <a:lnTo>
                      <a:pt x="568" y="151"/>
                    </a:lnTo>
                    <a:lnTo>
                      <a:pt x="570" y="164"/>
                    </a:lnTo>
                    <a:lnTo>
                      <a:pt x="571" y="178"/>
                    </a:lnTo>
                    <a:lnTo>
                      <a:pt x="568" y="180"/>
                    </a:lnTo>
                    <a:lnTo>
                      <a:pt x="564" y="180"/>
                    </a:lnTo>
                    <a:lnTo>
                      <a:pt x="563" y="179"/>
                    </a:lnTo>
                    <a:lnTo>
                      <a:pt x="562" y="179"/>
                    </a:lnTo>
                    <a:lnTo>
                      <a:pt x="561" y="179"/>
                    </a:lnTo>
                    <a:lnTo>
                      <a:pt x="558" y="184"/>
                    </a:lnTo>
                    <a:lnTo>
                      <a:pt x="553" y="196"/>
                    </a:lnTo>
                    <a:lnTo>
                      <a:pt x="548" y="207"/>
                    </a:lnTo>
                    <a:lnTo>
                      <a:pt x="541" y="217"/>
                    </a:lnTo>
                    <a:lnTo>
                      <a:pt x="534" y="225"/>
                    </a:lnTo>
                    <a:lnTo>
                      <a:pt x="525" y="232"/>
                    </a:lnTo>
                    <a:lnTo>
                      <a:pt x="515" y="239"/>
                    </a:lnTo>
                    <a:lnTo>
                      <a:pt x="505" y="244"/>
                    </a:lnTo>
                    <a:lnTo>
                      <a:pt x="494" y="249"/>
                    </a:lnTo>
                    <a:lnTo>
                      <a:pt x="449" y="267"/>
                    </a:lnTo>
                    <a:lnTo>
                      <a:pt x="405" y="283"/>
                    </a:lnTo>
                    <a:lnTo>
                      <a:pt x="374" y="296"/>
                    </a:lnTo>
                    <a:lnTo>
                      <a:pt x="347" y="307"/>
                    </a:lnTo>
                    <a:lnTo>
                      <a:pt x="321" y="318"/>
                    </a:lnTo>
                    <a:lnTo>
                      <a:pt x="295" y="328"/>
                    </a:lnTo>
                    <a:lnTo>
                      <a:pt x="270" y="337"/>
                    </a:lnTo>
                    <a:lnTo>
                      <a:pt x="245" y="345"/>
                    </a:lnTo>
                    <a:lnTo>
                      <a:pt x="216" y="354"/>
                    </a:lnTo>
                    <a:lnTo>
                      <a:pt x="186" y="363"/>
                    </a:lnTo>
                    <a:lnTo>
                      <a:pt x="177" y="366"/>
                    </a:lnTo>
                    <a:lnTo>
                      <a:pt x="167" y="371"/>
                    </a:lnTo>
                    <a:lnTo>
                      <a:pt x="158" y="376"/>
                    </a:lnTo>
                    <a:lnTo>
                      <a:pt x="149" y="381"/>
                    </a:lnTo>
                    <a:lnTo>
                      <a:pt x="134" y="392"/>
                    </a:lnTo>
                    <a:lnTo>
                      <a:pt x="119" y="403"/>
                    </a:lnTo>
                    <a:lnTo>
                      <a:pt x="105" y="414"/>
                    </a:lnTo>
                    <a:lnTo>
                      <a:pt x="92" y="426"/>
                    </a:lnTo>
                    <a:lnTo>
                      <a:pt x="79" y="435"/>
                    </a:lnTo>
                    <a:lnTo>
                      <a:pt x="67" y="443"/>
                    </a:lnTo>
                    <a:lnTo>
                      <a:pt x="58" y="410"/>
                    </a:lnTo>
                    <a:lnTo>
                      <a:pt x="50" y="378"/>
                    </a:lnTo>
                    <a:lnTo>
                      <a:pt x="42" y="345"/>
                    </a:lnTo>
                    <a:lnTo>
                      <a:pt x="33" y="313"/>
                    </a:lnTo>
                    <a:lnTo>
                      <a:pt x="24" y="282"/>
                    </a:lnTo>
                    <a:lnTo>
                      <a:pt x="16" y="251"/>
                    </a:lnTo>
                    <a:lnTo>
                      <a:pt x="8" y="223"/>
                    </a:lnTo>
                    <a:lnTo>
                      <a:pt x="0" y="196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36" name="Freeform 258">
                <a:extLst>
                  <a:ext uri="{FF2B5EF4-FFF2-40B4-BE49-F238E27FC236}">
                    <a16:creationId xmlns="" xmlns:a16="http://schemas.microsoft.com/office/drawing/2014/main" id="{AEB3D435-C9D6-4B44-9337-1B769C9D68A1}"/>
                  </a:ext>
                </a:extLst>
              </p:cNvPr>
              <p:cNvSpPr>
                <a:spLocks/>
              </p:cNvSpPr>
              <p:nvPr>
                <p:custDataLst>
                  <p:tags r:id="rId185"/>
                </p:custDataLst>
              </p:nvPr>
            </p:nvSpPr>
            <p:spPr bwMode="auto">
              <a:xfrm>
                <a:off x="5260975" y="2827338"/>
                <a:ext cx="120650" cy="120650"/>
              </a:xfrm>
              <a:custGeom>
                <a:avLst/>
                <a:gdLst>
                  <a:gd name="T0" fmla="*/ 0 w 286"/>
                  <a:gd name="T1" fmla="*/ 2147483646 h 228"/>
                  <a:gd name="T2" fmla="*/ 2147483646 w 286"/>
                  <a:gd name="T3" fmla="*/ 2147483646 h 228"/>
                  <a:gd name="T4" fmla="*/ 2147483646 w 286"/>
                  <a:gd name="T5" fmla="*/ 2147483646 h 228"/>
                  <a:gd name="T6" fmla="*/ 2147483646 w 286"/>
                  <a:gd name="T7" fmla="*/ 2147483646 h 228"/>
                  <a:gd name="T8" fmla="*/ 2147483646 w 286"/>
                  <a:gd name="T9" fmla="*/ 2147483646 h 228"/>
                  <a:gd name="T10" fmla="*/ 2147483646 w 286"/>
                  <a:gd name="T11" fmla="*/ 2147483646 h 228"/>
                  <a:gd name="T12" fmla="*/ 2147483646 w 286"/>
                  <a:gd name="T13" fmla="*/ 2147483646 h 228"/>
                  <a:gd name="T14" fmla="*/ 2147483646 w 286"/>
                  <a:gd name="T15" fmla="*/ 2147483646 h 228"/>
                  <a:gd name="T16" fmla="*/ 2147483646 w 286"/>
                  <a:gd name="T17" fmla="*/ 2147483646 h 228"/>
                  <a:gd name="T18" fmla="*/ 2147483646 w 286"/>
                  <a:gd name="T19" fmla="*/ 2147483646 h 228"/>
                  <a:gd name="T20" fmla="*/ 2147483646 w 286"/>
                  <a:gd name="T21" fmla="*/ 2147483646 h 228"/>
                  <a:gd name="T22" fmla="*/ 2147483646 w 286"/>
                  <a:gd name="T23" fmla="*/ 2147483646 h 228"/>
                  <a:gd name="T24" fmla="*/ 2147483646 w 286"/>
                  <a:gd name="T25" fmla="*/ 2147483646 h 228"/>
                  <a:gd name="T26" fmla="*/ 2147483646 w 286"/>
                  <a:gd name="T27" fmla="*/ 2147483646 h 228"/>
                  <a:gd name="T28" fmla="*/ 2147483646 w 286"/>
                  <a:gd name="T29" fmla="*/ 2147483646 h 228"/>
                  <a:gd name="T30" fmla="*/ 2147483646 w 286"/>
                  <a:gd name="T31" fmla="*/ 2147483646 h 228"/>
                  <a:gd name="T32" fmla="*/ 2147483646 w 286"/>
                  <a:gd name="T33" fmla="*/ 2147483646 h 228"/>
                  <a:gd name="T34" fmla="*/ 2147483646 w 286"/>
                  <a:gd name="T35" fmla="*/ 2147483646 h 228"/>
                  <a:gd name="T36" fmla="*/ 2147483646 w 286"/>
                  <a:gd name="T37" fmla="*/ 2147483646 h 228"/>
                  <a:gd name="T38" fmla="*/ 2147483646 w 286"/>
                  <a:gd name="T39" fmla="*/ 2147483646 h 228"/>
                  <a:gd name="T40" fmla="*/ 2147483646 w 286"/>
                  <a:gd name="T41" fmla="*/ 2147483646 h 228"/>
                  <a:gd name="T42" fmla="*/ 2147483646 w 286"/>
                  <a:gd name="T43" fmla="*/ 2147483646 h 228"/>
                  <a:gd name="T44" fmla="*/ 2147483646 w 286"/>
                  <a:gd name="T45" fmla="*/ 2147483646 h 228"/>
                  <a:gd name="T46" fmla="*/ 2147483646 w 286"/>
                  <a:gd name="T47" fmla="*/ 2147483646 h 228"/>
                  <a:gd name="T48" fmla="*/ 2147483646 w 286"/>
                  <a:gd name="T49" fmla="*/ 2147483646 h 228"/>
                  <a:gd name="T50" fmla="*/ 2147483646 w 286"/>
                  <a:gd name="T51" fmla="*/ 2147483646 h 228"/>
                  <a:gd name="T52" fmla="*/ 2147483646 w 286"/>
                  <a:gd name="T53" fmla="*/ 2147483646 h 228"/>
                  <a:gd name="T54" fmla="*/ 2147483646 w 286"/>
                  <a:gd name="T55" fmla="*/ 2147483646 h 228"/>
                  <a:gd name="T56" fmla="*/ 2147483646 w 286"/>
                  <a:gd name="T57" fmla="*/ 0 h 228"/>
                  <a:gd name="T58" fmla="*/ 2147483646 w 286"/>
                  <a:gd name="T59" fmla="*/ 2147483646 h 228"/>
                  <a:gd name="T60" fmla="*/ 2147483646 w 286"/>
                  <a:gd name="T61" fmla="*/ 2147483646 h 228"/>
                  <a:gd name="T62" fmla="*/ 2147483646 w 286"/>
                  <a:gd name="T63" fmla="*/ 2147483646 h 228"/>
                  <a:gd name="T64" fmla="*/ 2147483646 w 286"/>
                  <a:gd name="T65" fmla="*/ 2147483646 h 228"/>
                  <a:gd name="T66" fmla="*/ 2147483646 w 286"/>
                  <a:gd name="T67" fmla="*/ 2147483646 h 228"/>
                  <a:gd name="T68" fmla="*/ 2147483646 w 286"/>
                  <a:gd name="T69" fmla="*/ 2147483646 h 228"/>
                  <a:gd name="T70" fmla="*/ 2147483646 w 286"/>
                  <a:gd name="T71" fmla="*/ 2147483646 h 228"/>
                  <a:gd name="T72" fmla="*/ 2147483646 w 286"/>
                  <a:gd name="T73" fmla="*/ 2147483646 h 228"/>
                  <a:gd name="T74" fmla="*/ 2147483646 w 286"/>
                  <a:gd name="T75" fmla="*/ 2147483646 h 228"/>
                  <a:gd name="T76" fmla="*/ 0 w 286"/>
                  <a:gd name="T77" fmla="*/ 2147483646 h 228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286"/>
                  <a:gd name="T118" fmla="*/ 0 h 228"/>
                  <a:gd name="T119" fmla="*/ 286 w 286"/>
                  <a:gd name="T120" fmla="*/ 228 h 228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286" h="228">
                    <a:moveTo>
                      <a:pt x="0" y="111"/>
                    </a:moveTo>
                    <a:lnTo>
                      <a:pt x="4" y="109"/>
                    </a:lnTo>
                    <a:lnTo>
                      <a:pt x="7" y="109"/>
                    </a:lnTo>
                    <a:lnTo>
                      <a:pt x="10" y="110"/>
                    </a:lnTo>
                    <a:lnTo>
                      <a:pt x="11" y="111"/>
                    </a:lnTo>
                    <a:lnTo>
                      <a:pt x="12" y="117"/>
                    </a:lnTo>
                    <a:lnTo>
                      <a:pt x="13" y="123"/>
                    </a:lnTo>
                    <a:lnTo>
                      <a:pt x="14" y="128"/>
                    </a:lnTo>
                    <a:lnTo>
                      <a:pt x="16" y="131"/>
                    </a:lnTo>
                    <a:lnTo>
                      <a:pt x="19" y="134"/>
                    </a:lnTo>
                    <a:lnTo>
                      <a:pt x="24" y="136"/>
                    </a:lnTo>
                    <a:lnTo>
                      <a:pt x="29" y="137"/>
                    </a:lnTo>
                    <a:lnTo>
                      <a:pt x="37" y="138"/>
                    </a:lnTo>
                    <a:lnTo>
                      <a:pt x="48" y="138"/>
                    </a:lnTo>
                    <a:lnTo>
                      <a:pt x="60" y="136"/>
                    </a:lnTo>
                    <a:lnTo>
                      <a:pt x="98" y="130"/>
                    </a:lnTo>
                    <a:lnTo>
                      <a:pt x="129" y="122"/>
                    </a:lnTo>
                    <a:lnTo>
                      <a:pt x="143" y="118"/>
                    </a:lnTo>
                    <a:lnTo>
                      <a:pt x="156" y="114"/>
                    </a:lnTo>
                    <a:lnTo>
                      <a:pt x="167" y="109"/>
                    </a:lnTo>
                    <a:lnTo>
                      <a:pt x="178" y="103"/>
                    </a:lnTo>
                    <a:lnTo>
                      <a:pt x="188" y="96"/>
                    </a:lnTo>
                    <a:lnTo>
                      <a:pt x="198" y="87"/>
                    </a:lnTo>
                    <a:lnTo>
                      <a:pt x="208" y="78"/>
                    </a:lnTo>
                    <a:lnTo>
                      <a:pt x="219" y="65"/>
                    </a:lnTo>
                    <a:lnTo>
                      <a:pt x="229" y="52"/>
                    </a:lnTo>
                    <a:lnTo>
                      <a:pt x="241" y="37"/>
                    </a:lnTo>
                    <a:lnTo>
                      <a:pt x="253" y="20"/>
                    </a:lnTo>
                    <a:lnTo>
                      <a:pt x="266" y="0"/>
                    </a:lnTo>
                    <a:lnTo>
                      <a:pt x="270" y="7"/>
                    </a:lnTo>
                    <a:lnTo>
                      <a:pt x="274" y="13"/>
                    </a:lnTo>
                    <a:lnTo>
                      <a:pt x="276" y="20"/>
                    </a:lnTo>
                    <a:lnTo>
                      <a:pt x="279" y="27"/>
                    </a:lnTo>
                    <a:lnTo>
                      <a:pt x="282" y="42"/>
                    </a:lnTo>
                    <a:lnTo>
                      <a:pt x="286" y="62"/>
                    </a:lnTo>
                    <a:lnTo>
                      <a:pt x="246" y="198"/>
                    </a:lnTo>
                    <a:lnTo>
                      <a:pt x="226" y="228"/>
                    </a:lnTo>
                    <a:lnTo>
                      <a:pt x="53" y="210"/>
                    </a:lnTo>
                    <a:lnTo>
                      <a:pt x="0" y="111"/>
                    </a:ln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37" name="Freeform 259">
                <a:extLst>
                  <a:ext uri="{FF2B5EF4-FFF2-40B4-BE49-F238E27FC236}">
                    <a16:creationId xmlns="" xmlns:a16="http://schemas.microsoft.com/office/drawing/2014/main" id="{DC47D1AA-E7E9-4127-9CCE-045664047471}"/>
                  </a:ext>
                </a:extLst>
              </p:cNvPr>
              <p:cNvSpPr>
                <a:spLocks/>
              </p:cNvSpPr>
              <p:nvPr>
                <p:custDataLst>
                  <p:tags r:id="rId186"/>
                </p:custDataLst>
              </p:nvPr>
            </p:nvSpPr>
            <p:spPr bwMode="auto">
              <a:xfrm>
                <a:off x="4948238" y="2479675"/>
                <a:ext cx="222250" cy="263525"/>
              </a:xfrm>
              <a:custGeom>
                <a:avLst/>
                <a:gdLst>
                  <a:gd name="T0" fmla="*/ 2147483646 w 524"/>
                  <a:gd name="T1" fmla="*/ 2147483646 h 505"/>
                  <a:gd name="T2" fmla="*/ 2147483646 w 524"/>
                  <a:gd name="T3" fmla="*/ 2147483646 h 505"/>
                  <a:gd name="T4" fmla="*/ 2147483646 w 524"/>
                  <a:gd name="T5" fmla="*/ 2147483646 h 505"/>
                  <a:gd name="T6" fmla="*/ 2147483646 w 524"/>
                  <a:gd name="T7" fmla="*/ 2147483646 h 505"/>
                  <a:gd name="T8" fmla="*/ 2147483646 w 524"/>
                  <a:gd name="T9" fmla="*/ 2147483646 h 505"/>
                  <a:gd name="T10" fmla="*/ 2147483646 w 524"/>
                  <a:gd name="T11" fmla="*/ 2147483646 h 505"/>
                  <a:gd name="T12" fmla="*/ 2147483646 w 524"/>
                  <a:gd name="T13" fmla="*/ 2147483646 h 505"/>
                  <a:gd name="T14" fmla="*/ 2147483646 w 524"/>
                  <a:gd name="T15" fmla="*/ 2147483646 h 505"/>
                  <a:gd name="T16" fmla="*/ 2147483646 w 524"/>
                  <a:gd name="T17" fmla="*/ 2147483646 h 505"/>
                  <a:gd name="T18" fmla="*/ 2147483646 w 524"/>
                  <a:gd name="T19" fmla="*/ 2147483646 h 505"/>
                  <a:gd name="T20" fmla="*/ 2147483646 w 524"/>
                  <a:gd name="T21" fmla="*/ 2147483646 h 505"/>
                  <a:gd name="T22" fmla="*/ 2147483646 w 524"/>
                  <a:gd name="T23" fmla="*/ 2147483646 h 505"/>
                  <a:gd name="T24" fmla="*/ 2147483646 w 524"/>
                  <a:gd name="T25" fmla="*/ 2147483646 h 505"/>
                  <a:gd name="T26" fmla="*/ 2147483646 w 524"/>
                  <a:gd name="T27" fmla="*/ 2147483646 h 505"/>
                  <a:gd name="T28" fmla="*/ 2147483646 w 524"/>
                  <a:gd name="T29" fmla="*/ 2147483646 h 505"/>
                  <a:gd name="T30" fmla="*/ 2147483646 w 524"/>
                  <a:gd name="T31" fmla="*/ 2147483646 h 505"/>
                  <a:gd name="T32" fmla="*/ 2147483646 w 524"/>
                  <a:gd name="T33" fmla="*/ 2147483646 h 505"/>
                  <a:gd name="T34" fmla="*/ 2147483646 w 524"/>
                  <a:gd name="T35" fmla="*/ 2147483646 h 505"/>
                  <a:gd name="T36" fmla="*/ 2147483646 w 524"/>
                  <a:gd name="T37" fmla="*/ 2147483646 h 505"/>
                  <a:gd name="T38" fmla="*/ 2147483646 w 524"/>
                  <a:gd name="T39" fmla="*/ 2147483646 h 505"/>
                  <a:gd name="T40" fmla="*/ 2147483646 w 524"/>
                  <a:gd name="T41" fmla="*/ 2147483646 h 505"/>
                  <a:gd name="T42" fmla="*/ 2147483646 w 524"/>
                  <a:gd name="T43" fmla="*/ 2147483646 h 505"/>
                  <a:gd name="T44" fmla="*/ 2147483646 w 524"/>
                  <a:gd name="T45" fmla="*/ 2147483646 h 505"/>
                  <a:gd name="T46" fmla="*/ 2147483646 w 524"/>
                  <a:gd name="T47" fmla="*/ 2147483646 h 505"/>
                  <a:gd name="T48" fmla="*/ 2147483646 w 524"/>
                  <a:gd name="T49" fmla="*/ 2147483646 h 505"/>
                  <a:gd name="T50" fmla="*/ 2147483646 w 524"/>
                  <a:gd name="T51" fmla="*/ 2147483646 h 505"/>
                  <a:gd name="T52" fmla="*/ 2147483646 w 524"/>
                  <a:gd name="T53" fmla="*/ 2147483646 h 505"/>
                  <a:gd name="T54" fmla="*/ 2147483646 w 524"/>
                  <a:gd name="T55" fmla="*/ 2147483646 h 505"/>
                  <a:gd name="T56" fmla="*/ 2147483646 w 524"/>
                  <a:gd name="T57" fmla="*/ 2147483646 h 505"/>
                  <a:gd name="T58" fmla="*/ 2147483646 w 524"/>
                  <a:gd name="T59" fmla="*/ 2147483646 h 505"/>
                  <a:gd name="T60" fmla="*/ 2147483646 w 524"/>
                  <a:gd name="T61" fmla="*/ 2147483646 h 505"/>
                  <a:gd name="T62" fmla="*/ 2147483646 w 524"/>
                  <a:gd name="T63" fmla="*/ 2147483646 h 505"/>
                  <a:gd name="T64" fmla="*/ 2147483646 w 524"/>
                  <a:gd name="T65" fmla="*/ 2147483646 h 505"/>
                  <a:gd name="T66" fmla="*/ 2147483646 w 524"/>
                  <a:gd name="T67" fmla="*/ 2147483646 h 505"/>
                  <a:gd name="T68" fmla="*/ 2147483646 w 524"/>
                  <a:gd name="T69" fmla="*/ 2147483646 h 505"/>
                  <a:gd name="T70" fmla="*/ 2147483646 w 524"/>
                  <a:gd name="T71" fmla="*/ 2147483646 h 505"/>
                  <a:gd name="T72" fmla="*/ 2147483646 w 524"/>
                  <a:gd name="T73" fmla="*/ 2147483646 h 505"/>
                  <a:gd name="T74" fmla="*/ 2147483646 w 524"/>
                  <a:gd name="T75" fmla="*/ 2147483646 h 505"/>
                  <a:gd name="T76" fmla="*/ 0 w 524"/>
                  <a:gd name="T77" fmla="*/ 2147483646 h 505"/>
                  <a:gd name="T78" fmla="*/ 0 w 524"/>
                  <a:gd name="T79" fmla="*/ 2147483646 h 505"/>
                  <a:gd name="T80" fmla="*/ 2147483646 w 524"/>
                  <a:gd name="T81" fmla="*/ 2147483646 h 505"/>
                  <a:gd name="T82" fmla="*/ 2147483646 w 524"/>
                  <a:gd name="T83" fmla="*/ 2147483646 h 505"/>
                  <a:gd name="T84" fmla="*/ 2147483646 w 524"/>
                  <a:gd name="T85" fmla="*/ 2147483646 h 505"/>
                  <a:gd name="T86" fmla="*/ 2147483646 w 524"/>
                  <a:gd name="T87" fmla="*/ 2147483646 h 505"/>
                  <a:gd name="T88" fmla="*/ 2147483646 w 524"/>
                  <a:gd name="T89" fmla="*/ 2147483646 h 505"/>
                  <a:gd name="T90" fmla="*/ 2147483646 w 524"/>
                  <a:gd name="T91" fmla="*/ 2147483646 h 505"/>
                  <a:gd name="T92" fmla="*/ 2147483646 w 524"/>
                  <a:gd name="T93" fmla="*/ 2147483646 h 505"/>
                  <a:gd name="T94" fmla="*/ 2147483646 w 524"/>
                  <a:gd name="T95" fmla="*/ 2147483646 h 505"/>
                  <a:gd name="T96" fmla="*/ 2147483646 w 524"/>
                  <a:gd name="T97" fmla="*/ 2147483646 h 505"/>
                  <a:gd name="T98" fmla="*/ 2147483646 w 524"/>
                  <a:gd name="T99" fmla="*/ 2147483646 h 505"/>
                  <a:gd name="T100" fmla="*/ 2147483646 w 524"/>
                  <a:gd name="T101" fmla="*/ 2147483646 h 505"/>
                  <a:gd name="T102" fmla="*/ 2147483646 w 524"/>
                  <a:gd name="T103" fmla="*/ 2147483646 h 505"/>
                  <a:gd name="T104" fmla="*/ 2147483646 w 524"/>
                  <a:gd name="T105" fmla="*/ 2147483646 h 505"/>
                  <a:gd name="T106" fmla="*/ 2147483646 w 524"/>
                  <a:gd name="T107" fmla="*/ 2147483646 h 505"/>
                  <a:gd name="T108" fmla="*/ 2147483646 w 524"/>
                  <a:gd name="T109" fmla="*/ 2147483646 h 505"/>
                  <a:gd name="T110" fmla="*/ 2147483646 w 524"/>
                  <a:gd name="T111" fmla="*/ 2147483646 h 505"/>
                  <a:gd name="T112" fmla="*/ 2147483646 w 524"/>
                  <a:gd name="T113" fmla="*/ 2147483646 h 505"/>
                  <a:gd name="T114" fmla="*/ 2147483646 w 524"/>
                  <a:gd name="T115" fmla="*/ 2147483646 h 505"/>
                  <a:gd name="T116" fmla="*/ 2147483646 w 524"/>
                  <a:gd name="T117" fmla="*/ 2147483646 h 505"/>
                  <a:gd name="T118" fmla="*/ 2147483646 w 524"/>
                  <a:gd name="T119" fmla="*/ 2147483646 h 505"/>
                  <a:gd name="T120" fmla="*/ 2147483646 w 524"/>
                  <a:gd name="T121" fmla="*/ 2147483646 h 505"/>
                  <a:gd name="T122" fmla="*/ 2147483646 w 524"/>
                  <a:gd name="T123" fmla="*/ 2147483646 h 50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24"/>
                  <a:gd name="T187" fmla="*/ 0 h 505"/>
                  <a:gd name="T188" fmla="*/ 524 w 524"/>
                  <a:gd name="T189" fmla="*/ 505 h 50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24" h="505">
                    <a:moveTo>
                      <a:pt x="524" y="419"/>
                    </a:moveTo>
                    <a:lnTo>
                      <a:pt x="478" y="370"/>
                    </a:lnTo>
                    <a:lnTo>
                      <a:pt x="482" y="357"/>
                    </a:lnTo>
                    <a:lnTo>
                      <a:pt x="484" y="346"/>
                    </a:lnTo>
                    <a:lnTo>
                      <a:pt x="484" y="336"/>
                    </a:lnTo>
                    <a:lnTo>
                      <a:pt x="483" y="329"/>
                    </a:lnTo>
                    <a:lnTo>
                      <a:pt x="479" y="315"/>
                    </a:lnTo>
                    <a:lnTo>
                      <a:pt x="478" y="302"/>
                    </a:lnTo>
                    <a:lnTo>
                      <a:pt x="466" y="301"/>
                    </a:lnTo>
                    <a:lnTo>
                      <a:pt x="455" y="299"/>
                    </a:lnTo>
                    <a:lnTo>
                      <a:pt x="443" y="295"/>
                    </a:lnTo>
                    <a:lnTo>
                      <a:pt x="431" y="288"/>
                    </a:lnTo>
                    <a:lnTo>
                      <a:pt x="419" y="282"/>
                    </a:lnTo>
                    <a:lnTo>
                      <a:pt x="407" y="274"/>
                    </a:lnTo>
                    <a:lnTo>
                      <a:pt x="396" y="266"/>
                    </a:lnTo>
                    <a:lnTo>
                      <a:pt x="386" y="256"/>
                    </a:lnTo>
                    <a:lnTo>
                      <a:pt x="376" y="247"/>
                    </a:lnTo>
                    <a:lnTo>
                      <a:pt x="366" y="237"/>
                    </a:lnTo>
                    <a:lnTo>
                      <a:pt x="359" y="226"/>
                    </a:lnTo>
                    <a:lnTo>
                      <a:pt x="352" y="216"/>
                    </a:lnTo>
                    <a:lnTo>
                      <a:pt x="347" y="206"/>
                    </a:lnTo>
                    <a:lnTo>
                      <a:pt x="342" y="196"/>
                    </a:lnTo>
                    <a:lnTo>
                      <a:pt x="339" y="187"/>
                    </a:lnTo>
                    <a:lnTo>
                      <a:pt x="339" y="178"/>
                    </a:lnTo>
                    <a:lnTo>
                      <a:pt x="339" y="170"/>
                    </a:lnTo>
                    <a:lnTo>
                      <a:pt x="341" y="162"/>
                    </a:lnTo>
                    <a:lnTo>
                      <a:pt x="346" y="156"/>
                    </a:lnTo>
                    <a:lnTo>
                      <a:pt x="349" y="150"/>
                    </a:lnTo>
                    <a:lnTo>
                      <a:pt x="358" y="142"/>
                    </a:lnTo>
                    <a:lnTo>
                      <a:pt x="365" y="136"/>
                    </a:lnTo>
                    <a:lnTo>
                      <a:pt x="360" y="134"/>
                    </a:lnTo>
                    <a:lnTo>
                      <a:pt x="354" y="130"/>
                    </a:lnTo>
                    <a:lnTo>
                      <a:pt x="348" y="126"/>
                    </a:lnTo>
                    <a:lnTo>
                      <a:pt x="341" y="119"/>
                    </a:lnTo>
                    <a:lnTo>
                      <a:pt x="328" y="104"/>
                    </a:lnTo>
                    <a:lnTo>
                      <a:pt x="315" y="87"/>
                    </a:lnTo>
                    <a:lnTo>
                      <a:pt x="302" y="69"/>
                    </a:lnTo>
                    <a:lnTo>
                      <a:pt x="292" y="51"/>
                    </a:lnTo>
                    <a:lnTo>
                      <a:pt x="283" y="36"/>
                    </a:lnTo>
                    <a:lnTo>
                      <a:pt x="279" y="25"/>
                    </a:lnTo>
                    <a:lnTo>
                      <a:pt x="272" y="25"/>
                    </a:lnTo>
                    <a:lnTo>
                      <a:pt x="260" y="24"/>
                    </a:lnTo>
                    <a:lnTo>
                      <a:pt x="249" y="22"/>
                    </a:lnTo>
                    <a:lnTo>
                      <a:pt x="239" y="19"/>
                    </a:lnTo>
                    <a:lnTo>
                      <a:pt x="229" y="16"/>
                    </a:lnTo>
                    <a:lnTo>
                      <a:pt x="219" y="11"/>
                    </a:lnTo>
                    <a:lnTo>
                      <a:pt x="208" y="9"/>
                    </a:lnTo>
                    <a:lnTo>
                      <a:pt x="197" y="6"/>
                    </a:lnTo>
                    <a:lnTo>
                      <a:pt x="185" y="6"/>
                    </a:lnTo>
                    <a:lnTo>
                      <a:pt x="170" y="3"/>
                    </a:lnTo>
                    <a:lnTo>
                      <a:pt x="159" y="0"/>
                    </a:lnTo>
                    <a:lnTo>
                      <a:pt x="149" y="8"/>
                    </a:lnTo>
                    <a:lnTo>
                      <a:pt x="126" y="29"/>
                    </a:lnTo>
                    <a:lnTo>
                      <a:pt x="114" y="41"/>
                    </a:lnTo>
                    <a:lnTo>
                      <a:pt x="103" y="52"/>
                    </a:lnTo>
                    <a:lnTo>
                      <a:pt x="98" y="57"/>
                    </a:lnTo>
                    <a:lnTo>
                      <a:pt x="95" y="61"/>
                    </a:lnTo>
                    <a:lnTo>
                      <a:pt x="93" y="64"/>
                    </a:lnTo>
                    <a:lnTo>
                      <a:pt x="93" y="68"/>
                    </a:lnTo>
                    <a:lnTo>
                      <a:pt x="94" y="94"/>
                    </a:lnTo>
                    <a:lnTo>
                      <a:pt x="95" y="125"/>
                    </a:lnTo>
                    <a:lnTo>
                      <a:pt x="95" y="140"/>
                    </a:lnTo>
                    <a:lnTo>
                      <a:pt x="95" y="153"/>
                    </a:lnTo>
                    <a:lnTo>
                      <a:pt x="94" y="164"/>
                    </a:lnTo>
                    <a:lnTo>
                      <a:pt x="93" y="172"/>
                    </a:lnTo>
                    <a:lnTo>
                      <a:pt x="86" y="180"/>
                    </a:lnTo>
                    <a:lnTo>
                      <a:pt x="78" y="188"/>
                    </a:lnTo>
                    <a:lnTo>
                      <a:pt x="67" y="197"/>
                    </a:lnTo>
                    <a:lnTo>
                      <a:pt x="53" y="206"/>
                    </a:lnTo>
                    <a:lnTo>
                      <a:pt x="40" y="214"/>
                    </a:lnTo>
                    <a:lnTo>
                      <a:pt x="26" y="222"/>
                    </a:lnTo>
                    <a:lnTo>
                      <a:pt x="13" y="228"/>
                    </a:lnTo>
                    <a:lnTo>
                      <a:pt x="0" y="235"/>
                    </a:lnTo>
                    <a:lnTo>
                      <a:pt x="2" y="246"/>
                    </a:lnTo>
                    <a:lnTo>
                      <a:pt x="3" y="256"/>
                    </a:lnTo>
                    <a:lnTo>
                      <a:pt x="2" y="264"/>
                    </a:lnTo>
                    <a:lnTo>
                      <a:pt x="1" y="272"/>
                    </a:lnTo>
                    <a:lnTo>
                      <a:pt x="0" y="278"/>
                    </a:lnTo>
                    <a:lnTo>
                      <a:pt x="0" y="284"/>
                    </a:lnTo>
                    <a:lnTo>
                      <a:pt x="0" y="289"/>
                    </a:lnTo>
                    <a:lnTo>
                      <a:pt x="2" y="295"/>
                    </a:lnTo>
                    <a:lnTo>
                      <a:pt x="7" y="301"/>
                    </a:lnTo>
                    <a:lnTo>
                      <a:pt x="15" y="307"/>
                    </a:lnTo>
                    <a:lnTo>
                      <a:pt x="26" y="314"/>
                    </a:lnTo>
                    <a:lnTo>
                      <a:pt x="41" y="321"/>
                    </a:lnTo>
                    <a:lnTo>
                      <a:pt x="62" y="331"/>
                    </a:lnTo>
                    <a:lnTo>
                      <a:pt x="89" y="341"/>
                    </a:lnTo>
                    <a:lnTo>
                      <a:pt x="120" y="355"/>
                    </a:lnTo>
                    <a:lnTo>
                      <a:pt x="159" y="370"/>
                    </a:lnTo>
                    <a:lnTo>
                      <a:pt x="180" y="374"/>
                    </a:lnTo>
                    <a:lnTo>
                      <a:pt x="198" y="379"/>
                    </a:lnTo>
                    <a:lnTo>
                      <a:pt x="214" y="385"/>
                    </a:lnTo>
                    <a:lnTo>
                      <a:pt x="226" y="393"/>
                    </a:lnTo>
                    <a:lnTo>
                      <a:pt x="237" y="400"/>
                    </a:lnTo>
                    <a:lnTo>
                      <a:pt x="246" y="410"/>
                    </a:lnTo>
                    <a:lnTo>
                      <a:pt x="252" y="418"/>
                    </a:lnTo>
                    <a:lnTo>
                      <a:pt x="258" y="427"/>
                    </a:lnTo>
                    <a:lnTo>
                      <a:pt x="262" y="435"/>
                    </a:lnTo>
                    <a:lnTo>
                      <a:pt x="265" y="443"/>
                    </a:lnTo>
                    <a:lnTo>
                      <a:pt x="266" y="451"/>
                    </a:lnTo>
                    <a:lnTo>
                      <a:pt x="269" y="458"/>
                    </a:lnTo>
                    <a:lnTo>
                      <a:pt x="270" y="469"/>
                    </a:lnTo>
                    <a:lnTo>
                      <a:pt x="272" y="475"/>
                    </a:lnTo>
                    <a:lnTo>
                      <a:pt x="277" y="481"/>
                    </a:lnTo>
                    <a:lnTo>
                      <a:pt x="282" y="485"/>
                    </a:lnTo>
                    <a:lnTo>
                      <a:pt x="287" y="489"/>
                    </a:lnTo>
                    <a:lnTo>
                      <a:pt x="294" y="492"/>
                    </a:lnTo>
                    <a:lnTo>
                      <a:pt x="307" y="497"/>
                    </a:lnTo>
                    <a:lnTo>
                      <a:pt x="325" y="505"/>
                    </a:lnTo>
                    <a:lnTo>
                      <a:pt x="328" y="503"/>
                    </a:lnTo>
                    <a:lnTo>
                      <a:pt x="331" y="501"/>
                    </a:lnTo>
                    <a:lnTo>
                      <a:pt x="335" y="500"/>
                    </a:lnTo>
                    <a:lnTo>
                      <a:pt x="338" y="500"/>
                    </a:lnTo>
                    <a:lnTo>
                      <a:pt x="346" y="499"/>
                    </a:lnTo>
                    <a:lnTo>
                      <a:pt x="353" y="500"/>
                    </a:lnTo>
                    <a:lnTo>
                      <a:pt x="366" y="503"/>
                    </a:lnTo>
                    <a:lnTo>
                      <a:pt x="372" y="505"/>
                    </a:lnTo>
                    <a:lnTo>
                      <a:pt x="383" y="505"/>
                    </a:lnTo>
                    <a:lnTo>
                      <a:pt x="407" y="505"/>
                    </a:lnTo>
                    <a:lnTo>
                      <a:pt x="437" y="505"/>
                    </a:lnTo>
                    <a:lnTo>
                      <a:pt x="458" y="505"/>
                    </a:lnTo>
                    <a:lnTo>
                      <a:pt x="465" y="449"/>
                    </a:lnTo>
                    <a:lnTo>
                      <a:pt x="478" y="443"/>
                    </a:lnTo>
                    <a:lnTo>
                      <a:pt x="492" y="437"/>
                    </a:lnTo>
                    <a:lnTo>
                      <a:pt x="524" y="419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38" name="Freeform 260">
                <a:extLst>
                  <a:ext uri="{FF2B5EF4-FFF2-40B4-BE49-F238E27FC236}">
                    <a16:creationId xmlns="" xmlns:a16="http://schemas.microsoft.com/office/drawing/2014/main" id="{4EFBC717-4375-4E82-A295-BF3607213C2A}"/>
                  </a:ext>
                </a:extLst>
              </p:cNvPr>
              <p:cNvSpPr>
                <a:spLocks/>
              </p:cNvSpPr>
              <p:nvPr>
                <p:custDataLst>
                  <p:tags r:id="rId187"/>
                </p:custDataLst>
              </p:nvPr>
            </p:nvSpPr>
            <p:spPr bwMode="auto">
              <a:xfrm>
                <a:off x="5448300" y="2439988"/>
                <a:ext cx="331788" cy="290512"/>
              </a:xfrm>
              <a:custGeom>
                <a:avLst/>
                <a:gdLst>
                  <a:gd name="T0" fmla="*/ 2147483646 w 764"/>
                  <a:gd name="T1" fmla="*/ 2147483646 h 555"/>
                  <a:gd name="T2" fmla="*/ 2147483646 w 764"/>
                  <a:gd name="T3" fmla="*/ 2147483646 h 555"/>
                  <a:gd name="T4" fmla="*/ 2147483646 w 764"/>
                  <a:gd name="T5" fmla="*/ 2147483646 h 555"/>
                  <a:gd name="T6" fmla="*/ 2147483646 w 764"/>
                  <a:gd name="T7" fmla="*/ 2147483646 h 555"/>
                  <a:gd name="T8" fmla="*/ 2147483646 w 764"/>
                  <a:gd name="T9" fmla="*/ 2147483646 h 555"/>
                  <a:gd name="T10" fmla="*/ 2147483646 w 764"/>
                  <a:gd name="T11" fmla="*/ 2147483646 h 555"/>
                  <a:gd name="T12" fmla="*/ 2147483646 w 764"/>
                  <a:gd name="T13" fmla="*/ 2147483646 h 555"/>
                  <a:gd name="T14" fmla="*/ 2147483646 w 764"/>
                  <a:gd name="T15" fmla="*/ 2147483646 h 555"/>
                  <a:gd name="T16" fmla="*/ 2147483646 w 764"/>
                  <a:gd name="T17" fmla="*/ 2147483646 h 555"/>
                  <a:gd name="T18" fmla="*/ 2147483646 w 764"/>
                  <a:gd name="T19" fmla="*/ 2147483646 h 555"/>
                  <a:gd name="T20" fmla="*/ 2147483646 w 764"/>
                  <a:gd name="T21" fmla="*/ 2147483646 h 555"/>
                  <a:gd name="T22" fmla="*/ 2147483646 w 764"/>
                  <a:gd name="T23" fmla="*/ 2147483646 h 555"/>
                  <a:gd name="T24" fmla="*/ 2147483646 w 764"/>
                  <a:gd name="T25" fmla="*/ 2147483646 h 555"/>
                  <a:gd name="T26" fmla="*/ 2147483646 w 764"/>
                  <a:gd name="T27" fmla="*/ 2147483646 h 555"/>
                  <a:gd name="T28" fmla="*/ 2147483646 w 764"/>
                  <a:gd name="T29" fmla="*/ 2147483646 h 555"/>
                  <a:gd name="T30" fmla="*/ 2147483646 w 764"/>
                  <a:gd name="T31" fmla="*/ 2147483646 h 555"/>
                  <a:gd name="T32" fmla="*/ 2147483646 w 764"/>
                  <a:gd name="T33" fmla="*/ 2147483646 h 555"/>
                  <a:gd name="T34" fmla="*/ 2147483646 w 764"/>
                  <a:gd name="T35" fmla="*/ 2147483646 h 555"/>
                  <a:gd name="T36" fmla="*/ 2147483646 w 764"/>
                  <a:gd name="T37" fmla="*/ 2147483646 h 555"/>
                  <a:gd name="T38" fmla="*/ 2147483646 w 764"/>
                  <a:gd name="T39" fmla="*/ 2147483646 h 555"/>
                  <a:gd name="T40" fmla="*/ 2147483646 w 764"/>
                  <a:gd name="T41" fmla="*/ 2147483646 h 555"/>
                  <a:gd name="T42" fmla="*/ 2147483646 w 764"/>
                  <a:gd name="T43" fmla="*/ 2147483646 h 555"/>
                  <a:gd name="T44" fmla="*/ 2147483646 w 764"/>
                  <a:gd name="T45" fmla="*/ 2147483646 h 555"/>
                  <a:gd name="T46" fmla="*/ 2147483646 w 764"/>
                  <a:gd name="T47" fmla="*/ 2147483646 h 555"/>
                  <a:gd name="T48" fmla="*/ 2147483646 w 764"/>
                  <a:gd name="T49" fmla="*/ 2147483646 h 555"/>
                  <a:gd name="T50" fmla="*/ 2147483646 w 764"/>
                  <a:gd name="T51" fmla="*/ 2147483646 h 555"/>
                  <a:gd name="T52" fmla="*/ 2147483646 w 764"/>
                  <a:gd name="T53" fmla="*/ 2147483646 h 555"/>
                  <a:gd name="T54" fmla="*/ 2147483646 w 764"/>
                  <a:gd name="T55" fmla="*/ 2147483646 h 555"/>
                  <a:gd name="T56" fmla="*/ 2147483646 w 764"/>
                  <a:gd name="T57" fmla="*/ 2147483646 h 555"/>
                  <a:gd name="T58" fmla="*/ 2147483646 w 764"/>
                  <a:gd name="T59" fmla="*/ 2147483646 h 555"/>
                  <a:gd name="T60" fmla="*/ 2147483646 w 764"/>
                  <a:gd name="T61" fmla="*/ 2147483646 h 555"/>
                  <a:gd name="T62" fmla="*/ 2147483646 w 764"/>
                  <a:gd name="T63" fmla="*/ 2147483646 h 555"/>
                  <a:gd name="T64" fmla="*/ 2147483646 w 764"/>
                  <a:gd name="T65" fmla="*/ 2147483646 h 555"/>
                  <a:gd name="T66" fmla="*/ 2147483646 w 764"/>
                  <a:gd name="T67" fmla="*/ 2147483646 h 555"/>
                  <a:gd name="T68" fmla="*/ 2147483646 w 764"/>
                  <a:gd name="T69" fmla="*/ 2147483646 h 555"/>
                  <a:gd name="T70" fmla="*/ 2147483646 w 764"/>
                  <a:gd name="T71" fmla="*/ 2147483646 h 555"/>
                  <a:gd name="T72" fmla="*/ 2147483646 w 764"/>
                  <a:gd name="T73" fmla="*/ 2147483646 h 555"/>
                  <a:gd name="T74" fmla="*/ 2147483646 w 764"/>
                  <a:gd name="T75" fmla="*/ 2147483646 h 555"/>
                  <a:gd name="T76" fmla="*/ 2147483646 w 764"/>
                  <a:gd name="T77" fmla="*/ 2147483646 h 555"/>
                  <a:gd name="T78" fmla="*/ 2147483646 w 764"/>
                  <a:gd name="T79" fmla="*/ 2147483646 h 555"/>
                  <a:gd name="T80" fmla="*/ 2147483646 w 764"/>
                  <a:gd name="T81" fmla="*/ 2147483646 h 555"/>
                  <a:gd name="T82" fmla="*/ 2147483646 w 764"/>
                  <a:gd name="T83" fmla="*/ 2147483646 h 555"/>
                  <a:gd name="T84" fmla="*/ 2147483646 w 764"/>
                  <a:gd name="T85" fmla="*/ 2147483646 h 555"/>
                  <a:gd name="T86" fmla="*/ 2147483646 w 764"/>
                  <a:gd name="T87" fmla="*/ 2147483646 h 555"/>
                  <a:gd name="T88" fmla="*/ 2147483646 w 764"/>
                  <a:gd name="T89" fmla="*/ 2147483646 h 555"/>
                  <a:gd name="T90" fmla="*/ 2147483646 w 764"/>
                  <a:gd name="T91" fmla="*/ 2147483646 h 555"/>
                  <a:gd name="T92" fmla="*/ 2147483646 w 764"/>
                  <a:gd name="T93" fmla="*/ 2147483646 h 555"/>
                  <a:gd name="T94" fmla="*/ 2147483646 w 764"/>
                  <a:gd name="T95" fmla="*/ 2147483646 h 555"/>
                  <a:gd name="T96" fmla="*/ 2147483646 w 764"/>
                  <a:gd name="T97" fmla="*/ 2147483646 h 555"/>
                  <a:gd name="T98" fmla="*/ 2147483646 w 764"/>
                  <a:gd name="T99" fmla="*/ 2147483646 h 555"/>
                  <a:gd name="T100" fmla="*/ 2147483646 w 764"/>
                  <a:gd name="T101" fmla="*/ 2147483646 h 555"/>
                  <a:gd name="T102" fmla="*/ 2147483646 w 764"/>
                  <a:gd name="T103" fmla="*/ 2147483646 h 555"/>
                  <a:gd name="T104" fmla="*/ 2147483646 w 764"/>
                  <a:gd name="T105" fmla="*/ 2147483646 h 555"/>
                  <a:gd name="T106" fmla="*/ 2147483646 w 764"/>
                  <a:gd name="T107" fmla="*/ 2147483646 h 555"/>
                  <a:gd name="T108" fmla="*/ 2147483646 w 764"/>
                  <a:gd name="T109" fmla="*/ 2147483646 h 555"/>
                  <a:gd name="T110" fmla="*/ 2147483646 w 764"/>
                  <a:gd name="T111" fmla="*/ 2147483646 h 555"/>
                  <a:gd name="T112" fmla="*/ 2147483646 w 764"/>
                  <a:gd name="T113" fmla="*/ 2147483646 h 555"/>
                  <a:gd name="T114" fmla="*/ 2147483646 w 764"/>
                  <a:gd name="T115" fmla="*/ 2147483646 h 555"/>
                  <a:gd name="T116" fmla="*/ 2147483646 w 764"/>
                  <a:gd name="T117" fmla="*/ 2147483646 h 555"/>
                  <a:gd name="T118" fmla="*/ 0 w 764"/>
                  <a:gd name="T119" fmla="*/ 2147483646 h 555"/>
                  <a:gd name="T120" fmla="*/ 2147483646 w 764"/>
                  <a:gd name="T121" fmla="*/ 2147483646 h 555"/>
                  <a:gd name="T122" fmla="*/ 2147483646 w 764"/>
                  <a:gd name="T123" fmla="*/ 2147483646 h 555"/>
                  <a:gd name="T124" fmla="*/ 2147483646 w 764"/>
                  <a:gd name="T125" fmla="*/ 2147483646 h 555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764"/>
                  <a:gd name="T190" fmla="*/ 0 h 555"/>
                  <a:gd name="T191" fmla="*/ 764 w 764"/>
                  <a:gd name="T192" fmla="*/ 555 h 555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764" h="555">
                    <a:moveTo>
                      <a:pt x="39" y="191"/>
                    </a:moveTo>
                    <a:lnTo>
                      <a:pt x="48" y="194"/>
                    </a:lnTo>
                    <a:lnTo>
                      <a:pt x="56" y="196"/>
                    </a:lnTo>
                    <a:lnTo>
                      <a:pt x="62" y="196"/>
                    </a:lnTo>
                    <a:lnTo>
                      <a:pt x="68" y="195"/>
                    </a:lnTo>
                    <a:lnTo>
                      <a:pt x="77" y="192"/>
                    </a:lnTo>
                    <a:lnTo>
                      <a:pt x="85" y="191"/>
                    </a:lnTo>
                    <a:lnTo>
                      <a:pt x="93" y="190"/>
                    </a:lnTo>
                    <a:lnTo>
                      <a:pt x="101" y="190"/>
                    </a:lnTo>
                    <a:lnTo>
                      <a:pt x="107" y="188"/>
                    </a:lnTo>
                    <a:lnTo>
                      <a:pt x="114" y="186"/>
                    </a:lnTo>
                    <a:lnTo>
                      <a:pt x="128" y="182"/>
                    </a:lnTo>
                    <a:lnTo>
                      <a:pt x="140" y="175"/>
                    </a:lnTo>
                    <a:lnTo>
                      <a:pt x="152" y="168"/>
                    </a:lnTo>
                    <a:lnTo>
                      <a:pt x="164" y="160"/>
                    </a:lnTo>
                    <a:lnTo>
                      <a:pt x="175" y="151"/>
                    </a:lnTo>
                    <a:lnTo>
                      <a:pt x="185" y="142"/>
                    </a:lnTo>
                    <a:lnTo>
                      <a:pt x="189" y="136"/>
                    </a:lnTo>
                    <a:lnTo>
                      <a:pt x="192" y="131"/>
                    </a:lnTo>
                    <a:lnTo>
                      <a:pt x="194" y="126"/>
                    </a:lnTo>
                    <a:lnTo>
                      <a:pt x="195" y="120"/>
                    </a:lnTo>
                    <a:lnTo>
                      <a:pt x="197" y="109"/>
                    </a:lnTo>
                    <a:lnTo>
                      <a:pt x="198" y="98"/>
                    </a:lnTo>
                    <a:lnTo>
                      <a:pt x="199" y="88"/>
                    </a:lnTo>
                    <a:lnTo>
                      <a:pt x="202" y="78"/>
                    </a:lnTo>
                    <a:lnTo>
                      <a:pt x="204" y="74"/>
                    </a:lnTo>
                    <a:lnTo>
                      <a:pt x="206" y="71"/>
                    </a:lnTo>
                    <a:lnTo>
                      <a:pt x="208" y="69"/>
                    </a:lnTo>
                    <a:lnTo>
                      <a:pt x="212" y="68"/>
                    </a:lnTo>
                    <a:lnTo>
                      <a:pt x="221" y="64"/>
                    </a:lnTo>
                    <a:lnTo>
                      <a:pt x="231" y="62"/>
                    </a:lnTo>
                    <a:lnTo>
                      <a:pt x="240" y="60"/>
                    </a:lnTo>
                    <a:lnTo>
                      <a:pt x="249" y="60"/>
                    </a:lnTo>
                    <a:lnTo>
                      <a:pt x="266" y="61"/>
                    </a:lnTo>
                    <a:lnTo>
                      <a:pt x="285" y="61"/>
                    </a:lnTo>
                    <a:lnTo>
                      <a:pt x="294" y="62"/>
                    </a:lnTo>
                    <a:lnTo>
                      <a:pt x="303" y="63"/>
                    </a:lnTo>
                    <a:lnTo>
                      <a:pt x="310" y="64"/>
                    </a:lnTo>
                    <a:lnTo>
                      <a:pt x="317" y="66"/>
                    </a:lnTo>
                    <a:lnTo>
                      <a:pt x="329" y="71"/>
                    </a:lnTo>
                    <a:lnTo>
                      <a:pt x="339" y="77"/>
                    </a:lnTo>
                    <a:lnTo>
                      <a:pt x="348" y="82"/>
                    </a:lnTo>
                    <a:lnTo>
                      <a:pt x="357" y="88"/>
                    </a:lnTo>
                    <a:lnTo>
                      <a:pt x="362" y="90"/>
                    </a:lnTo>
                    <a:lnTo>
                      <a:pt x="366" y="91"/>
                    </a:lnTo>
                    <a:lnTo>
                      <a:pt x="372" y="92"/>
                    </a:lnTo>
                    <a:lnTo>
                      <a:pt x="378" y="93"/>
                    </a:lnTo>
                    <a:lnTo>
                      <a:pt x="386" y="93"/>
                    </a:lnTo>
                    <a:lnTo>
                      <a:pt x="394" y="92"/>
                    </a:lnTo>
                    <a:lnTo>
                      <a:pt x="402" y="90"/>
                    </a:lnTo>
                    <a:lnTo>
                      <a:pt x="407" y="89"/>
                    </a:lnTo>
                    <a:lnTo>
                      <a:pt x="419" y="84"/>
                    </a:lnTo>
                    <a:lnTo>
                      <a:pt x="429" y="78"/>
                    </a:lnTo>
                    <a:lnTo>
                      <a:pt x="439" y="72"/>
                    </a:lnTo>
                    <a:lnTo>
                      <a:pt x="449" y="66"/>
                    </a:lnTo>
                    <a:lnTo>
                      <a:pt x="460" y="61"/>
                    </a:lnTo>
                    <a:lnTo>
                      <a:pt x="471" y="55"/>
                    </a:lnTo>
                    <a:lnTo>
                      <a:pt x="472" y="48"/>
                    </a:lnTo>
                    <a:lnTo>
                      <a:pt x="475" y="41"/>
                    </a:lnTo>
                    <a:lnTo>
                      <a:pt x="479" y="33"/>
                    </a:lnTo>
                    <a:lnTo>
                      <a:pt x="485" y="25"/>
                    </a:lnTo>
                    <a:lnTo>
                      <a:pt x="496" y="11"/>
                    </a:lnTo>
                    <a:lnTo>
                      <a:pt x="505" y="0"/>
                    </a:lnTo>
                    <a:lnTo>
                      <a:pt x="508" y="4"/>
                    </a:lnTo>
                    <a:lnTo>
                      <a:pt x="512" y="8"/>
                    </a:lnTo>
                    <a:lnTo>
                      <a:pt x="518" y="12"/>
                    </a:lnTo>
                    <a:lnTo>
                      <a:pt x="525" y="15"/>
                    </a:lnTo>
                    <a:lnTo>
                      <a:pt x="530" y="19"/>
                    </a:lnTo>
                    <a:lnTo>
                      <a:pt x="537" y="22"/>
                    </a:lnTo>
                    <a:lnTo>
                      <a:pt x="541" y="26"/>
                    </a:lnTo>
                    <a:lnTo>
                      <a:pt x="544" y="31"/>
                    </a:lnTo>
                    <a:lnTo>
                      <a:pt x="550" y="45"/>
                    </a:lnTo>
                    <a:lnTo>
                      <a:pt x="554" y="58"/>
                    </a:lnTo>
                    <a:lnTo>
                      <a:pt x="556" y="70"/>
                    </a:lnTo>
                    <a:lnTo>
                      <a:pt x="559" y="81"/>
                    </a:lnTo>
                    <a:lnTo>
                      <a:pt x="561" y="87"/>
                    </a:lnTo>
                    <a:lnTo>
                      <a:pt x="562" y="91"/>
                    </a:lnTo>
                    <a:lnTo>
                      <a:pt x="564" y="95"/>
                    </a:lnTo>
                    <a:lnTo>
                      <a:pt x="566" y="99"/>
                    </a:lnTo>
                    <a:lnTo>
                      <a:pt x="570" y="101"/>
                    </a:lnTo>
                    <a:lnTo>
                      <a:pt x="574" y="103"/>
                    </a:lnTo>
                    <a:lnTo>
                      <a:pt x="578" y="104"/>
                    </a:lnTo>
                    <a:lnTo>
                      <a:pt x="584" y="105"/>
                    </a:lnTo>
                    <a:lnTo>
                      <a:pt x="589" y="104"/>
                    </a:lnTo>
                    <a:lnTo>
                      <a:pt x="596" y="100"/>
                    </a:lnTo>
                    <a:lnTo>
                      <a:pt x="602" y="95"/>
                    </a:lnTo>
                    <a:lnTo>
                      <a:pt x="610" y="88"/>
                    </a:lnTo>
                    <a:lnTo>
                      <a:pt x="622" y="73"/>
                    </a:lnTo>
                    <a:lnTo>
                      <a:pt x="631" y="61"/>
                    </a:lnTo>
                    <a:lnTo>
                      <a:pt x="723" y="61"/>
                    </a:lnTo>
                    <a:lnTo>
                      <a:pt x="736" y="61"/>
                    </a:lnTo>
                    <a:lnTo>
                      <a:pt x="743" y="66"/>
                    </a:lnTo>
                    <a:lnTo>
                      <a:pt x="748" y="70"/>
                    </a:lnTo>
                    <a:lnTo>
                      <a:pt x="752" y="75"/>
                    </a:lnTo>
                    <a:lnTo>
                      <a:pt x="755" y="79"/>
                    </a:lnTo>
                    <a:lnTo>
                      <a:pt x="759" y="87"/>
                    </a:lnTo>
                    <a:lnTo>
                      <a:pt x="764" y="93"/>
                    </a:lnTo>
                    <a:lnTo>
                      <a:pt x="740" y="95"/>
                    </a:lnTo>
                    <a:lnTo>
                      <a:pt x="711" y="97"/>
                    </a:lnTo>
                    <a:lnTo>
                      <a:pt x="679" y="100"/>
                    </a:lnTo>
                    <a:lnTo>
                      <a:pt x="647" y="103"/>
                    </a:lnTo>
                    <a:lnTo>
                      <a:pt x="632" y="106"/>
                    </a:lnTo>
                    <a:lnTo>
                      <a:pt x="618" y="109"/>
                    </a:lnTo>
                    <a:lnTo>
                      <a:pt x="605" y="112"/>
                    </a:lnTo>
                    <a:lnTo>
                      <a:pt x="594" y="117"/>
                    </a:lnTo>
                    <a:lnTo>
                      <a:pt x="584" y="122"/>
                    </a:lnTo>
                    <a:lnTo>
                      <a:pt x="577" y="127"/>
                    </a:lnTo>
                    <a:lnTo>
                      <a:pt x="574" y="130"/>
                    </a:lnTo>
                    <a:lnTo>
                      <a:pt x="572" y="134"/>
                    </a:lnTo>
                    <a:lnTo>
                      <a:pt x="571" y="137"/>
                    </a:lnTo>
                    <a:lnTo>
                      <a:pt x="571" y="142"/>
                    </a:lnTo>
                    <a:lnTo>
                      <a:pt x="571" y="147"/>
                    </a:lnTo>
                    <a:lnTo>
                      <a:pt x="572" y="152"/>
                    </a:lnTo>
                    <a:lnTo>
                      <a:pt x="574" y="156"/>
                    </a:lnTo>
                    <a:lnTo>
                      <a:pt x="576" y="159"/>
                    </a:lnTo>
                    <a:lnTo>
                      <a:pt x="582" y="164"/>
                    </a:lnTo>
                    <a:lnTo>
                      <a:pt x="587" y="169"/>
                    </a:lnTo>
                    <a:lnTo>
                      <a:pt x="594" y="173"/>
                    </a:lnTo>
                    <a:lnTo>
                      <a:pt x="599" y="177"/>
                    </a:lnTo>
                    <a:lnTo>
                      <a:pt x="601" y="180"/>
                    </a:lnTo>
                    <a:lnTo>
                      <a:pt x="602" y="183"/>
                    </a:lnTo>
                    <a:lnTo>
                      <a:pt x="604" y="186"/>
                    </a:lnTo>
                    <a:lnTo>
                      <a:pt x="604" y="191"/>
                    </a:lnTo>
                    <a:lnTo>
                      <a:pt x="604" y="195"/>
                    </a:lnTo>
                    <a:lnTo>
                      <a:pt x="602" y="200"/>
                    </a:lnTo>
                    <a:lnTo>
                      <a:pt x="601" y="204"/>
                    </a:lnTo>
                    <a:lnTo>
                      <a:pt x="599" y="207"/>
                    </a:lnTo>
                    <a:lnTo>
                      <a:pt x="594" y="213"/>
                    </a:lnTo>
                    <a:lnTo>
                      <a:pt x="587" y="220"/>
                    </a:lnTo>
                    <a:lnTo>
                      <a:pt x="582" y="226"/>
                    </a:lnTo>
                    <a:lnTo>
                      <a:pt x="576" y="233"/>
                    </a:lnTo>
                    <a:lnTo>
                      <a:pt x="574" y="237"/>
                    </a:lnTo>
                    <a:lnTo>
                      <a:pt x="572" y="242"/>
                    </a:lnTo>
                    <a:lnTo>
                      <a:pt x="571" y="247"/>
                    </a:lnTo>
                    <a:lnTo>
                      <a:pt x="571" y="252"/>
                    </a:lnTo>
                    <a:lnTo>
                      <a:pt x="565" y="255"/>
                    </a:lnTo>
                    <a:lnTo>
                      <a:pt x="560" y="256"/>
                    </a:lnTo>
                    <a:lnTo>
                      <a:pt x="555" y="259"/>
                    </a:lnTo>
                    <a:lnTo>
                      <a:pt x="551" y="262"/>
                    </a:lnTo>
                    <a:lnTo>
                      <a:pt x="542" y="269"/>
                    </a:lnTo>
                    <a:lnTo>
                      <a:pt x="535" y="277"/>
                    </a:lnTo>
                    <a:lnTo>
                      <a:pt x="529" y="287"/>
                    </a:lnTo>
                    <a:lnTo>
                      <a:pt x="523" y="298"/>
                    </a:lnTo>
                    <a:lnTo>
                      <a:pt x="519" y="310"/>
                    </a:lnTo>
                    <a:lnTo>
                      <a:pt x="515" y="323"/>
                    </a:lnTo>
                    <a:lnTo>
                      <a:pt x="512" y="336"/>
                    </a:lnTo>
                    <a:lnTo>
                      <a:pt x="509" y="349"/>
                    </a:lnTo>
                    <a:lnTo>
                      <a:pt x="508" y="363"/>
                    </a:lnTo>
                    <a:lnTo>
                      <a:pt x="506" y="377"/>
                    </a:lnTo>
                    <a:lnTo>
                      <a:pt x="505" y="402"/>
                    </a:lnTo>
                    <a:lnTo>
                      <a:pt x="505" y="425"/>
                    </a:lnTo>
                    <a:lnTo>
                      <a:pt x="497" y="425"/>
                    </a:lnTo>
                    <a:lnTo>
                      <a:pt x="492" y="423"/>
                    </a:lnTo>
                    <a:lnTo>
                      <a:pt x="486" y="420"/>
                    </a:lnTo>
                    <a:lnTo>
                      <a:pt x="482" y="415"/>
                    </a:lnTo>
                    <a:lnTo>
                      <a:pt x="477" y="412"/>
                    </a:lnTo>
                    <a:lnTo>
                      <a:pt x="473" y="409"/>
                    </a:lnTo>
                    <a:lnTo>
                      <a:pt x="470" y="407"/>
                    </a:lnTo>
                    <a:lnTo>
                      <a:pt x="464" y="406"/>
                    </a:lnTo>
                    <a:lnTo>
                      <a:pt x="460" y="407"/>
                    </a:lnTo>
                    <a:lnTo>
                      <a:pt x="455" y="408"/>
                    </a:lnTo>
                    <a:lnTo>
                      <a:pt x="451" y="410"/>
                    </a:lnTo>
                    <a:lnTo>
                      <a:pt x="447" y="412"/>
                    </a:lnTo>
                    <a:lnTo>
                      <a:pt x="439" y="418"/>
                    </a:lnTo>
                    <a:lnTo>
                      <a:pt x="431" y="425"/>
                    </a:lnTo>
                    <a:lnTo>
                      <a:pt x="423" y="432"/>
                    </a:lnTo>
                    <a:lnTo>
                      <a:pt x="416" y="438"/>
                    </a:lnTo>
                    <a:lnTo>
                      <a:pt x="411" y="440"/>
                    </a:lnTo>
                    <a:lnTo>
                      <a:pt x="407" y="442"/>
                    </a:lnTo>
                    <a:lnTo>
                      <a:pt x="403" y="443"/>
                    </a:lnTo>
                    <a:lnTo>
                      <a:pt x="398" y="444"/>
                    </a:lnTo>
                    <a:lnTo>
                      <a:pt x="393" y="444"/>
                    </a:lnTo>
                    <a:lnTo>
                      <a:pt x="388" y="446"/>
                    </a:lnTo>
                    <a:lnTo>
                      <a:pt x="385" y="449"/>
                    </a:lnTo>
                    <a:lnTo>
                      <a:pt x="382" y="453"/>
                    </a:lnTo>
                    <a:lnTo>
                      <a:pt x="375" y="463"/>
                    </a:lnTo>
                    <a:lnTo>
                      <a:pt x="372" y="476"/>
                    </a:lnTo>
                    <a:lnTo>
                      <a:pt x="369" y="489"/>
                    </a:lnTo>
                    <a:lnTo>
                      <a:pt x="366" y="501"/>
                    </a:lnTo>
                    <a:lnTo>
                      <a:pt x="365" y="511"/>
                    </a:lnTo>
                    <a:lnTo>
                      <a:pt x="365" y="517"/>
                    </a:lnTo>
                    <a:lnTo>
                      <a:pt x="362" y="520"/>
                    </a:lnTo>
                    <a:lnTo>
                      <a:pt x="358" y="522"/>
                    </a:lnTo>
                    <a:lnTo>
                      <a:pt x="350" y="525"/>
                    </a:lnTo>
                    <a:lnTo>
                      <a:pt x="342" y="528"/>
                    </a:lnTo>
                    <a:lnTo>
                      <a:pt x="320" y="535"/>
                    </a:lnTo>
                    <a:lnTo>
                      <a:pt x="296" y="541"/>
                    </a:lnTo>
                    <a:lnTo>
                      <a:pt x="270" y="546"/>
                    </a:lnTo>
                    <a:lnTo>
                      <a:pt x="246" y="551"/>
                    </a:lnTo>
                    <a:lnTo>
                      <a:pt x="226" y="554"/>
                    </a:lnTo>
                    <a:lnTo>
                      <a:pt x="212" y="555"/>
                    </a:lnTo>
                    <a:lnTo>
                      <a:pt x="194" y="554"/>
                    </a:lnTo>
                    <a:lnTo>
                      <a:pt x="176" y="553"/>
                    </a:lnTo>
                    <a:lnTo>
                      <a:pt x="159" y="550"/>
                    </a:lnTo>
                    <a:lnTo>
                      <a:pt x="142" y="548"/>
                    </a:lnTo>
                    <a:lnTo>
                      <a:pt x="113" y="542"/>
                    </a:lnTo>
                    <a:lnTo>
                      <a:pt x="92" y="536"/>
                    </a:lnTo>
                    <a:lnTo>
                      <a:pt x="93" y="529"/>
                    </a:lnTo>
                    <a:lnTo>
                      <a:pt x="94" y="523"/>
                    </a:lnTo>
                    <a:lnTo>
                      <a:pt x="95" y="518"/>
                    </a:lnTo>
                    <a:lnTo>
                      <a:pt x="97" y="513"/>
                    </a:lnTo>
                    <a:lnTo>
                      <a:pt x="103" y="504"/>
                    </a:lnTo>
                    <a:lnTo>
                      <a:pt x="109" y="496"/>
                    </a:lnTo>
                    <a:lnTo>
                      <a:pt x="115" y="488"/>
                    </a:lnTo>
                    <a:lnTo>
                      <a:pt x="120" y="479"/>
                    </a:lnTo>
                    <a:lnTo>
                      <a:pt x="123" y="473"/>
                    </a:lnTo>
                    <a:lnTo>
                      <a:pt x="124" y="468"/>
                    </a:lnTo>
                    <a:lnTo>
                      <a:pt x="125" y="462"/>
                    </a:lnTo>
                    <a:lnTo>
                      <a:pt x="126" y="456"/>
                    </a:lnTo>
                    <a:lnTo>
                      <a:pt x="125" y="451"/>
                    </a:lnTo>
                    <a:lnTo>
                      <a:pt x="124" y="446"/>
                    </a:lnTo>
                    <a:lnTo>
                      <a:pt x="123" y="442"/>
                    </a:lnTo>
                    <a:lnTo>
                      <a:pt x="120" y="439"/>
                    </a:lnTo>
                    <a:lnTo>
                      <a:pt x="117" y="437"/>
                    </a:lnTo>
                    <a:lnTo>
                      <a:pt x="114" y="435"/>
                    </a:lnTo>
                    <a:lnTo>
                      <a:pt x="111" y="433"/>
                    </a:lnTo>
                    <a:lnTo>
                      <a:pt x="106" y="432"/>
                    </a:lnTo>
                    <a:lnTo>
                      <a:pt x="89" y="431"/>
                    </a:lnTo>
                    <a:lnTo>
                      <a:pt x="72" y="432"/>
                    </a:lnTo>
                    <a:lnTo>
                      <a:pt x="69" y="431"/>
                    </a:lnTo>
                    <a:lnTo>
                      <a:pt x="66" y="430"/>
                    </a:lnTo>
                    <a:lnTo>
                      <a:pt x="62" y="429"/>
                    </a:lnTo>
                    <a:lnTo>
                      <a:pt x="59" y="427"/>
                    </a:lnTo>
                    <a:lnTo>
                      <a:pt x="52" y="421"/>
                    </a:lnTo>
                    <a:lnTo>
                      <a:pt x="47" y="413"/>
                    </a:lnTo>
                    <a:lnTo>
                      <a:pt x="42" y="405"/>
                    </a:lnTo>
                    <a:lnTo>
                      <a:pt x="38" y="395"/>
                    </a:lnTo>
                    <a:lnTo>
                      <a:pt x="34" y="384"/>
                    </a:lnTo>
                    <a:lnTo>
                      <a:pt x="30" y="373"/>
                    </a:lnTo>
                    <a:lnTo>
                      <a:pt x="26" y="349"/>
                    </a:lnTo>
                    <a:lnTo>
                      <a:pt x="22" y="327"/>
                    </a:lnTo>
                    <a:lnTo>
                      <a:pt x="19" y="309"/>
                    </a:lnTo>
                    <a:lnTo>
                      <a:pt x="19" y="295"/>
                    </a:lnTo>
                    <a:lnTo>
                      <a:pt x="16" y="295"/>
                    </a:lnTo>
                    <a:lnTo>
                      <a:pt x="13" y="293"/>
                    </a:lnTo>
                    <a:lnTo>
                      <a:pt x="10" y="291"/>
                    </a:lnTo>
                    <a:lnTo>
                      <a:pt x="7" y="289"/>
                    </a:lnTo>
                    <a:lnTo>
                      <a:pt x="4" y="286"/>
                    </a:lnTo>
                    <a:lnTo>
                      <a:pt x="2" y="283"/>
                    </a:lnTo>
                    <a:lnTo>
                      <a:pt x="0" y="280"/>
                    </a:lnTo>
                    <a:lnTo>
                      <a:pt x="0" y="277"/>
                    </a:lnTo>
                    <a:lnTo>
                      <a:pt x="0" y="274"/>
                    </a:lnTo>
                    <a:lnTo>
                      <a:pt x="1" y="271"/>
                    </a:lnTo>
                    <a:lnTo>
                      <a:pt x="2" y="268"/>
                    </a:lnTo>
                    <a:lnTo>
                      <a:pt x="4" y="265"/>
                    </a:lnTo>
                    <a:lnTo>
                      <a:pt x="10" y="259"/>
                    </a:lnTo>
                    <a:lnTo>
                      <a:pt x="16" y="254"/>
                    </a:lnTo>
                    <a:lnTo>
                      <a:pt x="22" y="248"/>
                    </a:lnTo>
                    <a:lnTo>
                      <a:pt x="27" y="243"/>
                    </a:lnTo>
                    <a:lnTo>
                      <a:pt x="31" y="238"/>
                    </a:lnTo>
                    <a:lnTo>
                      <a:pt x="33" y="234"/>
                    </a:lnTo>
                    <a:lnTo>
                      <a:pt x="34" y="221"/>
                    </a:lnTo>
                    <a:lnTo>
                      <a:pt x="36" y="213"/>
                    </a:lnTo>
                    <a:lnTo>
                      <a:pt x="38" y="205"/>
                    </a:lnTo>
                    <a:lnTo>
                      <a:pt x="39" y="191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39" name="Freeform 261">
                <a:extLst>
                  <a:ext uri="{FF2B5EF4-FFF2-40B4-BE49-F238E27FC236}">
                    <a16:creationId xmlns="" xmlns:a16="http://schemas.microsoft.com/office/drawing/2014/main" id="{1E2D75A0-33F6-4779-8689-ACC1B216BFC2}"/>
                  </a:ext>
                </a:extLst>
              </p:cNvPr>
              <p:cNvSpPr>
                <a:spLocks/>
              </p:cNvSpPr>
              <p:nvPr>
                <p:custDataLst>
                  <p:tags r:id="rId188"/>
                </p:custDataLst>
              </p:nvPr>
            </p:nvSpPr>
            <p:spPr bwMode="auto">
              <a:xfrm>
                <a:off x="5480050" y="2489200"/>
                <a:ext cx="365125" cy="423863"/>
              </a:xfrm>
              <a:custGeom>
                <a:avLst/>
                <a:gdLst>
                  <a:gd name="T0" fmla="*/ 2147483646 w 831"/>
                  <a:gd name="T1" fmla="*/ 2147483646 h 812"/>
                  <a:gd name="T2" fmla="*/ 2147483646 w 831"/>
                  <a:gd name="T3" fmla="*/ 2147483646 h 812"/>
                  <a:gd name="T4" fmla="*/ 2147483646 w 831"/>
                  <a:gd name="T5" fmla="*/ 2147483646 h 812"/>
                  <a:gd name="T6" fmla="*/ 2147483646 w 831"/>
                  <a:gd name="T7" fmla="*/ 2147483646 h 812"/>
                  <a:gd name="T8" fmla="*/ 2147483646 w 831"/>
                  <a:gd name="T9" fmla="*/ 2147483646 h 812"/>
                  <a:gd name="T10" fmla="*/ 2147483646 w 831"/>
                  <a:gd name="T11" fmla="*/ 2147483646 h 812"/>
                  <a:gd name="T12" fmla="*/ 2147483646 w 831"/>
                  <a:gd name="T13" fmla="*/ 2147483646 h 812"/>
                  <a:gd name="T14" fmla="*/ 2147483646 w 831"/>
                  <a:gd name="T15" fmla="*/ 2147483646 h 812"/>
                  <a:gd name="T16" fmla="*/ 2147483646 w 831"/>
                  <a:gd name="T17" fmla="*/ 2147483646 h 812"/>
                  <a:gd name="T18" fmla="*/ 2147483646 w 831"/>
                  <a:gd name="T19" fmla="*/ 2147483646 h 812"/>
                  <a:gd name="T20" fmla="*/ 2147483646 w 831"/>
                  <a:gd name="T21" fmla="*/ 2147483646 h 812"/>
                  <a:gd name="T22" fmla="*/ 2147483646 w 831"/>
                  <a:gd name="T23" fmla="*/ 2147483646 h 812"/>
                  <a:gd name="T24" fmla="*/ 2147483646 w 831"/>
                  <a:gd name="T25" fmla="*/ 2147483646 h 812"/>
                  <a:gd name="T26" fmla="*/ 2147483646 w 831"/>
                  <a:gd name="T27" fmla="*/ 2147483646 h 812"/>
                  <a:gd name="T28" fmla="*/ 2147483646 w 831"/>
                  <a:gd name="T29" fmla="*/ 2147483646 h 812"/>
                  <a:gd name="T30" fmla="*/ 2147483646 w 831"/>
                  <a:gd name="T31" fmla="*/ 2147483646 h 812"/>
                  <a:gd name="T32" fmla="*/ 2147483646 w 831"/>
                  <a:gd name="T33" fmla="*/ 2147483646 h 812"/>
                  <a:gd name="T34" fmla="*/ 2147483646 w 831"/>
                  <a:gd name="T35" fmla="*/ 2147483646 h 812"/>
                  <a:gd name="T36" fmla="*/ 2147483646 w 831"/>
                  <a:gd name="T37" fmla="*/ 2147483646 h 812"/>
                  <a:gd name="T38" fmla="*/ 2147483646 w 831"/>
                  <a:gd name="T39" fmla="*/ 2147483646 h 812"/>
                  <a:gd name="T40" fmla="*/ 2147483646 w 831"/>
                  <a:gd name="T41" fmla="*/ 2147483646 h 812"/>
                  <a:gd name="T42" fmla="*/ 2147483646 w 831"/>
                  <a:gd name="T43" fmla="*/ 2147483646 h 812"/>
                  <a:gd name="T44" fmla="*/ 2147483646 w 831"/>
                  <a:gd name="T45" fmla="*/ 2147483646 h 812"/>
                  <a:gd name="T46" fmla="*/ 2147483646 w 831"/>
                  <a:gd name="T47" fmla="*/ 2147483646 h 812"/>
                  <a:gd name="T48" fmla="*/ 2147483646 w 831"/>
                  <a:gd name="T49" fmla="*/ 2147483646 h 812"/>
                  <a:gd name="T50" fmla="*/ 2147483646 w 831"/>
                  <a:gd name="T51" fmla="*/ 2147483646 h 812"/>
                  <a:gd name="T52" fmla="*/ 2147483646 w 831"/>
                  <a:gd name="T53" fmla="*/ 2147483646 h 812"/>
                  <a:gd name="T54" fmla="*/ 2147483646 w 831"/>
                  <a:gd name="T55" fmla="*/ 2147483646 h 812"/>
                  <a:gd name="T56" fmla="*/ 2147483646 w 831"/>
                  <a:gd name="T57" fmla="*/ 2147483646 h 812"/>
                  <a:gd name="T58" fmla="*/ 2147483646 w 831"/>
                  <a:gd name="T59" fmla="*/ 2147483646 h 812"/>
                  <a:gd name="T60" fmla="*/ 2147483646 w 831"/>
                  <a:gd name="T61" fmla="*/ 2147483646 h 812"/>
                  <a:gd name="T62" fmla="*/ 2147483646 w 831"/>
                  <a:gd name="T63" fmla="*/ 2147483646 h 812"/>
                  <a:gd name="T64" fmla="*/ 2147483646 w 831"/>
                  <a:gd name="T65" fmla="*/ 2147483646 h 812"/>
                  <a:gd name="T66" fmla="*/ 2147483646 w 831"/>
                  <a:gd name="T67" fmla="*/ 2147483646 h 812"/>
                  <a:gd name="T68" fmla="*/ 2147483646 w 831"/>
                  <a:gd name="T69" fmla="*/ 2147483646 h 812"/>
                  <a:gd name="T70" fmla="*/ 2147483646 w 831"/>
                  <a:gd name="T71" fmla="*/ 2147483646 h 812"/>
                  <a:gd name="T72" fmla="*/ 2147483646 w 831"/>
                  <a:gd name="T73" fmla="*/ 2147483646 h 812"/>
                  <a:gd name="T74" fmla="*/ 2147483646 w 831"/>
                  <a:gd name="T75" fmla="*/ 2147483646 h 812"/>
                  <a:gd name="T76" fmla="*/ 2147483646 w 831"/>
                  <a:gd name="T77" fmla="*/ 2147483646 h 812"/>
                  <a:gd name="T78" fmla="*/ 2147483646 w 831"/>
                  <a:gd name="T79" fmla="*/ 2147483646 h 812"/>
                  <a:gd name="T80" fmla="*/ 2147483646 w 831"/>
                  <a:gd name="T81" fmla="*/ 2147483646 h 812"/>
                  <a:gd name="T82" fmla="*/ 2147483646 w 831"/>
                  <a:gd name="T83" fmla="*/ 2147483646 h 812"/>
                  <a:gd name="T84" fmla="*/ 2147483646 w 831"/>
                  <a:gd name="T85" fmla="*/ 2147483646 h 812"/>
                  <a:gd name="T86" fmla="*/ 2147483646 w 831"/>
                  <a:gd name="T87" fmla="*/ 2147483646 h 812"/>
                  <a:gd name="T88" fmla="*/ 2147483646 w 831"/>
                  <a:gd name="T89" fmla="*/ 2147483646 h 812"/>
                  <a:gd name="T90" fmla="*/ 2147483646 w 831"/>
                  <a:gd name="T91" fmla="*/ 2147483646 h 812"/>
                  <a:gd name="T92" fmla="*/ 2147483646 w 831"/>
                  <a:gd name="T93" fmla="*/ 2147483646 h 812"/>
                  <a:gd name="T94" fmla="*/ 2147483646 w 831"/>
                  <a:gd name="T95" fmla="*/ 2147483646 h 812"/>
                  <a:gd name="T96" fmla="*/ 2147483646 w 831"/>
                  <a:gd name="T97" fmla="*/ 2147483646 h 812"/>
                  <a:gd name="T98" fmla="*/ 2147483646 w 831"/>
                  <a:gd name="T99" fmla="*/ 2147483646 h 812"/>
                  <a:gd name="T100" fmla="*/ 2147483646 w 831"/>
                  <a:gd name="T101" fmla="*/ 2147483646 h 812"/>
                  <a:gd name="T102" fmla="*/ 2147483646 w 831"/>
                  <a:gd name="T103" fmla="*/ 2147483646 h 812"/>
                  <a:gd name="T104" fmla="*/ 2147483646 w 831"/>
                  <a:gd name="T105" fmla="*/ 2147483646 h 812"/>
                  <a:gd name="T106" fmla="*/ 2147483646 w 831"/>
                  <a:gd name="T107" fmla="*/ 2147483646 h 81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831"/>
                  <a:gd name="T163" fmla="*/ 0 h 812"/>
                  <a:gd name="T164" fmla="*/ 831 w 831"/>
                  <a:gd name="T165" fmla="*/ 812 h 812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831" h="812">
                    <a:moveTo>
                      <a:pt x="831" y="98"/>
                    </a:moveTo>
                    <a:lnTo>
                      <a:pt x="817" y="95"/>
                    </a:lnTo>
                    <a:lnTo>
                      <a:pt x="803" y="91"/>
                    </a:lnTo>
                    <a:lnTo>
                      <a:pt x="791" y="87"/>
                    </a:lnTo>
                    <a:lnTo>
                      <a:pt x="779" y="82"/>
                    </a:lnTo>
                    <a:lnTo>
                      <a:pt x="769" y="77"/>
                    </a:lnTo>
                    <a:lnTo>
                      <a:pt x="758" y="71"/>
                    </a:lnTo>
                    <a:lnTo>
                      <a:pt x="749" y="65"/>
                    </a:lnTo>
                    <a:lnTo>
                      <a:pt x="740" y="58"/>
                    </a:lnTo>
                    <a:lnTo>
                      <a:pt x="707" y="29"/>
                    </a:lnTo>
                    <a:lnTo>
                      <a:pt x="679" y="0"/>
                    </a:lnTo>
                    <a:lnTo>
                      <a:pt x="655" y="2"/>
                    </a:lnTo>
                    <a:lnTo>
                      <a:pt x="626" y="4"/>
                    </a:lnTo>
                    <a:lnTo>
                      <a:pt x="594" y="7"/>
                    </a:lnTo>
                    <a:lnTo>
                      <a:pt x="562" y="10"/>
                    </a:lnTo>
                    <a:lnTo>
                      <a:pt x="547" y="13"/>
                    </a:lnTo>
                    <a:lnTo>
                      <a:pt x="533" y="16"/>
                    </a:lnTo>
                    <a:lnTo>
                      <a:pt x="520" y="19"/>
                    </a:lnTo>
                    <a:lnTo>
                      <a:pt x="509" y="24"/>
                    </a:lnTo>
                    <a:lnTo>
                      <a:pt x="499" y="29"/>
                    </a:lnTo>
                    <a:lnTo>
                      <a:pt x="492" y="34"/>
                    </a:lnTo>
                    <a:lnTo>
                      <a:pt x="489" y="37"/>
                    </a:lnTo>
                    <a:lnTo>
                      <a:pt x="487" y="41"/>
                    </a:lnTo>
                    <a:lnTo>
                      <a:pt x="486" y="44"/>
                    </a:lnTo>
                    <a:lnTo>
                      <a:pt x="486" y="49"/>
                    </a:lnTo>
                    <a:lnTo>
                      <a:pt x="486" y="54"/>
                    </a:lnTo>
                    <a:lnTo>
                      <a:pt x="487" y="59"/>
                    </a:lnTo>
                    <a:lnTo>
                      <a:pt x="489" y="63"/>
                    </a:lnTo>
                    <a:lnTo>
                      <a:pt x="491" y="66"/>
                    </a:lnTo>
                    <a:lnTo>
                      <a:pt x="497" y="71"/>
                    </a:lnTo>
                    <a:lnTo>
                      <a:pt x="502" y="76"/>
                    </a:lnTo>
                    <a:lnTo>
                      <a:pt x="509" y="80"/>
                    </a:lnTo>
                    <a:lnTo>
                      <a:pt x="514" y="84"/>
                    </a:lnTo>
                    <a:lnTo>
                      <a:pt x="516" y="87"/>
                    </a:lnTo>
                    <a:lnTo>
                      <a:pt x="517" y="90"/>
                    </a:lnTo>
                    <a:lnTo>
                      <a:pt x="519" y="93"/>
                    </a:lnTo>
                    <a:lnTo>
                      <a:pt x="519" y="98"/>
                    </a:lnTo>
                    <a:lnTo>
                      <a:pt x="519" y="102"/>
                    </a:lnTo>
                    <a:lnTo>
                      <a:pt x="517" y="107"/>
                    </a:lnTo>
                    <a:lnTo>
                      <a:pt x="516" y="111"/>
                    </a:lnTo>
                    <a:lnTo>
                      <a:pt x="514" y="114"/>
                    </a:lnTo>
                    <a:lnTo>
                      <a:pt x="509" y="120"/>
                    </a:lnTo>
                    <a:lnTo>
                      <a:pt x="502" y="127"/>
                    </a:lnTo>
                    <a:lnTo>
                      <a:pt x="497" y="133"/>
                    </a:lnTo>
                    <a:lnTo>
                      <a:pt x="491" y="140"/>
                    </a:lnTo>
                    <a:lnTo>
                      <a:pt x="489" y="144"/>
                    </a:lnTo>
                    <a:lnTo>
                      <a:pt x="487" y="149"/>
                    </a:lnTo>
                    <a:lnTo>
                      <a:pt x="486" y="154"/>
                    </a:lnTo>
                    <a:lnTo>
                      <a:pt x="486" y="159"/>
                    </a:lnTo>
                    <a:lnTo>
                      <a:pt x="480" y="162"/>
                    </a:lnTo>
                    <a:lnTo>
                      <a:pt x="475" y="163"/>
                    </a:lnTo>
                    <a:lnTo>
                      <a:pt x="470" y="166"/>
                    </a:lnTo>
                    <a:lnTo>
                      <a:pt x="466" y="169"/>
                    </a:lnTo>
                    <a:lnTo>
                      <a:pt x="457" y="176"/>
                    </a:lnTo>
                    <a:lnTo>
                      <a:pt x="450" y="184"/>
                    </a:lnTo>
                    <a:lnTo>
                      <a:pt x="444" y="194"/>
                    </a:lnTo>
                    <a:lnTo>
                      <a:pt x="438" y="205"/>
                    </a:lnTo>
                    <a:lnTo>
                      <a:pt x="434" y="217"/>
                    </a:lnTo>
                    <a:lnTo>
                      <a:pt x="430" y="230"/>
                    </a:lnTo>
                    <a:lnTo>
                      <a:pt x="427" y="243"/>
                    </a:lnTo>
                    <a:lnTo>
                      <a:pt x="424" y="256"/>
                    </a:lnTo>
                    <a:lnTo>
                      <a:pt x="423" y="270"/>
                    </a:lnTo>
                    <a:lnTo>
                      <a:pt x="421" y="284"/>
                    </a:lnTo>
                    <a:lnTo>
                      <a:pt x="420" y="309"/>
                    </a:lnTo>
                    <a:lnTo>
                      <a:pt x="420" y="332"/>
                    </a:lnTo>
                    <a:lnTo>
                      <a:pt x="412" y="332"/>
                    </a:lnTo>
                    <a:lnTo>
                      <a:pt x="407" y="330"/>
                    </a:lnTo>
                    <a:lnTo>
                      <a:pt x="401" y="327"/>
                    </a:lnTo>
                    <a:lnTo>
                      <a:pt x="397" y="322"/>
                    </a:lnTo>
                    <a:lnTo>
                      <a:pt x="392" y="319"/>
                    </a:lnTo>
                    <a:lnTo>
                      <a:pt x="388" y="316"/>
                    </a:lnTo>
                    <a:lnTo>
                      <a:pt x="385" y="314"/>
                    </a:lnTo>
                    <a:lnTo>
                      <a:pt x="379" y="313"/>
                    </a:lnTo>
                    <a:lnTo>
                      <a:pt x="375" y="314"/>
                    </a:lnTo>
                    <a:lnTo>
                      <a:pt x="370" y="315"/>
                    </a:lnTo>
                    <a:lnTo>
                      <a:pt x="366" y="317"/>
                    </a:lnTo>
                    <a:lnTo>
                      <a:pt x="362" y="319"/>
                    </a:lnTo>
                    <a:lnTo>
                      <a:pt x="354" y="325"/>
                    </a:lnTo>
                    <a:lnTo>
                      <a:pt x="346" y="332"/>
                    </a:lnTo>
                    <a:lnTo>
                      <a:pt x="338" y="339"/>
                    </a:lnTo>
                    <a:lnTo>
                      <a:pt x="331" y="345"/>
                    </a:lnTo>
                    <a:lnTo>
                      <a:pt x="326" y="347"/>
                    </a:lnTo>
                    <a:lnTo>
                      <a:pt x="322" y="349"/>
                    </a:lnTo>
                    <a:lnTo>
                      <a:pt x="318" y="350"/>
                    </a:lnTo>
                    <a:lnTo>
                      <a:pt x="313" y="351"/>
                    </a:lnTo>
                    <a:lnTo>
                      <a:pt x="308" y="351"/>
                    </a:lnTo>
                    <a:lnTo>
                      <a:pt x="303" y="353"/>
                    </a:lnTo>
                    <a:lnTo>
                      <a:pt x="300" y="356"/>
                    </a:lnTo>
                    <a:lnTo>
                      <a:pt x="297" y="360"/>
                    </a:lnTo>
                    <a:lnTo>
                      <a:pt x="290" y="370"/>
                    </a:lnTo>
                    <a:lnTo>
                      <a:pt x="287" y="383"/>
                    </a:lnTo>
                    <a:lnTo>
                      <a:pt x="284" y="396"/>
                    </a:lnTo>
                    <a:lnTo>
                      <a:pt x="281" y="408"/>
                    </a:lnTo>
                    <a:lnTo>
                      <a:pt x="280" y="418"/>
                    </a:lnTo>
                    <a:lnTo>
                      <a:pt x="280" y="424"/>
                    </a:lnTo>
                    <a:lnTo>
                      <a:pt x="277" y="427"/>
                    </a:lnTo>
                    <a:lnTo>
                      <a:pt x="273" y="429"/>
                    </a:lnTo>
                    <a:lnTo>
                      <a:pt x="265" y="432"/>
                    </a:lnTo>
                    <a:lnTo>
                      <a:pt x="257" y="435"/>
                    </a:lnTo>
                    <a:lnTo>
                      <a:pt x="235" y="442"/>
                    </a:lnTo>
                    <a:lnTo>
                      <a:pt x="211" y="448"/>
                    </a:lnTo>
                    <a:lnTo>
                      <a:pt x="185" y="453"/>
                    </a:lnTo>
                    <a:lnTo>
                      <a:pt x="161" y="458"/>
                    </a:lnTo>
                    <a:lnTo>
                      <a:pt x="141" y="461"/>
                    </a:lnTo>
                    <a:lnTo>
                      <a:pt x="127" y="462"/>
                    </a:lnTo>
                    <a:lnTo>
                      <a:pt x="109" y="461"/>
                    </a:lnTo>
                    <a:lnTo>
                      <a:pt x="91" y="460"/>
                    </a:lnTo>
                    <a:lnTo>
                      <a:pt x="74" y="457"/>
                    </a:lnTo>
                    <a:lnTo>
                      <a:pt x="56" y="455"/>
                    </a:lnTo>
                    <a:lnTo>
                      <a:pt x="26" y="449"/>
                    </a:lnTo>
                    <a:lnTo>
                      <a:pt x="0" y="443"/>
                    </a:lnTo>
                    <a:lnTo>
                      <a:pt x="8" y="455"/>
                    </a:lnTo>
                    <a:lnTo>
                      <a:pt x="19" y="470"/>
                    </a:lnTo>
                    <a:lnTo>
                      <a:pt x="34" y="487"/>
                    </a:lnTo>
                    <a:lnTo>
                      <a:pt x="51" y="505"/>
                    </a:lnTo>
                    <a:lnTo>
                      <a:pt x="60" y="513"/>
                    </a:lnTo>
                    <a:lnTo>
                      <a:pt x="68" y="521"/>
                    </a:lnTo>
                    <a:lnTo>
                      <a:pt x="77" y="528"/>
                    </a:lnTo>
                    <a:lnTo>
                      <a:pt x="87" y="535"/>
                    </a:lnTo>
                    <a:lnTo>
                      <a:pt x="96" y="540"/>
                    </a:lnTo>
                    <a:lnTo>
                      <a:pt x="105" y="544"/>
                    </a:lnTo>
                    <a:lnTo>
                      <a:pt x="112" y="546"/>
                    </a:lnTo>
                    <a:lnTo>
                      <a:pt x="120" y="547"/>
                    </a:lnTo>
                    <a:lnTo>
                      <a:pt x="121" y="561"/>
                    </a:lnTo>
                    <a:lnTo>
                      <a:pt x="123" y="577"/>
                    </a:lnTo>
                    <a:lnTo>
                      <a:pt x="127" y="585"/>
                    </a:lnTo>
                    <a:lnTo>
                      <a:pt x="131" y="591"/>
                    </a:lnTo>
                    <a:lnTo>
                      <a:pt x="134" y="593"/>
                    </a:lnTo>
                    <a:lnTo>
                      <a:pt x="138" y="595"/>
                    </a:lnTo>
                    <a:lnTo>
                      <a:pt x="142" y="596"/>
                    </a:lnTo>
                    <a:lnTo>
                      <a:pt x="147" y="597"/>
                    </a:lnTo>
                    <a:lnTo>
                      <a:pt x="147" y="616"/>
                    </a:lnTo>
                    <a:lnTo>
                      <a:pt x="127" y="629"/>
                    </a:lnTo>
                    <a:lnTo>
                      <a:pt x="107" y="641"/>
                    </a:lnTo>
                    <a:lnTo>
                      <a:pt x="99" y="647"/>
                    </a:lnTo>
                    <a:lnTo>
                      <a:pt x="93" y="654"/>
                    </a:lnTo>
                    <a:lnTo>
                      <a:pt x="90" y="658"/>
                    </a:lnTo>
                    <a:lnTo>
                      <a:pt x="88" y="663"/>
                    </a:lnTo>
                    <a:lnTo>
                      <a:pt x="87" y="667"/>
                    </a:lnTo>
                    <a:lnTo>
                      <a:pt x="87" y="671"/>
                    </a:lnTo>
                    <a:lnTo>
                      <a:pt x="87" y="680"/>
                    </a:lnTo>
                    <a:lnTo>
                      <a:pt x="87" y="689"/>
                    </a:lnTo>
                    <a:lnTo>
                      <a:pt x="87" y="701"/>
                    </a:lnTo>
                    <a:lnTo>
                      <a:pt x="87" y="721"/>
                    </a:lnTo>
                    <a:lnTo>
                      <a:pt x="109" y="720"/>
                    </a:lnTo>
                    <a:lnTo>
                      <a:pt x="132" y="719"/>
                    </a:lnTo>
                    <a:lnTo>
                      <a:pt x="154" y="717"/>
                    </a:lnTo>
                    <a:lnTo>
                      <a:pt x="177" y="714"/>
                    </a:lnTo>
                    <a:lnTo>
                      <a:pt x="199" y="711"/>
                    </a:lnTo>
                    <a:lnTo>
                      <a:pt x="222" y="710"/>
                    </a:lnTo>
                    <a:lnTo>
                      <a:pt x="244" y="708"/>
                    </a:lnTo>
                    <a:lnTo>
                      <a:pt x="266" y="708"/>
                    </a:lnTo>
                    <a:lnTo>
                      <a:pt x="284" y="707"/>
                    </a:lnTo>
                    <a:lnTo>
                      <a:pt x="297" y="705"/>
                    </a:lnTo>
                    <a:lnTo>
                      <a:pt x="302" y="705"/>
                    </a:lnTo>
                    <a:lnTo>
                      <a:pt x="310" y="705"/>
                    </a:lnTo>
                    <a:lnTo>
                      <a:pt x="318" y="706"/>
                    </a:lnTo>
                    <a:lnTo>
                      <a:pt x="326" y="708"/>
                    </a:lnTo>
                    <a:lnTo>
                      <a:pt x="328" y="714"/>
                    </a:lnTo>
                    <a:lnTo>
                      <a:pt x="330" y="721"/>
                    </a:lnTo>
                    <a:lnTo>
                      <a:pt x="333" y="728"/>
                    </a:lnTo>
                    <a:lnTo>
                      <a:pt x="338" y="735"/>
                    </a:lnTo>
                    <a:lnTo>
                      <a:pt x="345" y="742"/>
                    </a:lnTo>
                    <a:lnTo>
                      <a:pt x="352" y="749"/>
                    </a:lnTo>
                    <a:lnTo>
                      <a:pt x="359" y="756"/>
                    </a:lnTo>
                    <a:lnTo>
                      <a:pt x="368" y="762"/>
                    </a:lnTo>
                    <a:lnTo>
                      <a:pt x="378" y="769"/>
                    </a:lnTo>
                    <a:lnTo>
                      <a:pt x="388" y="776"/>
                    </a:lnTo>
                    <a:lnTo>
                      <a:pt x="398" y="781"/>
                    </a:lnTo>
                    <a:lnTo>
                      <a:pt x="408" y="785"/>
                    </a:lnTo>
                    <a:lnTo>
                      <a:pt x="418" y="789"/>
                    </a:lnTo>
                    <a:lnTo>
                      <a:pt x="427" y="792"/>
                    </a:lnTo>
                    <a:lnTo>
                      <a:pt x="437" y="794"/>
                    </a:lnTo>
                    <a:lnTo>
                      <a:pt x="446" y="794"/>
                    </a:lnTo>
                    <a:lnTo>
                      <a:pt x="449" y="803"/>
                    </a:lnTo>
                    <a:lnTo>
                      <a:pt x="453" y="812"/>
                    </a:lnTo>
                    <a:lnTo>
                      <a:pt x="454" y="806"/>
                    </a:lnTo>
                    <a:lnTo>
                      <a:pt x="455" y="800"/>
                    </a:lnTo>
                    <a:lnTo>
                      <a:pt x="457" y="795"/>
                    </a:lnTo>
                    <a:lnTo>
                      <a:pt x="460" y="791"/>
                    </a:lnTo>
                    <a:lnTo>
                      <a:pt x="464" y="787"/>
                    </a:lnTo>
                    <a:lnTo>
                      <a:pt x="467" y="783"/>
                    </a:lnTo>
                    <a:lnTo>
                      <a:pt x="471" y="780"/>
                    </a:lnTo>
                    <a:lnTo>
                      <a:pt x="477" y="778"/>
                    </a:lnTo>
                    <a:lnTo>
                      <a:pt x="487" y="774"/>
                    </a:lnTo>
                    <a:lnTo>
                      <a:pt x="499" y="770"/>
                    </a:lnTo>
                    <a:lnTo>
                      <a:pt x="512" y="768"/>
                    </a:lnTo>
                    <a:lnTo>
                      <a:pt x="525" y="767"/>
                    </a:lnTo>
                    <a:lnTo>
                      <a:pt x="539" y="765"/>
                    </a:lnTo>
                    <a:lnTo>
                      <a:pt x="554" y="764"/>
                    </a:lnTo>
                    <a:lnTo>
                      <a:pt x="567" y="761"/>
                    </a:lnTo>
                    <a:lnTo>
                      <a:pt x="580" y="758"/>
                    </a:lnTo>
                    <a:lnTo>
                      <a:pt x="586" y="756"/>
                    </a:lnTo>
                    <a:lnTo>
                      <a:pt x="591" y="753"/>
                    </a:lnTo>
                    <a:lnTo>
                      <a:pt x="597" y="750"/>
                    </a:lnTo>
                    <a:lnTo>
                      <a:pt x="602" y="747"/>
                    </a:lnTo>
                    <a:lnTo>
                      <a:pt x="606" y="743"/>
                    </a:lnTo>
                    <a:lnTo>
                      <a:pt x="611" y="738"/>
                    </a:lnTo>
                    <a:lnTo>
                      <a:pt x="615" y="733"/>
                    </a:lnTo>
                    <a:lnTo>
                      <a:pt x="618" y="727"/>
                    </a:lnTo>
                    <a:lnTo>
                      <a:pt x="614" y="725"/>
                    </a:lnTo>
                    <a:lnTo>
                      <a:pt x="610" y="722"/>
                    </a:lnTo>
                    <a:lnTo>
                      <a:pt x="604" y="718"/>
                    </a:lnTo>
                    <a:lnTo>
                      <a:pt x="598" y="712"/>
                    </a:lnTo>
                    <a:lnTo>
                      <a:pt x="584" y="700"/>
                    </a:lnTo>
                    <a:lnTo>
                      <a:pt x="571" y="686"/>
                    </a:lnTo>
                    <a:lnTo>
                      <a:pt x="559" y="671"/>
                    </a:lnTo>
                    <a:lnTo>
                      <a:pt x="548" y="655"/>
                    </a:lnTo>
                    <a:lnTo>
                      <a:pt x="545" y="648"/>
                    </a:lnTo>
                    <a:lnTo>
                      <a:pt x="542" y="641"/>
                    </a:lnTo>
                    <a:lnTo>
                      <a:pt x="539" y="634"/>
                    </a:lnTo>
                    <a:lnTo>
                      <a:pt x="538" y="628"/>
                    </a:lnTo>
                    <a:lnTo>
                      <a:pt x="534" y="627"/>
                    </a:lnTo>
                    <a:lnTo>
                      <a:pt x="530" y="626"/>
                    </a:lnTo>
                    <a:lnTo>
                      <a:pt x="526" y="624"/>
                    </a:lnTo>
                    <a:lnTo>
                      <a:pt x="523" y="620"/>
                    </a:lnTo>
                    <a:lnTo>
                      <a:pt x="517" y="613"/>
                    </a:lnTo>
                    <a:lnTo>
                      <a:pt x="512" y="603"/>
                    </a:lnTo>
                    <a:lnTo>
                      <a:pt x="512" y="579"/>
                    </a:lnTo>
                    <a:lnTo>
                      <a:pt x="526" y="578"/>
                    </a:lnTo>
                    <a:lnTo>
                      <a:pt x="539" y="577"/>
                    </a:lnTo>
                    <a:lnTo>
                      <a:pt x="551" y="575"/>
                    </a:lnTo>
                    <a:lnTo>
                      <a:pt x="562" y="571"/>
                    </a:lnTo>
                    <a:lnTo>
                      <a:pt x="572" y="568"/>
                    </a:lnTo>
                    <a:lnTo>
                      <a:pt x="582" y="563"/>
                    </a:lnTo>
                    <a:lnTo>
                      <a:pt x="591" y="558"/>
                    </a:lnTo>
                    <a:lnTo>
                      <a:pt x="600" y="552"/>
                    </a:lnTo>
                    <a:lnTo>
                      <a:pt x="607" y="545"/>
                    </a:lnTo>
                    <a:lnTo>
                      <a:pt x="615" y="538"/>
                    </a:lnTo>
                    <a:lnTo>
                      <a:pt x="622" y="531"/>
                    </a:lnTo>
                    <a:lnTo>
                      <a:pt x="628" y="523"/>
                    </a:lnTo>
                    <a:lnTo>
                      <a:pt x="639" y="507"/>
                    </a:lnTo>
                    <a:lnTo>
                      <a:pt x="650" y="489"/>
                    </a:lnTo>
                    <a:lnTo>
                      <a:pt x="669" y="453"/>
                    </a:lnTo>
                    <a:lnTo>
                      <a:pt x="688" y="417"/>
                    </a:lnTo>
                    <a:lnTo>
                      <a:pt x="699" y="401"/>
                    </a:lnTo>
                    <a:lnTo>
                      <a:pt x="710" y="387"/>
                    </a:lnTo>
                    <a:lnTo>
                      <a:pt x="716" y="379"/>
                    </a:lnTo>
                    <a:lnTo>
                      <a:pt x="723" y="373"/>
                    </a:lnTo>
                    <a:lnTo>
                      <a:pt x="730" y="368"/>
                    </a:lnTo>
                    <a:lnTo>
                      <a:pt x="738" y="363"/>
                    </a:lnTo>
                    <a:lnTo>
                      <a:pt x="732" y="351"/>
                    </a:lnTo>
                    <a:lnTo>
                      <a:pt x="727" y="340"/>
                    </a:lnTo>
                    <a:lnTo>
                      <a:pt x="726" y="335"/>
                    </a:lnTo>
                    <a:lnTo>
                      <a:pt x="725" y="330"/>
                    </a:lnTo>
                    <a:lnTo>
                      <a:pt x="725" y="324"/>
                    </a:lnTo>
                    <a:lnTo>
                      <a:pt x="725" y="319"/>
                    </a:lnTo>
                    <a:lnTo>
                      <a:pt x="726" y="314"/>
                    </a:lnTo>
                    <a:lnTo>
                      <a:pt x="727" y="309"/>
                    </a:lnTo>
                    <a:lnTo>
                      <a:pt x="729" y="305"/>
                    </a:lnTo>
                    <a:lnTo>
                      <a:pt x="733" y="301"/>
                    </a:lnTo>
                    <a:lnTo>
                      <a:pt x="736" y="298"/>
                    </a:lnTo>
                    <a:lnTo>
                      <a:pt x="740" y="295"/>
                    </a:lnTo>
                    <a:lnTo>
                      <a:pt x="746" y="292"/>
                    </a:lnTo>
                    <a:lnTo>
                      <a:pt x="751" y="289"/>
                    </a:lnTo>
                    <a:lnTo>
                      <a:pt x="722" y="262"/>
                    </a:lnTo>
                    <a:lnTo>
                      <a:pt x="700" y="242"/>
                    </a:lnTo>
                    <a:lnTo>
                      <a:pt x="690" y="232"/>
                    </a:lnTo>
                    <a:lnTo>
                      <a:pt x="680" y="221"/>
                    </a:lnTo>
                    <a:lnTo>
                      <a:pt x="670" y="207"/>
                    </a:lnTo>
                    <a:lnTo>
                      <a:pt x="658" y="190"/>
                    </a:lnTo>
                    <a:lnTo>
                      <a:pt x="658" y="147"/>
                    </a:lnTo>
                    <a:lnTo>
                      <a:pt x="701" y="145"/>
                    </a:lnTo>
                    <a:lnTo>
                      <a:pt x="733" y="143"/>
                    </a:lnTo>
                    <a:lnTo>
                      <a:pt x="758" y="140"/>
                    </a:lnTo>
                    <a:lnTo>
                      <a:pt x="778" y="136"/>
                    </a:lnTo>
                    <a:lnTo>
                      <a:pt x="785" y="134"/>
                    </a:lnTo>
                    <a:lnTo>
                      <a:pt x="792" y="131"/>
                    </a:lnTo>
                    <a:lnTo>
                      <a:pt x="799" y="127"/>
                    </a:lnTo>
                    <a:lnTo>
                      <a:pt x="805" y="123"/>
                    </a:lnTo>
                    <a:lnTo>
                      <a:pt x="817" y="113"/>
                    </a:lnTo>
                    <a:lnTo>
                      <a:pt x="831" y="98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40" name="Freeform 262">
                <a:extLst>
                  <a:ext uri="{FF2B5EF4-FFF2-40B4-BE49-F238E27FC236}">
                    <a16:creationId xmlns="" xmlns:a16="http://schemas.microsoft.com/office/drawing/2014/main" id="{22ADEF3A-5DD6-43DF-AA3D-6CDE7E09502E}"/>
                  </a:ext>
                </a:extLst>
              </p:cNvPr>
              <p:cNvSpPr>
                <a:spLocks/>
              </p:cNvSpPr>
              <p:nvPr>
                <p:custDataLst>
                  <p:tags r:id="rId189"/>
                </p:custDataLst>
              </p:nvPr>
            </p:nvSpPr>
            <p:spPr bwMode="auto">
              <a:xfrm>
                <a:off x="6270625" y="2757488"/>
                <a:ext cx="220663" cy="585787"/>
              </a:xfrm>
              <a:custGeom>
                <a:avLst/>
                <a:gdLst>
                  <a:gd name="T0" fmla="*/ 2147483646 w 505"/>
                  <a:gd name="T1" fmla="*/ 2147483646 h 1121"/>
                  <a:gd name="T2" fmla="*/ 2147483646 w 505"/>
                  <a:gd name="T3" fmla="*/ 2147483646 h 1121"/>
                  <a:gd name="T4" fmla="*/ 2147483646 w 505"/>
                  <a:gd name="T5" fmla="*/ 2147483646 h 1121"/>
                  <a:gd name="T6" fmla="*/ 2147483646 w 505"/>
                  <a:gd name="T7" fmla="*/ 2147483646 h 1121"/>
                  <a:gd name="T8" fmla="*/ 2147483646 w 505"/>
                  <a:gd name="T9" fmla="*/ 2147483646 h 1121"/>
                  <a:gd name="T10" fmla="*/ 2147483646 w 505"/>
                  <a:gd name="T11" fmla="*/ 2147483646 h 1121"/>
                  <a:gd name="T12" fmla="*/ 2147483646 w 505"/>
                  <a:gd name="T13" fmla="*/ 2147483646 h 1121"/>
                  <a:gd name="T14" fmla="*/ 2147483646 w 505"/>
                  <a:gd name="T15" fmla="*/ 2147483646 h 1121"/>
                  <a:gd name="T16" fmla="*/ 2147483646 w 505"/>
                  <a:gd name="T17" fmla="*/ 2147483646 h 1121"/>
                  <a:gd name="T18" fmla="*/ 2147483646 w 505"/>
                  <a:gd name="T19" fmla="*/ 2147483646 h 1121"/>
                  <a:gd name="T20" fmla="*/ 2147483646 w 505"/>
                  <a:gd name="T21" fmla="*/ 2147483646 h 1121"/>
                  <a:gd name="T22" fmla="*/ 2147483646 w 505"/>
                  <a:gd name="T23" fmla="*/ 2147483646 h 1121"/>
                  <a:gd name="T24" fmla="*/ 2147483646 w 505"/>
                  <a:gd name="T25" fmla="*/ 2147483646 h 1121"/>
                  <a:gd name="T26" fmla="*/ 2147483646 w 505"/>
                  <a:gd name="T27" fmla="*/ 2147483646 h 1121"/>
                  <a:gd name="T28" fmla="*/ 2147483646 w 505"/>
                  <a:gd name="T29" fmla="*/ 2147483646 h 1121"/>
                  <a:gd name="T30" fmla="*/ 2147483646 w 505"/>
                  <a:gd name="T31" fmla="*/ 2147483646 h 1121"/>
                  <a:gd name="T32" fmla="*/ 2147483646 w 505"/>
                  <a:gd name="T33" fmla="*/ 2147483646 h 1121"/>
                  <a:gd name="T34" fmla="*/ 2147483646 w 505"/>
                  <a:gd name="T35" fmla="*/ 2147483646 h 1121"/>
                  <a:gd name="T36" fmla="*/ 2147483646 w 505"/>
                  <a:gd name="T37" fmla="*/ 2147483646 h 1121"/>
                  <a:gd name="T38" fmla="*/ 2147483646 w 505"/>
                  <a:gd name="T39" fmla="*/ 2147483646 h 1121"/>
                  <a:gd name="T40" fmla="*/ 2147483646 w 505"/>
                  <a:gd name="T41" fmla="*/ 2147483646 h 1121"/>
                  <a:gd name="T42" fmla="*/ 2147483646 w 505"/>
                  <a:gd name="T43" fmla="*/ 2147483646 h 1121"/>
                  <a:gd name="T44" fmla="*/ 2147483646 w 505"/>
                  <a:gd name="T45" fmla="*/ 2147483646 h 1121"/>
                  <a:gd name="T46" fmla="*/ 2147483646 w 505"/>
                  <a:gd name="T47" fmla="*/ 2147483646 h 1121"/>
                  <a:gd name="T48" fmla="*/ 2147483646 w 505"/>
                  <a:gd name="T49" fmla="*/ 2147483646 h 1121"/>
                  <a:gd name="T50" fmla="*/ 2147483646 w 505"/>
                  <a:gd name="T51" fmla="*/ 2147483646 h 1121"/>
                  <a:gd name="T52" fmla="*/ 2147483646 w 505"/>
                  <a:gd name="T53" fmla="*/ 2147483646 h 1121"/>
                  <a:gd name="T54" fmla="*/ 2147483646 w 505"/>
                  <a:gd name="T55" fmla="*/ 2147483646 h 1121"/>
                  <a:gd name="T56" fmla="*/ 2147483646 w 505"/>
                  <a:gd name="T57" fmla="*/ 2147483646 h 1121"/>
                  <a:gd name="T58" fmla="*/ 2147483646 w 505"/>
                  <a:gd name="T59" fmla="*/ 2147483646 h 1121"/>
                  <a:gd name="T60" fmla="*/ 2147483646 w 505"/>
                  <a:gd name="T61" fmla="*/ 2147483646 h 1121"/>
                  <a:gd name="T62" fmla="*/ 2147483646 w 505"/>
                  <a:gd name="T63" fmla="*/ 2147483646 h 1121"/>
                  <a:gd name="T64" fmla="*/ 2147483646 w 505"/>
                  <a:gd name="T65" fmla="*/ 2147483646 h 1121"/>
                  <a:gd name="T66" fmla="*/ 2147483646 w 505"/>
                  <a:gd name="T67" fmla="*/ 2147483646 h 1121"/>
                  <a:gd name="T68" fmla="*/ 2147483646 w 505"/>
                  <a:gd name="T69" fmla="*/ 2147483646 h 1121"/>
                  <a:gd name="T70" fmla="*/ 2147483646 w 505"/>
                  <a:gd name="T71" fmla="*/ 2147483646 h 1121"/>
                  <a:gd name="T72" fmla="*/ 2147483646 w 505"/>
                  <a:gd name="T73" fmla="*/ 2147483646 h 1121"/>
                  <a:gd name="T74" fmla="*/ 2147483646 w 505"/>
                  <a:gd name="T75" fmla="*/ 2147483646 h 1121"/>
                  <a:gd name="T76" fmla="*/ 2147483646 w 505"/>
                  <a:gd name="T77" fmla="*/ 2147483646 h 1121"/>
                  <a:gd name="T78" fmla="*/ 2147483646 w 505"/>
                  <a:gd name="T79" fmla="*/ 2147483646 h 1121"/>
                  <a:gd name="T80" fmla="*/ 2147483646 w 505"/>
                  <a:gd name="T81" fmla="*/ 2147483646 h 1121"/>
                  <a:gd name="T82" fmla="*/ 2147483646 w 505"/>
                  <a:gd name="T83" fmla="*/ 2147483646 h 1121"/>
                  <a:gd name="T84" fmla="*/ 2147483646 w 505"/>
                  <a:gd name="T85" fmla="*/ 2147483646 h 1121"/>
                  <a:gd name="T86" fmla="*/ 2147483646 w 505"/>
                  <a:gd name="T87" fmla="*/ 2147483646 h 1121"/>
                  <a:gd name="T88" fmla="*/ 2147483646 w 505"/>
                  <a:gd name="T89" fmla="*/ 2147483646 h 1121"/>
                  <a:gd name="T90" fmla="*/ 2147483646 w 505"/>
                  <a:gd name="T91" fmla="*/ 2147483646 h 1121"/>
                  <a:gd name="T92" fmla="*/ 2147483646 w 505"/>
                  <a:gd name="T93" fmla="*/ 2147483646 h 1121"/>
                  <a:gd name="T94" fmla="*/ 2147483646 w 505"/>
                  <a:gd name="T95" fmla="*/ 2147483646 h 1121"/>
                  <a:gd name="T96" fmla="*/ 2147483646 w 505"/>
                  <a:gd name="T97" fmla="*/ 2147483646 h 1121"/>
                  <a:gd name="T98" fmla="*/ 2147483646 w 505"/>
                  <a:gd name="T99" fmla="*/ 2147483646 h 1121"/>
                  <a:gd name="T100" fmla="*/ 2147483646 w 505"/>
                  <a:gd name="T101" fmla="*/ 2147483646 h 1121"/>
                  <a:gd name="T102" fmla="*/ 2147483646 w 505"/>
                  <a:gd name="T103" fmla="*/ 2147483646 h 1121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505"/>
                  <a:gd name="T157" fmla="*/ 0 h 1121"/>
                  <a:gd name="T158" fmla="*/ 505 w 505"/>
                  <a:gd name="T159" fmla="*/ 1121 h 1121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505" h="1121">
                    <a:moveTo>
                      <a:pt x="446" y="1121"/>
                    </a:moveTo>
                    <a:lnTo>
                      <a:pt x="445" y="1106"/>
                    </a:lnTo>
                    <a:lnTo>
                      <a:pt x="443" y="1091"/>
                    </a:lnTo>
                    <a:lnTo>
                      <a:pt x="440" y="1079"/>
                    </a:lnTo>
                    <a:lnTo>
                      <a:pt x="438" y="1067"/>
                    </a:lnTo>
                    <a:lnTo>
                      <a:pt x="437" y="1056"/>
                    </a:lnTo>
                    <a:lnTo>
                      <a:pt x="437" y="1045"/>
                    </a:lnTo>
                    <a:lnTo>
                      <a:pt x="438" y="1040"/>
                    </a:lnTo>
                    <a:lnTo>
                      <a:pt x="439" y="1034"/>
                    </a:lnTo>
                    <a:lnTo>
                      <a:pt x="443" y="1028"/>
                    </a:lnTo>
                    <a:lnTo>
                      <a:pt x="446" y="1022"/>
                    </a:lnTo>
                    <a:lnTo>
                      <a:pt x="430" y="1022"/>
                    </a:lnTo>
                    <a:lnTo>
                      <a:pt x="420" y="1022"/>
                    </a:lnTo>
                    <a:lnTo>
                      <a:pt x="411" y="1022"/>
                    </a:lnTo>
                    <a:lnTo>
                      <a:pt x="399" y="1022"/>
                    </a:lnTo>
                    <a:lnTo>
                      <a:pt x="399" y="1001"/>
                    </a:lnTo>
                    <a:lnTo>
                      <a:pt x="399" y="988"/>
                    </a:lnTo>
                    <a:lnTo>
                      <a:pt x="399" y="975"/>
                    </a:lnTo>
                    <a:lnTo>
                      <a:pt x="399" y="961"/>
                    </a:lnTo>
                    <a:lnTo>
                      <a:pt x="405" y="957"/>
                    </a:lnTo>
                    <a:lnTo>
                      <a:pt x="411" y="953"/>
                    </a:lnTo>
                    <a:lnTo>
                      <a:pt x="414" y="949"/>
                    </a:lnTo>
                    <a:lnTo>
                      <a:pt x="416" y="946"/>
                    </a:lnTo>
                    <a:lnTo>
                      <a:pt x="419" y="939"/>
                    </a:lnTo>
                    <a:lnTo>
                      <a:pt x="419" y="931"/>
                    </a:lnTo>
                    <a:lnTo>
                      <a:pt x="419" y="922"/>
                    </a:lnTo>
                    <a:lnTo>
                      <a:pt x="419" y="915"/>
                    </a:lnTo>
                    <a:lnTo>
                      <a:pt x="419" y="908"/>
                    </a:lnTo>
                    <a:lnTo>
                      <a:pt x="419" y="899"/>
                    </a:lnTo>
                    <a:lnTo>
                      <a:pt x="413" y="899"/>
                    </a:lnTo>
                    <a:lnTo>
                      <a:pt x="409" y="899"/>
                    </a:lnTo>
                    <a:lnTo>
                      <a:pt x="404" y="898"/>
                    </a:lnTo>
                    <a:lnTo>
                      <a:pt x="402" y="896"/>
                    </a:lnTo>
                    <a:lnTo>
                      <a:pt x="400" y="895"/>
                    </a:lnTo>
                    <a:lnTo>
                      <a:pt x="398" y="893"/>
                    </a:lnTo>
                    <a:lnTo>
                      <a:pt x="397" y="891"/>
                    </a:lnTo>
                    <a:lnTo>
                      <a:pt x="395" y="889"/>
                    </a:lnTo>
                    <a:lnTo>
                      <a:pt x="394" y="879"/>
                    </a:lnTo>
                    <a:lnTo>
                      <a:pt x="392" y="868"/>
                    </a:lnTo>
                    <a:lnTo>
                      <a:pt x="382" y="838"/>
                    </a:lnTo>
                    <a:lnTo>
                      <a:pt x="371" y="811"/>
                    </a:lnTo>
                    <a:lnTo>
                      <a:pt x="360" y="786"/>
                    </a:lnTo>
                    <a:lnTo>
                      <a:pt x="348" y="764"/>
                    </a:lnTo>
                    <a:lnTo>
                      <a:pt x="336" y="741"/>
                    </a:lnTo>
                    <a:lnTo>
                      <a:pt x="324" y="719"/>
                    </a:lnTo>
                    <a:lnTo>
                      <a:pt x="312" y="695"/>
                    </a:lnTo>
                    <a:lnTo>
                      <a:pt x="300" y="672"/>
                    </a:lnTo>
                    <a:lnTo>
                      <a:pt x="299" y="684"/>
                    </a:lnTo>
                    <a:lnTo>
                      <a:pt x="298" y="694"/>
                    </a:lnTo>
                    <a:lnTo>
                      <a:pt x="296" y="703"/>
                    </a:lnTo>
                    <a:lnTo>
                      <a:pt x="292" y="710"/>
                    </a:lnTo>
                    <a:lnTo>
                      <a:pt x="291" y="713"/>
                    </a:lnTo>
                    <a:lnTo>
                      <a:pt x="288" y="715"/>
                    </a:lnTo>
                    <a:lnTo>
                      <a:pt x="286" y="717"/>
                    </a:lnTo>
                    <a:lnTo>
                      <a:pt x="282" y="718"/>
                    </a:lnTo>
                    <a:lnTo>
                      <a:pt x="276" y="720"/>
                    </a:lnTo>
                    <a:lnTo>
                      <a:pt x="266" y="721"/>
                    </a:lnTo>
                    <a:lnTo>
                      <a:pt x="246" y="751"/>
                    </a:lnTo>
                    <a:lnTo>
                      <a:pt x="238" y="748"/>
                    </a:lnTo>
                    <a:lnTo>
                      <a:pt x="226" y="742"/>
                    </a:lnTo>
                    <a:lnTo>
                      <a:pt x="214" y="736"/>
                    </a:lnTo>
                    <a:lnTo>
                      <a:pt x="207" y="733"/>
                    </a:lnTo>
                    <a:lnTo>
                      <a:pt x="190" y="734"/>
                    </a:lnTo>
                    <a:lnTo>
                      <a:pt x="176" y="735"/>
                    </a:lnTo>
                    <a:lnTo>
                      <a:pt x="169" y="736"/>
                    </a:lnTo>
                    <a:lnTo>
                      <a:pt x="165" y="736"/>
                    </a:lnTo>
                    <a:lnTo>
                      <a:pt x="162" y="735"/>
                    </a:lnTo>
                    <a:lnTo>
                      <a:pt x="159" y="733"/>
                    </a:lnTo>
                    <a:lnTo>
                      <a:pt x="167" y="646"/>
                    </a:lnTo>
                    <a:lnTo>
                      <a:pt x="133" y="567"/>
                    </a:lnTo>
                    <a:lnTo>
                      <a:pt x="122" y="551"/>
                    </a:lnTo>
                    <a:lnTo>
                      <a:pt x="112" y="539"/>
                    </a:lnTo>
                    <a:lnTo>
                      <a:pt x="107" y="533"/>
                    </a:lnTo>
                    <a:lnTo>
                      <a:pt x="103" y="527"/>
                    </a:lnTo>
                    <a:lnTo>
                      <a:pt x="101" y="520"/>
                    </a:lnTo>
                    <a:lnTo>
                      <a:pt x="100" y="511"/>
                    </a:lnTo>
                    <a:lnTo>
                      <a:pt x="85" y="508"/>
                    </a:lnTo>
                    <a:lnTo>
                      <a:pt x="74" y="505"/>
                    </a:lnTo>
                    <a:lnTo>
                      <a:pt x="62" y="504"/>
                    </a:lnTo>
                    <a:lnTo>
                      <a:pt x="51" y="502"/>
                    </a:lnTo>
                    <a:lnTo>
                      <a:pt x="41" y="498"/>
                    </a:lnTo>
                    <a:lnTo>
                      <a:pt x="32" y="493"/>
                    </a:lnTo>
                    <a:lnTo>
                      <a:pt x="23" y="487"/>
                    </a:lnTo>
                    <a:lnTo>
                      <a:pt x="16" y="479"/>
                    </a:lnTo>
                    <a:lnTo>
                      <a:pt x="8" y="471"/>
                    </a:lnTo>
                    <a:lnTo>
                      <a:pt x="0" y="462"/>
                    </a:lnTo>
                    <a:lnTo>
                      <a:pt x="8" y="458"/>
                    </a:lnTo>
                    <a:lnTo>
                      <a:pt x="13" y="454"/>
                    </a:lnTo>
                    <a:lnTo>
                      <a:pt x="19" y="450"/>
                    </a:lnTo>
                    <a:lnTo>
                      <a:pt x="23" y="445"/>
                    </a:lnTo>
                    <a:lnTo>
                      <a:pt x="31" y="435"/>
                    </a:lnTo>
                    <a:lnTo>
                      <a:pt x="38" y="422"/>
                    </a:lnTo>
                    <a:lnTo>
                      <a:pt x="45" y="397"/>
                    </a:lnTo>
                    <a:lnTo>
                      <a:pt x="54" y="369"/>
                    </a:lnTo>
                    <a:lnTo>
                      <a:pt x="58" y="361"/>
                    </a:lnTo>
                    <a:lnTo>
                      <a:pt x="62" y="351"/>
                    </a:lnTo>
                    <a:lnTo>
                      <a:pt x="64" y="340"/>
                    </a:lnTo>
                    <a:lnTo>
                      <a:pt x="65" y="328"/>
                    </a:lnTo>
                    <a:lnTo>
                      <a:pt x="67" y="302"/>
                    </a:lnTo>
                    <a:lnTo>
                      <a:pt x="67" y="277"/>
                    </a:lnTo>
                    <a:lnTo>
                      <a:pt x="67" y="274"/>
                    </a:lnTo>
                    <a:lnTo>
                      <a:pt x="68" y="272"/>
                    </a:lnTo>
                    <a:lnTo>
                      <a:pt x="70" y="269"/>
                    </a:lnTo>
                    <a:lnTo>
                      <a:pt x="73" y="268"/>
                    </a:lnTo>
                    <a:lnTo>
                      <a:pt x="80" y="265"/>
                    </a:lnTo>
                    <a:lnTo>
                      <a:pt x="88" y="264"/>
                    </a:lnTo>
                    <a:lnTo>
                      <a:pt x="96" y="263"/>
                    </a:lnTo>
                    <a:lnTo>
                      <a:pt x="103" y="262"/>
                    </a:lnTo>
                    <a:lnTo>
                      <a:pt x="110" y="261"/>
                    </a:lnTo>
                    <a:lnTo>
                      <a:pt x="113" y="258"/>
                    </a:lnTo>
                    <a:lnTo>
                      <a:pt x="119" y="253"/>
                    </a:lnTo>
                    <a:lnTo>
                      <a:pt x="124" y="247"/>
                    </a:lnTo>
                    <a:lnTo>
                      <a:pt x="129" y="239"/>
                    </a:lnTo>
                    <a:lnTo>
                      <a:pt x="132" y="231"/>
                    </a:lnTo>
                    <a:lnTo>
                      <a:pt x="134" y="222"/>
                    </a:lnTo>
                    <a:lnTo>
                      <a:pt x="136" y="213"/>
                    </a:lnTo>
                    <a:lnTo>
                      <a:pt x="137" y="202"/>
                    </a:lnTo>
                    <a:lnTo>
                      <a:pt x="140" y="192"/>
                    </a:lnTo>
                    <a:lnTo>
                      <a:pt x="141" y="152"/>
                    </a:lnTo>
                    <a:lnTo>
                      <a:pt x="140" y="117"/>
                    </a:lnTo>
                    <a:lnTo>
                      <a:pt x="141" y="114"/>
                    </a:lnTo>
                    <a:lnTo>
                      <a:pt x="143" y="110"/>
                    </a:lnTo>
                    <a:lnTo>
                      <a:pt x="145" y="107"/>
                    </a:lnTo>
                    <a:lnTo>
                      <a:pt x="150" y="104"/>
                    </a:lnTo>
                    <a:lnTo>
                      <a:pt x="159" y="98"/>
                    </a:lnTo>
                    <a:lnTo>
                      <a:pt x="170" y="91"/>
                    </a:lnTo>
                    <a:lnTo>
                      <a:pt x="193" y="83"/>
                    </a:lnTo>
                    <a:lnTo>
                      <a:pt x="207" y="80"/>
                    </a:lnTo>
                    <a:lnTo>
                      <a:pt x="210" y="77"/>
                    </a:lnTo>
                    <a:lnTo>
                      <a:pt x="213" y="74"/>
                    </a:lnTo>
                    <a:lnTo>
                      <a:pt x="217" y="70"/>
                    </a:lnTo>
                    <a:lnTo>
                      <a:pt x="219" y="66"/>
                    </a:lnTo>
                    <a:lnTo>
                      <a:pt x="224" y="56"/>
                    </a:lnTo>
                    <a:lnTo>
                      <a:pt x="227" y="45"/>
                    </a:lnTo>
                    <a:lnTo>
                      <a:pt x="234" y="21"/>
                    </a:lnTo>
                    <a:lnTo>
                      <a:pt x="240" y="0"/>
                    </a:lnTo>
                    <a:lnTo>
                      <a:pt x="251" y="7"/>
                    </a:lnTo>
                    <a:lnTo>
                      <a:pt x="260" y="15"/>
                    </a:lnTo>
                    <a:lnTo>
                      <a:pt x="269" y="23"/>
                    </a:lnTo>
                    <a:lnTo>
                      <a:pt x="277" y="31"/>
                    </a:lnTo>
                    <a:lnTo>
                      <a:pt x="286" y="39"/>
                    </a:lnTo>
                    <a:lnTo>
                      <a:pt x="294" y="44"/>
                    </a:lnTo>
                    <a:lnTo>
                      <a:pt x="300" y="47"/>
                    </a:lnTo>
                    <a:lnTo>
                      <a:pt x="305" y="48"/>
                    </a:lnTo>
                    <a:lnTo>
                      <a:pt x="312" y="49"/>
                    </a:lnTo>
                    <a:lnTo>
                      <a:pt x="320" y="49"/>
                    </a:lnTo>
                    <a:lnTo>
                      <a:pt x="325" y="75"/>
                    </a:lnTo>
                    <a:lnTo>
                      <a:pt x="332" y="99"/>
                    </a:lnTo>
                    <a:lnTo>
                      <a:pt x="335" y="110"/>
                    </a:lnTo>
                    <a:lnTo>
                      <a:pt x="337" y="122"/>
                    </a:lnTo>
                    <a:lnTo>
                      <a:pt x="338" y="134"/>
                    </a:lnTo>
                    <a:lnTo>
                      <a:pt x="339" y="147"/>
                    </a:lnTo>
                    <a:lnTo>
                      <a:pt x="338" y="155"/>
                    </a:lnTo>
                    <a:lnTo>
                      <a:pt x="337" y="161"/>
                    </a:lnTo>
                    <a:lnTo>
                      <a:pt x="335" y="167"/>
                    </a:lnTo>
                    <a:lnTo>
                      <a:pt x="332" y="173"/>
                    </a:lnTo>
                    <a:lnTo>
                      <a:pt x="324" y="183"/>
                    </a:lnTo>
                    <a:lnTo>
                      <a:pt x="316" y="194"/>
                    </a:lnTo>
                    <a:lnTo>
                      <a:pt x="308" y="204"/>
                    </a:lnTo>
                    <a:lnTo>
                      <a:pt x="300" y="216"/>
                    </a:lnTo>
                    <a:lnTo>
                      <a:pt x="297" y="221"/>
                    </a:lnTo>
                    <a:lnTo>
                      <a:pt x="294" y="227"/>
                    </a:lnTo>
                    <a:lnTo>
                      <a:pt x="293" y="233"/>
                    </a:lnTo>
                    <a:lnTo>
                      <a:pt x="292" y="240"/>
                    </a:lnTo>
                    <a:lnTo>
                      <a:pt x="293" y="245"/>
                    </a:lnTo>
                    <a:lnTo>
                      <a:pt x="294" y="250"/>
                    </a:lnTo>
                    <a:lnTo>
                      <a:pt x="297" y="253"/>
                    </a:lnTo>
                    <a:lnTo>
                      <a:pt x="300" y="256"/>
                    </a:lnTo>
                    <a:lnTo>
                      <a:pt x="304" y="258"/>
                    </a:lnTo>
                    <a:lnTo>
                      <a:pt x="309" y="261"/>
                    </a:lnTo>
                    <a:lnTo>
                      <a:pt x="313" y="262"/>
                    </a:lnTo>
                    <a:lnTo>
                      <a:pt x="319" y="264"/>
                    </a:lnTo>
                    <a:lnTo>
                      <a:pt x="330" y="266"/>
                    </a:lnTo>
                    <a:lnTo>
                      <a:pt x="341" y="268"/>
                    </a:lnTo>
                    <a:lnTo>
                      <a:pt x="346" y="270"/>
                    </a:lnTo>
                    <a:lnTo>
                      <a:pt x="350" y="272"/>
                    </a:lnTo>
                    <a:lnTo>
                      <a:pt x="355" y="274"/>
                    </a:lnTo>
                    <a:lnTo>
                      <a:pt x="359" y="277"/>
                    </a:lnTo>
                    <a:lnTo>
                      <a:pt x="366" y="284"/>
                    </a:lnTo>
                    <a:lnTo>
                      <a:pt x="371" y="291"/>
                    </a:lnTo>
                    <a:lnTo>
                      <a:pt x="375" y="298"/>
                    </a:lnTo>
                    <a:lnTo>
                      <a:pt x="378" y="304"/>
                    </a:lnTo>
                    <a:lnTo>
                      <a:pt x="384" y="319"/>
                    </a:lnTo>
                    <a:lnTo>
                      <a:pt x="392" y="333"/>
                    </a:lnTo>
                    <a:lnTo>
                      <a:pt x="398" y="345"/>
                    </a:lnTo>
                    <a:lnTo>
                      <a:pt x="404" y="359"/>
                    </a:lnTo>
                    <a:lnTo>
                      <a:pt x="411" y="374"/>
                    </a:lnTo>
                    <a:lnTo>
                      <a:pt x="420" y="387"/>
                    </a:lnTo>
                    <a:lnTo>
                      <a:pt x="425" y="394"/>
                    </a:lnTo>
                    <a:lnTo>
                      <a:pt x="430" y="400"/>
                    </a:lnTo>
                    <a:lnTo>
                      <a:pt x="436" y="405"/>
                    </a:lnTo>
                    <a:lnTo>
                      <a:pt x="442" y="409"/>
                    </a:lnTo>
                    <a:lnTo>
                      <a:pt x="448" y="413"/>
                    </a:lnTo>
                    <a:lnTo>
                      <a:pt x="456" y="416"/>
                    </a:lnTo>
                    <a:lnTo>
                      <a:pt x="464" y="418"/>
                    </a:lnTo>
                    <a:lnTo>
                      <a:pt x="472" y="418"/>
                    </a:lnTo>
                    <a:lnTo>
                      <a:pt x="477" y="418"/>
                    </a:lnTo>
                    <a:lnTo>
                      <a:pt x="487" y="418"/>
                    </a:lnTo>
                    <a:lnTo>
                      <a:pt x="498" y="418"/>
                    </a:lnTo>
                    <a:lnTo>
                      <a:pt x="505" y="418"/>
                    </a:lnTo>
                    <a:lnTo>
                      <a:pt x="499" y="439"/>
                    </a:lnTo>
                    <a:lnTo>
                      <a:pt x="489" y="460"/>
                    </a:lnTo>
                    <a:lnTo>
                      <a:pt x="483" y="470"/>
                    </a:lnTo>
                    <a:lnTo>
                      <a:pt x="479" y="482"/>
                    </a:lnTo>
                    <a:lnTo>
                      <a:pt x="476" y="494"/>
                    </a:lnTo>
                    <a:lnTo>
                      <a:pt x="472" y="505"/>
                    </a:lnTo>
                    <a:lnTo>
                      <a:pt x="479" y="499"/>
                    </a:lnTo>
                    <a:lnTo>
                      <a:pt x="458" y="503"/>
                    </a:lnTo>
                    <a:lnTo>
                      <a:pt x="437" y="507"/>
                    </a:lnTo>
                    <a:lnTo>
                      <a:pt x="427" y="510"/>
                    </a:lnTo>
                    <a:lnTo>
                      <a:pt x="417" y="512"/>
                    </a:lnTo>
                    <a:lnTo>
                      <a:pt x="408" y="515"/>
                    </a:lnTo>
                    <a:lnTo>
                      <a:pt x="399" y="519"/>
                    </a:lnTo>
                    <a:lnTo>
                      <a:pt x="391" y="523"/>
                    </a:lnTo>
                    <a:lnTo>
                      <a:pt x="383" y="528"/>
                    </a:lnTo>
                    <a:lnTo>
                      <a:pt x="376" y="534"/>
                    </a:lnTo>
                    <a:lnTo>
                      <a:pt x="370" y="543"/>
                    </a:lnTo>
                    <a:lnTo>
                      <a:pt x="366" y="551"/>
                    </a:lnTo>
                    <a:lnTo>
                      <a:pt x="363" y="561"/>
                    </a:lnTo>
                    <a:lnTo>
                      <a:pt x="360" y="572"/>
                    </a:lnTo>
                    <a:lnTo>
                      <a:pt x="359" y="585"/>
                    </a:lnTo>
                    <a:lnTo>
                      <a:pt x="360" y="601"/>
                    </a:lnTo>
                    <a:lnTo>
                      <a:pt x="363" y="614"/>
                    </a:lnTo>
                    <a:lnTo>
                      <a:pt x="366" y="626"/>
                    </a:lnTo>
                    <a:lnTo>
                      <a:pt x="370" y="637"/>
                    </a:lnTo>
                    <a:lnTo>
                      <a:pt x="376" y="647"/>
                    </a:lnTo>
                    <a:lnTo>
                      <a:pt x="382" y="657"/>
                    </a:lnTo>
                    <a:lnTo>
                      <a:pt x="389" y="666"/>
                    </a:lnTo>
                    <a:lnTo>
                      <a:pt x="395" y="675"/>
                    </a:lnTo>
                    <a:lnTo>
                      <a:pt x="402" y="683"/>
                    </a:lnTo>
                    <a:lnTo>
                      <a:pt x="409" y="692"/>
                    </a:lnTo>
                    <a:lnTo>
                      <a:pt x="415" y="701"/>
                    </a:lnTo>
                    <a:lnTo>
                      <a:pt x="421" y="712"/>
                    </a:lnTo>
                    <a:lnTo>
                      <a:pt x="425" y="723"/>
                    </a:lnTo>
                    <a:lnTo>
                      <a:pt x="430" y="735"/>
                    </a:lnTo>
                    <a:lnTo>
                      <a:pt x="432" y="748"/>
                    </a:lnTo>
                    <a:lnTo>
                      <a:pt x="433" y="764"/>
                    </a:lnTo>
                    <a:lnTo>
                      <a:pt x="432" y="769"/>
                    </a:lnTo>
                    <a:lnTo>
                      <a:pt x="431" y="773"/>
                    </a:lnTo>
                    <a:lnTo>
                      <a:pt x="428" y="776"/>
                    </a:lnTo>
                    <a:lnTo>
                      <a:pt x="425" y="780"/>
                    </a:lnTo>
                    <a:lnTo>
                      <a:pt x="423" y="784"/>
                    </a:lnTo>
                    <a:lnTo>
                      <a:pt x="421" y="789"/>
                    </a:lnTo>
                    <a:lnTo>
                      <a:pt x="420" y="794"/>
                    </a:lnTo>
                    <a:lnTo>
                      <a:pt x="419" y="801"/>
                    </a:lnTo>
                    <a:lnTo>
                      <a:pt x="420" y="809"/>
                    </a:lnTo>
                    <a:lnTo>
                      <a:pt x="421" y="818"/>
                    </a:lnTo>
                    <a:lnTo>
                      <a:pt x="423" y="826"/>
                    </a:lnTo>
                    <a:lnTo>
                      <a:pt x="426" y="834"/>
                    </a:lnTo>
                    <a:lnTo>
                      <a:pt x="435" y="851"/>
                    </a:lnTo>
                    <a:lnTo>
                      <a:pt x="445" y="868"/>
                    </a:lnTo>
                    <a:lnTo>
                      <a:pt x="467" y="903"/>
                    </a:lnTo>
                    <a:lnTo>
                      <a:pt x="486" y="937"/>
                    </a:lnTo>
                    <a:lnTo>
                      <a:pt x="486" y="951"/>
                    </a:lnTo>
                    <a:lnTo>
                      <a:pt x="483" y="965"/>
                    </a:lnTo>
                    <a:lnTo>
                      <a:pt x="482" y="980"/>
                    </a:lnTo>
                    <a:lnTo>
                      <a:pt x="479" y="997"/>
                    </a:lnTo>
                    <a:lnTo>
                      <a:pt x="472" y="1027"/>
                    </a:lnTo>
                    <a:lnTo>
                      <a:pt x="466" y="1057"/>
                    </a:lnTo>
                    <a:lnTo>
                      <a:pt x="458" y="1082"/>
                    </a:lnTo>
                    <a:lnTo>
                      <a:pt x="451" y="1103"/>
                    </a:lnTo>
                    <a:lnTo>
                      <a:pt x="447" y="1116"/>
                    </a:lnTo>
                    <a:lnTo>
                      <a:pt x="446" y="1121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41" name="Freeform 263">
                <a:extLst>
                  <a:ext uri="{FF2B5EF4-FFF2-40B4-BE49-F238E27FC236}">
                    <a16:creationId xmlns="" xmlns:a16="http://schemas.microsoft.com/office/drawing/2014/main" id="{B48CAF56-514A-49DB-9308-2E6CF1044CA1}"/>
                  </a:ext>
                </a:extLst>
              </p:cNvPr>
              <p:cNvSpPr>
                <a:spLocks/>
              </p:cNvSpPr>
              <p:nvPr>
                <p:custDataLst>
                  <p:tags r:id="rId190"/>
                </p:custDataLst>
              </p:nvPr>
            </p:nvSpPr>
            <p:spPr bwMode="auto">
              <a:xfrm>
                <a:off x="3594100" y="3267075"/>
                <a:ext cx="80963" cy="58738"/>
              </a:xfrm>
              <a:custGeom>
                <a:avLst/>
                <a:gdLst>
                  <a:gd name="T0" fmla="*/ 2147483646 w 180"/>
                  <a:gd name="T1" fmla="*/ 2147483646 h 112"/>
                  <a:gd name="T2" fmla="*/ 2147483646 w 180"/>
                  <a:gd name="T3" fmla="*/ 2147483646 h 112"/>
                  <a:gd name="T4" fmla="*/ 2147483646 w 180"/>
                  <a:gd name="T5" fmla="*/ 2147483646 h 112"/>
                  <a:gd name="T6" fmla="*/ 2147483646 w 180"/>
                  <a:gd name="T7" fmla="*/ 2147483646 h 112"/>
                  <a:gd name="T8" fmla="*/ 2147483646 w 180"/>
                  <a:gd name="T9" fmla="*/ 2147483646 h 112"/>
                  <a:gd name="T10" fmla="*/ 2147483646 w 180"/>
                  <a:gd name="T11" fmla="*/ 2147483646 h 112"/>
                  <a:gd name="T12" fmla="*/ 2147483646 w 180"/>
                  <a:gd name="T13" fmla="*/ 2147483646 h 112"/>
                  <a:gd name="T14" fmla="*/ 2147483646 w 180"/>
                  <a:gd name="T15" fmla="*/ 2147483646 h 112"/>
                  <a:gd name="T16" fmla="*/ 2147483646 w 180"/>
                  <a:gd name="T17" fmla="*/ 2147483646 h 112"/>
                  <a:gd name="T18" fmla="*/ 2147483646 w 180"/>
                  <a:gd name="T19" fmla="*/ 2147483646 h 112"/>
                  <a:gd name="T20" fmla="*/ 2147483646 w 180"/>
                  <a:gd name="T21" fmla="*/ 2147483646 h 112"/>
                  <a:gd name="T22" fmla="*/ 2147483646 w 180"/>
                  <a:gd name="T23" fmla="*/ 2147483646 h 112"/>
                  <a:gd name="T24" fmla="*/ 2147483646 w 180"/>
                  <a:gd name="T25" fmla="*/ 2147483646 h 112"/>
                  <a:gd name="T26" fmla="*/ 2147483646 w 180"/>
                  <a:gd name="T27" fmla="*/ 2147483646 h 112"/>
                  <a:gd name="T28" fmla="*/ 2147483646 w 180"/>
                  <a:gd name="T29" fmla="*/ 2147483646 h 112"/>
                  <a:gd name="T30" fmla="*/ 2147483646 w 180"/>
                  <a:gd name="T31" fmla="*/ 2147483646 h 112"/>
                  <a:gd name="T32" fmla="*/ 2147483646 w 180"/>
                  <a:gd name="T33" fmla="*/ 2147483646 h 112"/>
                  <a:gd name="T34" fmla="*/ 2147483646 w 180"/>
                  <a:gd name="T35" fmla="*/ 2147483646 h 112"/>
                  <a:gd name="T36" fmla="*/ 2147483646 w 180"/>
                  <a:gd name="T37" fmla="*/ 2147483646 h 112"/>
                  <a:gd name="T38" fmla="*/ 2147483646 w 180"/>
                  <a:gd name="T39" fmla="*/ 2147483646 h 112"/>
                  <a:gd name="T40" fmla="*/ 2147483646 w 180"/>
                  <a:gd name="T41" fmla="*/ 2147483646 h 112"/>
                  <a:gd name="T42" fmla="*/ 2147483646 w 180"/>
                  <a:gd name="T43" fmla="*/ 2147483646 h 112"/>
                  <a:gd name="T44" fmla="*/ 0 w 180"/>
                  <a:gd name="T45" fmla="*/ 2147483646 h 112"/>
                  <a:gd name="T46" fmla="*/ 2147483646 w 180"/>
                  <a:gd name="T47" fmla="*/ 2147483646 h 112"/>
                  <a:gd name="T48" fmla="*/ 2147483646 w 180"/>
                  <a:gd name="T49" fmla="*/ 2147483646 h 112"/>
                  <a:gd name="T50" fmla="*/ 2147483646 w 180"/>
                  <a:gd name="T51" fmla="*/ 2147483646 h 112"/>
                  <a:gd name="T52" fmla="*/ 2147483646 w 180"/>
                  <a:gd name="T53" fmla="*/ 2147483646 h 112"/>
                  <a:gd name="T54" fmla="*/ 2147483646 w 180"/>
                  <a:gd name="T55" fmla="*/ 2147483646 h 112"/>
                  <a:gd name="T56" fmla="*/ 2147483646 w 180"/>
                  <a:gd name="T57" fmla="*/ 0 h 112"/>
                  <a:gd name="T58" fmla="*/ 2147483646 w 180"/>
                  <a:gd name="T59" fmla="*/ 2147483646 h 112"/>
                  <a:gd name="T60" fmla="*/ 2147483646 w 180"/>
                  <a:gd name="T61" fmla="*/ 2147483646 h 112"/>
                  <a:gd name="T62" fmla="*/ 2147483646 w 180"/>
                  <a:gd name="T63" fmla="*/ 2147483646 h 112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80"/>
                  <a:gd name="T97" fmla="*/ 0 h 112"/>
                  <a:gd name="T98" fmla="*/ 180 w 180"/>
                  <a:gd name="T99" fmla="*/ 112 h 112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80" h="112">
                    <a:moveTo>
                      <a:pt x="180" y="7"/>
                    </a:moveTo>
                    <a:lnTo>
                      <a:pt x="171" y="24"/>
                    </a:lnTo>
                    <a:lnTo>
                      <a:pt x="163" y="39"/>
                    </a:lnTo>
                    <a:lnTo>
                      <a:pt x="152" y="53"/>
                    </a:lnTo>
                    <a:lnTo>
                      <a:pt x="141" y="66"/>
                    </a:lnTo>
                    <a:lnTo>
                      <a:pt x="129" y="80"/>
                    </a:lnTo>
                    <a:lnTo>
                      <a:pt x="115" y="92"/>
                    </a:lnTo>
                    <a:lnTo>
                      <a:pt x="101" y="102"/>
                    </a:lnTo>
                    <a:lnTo>
                      <a:pt x="87" y="112"/>
                    </a:lnTo>
                    <a:lnTo>
                      <a:pt x="82" y="107"/>
                    </a:lnTo>
                    <a:lnTo>
                      <a:pt x="79" y="101"/>
                    </a:lnTo>
                    <a:lnTo>
                      <a:pt x="76" y="95"/>
                    </a:lnTo>
                    <a:lnTo>
                      <a:pt x="74" y="88"/>
                    </a:lnTo>
                    <a:lnTo>
                      <a:pt x="70" y="81"/>
                    </a:lnTo>
                    <a:lnTo>
                      <a:pt x="68" y="74"/>
                    </a:lnTo>
                    <a:lnTo>
                      <a:pt x="65" y="69"/>
                    </a:lnTo>
                    <a:lnTo>
                      <a:pt x="60" y="63"/>
                    </a:lnTo>
                    <a:lnTo>
                      <a:pt x="45" y="48"/>
                    </a:lnTo>
                    <a:lnTo>
                      <a:pt x="36" y="38"/>
                    </a:lnTo>
                    <a:lnTo>
                      <a:pt x="30" y="33"/>
                    </a:lnTo>
                    <a:lnTo>
                      <a:pt x="25" y="31"/>
                    </a:lnTo>
                    <a:lnTo>
                      <a:pt x="18" y="30"/>
                    </a:lnTo>
                    <a:lnTo>
                      <a:pt x="0" y="26"/>
                    </a:lnTo>
                    <a:lnTo>
                      <a:pt x="26" y="14"/>
                    </a:lnTo>
                    <a:lnTo>
                      <a:pt x="41" y="9"/>
                    </a:lnTo>
                    <a:lnTo>
                      <a:pt x="56" y="5"/>
                    </a:lnTo>
                    <a:lnTo>
                      <a:pt x="74" y="3"/>
                    </a:lnTo>
                    <a:lnTo>
                      <a:pt x="93" y="1"/>
                    </a:lnTo>
                    <a:lnTo>
                      <a:pt x="114" y="0"/>
                    </a:lnTo>
                    <a:lnTo>
                      <a:pt x="135" y="1"/>
                    </a:lnTo>
                    <a:lnTo>
                      <a:pt x="157" y="3"/>
                    </a:lnTo>
                    <a:lnTo>
                      <a:pt x="180" y="7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42" name="Freeform 264">
                <a:extLst>
                  <a:ext uri="{FF2B5EF4-FFF2-40B4-BE49-F238E27FC236}">
                    <a16:creationId xmlns="" xmlns:a16="http://schemas.microsoft.com/office/drawing/2014/main" id="{C3740AC8-0F79-40CE-A845-76D7BC3F6701}"/>
                  </a:ext>
                </a:extLst>
              </p:cNvPr>
              <p:cNvSpPr>
                <a:spLocks/>
              </p:cNvSpPr>
              <p:nvPr>
                <p:custDataLst>
                  <p:tags r:id="rId191"/>
                </p:custDataLst>
              </p:nvPr>
            </p:nvSpPr>
            <p:spPr bwMode="auto">
              <a:xfrm>
                <a:off x="3678238" y="3349625"/>
                <a:ext cx="74612" cy="100013"/>
              </a:xfrm>
              <a:custGeom>
                <a:avLst/>
                <a:gdLst>
                  <a:gd name="T0" fmla="*/ 0 w 173"/>
                  <a:gd name="T1" fmla="*/ 2147483646 h 192"/>
                  <a:gd name="T2" fmla="*/ 2147483646 w 173"/>
                  <a:gd name="T3" fmla="*/ 2147483646 h 192"/>
                  <a:gd name="T4" fmla="*/ 2147483646 w 173"/>
                  <a:gd name="T5" fmla="*/ 2147483646 h 192"/>
                  <a:gd name="T6" fmla="*/ 2147483646 w 173"/>
                  <a:gd name="T7" fmla="*/ 2147483646 h 192"/>
                  <a:gd name="T8" fmla="*/ 2147483646 w 173"/>
                  <a:gd name="T9" fmla="*/ 2147483646 h 192"/>
                  <a:gd name="T10" fmla="*/ 2147483646 w 173"/>
                  <a:gd name="T11" fmla="*/ 2147483646 h 192"/>
                  <a:gd name="T12" fmla="*/ 2147483646 w 173"/>
                  <a:gd name="T13" fmla="*/ 2147483646 h 192"/>
                  <a:gd name="T14" fmla="*/ 2147483646 w 173"/>
                  <a:gd name="T15" fmla="*/ 2147483646 h 192"/>
                  <a:gd name="T16" fmla="*/ 2147483646 w 173"/>
                  <a:gd name="T17" fmla="*/ 2147483646 h 192"/>
                  <a:gd name="T18" fmla="*/ 2147483646 w 173"/>
                  <a:gd name="T19" fmla="*/ 2147483646 h 192"/>
                  <a:gd name="T20" fmla="*/ 2147483646 w 173"/>
                  <a:gd name="T21" fmla="*/ 0 h 192"/>
                  <a:gd name="T22" fmla="*/ 2147483646 w 173"/>
                  <a:gd name="T23" fmla="*/ 2147483646 h 192"/>
                  <a:gd name="T24" fmla="*/ 2147483646 w 173"/>
                  <a:gd name="T25" fmla="*/ 2147483646 h 192"/>
                  <a:gd name="T26" fmla="*/ 2147483646 w 173"/>
                  <a:gd name="T27" fmla="*/ 2147483646 h 192"/>
                  <a:gd name="T28" fmla="*/ 2147483646 w 173"/>
                  <a:gd name="T29" fmla="*/ 2147483646 h 192"/>
                  <a:gd name="T30" fmla="*/ 2147483646 w 173"/>
                  <a:gd name="T31" fmla="*/ 2147483646 h 192"/>
                  <a:gd name="T32" fmla="*/ 2147483646 w 173"/>
                  <a:gd name="T33" fmla="*/ 2147483646 h 192"/>
                  <a:gd name="T34" fmla="*/ 2147483646 w 173"/>
                  <a:gd name="T35" fmla="*/ 2147483646 h 192"/>
                  <a:gd name="T36" fmla="*/ 2147483646 w 173"/>
                  <a:gd name="T37" fmla="*/ 2147483646 h 192"/>
                  <a:gd name="T38" fmla="*/ 2147483646 w 173"/>
                  <a:gd name="T39" fmla="*/ 2147483646 h 192"/>
                  <a:gd name="T40" fmla="*/ 2147483646 w 173"/>
                  <a:gd name="T41" fmla="*/ 2147483646 h 192"/>
                  <a:gd name="T42" fmla="*/ 2147483646 w 173"/>
                  <a:gd name="T43" fmla="*/ 2147483646 h 192"/>
                  <a:gd name="T44" fmla="*/ 2147483646 w 173"/>
                  <a:gd name="T45" fmla="*/ 2147483646 h 192"/>
                  <a:gd name="T46" fmla="*/ 2147483646 w 173"/>
                  <a:gd name="T47" fmla="*/ 2147483646 h 192"/>
                  <a:gd name="T48" fmla="*/ 2147483646 w 173"/>
                  <a:gd name="T49" fmla="*/ 2147483646 h 192"/>
                  <a:gd name="T50" fmla="*/ 2147483646 w 173"/>
                  <a:gd name="T51" fmla="*/ 2147483646 h 192"/>
                  <a:gd name="T52" fmla="*/ 2147483646 w 173"/>
                  <a:gd name="T53" fmla="*/ 2147483646 h 192"/>
                  <a:gd name="T54" fmla="*/ 2147483646 w 173"/>
                  <a:gd name="T55" fmla="*/ 2147483646 h 192"/>
                  <a:gd name="T56" fmla="*/ 2147483646 w 173"/>
                  <a:gd name="T57" fmla="*/ 2147483646 h 192"/>
                  <a:gd name="T58" fmla="*/ 2147483646 w 173"/>
                  <a:gd name="T59" fmla="*/ 2147483646 h 192"/>
                  <a:gd name="T60" fmla="*/ 2147483646 w 173"/>
                  <a:gd name="T61" fmla="*/ 2147483646 h 192"/>
                  <a:gd name="T62" fmla="*/ 2147483646 w 173"/>
                  <a:gd name="T63" fmla="*/ 2147483646 h 192"/>
                  <a:gd name="T64" fmla="*/ 2147483646 w 173"/>
                  <a:gd name="T65" fmla="*/ 2147483646 h 192"/>
                  <a:gd name="T66" fmla="*/ 2147483646 w 173"/>
                  <a:gd name="T67" fmla="*/ 2147483646 h 192"/>
                  <a:gd name="T68" fmla="*/ 2147483646 w 173"/>
                  <a:gd name="T69" fmla="*/ 2147483646 h 192"/>
                  <a:gd name="T70" fmla="*/ 2147483646 w 173"/>
                  <a:gd name="T71" fmla="*/ 2147483646 h 192"/>
                  <a:gd name="T72" fmla="*/ 2147483646 w 173"/>
                  <a:gd name="T73" fmla="*/ 2147483646 h 192"/>
                  <a:gd name="T74" fmla="*/ 2147483646 w 173"/>
                  <a:gd name="T75" fmla="*/ 2147483646 h 192"/>
                  <a:gd name="T76" fmla="*/ 2147483646 w 173"/>
                  <a:gd name="T77" fmla="*/ 2147483646 h 192"/>
                  <a:gd name="T78" fmla="*/ 2147483646 w 173"/>
                  <a:gd name="T79" fmla="*/ 2147483646 h 192"/>
                  <a:gd name="T80" fmla="*/ 2147483646 w 173"/>
                  <a:gd name="T81" fmla="*/ 2147483646 h 192"/>
                  <a:gd name="T82" fmla="*/ 2147483646 w 173"/>
                  <a:gd name="T83" fmla="*/ 2147483646 h 192"/>
                  <a:gd name="T84" fmla="*/ 0 w 173"/>
                  <a:gd name="T85" fmla="*/ 2147483646 h 19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73"/>
                  <a:gd name="T130" fmla="*/ 0 h 192"/>
                  <a:gd name="T131" fmla="*/ 173 w 173"/>
                  <a:gd name="T132" fmla="*/ 192 h 19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73" h="192">
                    <a:moveTo>
                      <a:pt x="0" y="68"/>
                    </a:moveTo>
                    <a:lnTo>
                      <a:pt x="27" y="42"/>
                    </a:lnTo>
                    <a:lnTo>
                      <a:pt x="51" y="21"/>
                    </a:lnTo>
                    <a:lnTo>
                      <a:pt x="56" y="16"/>
                    </a:lnTo>
                    <a:lnTo>
                      <a:pt x="63" y="12"/>
                    </a:lnTo>
                    <a:lnTo>
                      <a:pt x="70" y="8"/>
                    </a:lnTo>
                    <a:lnTo>
                      <a:pt x="76" y="6"/>
                    </a:lnTo>
                    <a:lnTo>
                      <a:pt x="83" y="3"/>
                    </a:lnTo>
                    <a:lnTo>
                      <a:pt x="90" y="2"/>
                    </a:lnTo>
                    <a:lnTo>
                      <a:pt x="98" y="1"/>
                    </a:lnTo>
                    <a:lnTo>
                      <a:pt x="107" y="0"/>
                    </a:lnTo>
                    <a:lnTo>
                      <a:pt x="116" y="1"/>
                    </a:lnTo>
                    <a:lnTo>
                      <a:pt x="124" y="2"/>
                    </a:lnTo>
                    <a:lnTo>
                      <a:pt x="132" y="5"/>
                    </a:lnTo>
                    <a:lnTo>
                      <a:pt x="139" y="8"/>
                    </a:lnTo>
                    <a:lnTo>
                      <a:pt x="145" y="13"/>
                    </a:lnTo>
                    <a:lnTo>
                      <a:pt x="151" y="19"/>
                    </a:lnTo>
                    <a:lnTo>
                      <a:pt x="155" y="24"/>
                    </a:lnTo>
                    <a:lnTo>
                      <a:pt x="160" y="30"/>
                    </a:lnTo>
                    <a:lnTo>
                      <a:pt x="163" y="37"/>
                    </a:lnTo>
                    <a:lnTo>
                      <a:pt x="166" y="43"/>
                    </a:lnTo>
                    <a:lnTo>
                      <a:pt x="168" y="50"/>
                    </a:lnTo>
                    <a:lnTo>
                      <a:pt x="169" y="57"/>
                    </a:lnTo>
                    <a:lnTo>
                      <a:pt x="172" y="72"/>
                    </a:lnTo>
                    <a:lnTo>
                      <a:pt x="173" y="87"/>
                    </a:lnTo>
                    <a:lnTo>
                      <a:pt x="157" y="114"/>
                    </a:lnTo>
                    <a:lnTo>
                      <a:pt x="146" y="137"/>
                    </a:lnTo>
                    <a:lnTo>
                      <a:pt x="139" y="148"/>
                    </a:lnTo>
                    <a:lnTo>
                      <a:pt x="130" y="160"/>
                    </a:lnTo>
                    <a:lnTo>
                      <a:pt x="117" y="174"/>
                    </a:lnTo>
                    <a:lnTo>
                      <a:pt x="99" y="192"/>
                    </a:lnTo>
                    <a:lnTo>
                      <a:pt x="86" y="183"/>
                    </a:lnTo>
                    <a:lnTo>
                      <a:pt x="74" y="176"/>
                    </a:lnTo>
                    <a:lnTo>
                      <a:pt x="63" y="169"/>
                    </a:lnTo>
                    <a:lnTo>
                      <a:pt x="54" y="163"/>
                    </a:lnTo>
                    <a:lnTo>
                      <a:pt x="46" y="156"/>
                    </a:lnTo>
                    <a:lnTo>
                      <a:pt x="40" y="150"/>
                    </a:lnTo>
                    <a:lnTo>
                      <a:pt x="34" y="144"/>
                    </a:lnTo>
                    <a:lnTo>
                      <a:pt x="30" y="137"/>
                    </a:lnTo>
                    <a:lnTo>
                      <a:pt x="22" y="123"/>
                    </a:lnTo>
                    <a:lnTo>
                      <a:pt x="16" y="107"/>
                    </a:lnTo>
                    <a:lnTo>
                      <a:pt x="9" y="90"/>
                    </a:lnTo>
                    <a:lnTo>
                      <a:pt x="0" y="68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43" name="Freeform 265">
                <a:extLst>
                  <a:ext uri="{FF2B5EF4-FFF2-40B4-BE49-F238E27FC236}">
                    <a16:creationId xmlns="" xmlns:a16="http://schemas.microsoft.com/office/drawing/2014/main" id="{97001E76-2F96-4B7C-856C-27C49F5CFB01}"/>
                  </a:ext>
                </a:extLst>
              </p:cNvPr>
              <p:cNvSpPr>
                <a:spLocks/>
              </p:cNvSpPr>
              <p:nvPr>
                <p:custDataLst>
                  <p:tags r:id="rId192"/>
                </p:custDataLst>
              </p:nvPr>
            </p:nvSpPr>
            <p:spPr bwMode="auto">
              <a:xfrm>
                <a:off x="3721100" y="3400425"/>
                <a:ext cx="104775" cy="131763"/>
              </a:xfrm>
              <a:custGeom>
                <a:avLst/>
                <a:gdLst>
                  <a:gd name="T0" fmla="*/ 2147483646 w 233"/>
                  <a:gd name="T1" fmla="*/ 0 h 252"/>
                  <a:gd name="T2" fmla="*/ 2147483646 w 233"/>
                  <a:gd name="T3" fmla="*/ 2147483646 h 252"/>
                  <a:gd name="T4" fmla="*/ 2147483646 w 233"/>
                  <a:gd name="T5" fmla="*/ 2147483646 h 252"/>
                  <a:gd name="T6" fmla="*/ 2147483646 w 233"/>
                  <a:gd name="T7" fmla="*/ 2147483646 h 252"/>
                  <a:gd name="T8" fmla="*/ 2147483646 w 233"/>
                  <a:gd name="T9" fmla="*/ 2147483646 h 252"/>
                  <a:gd name="T10" fmla="*/ 2147483646 w 233"/>
                  <a:gd name="T11" fmla="*/ 2147483646 h 252"/>
                  <a:gd name="T12" fmla="*/ 2147483646 w 233"/>
                  <a:gd name="T13" fmla="*/ 0 h 252"/>
                  <a:gd name="T14" fmla="*/ 2147483646 w 233"/>
                  <a:gd name="T15" fmla="*/ 2147483646 h 252"/>
                  <a:gd name="T16" fmla="*/ 2147483646 w 233"/>
                  <a:gd name="T17" fmla="*/ 2147483646 h 252"/>
                  <a:gd name="T18" fmla="*/ 2147483646 w 233"/>
                  <a:gd name="T19" fmla="*/ 2147483646 h 252"/>
                  <a:gd name="T20" fmla="*/ 2147483646 w 233"/>
                  <a:gd name="T21" fmla="*/ 2147483646 h 252"/>
                  <a:gd name="T22" fmla="*/ 2147483646 w 233"/>
                  <a:gd name="T23" fmla="*/ 2147483646 h 252"/>
                  <a:gd name="T24" fmla="*/ 2147483646 w 233"/>
                  <a:gd name="T25" fmla="*/ 2147483646 h 252"/>
                  <a:gd name="T26" fmla="*/ 2147483646 w 233"/>
                  <a:gd name="T27" fmla="*/ 2147483646 h 252"/>
                  <a:gd name="T28" fmla="*/ 2147483646 w 233"/>
                  <a:gd name="T29" fmla="*/ 2147483646 h 252"/>
                  <a:gd name="T30" fmla="*/ 2147483646 w 233"/>
                  <a:gd name="T31" fmla="*/ 2147483646 h 252"/>
                  <a:gd name="T32" fmla="*/ 2147483646 w 233"/>
                  <a:gd name="T33" fmla="*/ 2147483646 h 252"/>
                  <a:gd name="T34" fmla="*/ 2147483646 w 233"/>
                  <a:gd name="T35" fmla="*/ 2147483646 h 252"/>
                  <a:gd name="T36" fmla="*/ 2147483646 w 233"/>
                  <a:gd name="T37" fmla="*/ 2147483646 h 252"/>
                  <a:gd name="T38" fmla="*/ 2147483646 w 233"/>
                  <a:gd name="T39" fmla="*/ 2147483646 h 252"/>
                  <a:gd name="T40" fmla="*/ 2147483646 w 233"/>
                  <a:gd name="T41" fmla="*/ 2147483646 h 252"/>
                  <a:gd name="T42" fmla="*/ 2147483646 w 233"/>
                  <a:gd name="T43" fmla="*/ 2147483646 h 252"/>
                  <a:gd name="T44" fmla="*/ 2147483646 w 233"/>
                  <a:gd name="T45" fmla="*/ 2147483646 h 252"/>
                  <a:gd name="T46" fmla="*/ 2147483646 w 233"/>
                  <a:gd name="T47" fmla="*/ 2147483646 h 252"/>
                  <a:gd name="T48" fmla="*/ 2147483646 w 233"/>
                  <a:gd name="T49" fmla="*/ 2147483646 h 252"/>
                  <a:gd name="T50" fmla="*/ 2147483646 w 233"/>
                  <a:gd name="T51" fmla="*/ 2147483646 h 252"/>
                  <a:gd name="T52" fmla="*/ 2147483646 w 233"/>
                  <a:gd name="T53" fmla="*/ 2147483646 h 252"/>
                  <a:gd name="T54" fmla="*/ 2147483646 w 233"/>
                  <a:gd name="T55" fmla="*/ 2147483646 h 252"/>
                  <a:gd name="T56" fmla="*/ 2147483646 w 233"/>
                  <a:gd name="T57" fmla="*/ 2147483646 h 252"/>
                  <a:gd name="T58" fmla="*/ 2147483646 w 233"/>
                  <a:gd name="T59" fmla="*/ 2147483646 h 252"/>
                  <a:gd name="T60" fmla="*/ 2147483646 w 233"/>
                  <a:gd name="T61" fmla="*/ 2147483646 h 252"/>
                  <a:gd name="T62" fmla="*/ 2147483646 w 233"/>
                  <a:gd name="T63" fmla="*/ 2147483646 h 252"/>
                  <a:gd name="T64" fmla="*/ 2147483646 w 233"/>
                  <a:gd name="T65" fmla="*/ 2147483646 h 252"/>
                  <a:gd name="T66" fmla="*/ 2147483646 w 233"/>
                  <a:gd name="T67" fmla="*/ 2147483646 h 252"/>
                  <a:gd name="T68" fmla="*/ 2147483646 w 233"/>
                  <a:gd name="T69" fmla="*/ 2147483646 h 252"/>
                  <a:gd name="T70" fmla="*/ 2147483646 w 233"/>
                  <a:gd name="T71" fmla="*/ 2147483646 h 252"/>
                  <a:gd name="T72" fmla="*/ 2147483646 w 233"/>
                  <a:gd name="T73" fmla="*/ 2147483646 h 252"/>
                  <a:gd name="T74" fmla="*/ 2147483646 w 233"/>
                  <a:gd name="T75" fmla="*/ 2147483646 h 252"/>
                  <a:gd name="T76" fmla="*/ 2147483646 w 233"/>
                  <a:gd name="T77" fmla="*/ 2147483646 h 252"/>
                  <a:gd name="T78" fmla="*/ 2147483646 w 233"/>
                  <a:gd name="T79" fmla="*/ 2147483646 h 252"/>
                  <a:gd name="T80" fmla="*/ 2147483646 w 233"/>
                  <a:gd name="T81" fmla="*/ 2147483646 h 252"/>
                  <a:gd name="T82" fmla="*/ 2147483646 w 233"/>
                  <a:gd name="T83" fmla="*/ 2147483646 h 252"/>
                  <a:gd name="T84" fmla="*/ 2147483646 w 233"/>
                  <a:gd name="T85" fmla="*/ 2147483646 h 252"/>
                  <a:gd name="T86" fmla="*/ 2147483646 w 233"/>
                  <a:gd name="T87" fmla="*/ 2147483646 h 252"/>
                  <a:gd name="T88" fmla="*/ 2147483646 w 233"/>
                  <a:gd name="T89" fmla="*/ 2147483646 h 252"/>
                  <a:gd name="T90" fmla="*/ 2147483646 w 233"/>
                  <a:gd name="T91" fmla="*/ 2147483646 h 252"/>
                  <a:gd name="T92" fmla="*/ 2147483646 w 233"/>
                  <a:gd name="T93" fmla="*/ 2147483646 h 252"/>
                  <a:gd name="T94" fmla="*/ 0 w 233"/>
                  <a:gd name="T95" fmla="*/ 2147483646 h 252"/>
                  <a:gd name="T96" fmla="*/ 2147483646 w 233"/>
                  <a:gd name="T97" fmla="*/ 2147483646 h 252"/>
                  <a:gd name="T98" fmla="*/ 2147483646 w 233"/>
                  <a:gd name="T99" fmla="*/ 2147483646 h 252"/>
                  <a:gd name="T100" fmla="*/ 2147483646 w 233"/>
                  <a:gd name="T101" fmla="*/ 2147483646 h 252"/>
                  <a:gd name="T102" fmla="*/ 2147483646 w 233"/>
                  <a:gd name="T103" fmla="*/ 2147483646 h 252"/>
                  <a:gd name="T104" fmla="*/ 2147483646 w 233"/>
                  <a:gd name="T105" fmla="*/ 2147483646 h 252"/>
                  <a:gd name="T106" fmla="*/ 2147483646 w 233"/>
                  <a:gd name="T107" fmla="*/ 0 h 25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33"/>
                  <a:gd name="T163" fmla="*/ 0 h 252"/>
                  <a:gd name="T164" fmla="*/ 233 w 233"/>
                  <a:gd name="T165" fmla="*/ 252 h 252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33" h="252">
                    <a:moveTo>
                      <a:pt x="74" y="0"/>
                    </a:moveTo>
                    <a:lnTo>
                      <a:pt x="83" y="2"/>
                    </a:lnTo>
                    <a:lnTo>
                      <a:pt x="89" y="3"/>
                    </a:lnTo>
                    <a:lnTo>
                      <a:pt x="95" y="3"/>
                    </a:lnTo>
                    <a:lnTo>
                      <a:pt x="99" y="2"/>
                    </a:lnTo>
                    <a:lnTo>
                      <a:pt x="106" y="1"/>
                    </a:lnTo>
                    <a:lnTo>
                      <a:pt x="113" y="0"/>
                    </a:lnTo>
                    <a:lnTo>
                      <a:pt x="125" y="17"/>
                    </a:lnTo>
                    <a:lnTo>
                      <a:pt x="140" y="37"/>
                    </a:lnTo>
                    <a:lnTo>
                      <a:pt x="144" y="42"/>
                    </a:lnTo>
                    <a:lnTo>
                      <a:pt x="148" y="46"/>
                    </a:lnTo>
                    <a:lnTo>
                      <a:pt x="153" y="49"/>
                    </a:lnTo>
                    <a:lnTo>
                      <a:pt x="157" y="52"/>
                    </a:lnTo>
                    <a:lnTo>
                      <a:pt x="163" y="54"/>
                    </a:lnTo>
                    <a:lnTo>
                      <a:pt x="168" y="56"/>
                    </a:lnTo>
                    <a:lnTo>
                      <a:pt x="174" y="56"/>
                    </a:lnTo>
                    <a:lnTo>
                      <a:pt x="180" y="56"/>
                    </a:lnTo>
                    <a:lnTo>
                      <a:pt x="180" y="80"/>
                    </a:lnTo>
                    <a:lnTo>
                      <a:pt x="193" y="103"/>
                    </a:lnTo>
                    <a:lnTo>
                      <a:pt x="212" y="128"/>
                    </a:lnTo>
                    <a:lnTo>
                      <a:pt x="215" y="135"/>
                    </a:lnTo>
                    <a:lnTo>
                      <a:pt x="220" y="142"/>
                    </a:lnTo>
                    <a:lnTo>
                      <a:pt x="223" y="151"/>
                    </a:lnTo>
                    <a:lnTo>
                      <a:pt x="226" y="160"/>
                    </a:lnTo>
                    <a:lnTo>
                      <a:pt x="230" y="170"/>
                    </a:lnTo>
                    <a:lnTo>
                      <a:pt x="232" y="180"/>
                    </a:lnTo>
                    <a:lnTo>
                      <a:pt x="233" y="191"/>
                    </a:lnTo>
                    <a:lnTo>
                      <a:pt x="233" y="204"/>
                    </a:lnTo>
                    <a:lnTo>
                      <a:pt x="232" y="216"/>
                    </a:lnTo>
                    <a:lnTo>
                      <a:pt x="230" y="228"/>
                    </a:lnTo>
                    <a:lnTo>
                      <a:pt x="227" y="240"/>
                    </a:lnTo>
                    <a:lnTo>
                      <a:pt x="226" y="252"/>
                    </a:lnTo>
                    <a:lnTo>
                      <a:pt x="222" y="252"/>
                    </a:lnTo>
                    <a:lnTo>
                      <a:pt x="215" y="250"/>
                    </a:lnTo>
                    <a:lnTo>
                      <a:pt x="208" y="246"/>
                    </a:lnTo>
                    <a:lnTo>
                      <a:pt x="198" y="241"/>
                    </a:lnTo>
                    <a:lnTo>
                      <a:pt x="176" y="226"/>
                    </a:lnTo>
                    <a:lnTo>
                      <a:pt x="151" y="208"/>
                    </a:lnTo>
                    <a:lnTo>
                      <a:pt x="125" y="186"/>
                    </a:lnTo>
                    <a:lnTo>
                      <a:pt x="100" y="165"/>
                    </a:lnTo>
                    <a:lnTo>
                      <a:pt x="78" y="145"/>
                    </a:lnTo>
                    <a:lnTo>
                      <a:pt x="61" y="129"/>
                    </a:lnTo>
                    <a:lnTo>
                      <a:pt x="55" y="125"/>
                    </a:lnTo>
                    <a:lnTo>
                      <a:pt x="48" y="120"/>
                    </a:lnTo>
                    <a:lnTo>
                      <a:pt x="41" y="116"/>
                    </a:lnTo>
                    <a:lnTo>
                      <a:pt x="33" y="112"/>
                    </a:lnTo>
                    <a:lnTo>
                      <a:pt x="17" y="104"/>
                    </a:lnTo>
                    <a:lnTo>
                      <a:pt x="0" y="99"/>
                    </a:lnTo>
                    <a:lnTo>
                      <a:pt x="40" y="63"/>
                    </a:lnTo>
                    <a:lnTo>
                      <a:pt x="59" y="43"/>
                    </a:lnTo>
                    <a:lnTo>
                      <a:pt x="65" y="33"/>
                    </a:lnTo>
                    <a:lnTo>
                      <a:pt x="69" y="25"/>
                    </a:lnTo>
                    <a:lnTo>
                      <a:pt x="72" y="14"/>
                    </a:lnTo>
                    <a:lnTo>
                      <a:pt x="74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44" name="Freeform 266">
                <a:extLst>
                  <a:ext uri="{FF2B5EF4-FFF2-40B4-BE49-F238E27FC236}">
                    <a16:creationId xmlns="" xmlns:a16="http://schemas.microsoft.com/office/drawing/2014/main" id="{6C5EE67F-10EB-440A-9A83-B8721CFE09F1}"/>
                  </a:ext>
                </a:extLst>
              </p:cNvPr>
              <p:cNvSpPr>
                <a:spLocks/>
              </p:cNvSpPr>
              <p:nvPr>
                <p:custDataLst>
                  <p:tags r:id="rId193"/>
                </p:custDataLst>
              </p:nvPr>
            </p:nvSpPr>
            <p:spPr bwMode="auto">
              <a:xfrm>
                <a:off x="3935413" y="3319463"/>
                <a:ext cx="104775" cy="201612"/>
              </a:xfrm>
              <a:custGeom>
                <a:avLst/>
                <a:gdLst>
                  <a:gd name="T0" fmla="*/ 2147483646 w 246"/>
                  <a:gd name="T1" fmla="*/ 2147483646 h 380"/>
                  <a:gd name="T2" fmla="*/ 2147483646 w 246"/>
                  <a:gd name="T3" fmla="*/ 2147483646 h 380"/>
                  <a:gd name="T4" fmla="*/ 2147483646 w 246"/>
                  <a:gd name="T5" fmla="*/ 2147483646 h 380"/>
                  <a:gd name="T6" fmla="*/ 2147483646 w 246"/>
                  <a:gd name="T7" fmla="*/ 2147483646 h 380"/>
                  <a:gd name="T8" fmla="*/ 2147483646 w 246"/>
                  <a:gd name="T9" fmla="*/ 2147483646 h 380"/>
                  <a:gd name="T10" fmla="*/ 2147483646 w 246"/>
                  <a:gd name="T11" fmla="*/ 2147483646 h 380"/>
                  <a:gd name="T12" fmla="*/ 2147483646 w 246"/>
                  <a:gd name="T13" fmla="*/ 2147483646 h 380"/>
                  <a:gd name="T14" fmla="*/ 2147483646 w 246"/>
                  <a:gd name="T15" fmla="*/ 2147483646 h 380"/>
                  <a:gd name="T16" fmla="*/ 2147483646 w 246"/>
                  <a:gd name="T17" fmla="*/ 2147483646 h 380"/>
                  <a:gd name="T18" fmla="*/ 2147483646 w 246"/>
                  <a:gd name="T19" fmla="*/ 2147483646 h 380"/>
                  <a:gd name="T20" fmla="*/ 2147483646 w 246"/>
                  <a:gd name="T21" fmla="*/ 2147483646 h 380"/>
                  <a:gd name="T22" fmla="*/ 2147483646 w 246"/>
                  <a:gd name="T23" fmla="*/ 2147483646 h 380"/>
                  <a:gd name="T24" fmla="*/ 2147483646 w 246"/>
                  <a:gd name="T25" fmla="*/ 2147483646 h 380"/>
                  <a:gd name="T26" fmla="*/ 2147483646 w 246"/>
                  <a:gd name="T27" fmla="*/ 2147483646 h 380"/>
                  <a:gd name="T28" fmla="*/ 0 w 246"/>
                  <a:gd name="T29" fmla="*/ 2147483646 h 380"/>
                  <a:gd name="T30" fmla="*/ 2147483646 w 246"/>
                  <a:gd name="T31" fmla="*/ 2147483646 h 380"/>
                  <a:gd name="T32" fmla="*/ 2147483646 w 246"/>
                  <a:gd name="T33" fmla="*/ 2147483646 h 380"/>
                  <a:gd name="T34" fmla="*/ 2147483646 w 246"/>
                  <a:gd name="T35" fmla="*/ 2147483646 h 380"/>
                  <a:gd name="T36" fmla="*/ 2147483646 w 246"/>
                  <a:gd name="T37" fmla="*/ 2147483646 h 380"/>
                  <a:gd name="T38" fmla="*/ 2147483646 w 246"/>
                  <a:gd name="T39" fmla="*/ 2147483646 h 380"/>
                  <a:gd name="T40" fmla="*/ 2147483646 w 246"/>
                  <a:gd name="T41" fmla="*/ 2147483646 h 380"/>
                  <a:gd name="T42" fmla="*/ 2147483646 w 246"/>
                  <a:gd name="T43" fmla="*/ 2147483646 h 380"/>
                  <a:gd name="T44" fmla="*/ 2147483646 w 246"/>
                  <a:gd name="T45" fmla="*/ 2147483646 h 380"/>
                  <a:gd name="T46" fmla="*/ 2147483646 w 246"/>
                  <a:gd name="T47" fmla="*/ 2147483646 h 380"/>
                  <a:gd name="T48" fmla="*/ 2147483646 w 246"/>
                  <a:gd name="T49" fmla="*/ 2147483646 h 380"/>
                  <a:gd name="T50" fmla="*/ 2147483646 w 246"/>
                  <a:gd name="T51" fmla="*/ 2147483646 h 380"/>
                  <a:gd name="T52" fmla="*/ 2147483646 w 246"/>
                  <a:gd name="T53" fmla="*/ 2147483646 h 380"/>
                  <a:gd name="T54" fmla="*/ 2147483646 w 246"/>
                  <a:gd name="T55" fmla="*/ 2147483646 h 380"/>
                  <a:gd name="T56" fmla="*/ 2147483646 w 246"/>
                  <a:gd name="T57" fmla="*/ 2147483646 h 380"/>
                  <a:gd name="T58" fmla="*/ 2147483646 w 246"/>
                  <a:gd name="T59" fmla="*/ 2147483646 h 380"/>
                  <a:gd name="T60" fmla="*/ 2147483646 w 246"/>
                  <a:gd name="T61" fmla="*/ 2147483646 h 380"/>
                  <a:gd name="T62" fmla="*/ 2147483646 w 246"/>
                  <a:gd name="T63" fmla="*/ 0 h 380"/>
                  <a:gd name="T64" fmla="*/ 2147483646 w 246"/>
                  <a:gd name="T65" fmla="*/ 0 h 380"/>
                  <a:gd name="T66" fmla="*/ 2147483646 w 246"/>
                  <a:gd name="T67" fmla="*/ 2147483646 h 380"/>
                  <a:gd name="T68" fmla="*/ 2147483646 w 246"/>
                  <a:gd name="T69" fmla="*/ 2147483646 h 380"/>
                  <a:gd name="T70" fmla="*/ 2147483646 w 246"/>
                  <a:gd name="T71" fmla="*/ 2147483646 h 380"/>
                  <a:gd name="T72" fmla="*/ 2147483646 w 246"/>
                  <a:gd name="T73" fmla="*/ 2147483646 h 380"/>
                  <a:gd name="T74" fmla="*/ 2147483646 w 246"/>
                  <a:gd name="T75" fmla="*/ 2147483646 h 380"/>
                  <a:gd name="T76" fmla="*/ 2147483646 w 246"/>
                  <a:gd name="T77" fmla="*/ 2147483646 h 380"/>
                  <a:gd name="T78" fmla="*/ 2147483646 w 246"/>
                  <a:gd name="T79" fmla="*/ 2147483646 h 380"/>
                  <a:gd name="T80" fmla="*/ 2147483646 w 246"/>
                  <a:gd name="T81" fmla="*/ 2147483646 h 380"/>
                  <a:gd name="T82" fmla="*/ 2147483646 w 246"/>
                  <a:gd name="T83" fmla="*/ 2147483646 h 380"/>
                  <a:gd name="T84" fmla="*/ 2147483646 w 246"/>
                  <a:gd name="T85" fmla="*/ 2147483646 h 380"/>
                  <a:gd name="T86" fmla="*/ 2147483646 w 246"/>
                  <a:gd name="T87" fmla="*/ 2147483646 h 380"/>
                  <a:gd name="T88" fmla="*/ 2147483646 w 246"/>
                  <a:gd name="T89" fmla="*/ 2147483646 h 380"/>
                  <a:gd name="T90" fmla="*/ 2147483646 w 246"/>
                  <a:gd name="T91" fmla="*/ 2147483646 h 380"/>
                  <a:gd name="T92" fmla="*/ 2147483646 w 246"/>
                  <a:gd name="T93" fmla="*/ 2147483646 h 380"/>
                  <a:gd name="T94" fmla="*/ 2147483646 w 246"/>
                  <a:gd name="T95" fmla="*/ 2147483646 h 380"/>
                  <a:gd name="T96" fmla="*/ 2147483646 w 246"/>
                  <a:gd name="T97" fmla="*/ 2147483646 h 380"/>
                  <a:gd name="T98" fmla="*/ 2147483646 w 246"/>
                  <a:gd name="T99" fmla="*/ 2147483646 h 380"/>
                  <a:gd name="T100" fmla="*/ 2147483646 w 246"/>
                  <a:gd name="T101" fmla="*/ 2147483646 h 380"/>
                  <a:gd name="T102" fmla="*/ 2147483646 w 246"/>
                  <a:gd name="T103" fmla="*/ 2147483646 h 380"/>
                  <a:gd name="T104" fmla="*/ 2147483646 w 246"/>
                  <a:gd name="T105" fmla="*/ 2147483646 h 380"/>
                  <a:gd name="T106" fmla="*/ 2147483646 w 246"/>
                  <a:gd name="T107" fmla="*/ 2147483646 h 380"/>
                  <a:gd name="T108" fmla="*/ 2147483646 w 246"/>
                  <a:gd name="T109" fmla="*/ 2147483646 h 380"/>
                  <a:gd name="T110" fmla="*/ 2147483646 w 246"/>
                  <a:gd name="T111" fmla="*/ 2147483646 h 380"/>
                  <a:gd name="T112" fmla="*/ 2147483646 w 246"/>
                  <a:gd name="T113" fmla="*/ 2147483646 h 380"/>
                  <a:gd name="T114" fmla="*/ 2147483646 w 246"/>
                  <a:gd name="T115" fmla="*/ 2147483646 h 380"/>
                  <a:gd name="T116" fmla="*/ 2147483646 w 246"/>
                  <a:gd name="T117" fmla="*/ 2147483646 h 380"/>
                  <a:gd name="T118" fmla="*/ 2147483646 w 246"/>
                  <a:gd name="T119" fmla="*/ 2147483646 h 380"/>
                  <a:gd name="T120" fmla="*/ 2147483646 w 246"/>
                  <a:gd name="T121" fmla="*/ 2147483646 h 38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246"/>
                  <a:gd name="T184" fmla="*/ 0 h 380"/>
                  <a:gd name="T185" fmla="*/ 246 w 246"/>
                  <a:gd name="T186" fmla="*/ 380 h 380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246" h="380">
                    <a:moveTo>
                      <a:pt x="13" y="376"/>
                    </a:moveTo>
                    <a:lnTo>
                      <a:pt x="14" y="367"/>
                    </a:lnTo>
                    <a:lnTo>
                      <a:pt x="15" y="359"/>
                    </a:lnTo>
                    <a:lnTo>
                      <a:pt x="18" y="351"/>
                    </a:lnTo>
                    <a:lnTo>
                      <a:pt x="20" y="344"/>
                    </a:lnTo>
                    <a:lnTo>
                      <a:pt x="25" y="333"/>
                    </a:lnTo>
                    <a:lnTo>
                      <a:pt x="26" y="327"/>
                    </a:lnTo>
                    <a:lnTo>
                      <a:pt x="25" y="321"/>
                    </a:lnTo>
                    <a:lnTo>
                      <a:pt x="23" y="314"/>
                    </a:lnTo>
                    <a:lnTo>
                      <a:pt x="19" y="305"/>
                    </a:lnTo>
                    <a:lnTo>
                      <a:pt x="13" y="295"/>
                    </a:lnTo>
                    <a:lnTo>
                      <a:pt x="9" y="285"/>
                    </a:lnTo>
                    <a:lnTo>
                      <a:pt x="4" y="275"/>
                    </a:lnTo>
                    <a:lnTo>
                      <a:pt x="1" y="267"/>
                    </a:lnTo>
                    <a:lnTo>
                      <a:pt x="0" y="259"/>
                    </a:lnTo>
                    <a:lnTo>
                      <a:pt x="1" y="251"/>
                    </a:lnTo>
                    <a:lnTo>
                      <a:pt x="2" y="243"/>
                    </a:lnTo>
                    <a:lnTo>
                      <a:pt x="3" y="236"/>
                    </a:lnTo>
                    <a:lnTo>
                      <a:pt x="6" y="230"/>
                    </a:lnTo>
                    <a:lnTo>
                      <a:pt x="11" y="218"/>
                    </a:lnTo>
                    <a:lnTo>
                      <a:pt x="19" y="207"/>
                    </a:lnTo>
                    <a:lnTo>
                      <a:pt x="26" y="197"/>
                    </a:lnTo>
                    <a:lnTo>
                      <a:pt x="34" y="185"/>
                    </a:lnTo>
                    <a:lnTo>
                      <a:pt x="41" y="173"/>
                    </a:lnTo>
                    <a:lnTo>
                      <a:pt x="47" y="160"/>
                    </a:lnTo>
                    <a:lnTo>
                      <a:pt x="26" y="73"/>
                    </a:lnTo>
                    <a:lnTo>
                      <a:pt x="26" y="50"/>
                    </a:lnTo>
                    <a:lnTo>
                      <a:pt x="24" y="33"/>
                    </a:lnTo>
                    <a:lnTo>
                      <a:pt x="24" y="25"/>
                    </a:lnTo>
                    <a:lnTo>
                      <a:pt x="24" y="16"/>
                    </a:lnTo>
                    <a:lnTo>
                      <a:pt x="25" y="8"/>
                    </a:lnTo>
                    <a:lnTo>
                      <a:pt x="26" y="0"/>
                    </a:lnTo>
                    <a:lnTo>
                      <a:pt x="180" y="0"/>
                    </a:lnTo>
                    <a:lnTo>
                      <a:pt x="220" y="129"/>
                    </a:lnTo>
                    <a:lnTo>
                      <a:pt x="220" y="210"/>
                    </a:lnTo>
                    <a:lnTo>
                      <a:pt x="220" y="220"/>
                    </a:lnTo>
                    <a:lnTo>
                      <a:pt x="221" y="230"/>
                    </a:lnTo>
                    <a:lnTo>
                      <a:pt x="223" y="240"/>
                    </a:lnTo>
                    <a:lnTo>
                      <a:pt x="225" y="250"/>
                    </a:lnTo>
                    <a:lnTo>
                      <a:pt x="228" y="259"/>
                    </a:lnTo>
                    <a:lnTo>
                      <a:pt x="234" y="268"/>
                    </a:lnTo>
                    <a:lnTo>
                      <a:pt x="239" y="278"/>
                    </a:lnTo>
                    <a:lnTo>
                      <a:pt x="246" y="289"/>
                    </a:lnTo>
                    <a:lnTo>
                      <a:pt x="224" y="295"/>
                    </a:lnTo>
                    <a:lnTo>
                      <a:pt x="202" y="302"/>
                    </a:lnTo>
                    <a:lnTo>
                      <a:pt x="181" y="310"/>
                    </a:lnTo>
                    <a:lnTo>
                      <a:pt x="160" y="319"/>
                    </a:lnTo>
                    <a:lnTo>
                      <a:pt x="141" y="328"/>
                    </a:lnTo>
                    <a:lnTo>
                      <a:pt x="120" y="338"/>
                    </a:lnTo>
                    <a:lnTo>
                      <a:pt x="100" y="347"/>
                    </a:lnTo>
                    <a:lnTo>
                      <a:pt x="80" y="358"/>
                    </a:lnTo>
                    <a:lnTo>
                      <a:pt x="75" y="363"/>
                    </a:lnTo>
                    <a:lnTo>
                      <a:pt x="69" y="367"/>
                    </a:lnTo>
                    <a:lnTo>
                      <a:pt x="62" y="372"/>
                    </a:lnTo>
                    <a:lnTo>
                      <a:pt x="54" y="376"/>
                    </a:lnTo>
                    <a:lnTo>
                      <a:pt x="46" y="379"/>
                    </a:lnTo>
                    <a:lnTo>
                      <a:pt x="36" y="380"/>
                    </a:lnTo>
                    <a:lnTo>
                      <a:pt x="31" y="380"/>
                    </a:lnTo>
                    <a:lnTo>
                      <a:pt x="25" y="379"/>
                    </a:lnTo>
                    <a:lnTo>
                      <a:pt x="20" y="378"/>
                    </a:lnTo>
                    <a:lnTo>
                      <a:pt x="13" y="376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45" name="Freeform 267">
                <a:extLst>
                  <a:ext uri="{FF2B5EF4-FFF2-40B4-BE49-F238E27FC236}">
                    <a16:creationId xmlns="" xmlns:a16="http://schemas.microsoft.com/office/drawing/2014/main" id="{B19D1CB5-E8E5-409E-B213-2793A10E4920}"/>
                  </a:ext>
                </a:extLst>
              </p:cNvPr>
              <p:cNvSpPr>
                <a:spLocks/>
              </p:cNvSpPr>
              <p:nvPr>
                <p:custDataLst>
                  <p:tags r:id="rId194"/>
                </p:custDataLst>
              </p:nvPr>
            </p:nvSpPr>
            <p:spPr bwMode="auto">
              <a:xfrm>
                <a:off x="3587750" y="3235325"/>
                <a:ext cx="87313" cy="58738"/>
              </a:xfrm>
              <a:custGeom>
                <a:avLst/>
                <a:gdLst>
                  <a:gd name="T0" fmla="*/ 2147483646 w 193"/>
                  <a:gd name="T1" fmla="*/ 2147483646 h 38"/>
                  <a:gd name="T2" fmla="*/ 2147483646 w 193"/>
                  <a:gd name="T3" fmla="*/ 2147483646 h 38"/>
                  <a:gd name="T4" fmla="*/ 2147483646 w 193"/>
                  <a:gd name="T5" fmla="*/ 2147483646 h 38"/>
                  <a:gd name="T6" fmla="*/ 2147483646 w 193"/>
                  <a:gd name="T7" fmla="*/ 2147483646 h 38"/>
                  <a:gd name="T8" fmla="*/ 2147483646 w 193"/>
                  <a:gd name="T9" fmla="*/ 2147483646 h 38"/>
                  <a:gd name="T10" fmla="*/ 2147483646 w 193"/>
                  <a:gd name="T11" fmla="*/ 2147483646 h 38"/>
                  <a:gd name="T12" fmla="*/ 2147483646 w 193"/>
                  <a:gd name="T13" fmla="*/ 0 h 38"/>
                  <a:gd name="T14" fmla="*/ 2147483646 w 193"/>
                  <a:gd name="T15" fmla="*/ 2147483646 h 38"/>
                  <a:gd name="T16" fmla="*/ 2147483646 w 193"/>
                  <a:gd name="T17" fmla="*/ 2147483646 h 38"/>
                  <a:gd name="T18" fmla="*/ 2147483646 w 193"/>
                  <a:gd name="T19" fmla="*/ 2147483646 h 38"/>
                  <a:gd name="T20" fmla="*/ 2147483646 w 193"/>
                  <a:gd name="T21" fmla="*/ 2147483646 h 38"/>
                  <a:gd name="T22" fmla="*/ 2147483646 w 193"/>
                  <a:gd name="T23" fmla="*/ 2147483646 h 38"/>
                  <a:gd name="T24" fmla="*/ 2147483646 w 193"/>
                  <a:gd name="T25" fmla="*/ 2147483646 h 38"/>
                  <a:gd name="T26" fmla="*/ 2147483646 w 193"/>
                  <a:gd name="T27" fmla="*/ 2147483646 h 38"/>
                  <a:gd name="T28" fmla="*/ 2147483646 w 193"/>
                  <a:gd name="T29" fmla="*/ 2147483646 h 38"/>
                  <a:gd name="T30" fmla="*/ 2147483646 w 193"/>
                  <a:gd name="T31" fmla="*/ 2147483646 h 38"/>
                  <a:gd name="T32" fmla="*/ 2147483646 w 193"/>
                  <a:gd name="T33" fmla="*/ 2147483646 h 38"/>
                  <a:gd name="T34" fmla="*/ 2147483646 w 193"/>
                  <a:gd name="T35" fmla="*/ 2147483646 h 38"/>
                  <a:gd name="T36" fmla="*/ 2147483646 w 193"/>
                  <a:gd name="T37" fmla="*/ 2147483646 h 38"/>
                  <a:gd name="T38" fmla="*/ 2147483646 w 193"/>
                  <a:gd name="T39" fmla="*/ 2147483646 h 38"/>
                  <a:gd name="T40" fmla="*/ 2147483646 w 193"/>
                  <a:gd name="T41" fmla="*/ 2147483646 h 38"/>
                  <a:gd name="T42" fmla="*/ 2147483646 w 193"/>
                  <a:gd name="T43" fmla="*/ 2147483646 h 38"/>
                  <a:gd name="T44" fmla="*/ 2147483646 w 193"/>
                  <a:gd name="T45" fmla="*/ 2147483646 h 38"/>
                  <a:gd name="T46" fmla="*/ 2147483646 w 193"/>
                  <a:gd name="T47" fmla="*/ 2147483646 h 38"/>
                  <a:gd name="T48" fmla="*/ 2147483646 w 193"/>
                  <a:gd name="T49" fmla="*/ 2147483646 h 38"/>
                  <a:gd name="T50" fmla="*/ 2147483646 w 193"/>
                  <a:gd name="T51" fmla="*/ 2147483646 h 38"/>
                  <a:gd name="T52" fmla="*/ 2147483646 w 193"/>
                  <a:gd name="T53" fmla="*/ 2147483646 h 38"/>
                  <a:gd name="T54" fmla="*/ 2147483646 w 193"/>
                  <a:gd name="T55" fmla="*/ 2147483646 h 38"/>
                  <a:gd name="T56" fmla="*/ 2147483646 w 193"/>
                  <a:gd name="T57" fmla="*/ 2147483646 h 38"/>
                  <a:gd name="T58" fmla="*/ 2147483646 w 193"/>
                  <a:gd name="T59" fmla="*/ 2147483646 h 38"/>
                  <a:gd name="T60" fmla="*/ 0 w 193"/>
                  <a:gd name="T61" fmla="*/ 2147483646 h 38"/>
                  <a:gd name="T62" fmla="*/ 0 w 193"/>
                  <a:gd name="T63" fmla="*/ 2147483646 h 38"/>
                  <a:gd name="T64" fmla="*/ 2147483646 w 193"/>
                  <a:gd name="T65" fmla="*/ 2147483646 h 38"/>
                  <a:gd name="T66" fmla="*/ 2147483646 w 193"/>
                  <a:gd name="T67" fmla="*/ 2147483646 h 38"/>
                  <a:gd name="T68" fmla="*/ 2147483646 w 193"/>
                  <a:gd name="T69" fmla="*/ 2147483646 h 3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93"/>
                  <a:gd name="T106" fmla="*/ 0 h 38"/>
                  <a:gd name="T107" fmla="*/ 193 w 193"/>
                  <a:gd name="T108" fmla="*/ 38 h 38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93" h="38">
                    <a:moveTo>
                      <a:pt x="7" y="20"/>
                    </a:moveTo>
                    <a:lnTo>
                      <a:pt x="38" y="11"/>
                    </a:lnTo>
                    <a:lnTo>
                      <a:pt x="67" y="5"/>
                    </a:lnTo>
                    <a:lnTo>
                      <a:pt x="80" y="3"/>
                    </a:lnTo>
                    <a:lnTo>
                      <a:pt x="94" y="2"/>
                    </a:lnTo>
                    <a:lnTo>
                      <a:pt x="110" y="1"/>
                    </a:lnTo>
                    <a:lnTo>
                      <a:pt x="126" y="0"/>
                    </a:lnTo>
                    <a:lnTo>
                      <a:pt x="138" y="1"/>
                    </a:lnTo>
                    <a:lnTo>
                      <a:pt x="149" y="1"/>
                    </a:lnTo>
                    <a:lnTo>
                      <a:pt x="160" y="2"/>
                    </a:lnTo>
                    <a:lnTo>
                      <a:pt x="169" y="4"/>
                    </a:lnTo>
                    <a:lnTo>
                      <a:pt x="178" y="6"/>
                    </a:lnTo>
                    <a:lnTo>
                      <a:pt x="184" y="11"/>
                    </a:lnTo>
                    <a:lnTo>
                      <a:pt x="187" y="13"/>
                    </a:lnTo>
                    <a:lnTo>
                      <a:pt x="189" y="18"/>
                    </a:lnTo>
                    <a:lnTo>
                      <a:pt x="191" y="21"/>
                    </a:lnTo>
                    <a:lnTo>
                      <a:pt x="193" y="26"/>
                    </a:lnTo>
                    <a:lnTo>
                      <a:pt x="183" y="27"/>
                    </a:lnTo>
                    <a:lnTo>
                      <a:pt x="173" y="28"/>
                    </a:lnTo>
                    <a:lnTo>
                      <a:pt x="165" y="28"/>
                    </a:lnTo>
                    <a:lnTo>
                      <a:pt x="156" y="28"/>
                    </a:lnTo>
                    <a:lnTo>
                      <a:pt x="138" y="27"/>
                    </a:lnTo>
                    <a:lnTo>
                      <a:pt x="120" y="26"/>
                    </a:lnTo>
                    <a:lnTo>
                      <a:pt x="103" y="26"/>
                    </a:lnTo>
                    <a:lnTo>
                      <a:pt x="89" y="28"/>
                    </a:lnTo>
                    <a:lnTo>
                      <a:pt x="76" y="30"/>
                    </a:lnTo>
                    <a:lnTo>
                      <a:pt x="63" y="32"/>
                    </a:lnTo>
                    <a:lnTo>
                      <a:pt x="49" y="34"/>
                    </a:lnTo>
                    <a:lnTo>
                      <a:pt x="35" y="36"/>
                    </a:lnTo>
                    <a:lnTo>
                      <a:pt x="19" y="37"/>
                    </a:lnTo>
                    <a:lnTo>
                      <a:pt x="0" y="38"/>
                    </a:lnTo>
                    <a:lnTo>
                      <a:pt x="0" y="33"/>
                    </a:lnTo>
                    <a:lnTo>
                      <a:pt x="1" y="29"/>
                    </a:lnTo>
                    <a:lnTo>
                      <a:pt x="3" y="24"/>
                    </a:lnTo>
                    <a:lnTo>
                      <a:pt x="7" y="2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46" name="Freeform 268">
                <a:extLst>
                  <a:ext uri="{FF2B5EF4-FFF2-40B4-BE49-F238E27FC236}">
                    <a16:creationId xmlns="" xmlns:a16="http://schemas.microsoft.com/office/drawing/2014/main" id="{AC25C9FC-4802-4330-BDE4-91336B272613}"/>
                  </a:ext>
                </a:extLst>
              </p:cNvPr>
              <p:cNvSpPr>
                <a:spLocks/>
              </p:cNvSpPr>
              <p:nvPr>
                <p:custDataLst>
                  <p:tags r:id="rId195"/>
                </p:custDataLst>
              </p:nvPr>
            </p:nvSpPr>
            <p:spPr bwMode="auto">
              <a:xfrm>
                <a:off x="4013200" y="3313113"/>
                <a:ext cx="42863" cy="155575"/>
              </a:xfrm>
              <a:custGeom>
                <a:avLst/>
                <a:gdLst>
                  <a:gd name="T0" fmla="*/ 2147483646 w 99"/>
                  <a:gd name="T1" fmla="*/ 2147483646 h 301"/>
                  <a:gd name="T2" fmla="*/ 2147483646 w 99"/>
                  <a:gd name="T3" fmla="*/ 2147483646 h 301"/>
                  <a:gd name="T4" fmla="*/ 2147483646 w 99"/>
                  <a:gd name="T5" fmla="*/ 2147483646 h 301"/>
                  <a:gd name="T6" fmla="*/ 2147483646 w 99"/>
                  <a:gd name="T7" fmla="*/ 2147483646 h 301"/>
                  <a:gd name="T8" fmla="*/ 2147483646 w 99"/>
                  <a:gd name="T9" fmla="*/ 2147483646 h 301"/>
                  <a:gd name="T10" fmla="*/ 2147483646 w 99"/>
                  <a:gd name="T11" fmla="*/ 2147483646 h 301"/>
                  <a:gd name="T12" fmla="*/ 2147483646 w 99"/>
                  <a:gd name="T13" fmla="*/ 2147483646 h 301"/>
                  <a:gd name="T14" fmla="*/ 2147483646 w 99"/>
                  <a:gd name="T15" fmla="*/ 2147483646 h 301"/>
                  <a:gd name="T16" fmla="*/ 2147483646 w 99"/>
                  <a:gd name="T17" fmla="*/ 2147483646 h 301"/>
                  <a:gd name="T18" fmla="*/ 2147483646 w 99"/>
                  <a:gd name="T19" fmla="*/ 2147483646 h 301"/>
                  <a:gd name="T20" fmla="*/ 2147483646 w 99"/>
                  <a:gd name="T21" fmla="*/ 2147483646 h 301"/>
                  <a:gd name="T22" fmla="*/ 2147483646 w 99"/>
                  <a:gd name="T23" fmla="*/ 2147483646 h 301"/>
                  <a:gd name="T24" fmla="*/ 2147483646 w 99"/>
                  <a:gd name="T25" fmla="*/ 2147483646 h 301"/>
                  <a:gd name="T26" fmla="*/ 2147483646 w 99"/>
                  <a:gd name="T27" fmla="*/ 2147483646 h 301"/>
                  <a:gd name="T28" fmla="*/ 2147483646 w 99"/>
                  <a:gd name="T29" fmla="*/ 2147483646 h 301"/>
                  <a:gd name="T30" fmla="*/ 2147483646 w 99"/>
                  <a:gd name="T31" fmla="*/ 2147483646 h 301"/>
                  <a:gd name="T32" fmla="*/ 2147483646 w 99"/>
                  <a:gd name="T33" fmla="*/ 2147483646 h 301"/>
                  <a:gd name="T34" fmla="*/ 2147483646 w 99"/>
                  <a:gd name="T35" fmla="*/ 2147483646 h 301"/>
                  <a:gd name="T36" fmla="*/ 2147483646 w 99"/>
                  <a:gd name="T37" fmla="*/ 2147483646 h 301"/>
                  <a:gd name="T38" fmla="*/ 2147483646 w 99"/>
                  <a:gd name="T39" fmla="*/ 2147483646 h 301"/>
                  <a:gd name="T40" fmla="*/ 2147483646 w 99"/>
                  <a:gd name="T41" fmla="*/ 2147483646 h 301"/>
                  <a:gd name="T42" fmla="*/ 2147483646 w 99"/>
                  <a:gd name="T43" fmla="*/ 2147483646 h 301"/>
                  <a:gd name="T44" fmla="*/ 2147483646 w 99"/>
                  <a:gd name="T45" fmla="*/ 2147483646 h 301"/>
                  <a:gd name="T46" fmla="*/ 2147483646 w 99"/>
                  <a:gd name="T47" fmla="*/ 2147483646 h 301"/>
                  <a:gd name="T48" fmla="*/ 2147483646 w 99"/>
                  <a:gd name="T49" fmla="*/ 2147483646 h 301"/>
                  <a:gd name="T50" fmla="*/ 2147483646 w 99"/>
                  <a:gd name="T51" fmla="*/ 2147483646 h 301"/>
                  <a:gd name="T52" fmla="*/ 2147483646 w 99"/>
                  <a:gd name="T53" fmla="*/ 2147483646 h 301"/>
                  <a:gd name="T54" fmla="*/ 2147483646 w 99"/>
                  <a:gd name="T55" fmla="*/ 2147483646 h 301"/>
                  <a:gd name="T56" fmla="*/ 0 w 99"/>
                  <a:gd name="T57" fmla="*/ 2147483646 h 301"/>
                  <a:gd name="T58" fmla="*/ 2147483646 w 99"/>
                  <a:gd name="T59" fmla="*/ 2147483646 h 301"/>
                  <a:gd name="T60" fmla="*/ 2147483646 w 99"/>
                  <a:gd name="T61" fmla="*/ 0 h 301"/>
                  <a:gd name="T62" fmla="*/ 2147483646 w 99"/>
                  <a:gd name="T63" fmla="*/ 0 h 301"/>
                  <a:gd name="T64" fmla="*/ 2147483646 w 99"/>
                  <a:gd name="T65" fmla="*/ 0 h 301"/>
                  <a:gd name="T66" fmla="*/ 2147483646 w 99"/>
                  <a:gd name="T67" fmla="*/ 0 h 301"/>
                  <a:gd name="T68" fmla="*/ 2147483646 w 99"/>
                  <a:gd name="T69" fmla="*/ 2147483646 h 301"/>
                  <a:gd name="T70" fmla="*/ 2147483646 w 99"/>
                  <a:gd name="T71" fmla="*/ 2147483646 h 301"/>
                  <a:gd name="T72" fmla="*/ 2147483646 w 99"/>
                  <a:gd name="T73" fmla="*/ 2147483646 h 301"/>
                  <a:gd name="T74" fmla="*/ 2147483646 w 99"/>
                  <a:gd name="T75" fmla="*/ 2147483646 h 301"/>
                  <a:gd name="T76" fmla="*/ 2147483646 w 99"/>
                  <a:gd name="T77" fmla="*/ 2147483646 h 301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99"/>
                  <a:gd name="T118" fmla="*/ 0 h 301"/>
                  <a:gd name="T119" fmla="*/ 99 w 99"/>
                  <a:gd name="T120" fmla="*/ 301 h 301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99" h="301">
                    <a:moveTo>
                      <a:pt x="53" y="12"/>
                    </a:moveTo>
                    <a:lnTo>
                      <a:pt x="59" y="12"/>
                    </a:lnTo>
                    <a:lnTo>
                      <a:pt x="59" y="19"/>
                    </a:lnTo>
                    <a:lnTo>
                      <a:pt x="62" y="26"/>
                    </a:lnTo>
                    <a:lnTo>
                      <a:pt x="63" y="33"/>
                    </a:lnTo>
                    <a:lnTo>
                      <a:pt x="66" y="42"/>
                    </a:lnTo>
                    <a:lnTo>
                      <a:pt x="72" y="58"/>
                    </a:lnTo>
                    <a:lnTo>
                      <a:pt x="79" y="75"/>
                    </a:lnTo>
                    <a:lnTo>
                      <a:pt x="87" y="93"/>
                    </a:lnTo>
                    <a:lnTo>
                      <a:pt x="93" y="111"/>
                    </a:lnTo>
                    <a:lnTo>
                      <a:pt x="96" y="120"/>
                    </a:lnTo>
                    <a:lnTo>
                      <a:pt x="98" y="129"/>
                    </a:lnTo>
                    <a:lnTo>
                      <a:pt x="99" y="138"/>
                    </a:lnTo>
                    <a:lnTo>
                      <a:pt x="99" y="148"/>
                    </a:lnTo>
                    <a:lnTo>
                      <a:pt x="99" y="289"/>
                    </a:lnTo>
                    <a:lnTo>
                      <a:pt x="89" y="290"/>
                    </a:lnTo>
                    <a:lnTo>
                      <a:pt x="80" y="293"/>
                    </a:lnTo>
                    <a:lnTo>
                      <a:pt x="73" y="297"/>
                    </a:lnTo>
                    <a:lnTo>
                      <a:pt x="66" y="301"/>
                    </a:lnTo>
                    <a:lnTo>
                      <a:pt x="59" y="290"/>
                    </a:lnTo>
                    <a:lnTo>
                      <a:pt x="54" y="280"/>
                    </a:lnTo>
                    <a:lnTo>
                      <a:pt x="48" y="271"/>
                    </a:lnTo>
                    <a:lnTo>
                      <a:pt x="45" y="262"/>
                    </a:lnTo>
                    <a:lnTo>
                      <a:pt x="43" y="252"/>
                    </a:lnTo>
                    <a:lnTo>
                      <a:pt x="41" y="242"/>
                    </a:lnTo>
                    <a:lnTo>
                      <a:pt x="40" y="232"/>
                    </a:lnTo>
                    <a:lnTo>
                      <a:pt x="40" y="222"/>
                    </a:lnTo>
                    <a:lnTo>
                      <a:pt x="40" y="141"/>
                    </a:lnTo>
                    <a:lnTo>
                      <a:pt x="0" y="6"/>
                    </a:lnTo>
                    <a:lnTo>
                      <a:pt x="5" y="2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2" y="2"/>
                    </a:lnTo>
                    <a:lnTo>
                      <a:pt x="37" y="4"/>
                    </a:lnTo>
                    <a:lnTo>
                      <a:pt x="41" y="6"/>
                    </a:lnTo>
                    <a:lnTo>
                      <a:pt x="47" y="10"/>
                    </a:lnTo>
                    <a:lnTo>
                      <a:pt x="53" y="12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47" name="Freeform 269">
                <a:extLst>
                  <a:ext uri="{FF2B5EF4-FFF2-40B4-BE49-F238E27FC236}">
                    <a16:creationId xmlns="" xmlns:a16="http://schemas.microsoft.com/office/drawing/2014/main" id="{5289CBA2-30F8-434C-8C13-2CBB7D7CCD0B}"/>
                  </a:ext>
                </a:extLst>
              </p:cNvPr>
              <p:cNvSpPr>
                <a:spLocks/>
              </p:cNvSpPr>
              <p:nvPr>
                <p:custDataLst>
                  <p:tags r:id="rId196"/>
                </p:custDataLst>
              </p:nvPr>
            </p:nvSpPr>
            <p:spPr bwMode="auto">
              <a:xfrm>
                <a:off x="4038600" y="3275013"/>
                <a:ext cx="76200" cy="188912"/>
              </a:xfrm>
              <a:custGeom>
                <a:avLst/>
                <a:gdLst>
                  <a:gd name="T0" fmla="*/ 0 w 173"/>
                  <a:gd name="T1" fmla="*/ 2147483646 h 357"/>
                  <a:gd name="T2" fmla="*/ 2147483646 w 173"/>
                  <a:gd name="T3" fmla="*/ 2147483646 h 357"/>
                  <a:gd name="T4" fmla="*/ 2147483646 w 173"/>
                  <a:gd name="T5" fmla="*/ 2147483646 h 357"/>
                  <a:gd name="T6" fmla="*/ 2147483646 w 173"/>
                  <a:gd name="T7" fmla="*/ 2147483646 h 357"/>
                  <a:gd name="T8" fmla="*/ 2147483646 w 173"/>
                  <a:gd name="T9" fmla="*/ 2147483646 h 357"/>
                  <a:gd name="T10" fmla="*/ 2147483646 w 173"/>
                  <a:gd name="T11" fmla="*/ 2147483646 h 357"/>
                  <a:gd name="T12" fmla="*/ 2147483646 w 173"/>
                  <a:gd name="T13" fmla="*/ 2147483646 h 357"/>
                  <a:gd name="T14" fmla="*/ 2147483646 w 173"/>
                  <a:gd name="T15" fmla="*/ 0 h 357"/>
                  <a:gd name="T16" fmla="*/ 2147483646 w 173"/>
                  <a:gd name="T17" fmla="*/ 2147483646 h 357"/>
                  <a:gd name="T18" fmla="*/ 2147483646 w 173"/>
                  <a:gd name="T19" fmla="*/ 2147483646 h 357"/>
                  <a:gd name="T20" fmla="*/ 2147483646 w 173"/>
                  <a:gd name="T21" fmla="*/ 2147483646 h 357"/>
                  <a:gd name="T22" fmla="*/ 2147483646 w 173"/>
                  <a:gd name="T23" fmla="*/ 2147483646 h 357"/>
                  <a:gd name="T24" fmla="*/ 2147483646 w 173"/>
                  <a:gd name="T25" fmla="*/ 2147483646 h 357"/>
                  <a:gd name="T26" fmla="*/ 2147483646 w 173"/>
                  <a:gd name="T27" fmla="*/ 2147483646 h 357"/>
                  <a:gd name="T28" fmla="*/ 2147483646 w 173"/>
                  <a:gd name="T29" fmla="*/ 2147483646 h 357"/>
                  <a:gd name="T30" fmla="*/ 2147483646 w 173"/>
                  <a:gd name="T31" fmla="*/ 2147483646 h 357"/>
                  <a:gd name="T32" fmla="*/ 2147483646 w 173"/>
                  <a:gd name="T33" fmla="*/ 2147483646 h 357"/>
                  <a:gd name="T34" fmla="*/ 2147483646 w 173"/>
                  <a:gd name="T35" fmla="*/ 2147483646 h 357"/>
                  <a:gd name="T36" fmla="*/ 2147483646 w 173"/>
                  <a:gd name="T37" fmla="*/ 2147483646 h 357"/>
                  <a:gd name="T38" fmla="*/ 2147483646 w 173"/>
                  <a:gd name="T39" fmla="*/ 2147483646 h 357"/>
                  <a:gd name="T40" fmla="*/ 2147483646 w 173"/>
                  <a:gd name="T41" fmla="*/ 2147483646 h 357"/>
                  <a:gd name="T42" fmla="*/ 2147483646 w 173"/>
                  <a:gd name="T43" fmla="*/ 2147483646 h 357"/>
                  <a:gd name="T44" fmla="*/ 2147483646 w 173"/>
                  <a:gd name="T45" fmla="*/ 2147483646 h 357"/>
                  <a:gd name="T46" fmla="*/ 2147483646 w 173"/>
                  <a:gd name="T47" fmla="*/ 2147483646 h 357"/>
                  <a:gd name="T48" fmla="*/ 2147483646 w 173"/>
                  <a:gd name="T49" fmla="*/ 2147483646 h 357"/>
                  <a:gd name="T50" fmla="*/ 2147483646 w 173"/>
                  <a:gd name="T51" fmla="*/ 2147483646 h 357"/>
                  <a:gd name="T52" fmla="*/ 2147483646 w 173"/>
                  <a:gd name="T53" fmla="*/ 2147483646 h 357"/>
                  <a:gd name="T54" fmla="*/ 2147483646 w 173"/>
                  <a:gd name="T55" fmla="*/ 2147483646 h 357"/>
                  <a:gd name="T56" fmla="*/ 2147483646 w 173"/>
                  <a:gd name="T57" fmla="*/ 2147483646 h 357"/>
                  <a:gd name="T58" fmla="*/ 2147483646 w 173"/>
                  <a:gd name="T59" fmla="*/ 2147483646 h 357"/>
                  <a:gd name="T60" fmla="*/ 2147483646 w 173"/>
                  <a:gd name="T61" fmla="*/ 2147483646 h 357"/>
                  <a:gd name="T62" fmla="*/ 2147483646 w 173"/>
                  <a:gd name="T63" fmla="*/ 2147483646 h 357"/>
                  <a:gd name="T64" fmla="*/ 2147483646 w 173"/>
                  <a:gd name="T65" fmla="*/ 2147483646 h 357"/>
                  <a:gd name="T66" fmla="*/ 2147483646 w 173"/>
                  <a:gd name="T67" fmla="*/ 2147483646 h 357"/>
                  <a:gd name="T68" fmla="*/ 2147483646 w 173"/>
                  <a:gd name="T69" fmla="*/ 2147483646 h 357"/>
                  <a:gd name="T70" fmla="*/ 2147483646 w 173"/>
                  <a:gd name="T71" fmla="*/ 2147483646 h 357"/>
                  <a:gd name="T72" fmla="*/ 2147483646 w 173"/>
                  <a:gd name="T73" fmla="*/ 2147483646 h 357"/>
                  <a:gd name="T74" fmla="*/ 2147483646 w 173"/>
                  <a:gd name="T75" fmla="*/ 2147483646 h 357"/>
                  <a:gd name="T76" fmla="*/ 2147483646 w 173"/>
                  <a:gd name="T77" fmla="*/ 2147483646 h 357"/>
                  <a:gd name="T78" fmla="*/ 2147483646 w 173"/>
                  <a:gd name="T79" fmla="*/ 2147483646 h 357"/>
                  <a:gd name="T80" fmla="*/ 2147483646 w 173"/>
                  <a:gd name="T81" fmla="*/ 2147483646 h 357"/>
                  <a:gd name="T82" fmla="*/ 2147483646 w 173"/>
                  <a:gd name="T83" fmla="*/ 2147483646 h 357"/>
                  <a:gd name="T84" fmla="*/ 2147483646 w 173"/>
                  <a:gd name="T85" fmla="*/ 2147483646 h 357"/>
                  <a:gd name="T86" fmla="*/ 2147483646 w 173"/>
                  <a:gd name="T87" fmla="*/ 2147483646 h 357"/>
                  <a:gd name="T88" fmla="*/ 2147483646 w 173"/>
                  <a:gd name="T89" fmla="*/ 2147483646 h 357"/>
                  <a:gd name="T90" fmla="*/ 2147483646 w 173"/>
                  <a:gd name="T91" fmla="*/ 2147483646 h 357"/>
                  <a:gd name="T92" fmla="*/ 2147483646 w 173"/>
                  <a:gd name="T93" fmla="*/ 2147483646 h 357"/>
                  <a:gd name="T94" fmla="*/ 2147483646 w 173"/>
                  <a:gd name="T95" fmla="*/ 2147483646 h 357"/>
                  <a:gd name="T96" fmla="*/ 2147483646 w 173"/>
                  <a:gd name="T97" fmla="*/ 2147483646 h 357"/>
                  <a:gd name="T98" fmla="*/ 2147483646 w 173"/>
                  <a:gd name="T99" fmla="*/ 2147483646 h 357"/>
                  <a:gd name="T100" fmla="*/ 2147483646 w 173"/>
                  <a:gd name="T101" fmla="*/ 2147483646 h 357"/>
                  <a:gd name="T102" fmla="*/ 2147483646 w 173"/>
                  <a:gd name="T103" fmla="*/ 2147483646 h 357"/>
                  <a:gd name="T104" fmla="*/ 2147483646 w 173"/>
                  <a:gd name="T105" fmla="*/ 2147483646 h 357"/>
                  <a:gd name="T106" fmla="*/ 2147483646 w 173"/>
                  <a:gd name="T107" fmla="*/ 2147483646 h 357"/>
                  <a:gd name="T108" fmla="*/ 2147483646 w 173"/>
                  <a:gd name="T109" fmla="*/ 2147483646 h 357"/>
                  <a:gd name="T110" fmla="*/ 2147483646 w 173"/>
                  <a:gd name="T111" fmla="*/ 2147483646 h 357"/>
                  <a:gd name="T112" fmla="*/ 2147483646 w 173"/>
                  <a:gd name="T113" fmla="*/ 2147483646 h 357"/>
                  <a:gd name="T114" fmla="*/ 2147483646 w 173"/>
                  <a:gd name="T115" fmla="*/ 2147483646 h 357"/>
                  <a:gd name="T116" fmla="*/ 2147483646 w 173"/>
                  <a:gd name="T117" fmla="*/ 2147483646 h 357"/>
                  <a:gd name="T118" fmla="*/ 0 w 173"/>
                  <a:gd name="T119" fmla="*/ 2147483646 h 357"/>
                  <a:gd name="T120" fmla="*/ 0 w 173"/>
                  <a:gd name="T121" fmla="*/ 2147483646 h 357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73"/>
                  <a:gd name="T184" fmla="*/ 0 h 357"/>
                  <a:gd name="T185" fmla="*/ 173 w 173"/>
                  <a:gd name="T186" fmla="*/ 357 h 357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73" h="357">
                    <a:moveTo>
                      <a:pt x="0" y="80"/>
                    </a:moveTo>
                    <a:lnTo>
                      <a:pt x="9" y="72"/>
                    </a:lnTo>
                    <a:lnTo>
                      <a:pt x="17" y="65"/>
                    </a:lnTo>
                    <a:lnTo>
                      <a:pt x="25" y="60"/>
                    </a:lnTo>
                    <a:lnTo>
                      <a:pt x="33" y="56"/>
                    </a:lnTo>
                    <a:lnTo>
                      <a:pt x="40" y="50"/>
                    </a:lnTo>
                    <a:lnTo>
                      <a:pt x="67" y="50"/>
                    </a:lnTo>
                    <a:lnTo>
                      <a:pt x="94" y="0"/>
                    </a:lnTo>
                    <a:lnTo>
                      <a:pt x="101" y="3"/>
                    </a:lnTo>
                    <a:lnTo>
                      <a:pt x="108" y="7"/>
                    </a:lnTo>
                    <a:lnTo>
                      <a:pt x="116" y="12"/>
                    </a:lnTo>
                    <a:lnTo>
                      <a:pt x="123" y="18"/>
                    </a:lnTo>
                    <a:lnTo>
                      <a:pt x="131" y="22"/>
                    </a:lnTo>
                    <a:lnTo>
                      <a:pt x="139" y="27"/>
                    </a:lnTo>
                    <a:lnTo>
                      <a:pt x="145" y="29"/>
                    </a:lnTo>
                    <a:lnTo>
                      <a:pt x="153" y="30"/>
                    </a:lnTo>
                    <a:lnTo>
                      <a:pt x="163" y="39"/>
                    </a:lnTo>
                    <a:lnTo>
                      <a:pt x="173" y="50"/>
                    </a:lnTo>
                    <a:lnTo>
                      <a:pt x="173" y="61"/>
                    </a:lnTo>
                    <a:lnTo>
                      <a:pt x="173" y="69"/>
                    </a:lnTo>
                    <a:lnTo>
                      <a:pt x="173" y="80"/>
                    </a:lnTo>
                    <a:lnTo>
                      <a:pt x="173" y="98"/>
                    </a:lnTo>
                    <a:lnTo>
                      <a:pt x="173" y="109"/>
                    </a:lnTo>
                    <a:lnTo>
                      <a:pt x="171" y="118"/>
                    </a:lnTo>
                    <a:lnTo>
                      <a:pt x="167" y="127"/>
                    </a:lnTo>
                    <a:lnTo>
                      <a:pt x="163" y="135"/>
                    </a:lnTo>
                    <a:lnTo>
                      <a:pt x="152" y="151"/>
                    </a:lnTo>
                    <a:lnTo>
                      <a:pt x="140" y="167"/>
                    </a:lnTo>
                    <a:lnTo>
                      <a:pt x="128" y="183"/>
                    </a:lnTo>
                    <a:lnTo>
                      <a:pt x="117" y="200"/>
                    </a:lnTo>
                    <a:lnTo>
                      <a:pt x="112" y="209"/>
                    </a:lnTo>
                    <a:lnTo>
                      <a:pt x="109" y="219"/>
                    </a:lnTo>
                    <a:lnTo>
                      <a:pt x="108" y="229"/>
                    </a:lnTo>
                    <a:lnTo>
                      <a:pt x="107" y="240"/>
                    </a:lnTo>
                    <a:lnTo>
                      <a:pt x="108" y="273"/>
                    </a:lnTo>
                    <a:lnTo>
                      <a:pt x="109" y="293"/>
                    </a:lnTo>
                    <a:lnTo>
                      <a:pt x="110" y="302"/>
                    </a:lnTo>
                    <a:lnTo>
                      <a:pt x="109" y="313"/>
                    </a:lnTo>
                    <a:lnTo>
                      <a:pt x="109" y="327"/>
                    </a:lnTo>
                    <a:lnTo>
                      <a:pt x="107" y="345"/>
                    </a:lnTo>
                    <a:lnTo>
                      <a:pt x="97" y="346"/>
                    </a:lnTo>
                    <a:lnTo>
                      <a:pt x="88" y="347"/>
                    </a:lnTo>
                    <a:lnTo>
                      <a:pt x="79" y="349"/>
                    </a:lnTo>
                    <a:lnTo>
                      <a:pt x="71" y="351"/>
                    </a:lnTo>
                    <a:lnTo>
                      <a:pt x="63" y="353"/>
                    </a:lnTo>
                    <a:lnTo>
                      <a:pt x="55" y="355"/>
                    </a:lnTo>
                    <a:lnTo>
                      <a:pt x="48" y="357"/>
                    </a:lnTo>
                    <a:lnTo>
                      <a:pt x="40" y="357"/>
                    </a:lnTo>
                    <a:lnTo>
                      <a:pt x="40" y="216"/>
                    </a:lnTo>
                    <a:lnTo>
                      <a:pt x="40" y="206"/>
                    </a:lnTo>
                    <a:lnTo>
                      <a:pt x="39" y="197"/>
                    </a:lnTo>
                    <a:lnTo>
                      <a:pt x="37" y="188"/>
                    </a:lnTo>
                    <a:lnTo>
                      <a:pt x="34" y="179"/>
                    </a:lnTo>
                    <a:lnTo>
                      <a:pt x="28" y="161"/>
                    </a:lnTo>
                    <a:lnTo>
                      <a:pt x="20" y="143"/>
                    </a:lnTo>
                    <a:lnTo>
                      <a:pt x="13" y="126"/>
                    </a:lnTo>
                    <a:lnTo>
                      <a:pt x="7" y="110"/>
                    </a:lnTo>
                    <a:lnTo>
                      <a:pt x="4" y="101"/>
                    </a:lnTo>
                    <a:lnTo>
                      <a:pt x="3" y="94"/>
                    </a:lnTo>
                    <a:lnTo>
                      <a:pt x="0" y="87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48" name="Freeform 270">
                <a:extLst>
                  <a:ext uri="{FF2B5EF4-FFF2-40B4-BE49-F238E27FC236}">
                    <a16:creationId xmlns="" xmlns:a16="http://schemas.microsoft.com/office/drawing/2014/main" id="{07E708FC-C77F-4674-8935-7602B10C1D96}"/>
                  </a:ext>
                </a:extLst>
              </p:cNvPr>
              <p:cNvSpPr>
                <a:spLocks/>
              </p:cNvSpPr>
              <p:nvPr>
                <p:custDataLst>
                  <p:tags r:id="rId197"/>
                </p:custDataLst>
              </p:nvPr>
            </p:nvSpPr>
            <p:spPr bwMode="auto">
              <a:xfrm>
                <a:off x="4767263" y="4479925"/>
                <a:ext cx="25400" cy="60325"/>
              </a:xfrm>
              <a:custGeom>
                <a:avLst/>
                <a:gdLst>
                  <a:gd name="T0" fmla="*/ 2147483646 w 50"/>
                  <a:gd name="T1" fmla="*/ 0 h 74"/>
                  <a:gd name="T2" fmla="*/ 2147483646 w 50"/>
                  <a:gd name="T3" fmla="*/ 2147483646 h 74"/>
                  <a:gd name="T4" fmla="*/ 2147483646 w 50"/>
                  <a:gd name="T5" fmla="*/ 2147483646 h 74"/>
                  <a:gd name="T6" fmla="*/ 0 w 50"/>
                  <a:gd name="T7" fmla="*/ 2147483646 h 74"/>
                  <a:gd name="T8" fmla="*/ 0 w 50"/>
                  <a:gd name="T9" fmla="*/ 2147483646 h 74"/>
                  <a:gd name="T10" fmla="*/ 0 w 50"/>
                  <a:gd name="T11" fmla="*/ 2147483646 h 74"/>
                  <a:gd name="T12" fmla="*/ 2147483646 w 50"/>
                  <a:gd name="T13" fmla="*/ 2147483646 h 74"/>
                  <a:gd name="T14" fmla="*/ 2147483646 w 50"/>
                  <a:gd name="T15" fmla="*/ 2147483646 h 74"/>
                  <a:gd name="T16" fmla="*/ 2147483646 w 50"/>
                  <a:gd name="T17" fmla="*/ 2147483646 h 74"/>
                  <a:gd name="T18" fmla="*/ 2147483646 w 50"/>
                  <a:gd name="T19" fmla="*/ 2147483646 h 74"/>
                  <a:gd name="T20" fmla="*/ 2147483646 w 50"/>
                  <a:gd name="T21" fmla="*/ 2147483646 h 74"/>
                  <a:gd name="T22" fmla="*/ 2147483646 w 50"/>
                  <a:gd name="T23" fmla="*/ 2147483646 h 74"/>
                  <a:gd name="T24" fmla="*/ 2147483646 w 50"/>
                  <a:gd name="T25" fmla="*/ 2147483646 h 74"/>
                  <a:gd name="T26" fmla="*/ 2147483646 w 50"/>
                  <a:gd name="T27" fmla="*/ 0 h 74"/>
                  <a:gd name="T28" fmla="*/ 2147483646 w 50"/>
                  <a:gd name="T29" fmla="*/ 0 h 74"/>
                  <a:gd name="T30" fmla="*/ 2147483646 w 50"/>
                  <a:gd name="T31" fmla="*/ 0 h 74"/>
                  <a:gd name="T32" fmla="*/ 2147483646 w 50"/>
                  <a:gd name="T33" fmla="*/ 0 h 74"/>
                  <a:gd name="T34" fmla="*/ 2147483646 w 50"/>
                  <a:gd name="T35" fmla="*/ 0 h 7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50"/>
                  <a:gd name="T55" fmla="*/ 0 h 74"/>
                  <a:gd name="T56" fmla="*/ 50 w 50"/>
                  <a:gd name="T57" fmla="*/ 74 h 74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50" h="74">
                    <a:moveTo>
                      <a:pt x="10" y="0"/>
                    </a:moveTo>
                    <a:lnTo>
                      <a:pt x="6" y="14"/>
                    </a:lnTo>
                    <a:lnTo>
                      <a:pt x="2" y="2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0" y="50"/>
                    </a:lnTo>
                    <a:lnTo>
                      <a:pt x="2" y="56"/>
                    </a:lnTo>
                    <a:lnTo>
                      <a:pt x="6" y="61"/>
                    </a:lnTo>
                    <a:lnTo>
                      <a:pt x="10" y="68"/>
                    </a:lnTo>
                    <a:lnTo>
                      <a:pt x="50" y="74"/>
                    </a:lnTo>
                    <a:lnTo>
                      <a:pt x="50" y="51"/>
                    </a:lnTo>
                    <a:lnTo>
                      <a:pt x="50" y="34"/>
                    </a:lnTo>
                    <a:lnTo>
                      <a:pt x="50" y="19"/>
                    </a:lnTo>
                    <a:lnTo>
                      <a:pt x="50" y="0"/>
                    </a:lnTo>
                    <a:lnTo>
                      <a:pt x="38" y="0"/>
                    </a:lnTo>
                    <a:lnTo>
                      <a:pt x="25" y="0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49" name="Freeform 271">
                <a:extLst>
                  <a:ext uri="{FF2B5EF4-FFF2-40B4-BE49-F238E27FC236}">
                    <a16:creationId xmlns="" xmlns:a16="http://schemas.microsoft.com/office/drawing/2014/main" id="{19167142-B678-4080-ADBE-C1D12A3A5773}"/>
                  </a:ext>
                </a:extLst>
              </p:cNvPr>
              <p:cNvSpPr>
                <a:spLocks/>
              </p:cNvSpPr>
              <p:nvPr>
                <p:custDataLst>
                  <p:tags r:id="rId198"/>
                </p:custDataLst>
              </p:nvPr>
            </p:nvSpPr>
            <p:spPr bwMode="auto">
              <a:xfrm>
                <a:off x="4662488" y="4576763"/>
                <a:ext cx="61912" cy="57150"/>
              </a:xfrm>
              <a:custGeom>
                <a:avLst/>
                <a:gdLst>
                  <a:gd name="T0" fmla="*/ 2147483646 w 135"/>
                  <a:gd name="T1" fmla="*/ 2147483646 h 98"/>
                  <a:gd name="T2" fmla="*/ 2147483646 w 135"/>
                  <a:gd name="T3" fmla="*/ 2147483646 h 98"/>
                  <a:gd name="T4" fmla="*/ 2147483646 w 135"/>
                  <a:gd name="T5" fmla="*/ 2147483646 h 98"/>
                  <a:gd name="T6" fmla="*/ 2147483646 w 135"/>
                  <a:gd name="T7" fmla="*/ 2147483646 h 98"/>
                  <a:gd name="T8" fmla="*/ 2147483646 w 135"/>
                  <a:gd name="T9" fmla="*/ 2147483646 h 98"/>
                  <a:gd name="T10" fmla="*/ 2147483646 w 135"/>
                  <a:gd name="T11" fmla="*/ 2147483646 h 98"/>
                  <a:gd name="T12" fmla="*/ 2147483646 w 135"/>
                  <a:gd name="T13" fmla="*/ 2147483646 h 98"/>
                  <a:gd name="T14" fmla="*/ 2147483646 w 135"/>
                  <a:gd name="T15" fmla="*/ 2147483646 h 98"/>
                  <a:gd name="T16" fmla="*/ 2147483646 w 135"/>
                  <a:gd name="T17" fmla="*/ 2147483646 h 98"/>
                  <a:gd name="T18" fmla="*/ 2147483646 w 135"/>
                  <a:gd name="T19" fmla="*/ 2147483646 h 98"/>
                  <a:gd name="T20" fmla="*/ 2147483646 w 135"/>
                  <a:gd name="T21" fmla="*/ 2147483646 h 98"/>
                  <a:gd name="T22" fmla="*/ 2147483646 w 135"/>
                  <a:gd name="T23" fmla="*/ 0 h 98"/>
                  <a:gd name="T24" fmla="*/ 2147483646 w 135"/>
                  <a:gd name="T25" fmla="*/ 0 h 98"/>
                  <a:gd name="T26" fmla="*/ 2147483646 w 135"/>
                  <a:gd name="T27" fmla="*/ 0 h 98"/>
                  <a:gd name="T28" fmla="*/ 2147483646 w 135"/>
                  <a:gd name="T29" fmla="*/ 2147483646 h 98"/>
                  <a:gd name="T30" fmla="*/ 2147483646 w 135"/>
                  <a:gd name="T31" fmla="*/ 2147483646 h 98"/>
                  <a:gd name="T32" fmla="*/ 2147483646 w 135"/>
                  <a:gd name="T33" fmla="*/ 2147483646 h 98"/>
                  <a:gd name="T34" fmla="*/ 2147483646 w 135"/>
                  <a:gd name="T35" fmla="*/ 2147483646 h 98"/>
                  <a:gd name="T36" fmla="*/ 2147483646 w 135"/>
                  <a:gd name="T37" fmla="*/ 2147483646 h 98"/>
                  <a:gd name="T38" fmla="*/ 2147483646 w 135"/>
                  <a:gd name="T39" fmla="*/ 2147483646 h 98"/>
                  <a:gd name="T40" fmla="*/ 2147483646 w 135"/>
                  <a:gd name="T41" fmla="*/ 2147483646 h 98"/>
                  <a:gd name="T42" fmla="*/ 2147483646 w 135"/>
                  <a:gd name="T43" fmla="*/ 2147483646 h 98"/>
                  <a:gd name="T44" fmla="*/ 2147483646 w 135"/>
                  <a:gd name="T45" fmla="*/ 2147483646 h 98"/>
                  <a:gd name="T46" fmla="*/ 2147483646 w 135"/>
                  <a:gd name="T47" fmla="*/ 2147483646 h 98"/>
                  <a:gd name="T48" fmla="*/ 2147483646 w 135"/>
                  <a:gd name="T49" fmla="*/ 2147483646 h 98"/>
                  <a:gd name="T50" fmla="*/ 2147483646 w 135"/>
                  <a:gd name="T51" fmla="*/ 2147483646 h 98"/>
                  <a:gd name="T52" fmla="*/ 2147483646 w 135"/>
                  <a:gd name="T53" fmla="*/ 2147483646 h 98"/>
                  <a:gd name="T54" fmla="*/ 2147483646 w 135"/>
                  <a:gd name="T55" fmla="*/ 2147483646 h 98"/>
                  <a:gd name="T56" fmla="*/ 2147483646 w 135"/>
                  <a:gd name="T57" fmla="*/ 2147483646 h 98"/>
                  <a:gd name="T58" fmla="*/ 2147483646 w 135"/>
                  <a:gd name="T59" fmla="*/ 2147483646 h 98"/>
                  <a:gd name="T60" fmla="*/ 2147483646 w 135"/>
                  <a:gd name="T61" fmla="*/ 2147483646 h 98"/>
                  <a:gd name="T62" fmla="*/ 2147483646 w 135"/>
                  <a:gd name="T63" fmla="*/ 2147483646 h 98"/>
                  <a:gd name="T64" fmla="*/ 2147483646 w 135"/>
                  <a:gd name="T65" fmla="*/ 2147483646 h 98"/>
                  <a:gd name="T66" fmla="*/ 2147483646 w 135"/>
                  <a:gd name="T67" fmla="*/ 2147483646 h 98"/>
                  <a:gd name="T68" fmla="*/ 2147483646 w 135"/>
                  <a:gd name="T69" fmla="*/ 2147483646 h 98"/>
                  <a:gd name="T70" fmla="*/ 2147483646 w 135"/>
                  <a:gd name="T71" fmla="*/ 2147483646 h 98"/>
                  <a:gd name="T72" fmla="*/ 2147483646 w 135"/>
                  <a:gd name="T73" fmla="*/ 2147483646 h 98"/>
                  <a:gd name="T74" fmla="*/ 2147483646 w 135"/>
                  <a:gd name="T75" fmla="*/ 2147483646 h 98"/>
                  <a:gd name="T76" fmla="*/ 0 w 135"/>
                  <a:gd name="T77" fmla="*/ 2147483646 h 98"/>
                  <a:gd name="T78" fmla="*/ 0 w 135"/>
                  <a:gd name="T79" fmla="*/ 2147483646 h 98"/>
                  <a:gd name="T80" fmla="*/ 2147483646 w 135"/>
                  <a:gd name="T81" fmla="*/ 2147483646 h 98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35"/>
                  <a:gd name="T124" fmla="*/ 0 h 98"/>
                  <a:gd name="T125" fmla="*/ 135 w 135"/>
                  <a:gd name="T126" fmla="*/ 98 h 98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35" h="98">
                    <a:moveTo>
                      <a:pt x="3" y="55"/>
                    </a:moveTo>
                    <a:lnTo>
                      <a:pt x="11" y="54"/>
                    </a:lnTo>
                    <a:lnTo>
                      <a:pt x="18" y="53"/>
                    </a:lnTo>
                    <a:lnTo>
                      <a:pt x="24" y="50"/>
                    </a:lnTo>
                    <a:lnTo>
                      <a:pt x="31" y="47"/>
                    </a:lnTo>
                    <a:lnTo>
                      <a:pt x="42" y="38"/>
                    </a:lnTo>
                    <a:lnTo>
                      <a:pt x="52" y="28"/>
                    </a:lnTo>
                    <a:lnTo>
                      <a:pt x="61" y="18"/>
                    </a:lnTo>
                    <a:lnTo>
                      <a:pt x="71" y="8"/>
                    </a:lnTo>
                    <a:lnTo>
                      <a:pt x="76" y="5"/>
                    </a:lnTo>
                    <a:lnTo>
                      <a:pt x="82" y="2"/>
                    </a:lnTo>
                    <a:lnTo>
                      <a:pt x="88" y="0"/>
                    </a:lnTo>
                    <a:lnTo>
                      <a:pt x="96" y="0"/>
                    </a:lnTo>
                    <a:lnTo>
                      <a:pt x="102" y="0"/>
                    </a:lnTo>
                    <a:lnTo>
                      <a:pt x="110" y="3"/>
                    </a:lnTo>
                    <a:lnTo>
                      <a:pt x="117" y="6"/>
                    </a:lnTo>
                    <a:lnTo>
                      <a:pt x="123" y="11"/>
                    </a:lnTo>
                    <a:lnTo>
                      <a:pt x="128" y="16"/>
                    </a:lnTo>
                    <a:lnTo>
                      <a:pt x="132" y="24"/>
                    </a:lnTo>
                    <a:lnTo>
                      <a:pt x="134" y="30"/>
                    </a:lnTo>
                    <a:lnTo>
                      <a:pt x="135" y="37"/>
                    </a:lnTo>
                    <a:lnTo>
                      <a:pt x="134" y="40"/>
                    </a:lnTo>
                    <a:lnTo>
                      <a:pt x="132" y="43"/>
                    </a:lnTo>
                    <a:lnTo>
                      <a:pt x="129" y="47"/>
                    </a:lnTo>
                    <a:lnTo>
                      <a:pt x="124" y="51"/>
                    </a:lnTo>
                    <a:lnTo>
                      <a:pt x="113" y="61"/>
                    </a:lnTo>
                    <a:lnTo>
                      <a:pt x="100" y="72"/>
                    </a:lnTo>
                    <a:lnTo>
                      <a:pt x="87" y="82"/>
                    </a:lnTo>
                    <a:lnTo>
                      <a:pt x="74" y="91"/>
                    </a:lnTo>
                    <a:lnTo>
                      <a:pt x="63" y="96"/>
                    </a:lnTo>
                    <a:lnTo>
                      <a:pt x="55" y="98"/>
                    </a:lnTo>
                    <a:lnTo>
                      <a:pt x="51" y="97"/>
                    </a:lnTo>
                    <a:lnTo>
                      <a:pt x="43" y="92"/>
                    </a:lnTo>
                    <a:lnTo>
                      <a:pt x="32" y="85"/>
                    </a:lnTo>
                    <a:lnTo>
                      <a:pt x="21" y="77"/>
                    </a:lnTo>
                    <a:lnTo>
                      <a:pt x="11" y="68"/>
                    </a:lnTo>
                    <a:lnTo>
                      <a:pt x="5" y="62"/>
                    </a:lnTo>
                    <a:lnTo>
                      <a:pt x="1" y="59"/>
                    </a:lnTo>
                    <a:lnTo>
                      <a:pt x="0" y="57"/>
                    </a:lnTo>
                    <a:lnTo>
                      <a:pt x="0" y="56"/>
                    </a:lnTo>
                    <a:lnTo>
                      <a:pt x="3" y="55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50" name="Freeform 272">
                <a:extLst>
                  <a:ext uri="{FF2B5EF4-FFF2-40B4-BE49-F238E27FC236}">
                    <a16:creationId xmlns="" xmlns:a16="http://schemas.microsoft.com/office/drawing/2014/main" id="{11CAF3EC-7FA9-4BB0-81FF-0928F2D58F5E}"/>
                  </a:ext>
                </a:extLst>
              </p:cNvPr>
              <p:cNvSpPr>
                <a:spLocks/>
              </p:cNvSpPr>
              <p:nvPr>
                <p:custDataLst>
                  <p:tags r:id="rId199"/>
                </p:custDataLst>
              </p:nvPr>
            </p:nvSpPr>
            <p:spPr bwMode="auto">
              <a:xfrm>
                <a:off x="6880225" y="2290763"/>
                <a:ext cx="120650" cy="171450"/>
              </a:xfrm>
              <a:custGeom>
                <a:avLst/>
                <a:gdLst>
                  <a:gd name="T0" fmla="*/ 2147483646 w 266"/>
                  <a:gd name="T1" fmla="*/ 2147483646 h 326"/>
                  <a:gd name="T2" fmla="*/ 2147483646 w 266"/>
                  <a:gd name="T3" fmla="*/ 2147483646 h 326"/>
                  <a:gd name="T4" fmla="*/ 2147483646 w 266"/>
                  <a:gd name="T5" fmla="*/ 2147483646 h 326"/>
                  <a:gd name="T6" fmla="*/ 2147483646 w 266"/>
                  <a:gd name="T7" fmla="*/ 2147483646 h 326"/>
                  <a:gd name="T8" fmla="*/ 2147483646 w 266"/>
                  <a:gd name="T9" fmla="*/ 2147483646 h 326"/>
                  <a:gd name="T10" fmla="*/ 2147483646 w 266"/>
                  <a:gd name="T11" fmla="*/ 2147483646 h 326"/>
                  <a:gd name="T12" fmla="*/ 2147483646 w 266"/>
                  <a:gd name="T13" fmla="*/ 2147483646 h 326"/>
                  <a:gd name="T14" fmla="*/ 2147483646 w 266"/>
                  <a:gd name="T15" fmla="*/ 2147483646 h 326"/>
                  <a:gd name="T16" fmla="*/ 2147483646 w 266"/>
                  <a:gd name="T17" fmla="*/ 2147483646 h 326"/>
                  <a:gd name="T18" fmla="*/ 2147483646 w 266"/>
                  <a:gd name="T19" fmla="*/ 2147483646 h 326"/>
                  <a:gd name="T20" fmla="*/ 2147483646 w 266"/>
                  <a:gd name="T21" fmla="*/ 2147483646 h 326"/>
                  <a:gd name="T22" fmla="*/ 2147483646 w 266"/>
                  <a:gd name="T23" fmla="*/ 2147483646 h 326"/>
                  <a:gd name="T24" fmla="*/ 2147483646 w 266"/>
                  <a:gd name="T25" fmla="*/ 2147483646 h 326"/>
                  <a:gd name="T26" fmla="*/ 2147483646 w 266"/>
                  <a:gd name="T27" fmla="*/ 2147483646 h 326"/>
                  <a:gd name="T28" fmla="*/ 2147483646 w 266"/>
                  <a:gd name="T29" fmla="*/ 2147483646 h 326"/>
                  <a:gd name="T30" fmla="*/ 2147483646 w 266"/>
                  <a:gd name="T31" fmla="*/ 2147483646 h 326"/>
                  <a:gd name="T32" fmla="*/ 2147483646 w 266"/>
                  <a:gd name="T33" fmla="*/ 2147483646 h 326"/>
                  <a:gd name="T34" fmla="*/ 2147483646 w 266"/>
                  <a:gd name="T35" fmla="*/ 2147483646 h 326"/>
                  <a:gd name="T36" fmla="*/ 2147483646 w 266"/>
                  <a:gd name="T37" fmla="*/ 2147483646 h 326"/>
                  <a:gd name="T38" fmla="*/ 2147483646 w 266"/>
                  <a:gd name="T39" fmla="*/ 2147483646 h 326"/>
                  <a:gd name="T40" fmla="*/ 2147483646 w 266"/>
                  <a:gd name="T41" fmla="*/ 2147483646 h 326"/>
                  <a:gd name="T42" fmla="*/ 2147483646 w 266"/>
                  <a:gd name="T43" fmla="*/ 2147483646 h 326"/>
                  <a:gd name="T44" fmla="*/ 2147483646 w 266"/>
                  <a:gd name="T45" fmla="*/ 2147483646 h 326"/>
                  <a:gd name="T46" fmla="*/ 2147483646 w 266"/>
                  <a:gd name="T47" fmla="*/ 2147483646 h 326"/>
                  <a:gd name="T48" fmla="*/ 2147483646 w 266"/>
                  <a:gd name="T49" fmla="*/ 2147483646 h 326"/>
                  <a:gd name="T50" fmla="*/ 2147483646 w 266"/>
                  <a:gd name="T51" fmla="*/ 2147483646 h 326"/>
                  <a:gd name="T52" fmla="*/ 2147483646 w 266"/>
                  <a:gd name="T53" fmla="*/ 2147483646 h 326"/>
                  <a:gd name="T54" fmla="*/ 2147483646 w 266"/>
                  <a:gd name="T55" fmla="*/ 2147483646 h 326"/>
                  <a:gd name="T56" fmla="*/ 2147483646 w 266"/>
                  <a:gd name="T57" fmla="*/ 2147483646 h 326"/>
                  <a:gd name="T58" fmla="*/ 2147483646 w 266"/>
                  <a:gd name="T59" fmla="*/ 2147483646 h 326"/>
                  <a:gd name="T60" fmla="*/ 2147483646 w 266"/>
                  <a:gd name="T61" fmla="*/ 2147483646 h 326"/>
                  <a:gd name="T62" fmla="*/ 2147483646 w 266"/>
                  <a:gd name="T63" fmla="*/ 2147483646 h 326"/>
                  <a:gd name="T64" fmla="*/ 2147483646 w 266"/>
                  <a:gd name="T65" fmla="*/ 2147483646 h 326"/>
                  <a:gd name="T66" fmla="*/ 2147483646 w 266"/>
                  <a:gd name="T67" fmla="*/ 2147483646 h 326"/>
                  <a:gd name="T68" fmla="*/ 2147483646 w 266"/>
                  <a:gd name="T69" fmla="*/ 2147483646 h 326"/>
                  <a:gd name="T70" fmla="*/ 2147483646 w 266"/>
                  <a:gd name="T71" fmla="*/ 2147483646 h 326"/>
                  <a:gd name="T72" fmla="*/ 2147483646 w 266"/>
                  <a:gd name="T73" fmla="*/ 2147483646 h 326"/>
                  <a:gd name="T74" fmla="*/ 2147483646 w 266"/>
                  <a:gd name="T75" fmla="*/ 2147483646 h 326"/>
                  <a:gd name="T76" fmla="*/ 2147483646 w 266"/>
                  <a:gd name="T77" fmla="*/ 2147483646 h 326"/>
                  <a:gd name="T78" fmla="*/ 2147483646 w 266"/>
                  <a:gd name="T79" fmla="*/ 2147483646 h 326"/>
                  <a:gd name="T80" fmla="*/ 2147483646 w 266"/>
                  <a:gd name="T81" fmla="*/ 2147483646 h 326"/>
                  <a:gd name="T82" fmla="*/ 2147483646 w 266"/>
                  <a:gd name="T83" fmla="*/ 2147483646 h 326"/>
                  <a:gd name="T84" fmla="*/ 2147483646 w 266"/>
                  <a:gd name="T85" fmla="*/ 2147483646 h 326"/>
                  <a:gd name="T86" fmla="*/ 2147483646 w 266"/>
                  <a:gd name="T87" fmla="*/ 2147483646 h 326"/>
                  <a:gd name="T88" fmla="*/ 2147483646 w 266"/>
                  <a:gd name="T89" fmla="*/ 2147483646 h 326"/>
                  <a:gd name="T90" fmla="*/ 2147483646 w 266"/>
                  <a:gd name="T91" fmla="*/ 2147483646 h 326"/>
                  <a:gd name="T92" fmla="*/ 2147483646 w 266"/>
                  <a:gd name="T93" fmla="*/ 2147483646 h 326"/>
                  <a:gd name="T94" fmla="*/ 2147483646 w 266"/>
                  <a:gd name="T95" fmla="*/ 2147483646 h 326"/>
                  <a:gd name="T96" fmla="*/ 2147483646 w 266"/>
                  <a:gd name="T97" fmla="*/ 2147483646 h 326"/>
                  <a:gd name="T98" fmla="*/ 2147483646 w 266"/>
                  <a:gd name="T99" fmla="*/ 2147483646 h 326"/>
                  <a:gd name="T100" fmla="*/ 2147483646 w 266"/>
                  <a:gd name="T101" fmla="*/ 0 h 32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66"/>
                  <a:gd name="T154" fmla="*/ 0 h 326"/>
                  <a:gd name="T155" fmla="*/ 266 w 266"/>
                  <a:gd name="T156" fmla="*/ 326 h 32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66" h="326">
                    <a:moveTo>
                      <a:pt x="246" y="0"/>
                    </a:moveTo>
                    <a:lnTo>
                      <a:pt x="241" y="4"/>
                    </a:lnTo>
                    <a:lnTo>
                      <a:pt x="240" y="9"/>
                    </a:lnTo>
                    <a:lnTo>
                      <a:pt x="239" y="16"/>
                    </a:lnTo>
                    <a:lnTo>
                      <a:pt x="239" y="24"/>
                    </a:lnTo>
                    <a:lnTo>
                      <a:pt x="240" y="28"/>
                    </a:lnTo>
                    <a:lnTo>
                      <a:pt x="243" y="33"/>
                    </a:lnTo>
                    <a:lnTo>
                      <a:pt x="246" y="38"/>
                    </a:lnTo>
                    <a:lnTo>
                      <a:pt x="249" y="42"/>
                    </a:lnTo>
                    <a:lnTo>
                      <a:pt x="256" y="50"/>
                    </a:lnTo>
                    <a:lnTo>
                      <a:pt x="259" y="55"/>
                    </a:lnTo>
                    <a:lnTo>
                      <a:pt x="245" y="55"/>
                    </a:lnTo>
                    <a:lnTo>
                      <a:pt x="234" y="54"/>
                    </a:lnTo>
                    <a:lnTo>
                      <a:pt x="229" y="52"/>
                    </a:lnTo>
                    <a:lnTo>
                      <a:pt x="225" y="50"/>
                    </a:lnTo>
                    <a:lnTo>
                      <a:pt x="222" y="47"/>
                    </a:lnTo>
                    <a:lnTo>
                      <a:pt x="220" y="43"/>
                    </a:lnTo>
                    <a:lnTo>
                      <a:pt x="210" y="51"/>
                    </a:lnTo>
                    <a:lnTo>
                      <a:pt x="201" y="58"/>
                    </a:lnTo>
                    <a:lnTo>
                      <a:pt x="198" y="62"/>
                    </a:lnTo>
                    <a:lnTo>
                      <a:pt x="195" y="65"/>
                    </a:lnTo>
                    <a:lnTo>
                      <a:pt x="193" y="69"/>
                    </a:lnTo>
                    <a:lnTo>
                      <a:pt x="192" y="73"/>
                    </a:lnTo>
                    <a:lnTo>
                      <a:pt x="193" y="78"/>
                    </a:lnTo>
                    <a:lnTo>
                      <a:pt x="194" y="82"/>
                    </a:lnTo>
                    <a:lnTo>
                      <a:pt x="195" y="86"/>
                    </a:lnTo>
                    <a:lnTo>
                      <a:pt x="198" y="89"/>
                    </a:lnTo>
                    <a:lnTo>
                      <a:pt x="203" y="97"/>
                    </a:lnTo>
                    <a:lnTo>
                      <a:pt x="210" y="104"/>
                    </a:lnTo>
                    <a:lnTo>
                      <a:pt x="215" y="110"/>
                    </a:lnTo>
                    <a:lnTo>
                      <a:pt x="221" y="116"/>
                    </a:lnTo>
                    <a:lnTo>
                      <a:pt x="223" y="119"/>
                    </a:lnTo>
                    <a:lnTo>
                      <a:pt x="224" y="122"/>
                    </a:lnTo>
                    <a:lnTo>
                      <a:pt x="225" y="125"/>
                    </a:lnTo>
                    <a:lnTo>
                      <a:pt x="226" y="129"/>
                    </a:lnTo>
                    <a:lnTo>
                      <a:pt x="225" y="133"/>
                    </a:lnTo>
                    <a:lnTo>
                      <a:pt x="225" y="137"/>
                    </a:lnTo>
                    <a:lnTo>
                      <a:pt x="223" y="140"/>
                    </a:lnTo>
                    <a:lnTo>
                      <a:pt x="222" y="143"/>
                    </a:lnTo>
                    <a:lnTo>
                      <a:pt x="217" y="148"/>
                    </a:lnTo>
                    <a:lnTo>
                      <a:pt x="213" y="152"/>
                    </a:lnTo>
                    <a:lnTo>
                      <a:pt x="207" y="154"/>
                    </a:lnTo>
                    <a:lnTo>
                      <a:pt x="203" y="156"/>
                    </a:lnTo>
                    <a:lnTo>
                      <a:pt x="201" y="158"/>
                    </a:lnTo>
                    <a:lnTo>
                      <a:pt x="200" y="160"/>
                    </a:lnTo>
                    <a:lnTo>
                      <a:pt x="193" y="161"/>
                    </a:lnTo>
                    <a:lnTo>
                      <a:pt x="188" y="163"/>
                    </a:lnTo>
                    <a:lnTo>
                      <a:pt x="181" y="166"/>
                    </a:lnTo>
                    <a:lnTo>
                      <a:pt x="175" y="170"/>
                    </a:lnTo>
                    <a:lnTo>
                      <a:pt x="168" y="174"/>
                    </a:lnTo>
                    <a:lnTo>
                      <a:pt x="164" y="178"/>
                    </a:lnTo>
                    <a:lnTo>
                      <a:pt x="160" y="181"/>
                    </a:lnTo>
                    <a:lnTo>
                      <a:pt x="159" y="184"/>
                    </a:lnTo>
                    <a:lnTo>
                      <a:pt x="160" y="191"/>
                    </a:lnTo>
                    <a:lnTo>
                      <a:pt x="164" y="197"/>
                    </a:lnTo>
                    <a:lnTo>
                      <a:pt x="168" y="203"/>
                    </a:lnTo>
                    <a:lnTo>
                      <a:pt x="173" y="207"/>
                    </a:lnTo>
                    <a:lnTo>
                      <a:pt x="179" y="211"/>
                    </a:lnTo>
                    <a:lnTo>
                      <a:pt x="184" y="213"/>
                    </a:lnTo>
                    <a:lnTo>
                      <a:pt x="189" y="215"/>
                    </a:lnTo>
                    <a:lnTo>
                      <a:pt x="192" y="215"/>
                    </a:lnTo>
                    <a:lnTo>
                      <a:pt x="204" y="221"/>
                    </a:lnTo>
                    <a:lnTo>
                      <a:pt x="214" y="227"/>
                    </a:lnTo>
                    <a:lnTo>
                      <a:pt x="223" y="234"/>
                    </a:lnTo>
                    <a:lnTo>
                      <a:pt x="231" y="241"/>
                    </a:lnTo>
                    <a:lnTo>
                      <a:pt x="245" y="259"/>
                    </a:lnTo>
                    <a:lnTo>
                      <a:pt x="259" y="277"/>
                    </a:lnTo>
                    <a:lnTo>
                      <a:pt x="266" y="283"/>
                    </a:lnTo>
                    <a:lnTo>
                      <a:pt x="251" y="285"/>
                    </a:lnTo>
                    <a:lnTo>
                      <a:pt x="239" y="286"/>
                    </a:lnTo>
                    <a:lnTo>
                      <a:pt x="228" y="288"/>
                    </a:lnTo>
                    <a:lnTo>
                      <a:pt x="220" y="291"/>
                    </a:lnTo>
                    <a:lnTo>
                      <a:pt x="215" y="293"/>
                    </a:lnTo>
                    <a:lnTo>
                      <a:pt x="211" y="295"/>
                    </a:lnTo>
                    <a:lnTo>
                      <a:pt x="207" y="298"/>
                    </a:lnTo>
                    <a:lnTo>
                      <a:pt x="204" y="302"/>
                    </a:lnTo>
                    <a:lnTo>
                      <a:pt x="201" y="306"/>
                    </a:lnTo>
                    <a:lnTo>
                      <a:pt x="198" y="312"/>
                    </a:lnTo>
                    <a:lnTo>
                      <a:pt x="195" y="319"/>
                    </a:lnTo>
                    <a:lnTo>
                      <a:pt x="192" y="326"/>
                    </a:lnTo>
                    <a:lnTo>
                      <a:pt x="189" y="326"/>
                    </a:lnTo>
                    <a:lnTo>
                      <a:pt x="179" y="325"/>
                    </a:lnTo>
                    <a:lnTo>
                      <a:pt x="175" y="323"/>
                    </a:lnTo>
                    <a:lnTo>
                      <a:pt x="170" y="321"/>
                    </a:lnTo>
                    <a:lnTo>
                      <a:pt x="168" y="320"/>
                    </a:lnTo>
                    <a:lnTo>
                      <a:pt x="167" y="318"/>
                    </a:lnTo>
                    <a:lnTo>
                      <a:pt x="167" y="316"/>
                    </a:lnTo>
                    <a:lnTo>
                      <a:pt x="166" y="314"/>
                    </a:lnTo>
                    <a:lnTo>
                      <a:pt x="159" y="314"/>
                    </a:lnTo>
                    <a:lnTo>
                      <a:pt x="154" y="310"/>
                    </a:lnTo>
                    <a:lnTo>
                      <a:pt x="148" y="308"/>
                    </a:lnTo>
                    <a:lnTo>
                      <a:pt x="144" y="304"/>
                    </a:lnTo>
                    <a:lnTo>
                      <a:pt x="139" y="301"/>
                    </a:lnTo>
                    <a:lnTo>
                      <a:pt x="135" y="298"/>
                    </a:lnTo>
                    <a:lnTo>
                      <a:pt x="131" y="296"/>
                    </a:lnTo>
                    <a:lnTo>
                      <a:pt x="126" y="295"/>
                    </a:lnTo>
                    <a:lnTo>
                      <a:pt x="120" y="295"/>
                    </a:lnTo>
                    <a:lnTo>
                      <a:pt x="109" y="293"/>
                    </a:lnTo>
                    <a:lnTo>
                      <a:pt x="98" y="290"/>
                    </a:lnTo>
                    <a:lnTo>
                      <a:pt x="84" y="287"/>
                    </a:lnTo>
                    <a:lnTo>
                      <a:pt x="72" y="282"/>
                    </a:lnTo>
                    <a:lnTo>
                      <a:pt x="63" y="277"/>
                    </a:lnTo>
                    <a:lnTo>
                      <a:pt x="58" y="274"/>
                    </a:lnTo>
                    <a:lnTo>
                      <a:pt x="56" y="271"/>
                    </a:lnTo>
                    <a:lnTo>
                      <a:pt x="54" y="268"/>
                    </a:lnTo>
                    <a:lnTo>
                      <a:pt x="53" y="265"/>
                    </a:lnTo>
                    <a:lnTo>
                      <a:pt x="54" y="261"/>
                    </a:lnTo>
                    <a:lnTo>
                      <a:pt x="55" y="256"/>
                    </a:lnTo>
                    <a:lnTo>
                      <a:pt x="58" y="252"/>
                    </a:lnTo>
                    <a:lnTo>
                      <a:pt x="61" y="249"/>
                    </a:lnTo>
                    <a:lnTo>
                      <a:pt x="70" y="244"/>
                    </a:lnTo>
                    <a:lnTo>
                      <a:pt x="80" y="240"/>
                    </a:lnTo>
                    <a:lnTo>
                      <a:pt x="68" y="230"/>
                    </a:lnTo>
                    <a:lnTo>
                      <a:pt x="59" y="221"/>
                    </a:lnTo>
                    <a:lnTo>
                      <a:pt x="50" y="211"/>
                    </a:lnTo>
                    <a:lnTo>
                      <a:pt x="43" y="203"/>
                    </a:lnTo>
                    <a:lnTo>
                      <a:pt x="34" y="194"/>
                    </a:lnTo>
                    <a:lnTo>
                      <a:pt x="24" y="187"/>
                    </a:lnTo>
                    <a:lnTo>
                      <a:pt x="20" y="184"/>
                    </a:lnTo>
                    <a:lnTo>
                      <a:pt x="13" y="182"/>
                    </a:lnTo>
                    <a:lnTo>
                      <a:pt x="7" y="180"/>
                    </a:lnTo>
                    <a:lnTo>
                      <a:pt x="0" y="178"/>
                    </a:lnTo>
                    <a:lnTo>
                      <a:pt x="4" y="171"/>
                    </a:lnTo>
                    <a:lnTo>
                      <a:pt x="9" y="164"/>
                    </a:lnTo>
                    <a:lnTo>
                      <a:pt x="13" y="158"/>
                    </a:lnTo>
                    <a:lnTo>
                      <a:pt x="19" y="152"/>
                    </a:lnTo>
                    <a:lnTo>
                      <a:pt x="31" y="141"/>
                    </a:lnTo>
                    <a:lnTo>
                      <a:pt x="43" y="133"/>
                    </a:lnTo>
                    <a:lnTo>
                      <a:pt x="54" y="124"/>
                    </a:lnTo>
                    <a:lnTo>
                      <a:pt x="65" y="115"/>
                    </a:lnTo>
                    <a:lnTo>
                      <a:pt x="69" y="110"/>
                    </a:lnTo>
                    <a:lnTo>
                      <a:pt x="73" y="105"/>
                    </a:lnTo>
                    <a:lnTo>
                      <a:pt x="77" y="99"/>
                    </a:lnTo>
                    <a:lnTo>
                      <a:pt x="80" y="92"/>
                    </a:lnTo>
                    <a:lnTo>
                      <a:pt x="88" y="92"/>
                    </a:lnTo>
                    <a:lnTo>
                      <a:pt x="95" y="90"/>
                    </a:lnTo>
                    <a:lnTo>
                      <a:pt x="103" y="89"/>
                    </a:lnTo>
                    <a:lnTo>
                      <a:pt x="110" y="88"/>
                    </a:lnTo>
                    <a:lnTo>
                      <a:pt x="123" y="83"/>
                    </a:lnTo>
                    <a:lnTo>
                      <a:pt x="134" y="77"/>
                    </a:lnTo>
                    <a:lnTo>
                      <a:pt x="144" y="70"/>
                    </a:lnTo>
                    <a:lnTo>
                      <a:pt x="153" y="63"/>
                    </a:lnTo>
                    <a:lnTo>
                      <a:pt x="160" y="55"/>
                    </a:lnTo>
                    <a:lnTo>
                      <a:pt x="168" y="46"/>
                    </a:lnTo>
                    <a:lnTo>
                      <a:pt x="176" y="38"/>
                    </a:lnTo>
                    <a:lnTo>
                      <a:pt x="182" y="28"/>
                    </a:lnTo>
                    <a:lnTo>
                      <a:pt x="191" y="21"/>
                    </a:lnTo>
                    <a:lnTo>
                      <a:pt x="199" y="14"/>
                    </a:lnTo>
                    <a:lnTo>
                      <a:pt x="209" y="8"/>
                    </a:lnTo>
                    <a:lnTo>
                      <a:pt x="220" y="4"/>
                    </a:lnTo>
                    <a:lnTo>
                      <a:pt x="225" y="2"/>
                    </a:lnTo>
                    <a:lnTo>
                      <a:pt x="232" y="1"/>
                    </a:lnTo>
                    <a:lnTo>
                      <a:pt x="238" y="0"/>
                    </a:lnTo>
                    <a:lnTo>
                      <a:pt x="246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51" name="Freeform 273">
                <a:extLst>
                  <a:ext uri="{FF2B5EF4-FFF2-40B4-BE49-F238E27FC236}">
                    <a16:creationId xmlns="" xmlns:a16="http://schemas.microsoft.com/office/drawing/2014/main" id="{8CF04B69-4876-4548-AAE4-09B95E597226}"/>
                  </a:ext>
                </a:extLst>
              </p:cNvPr>
              <p:cNvSpPr>
                <a:spLocks/>
              </p:cNvSpPr>
              <p:nvPr>
                <p:custDataLst>
                  <p:tags r:id="rId200"/>
                </p:custDataLst>
              </p:nvPr>
            </p:nvSpPr>
            <p:spPr bwMode="auto">
              <a:xfrm>
                <a:off x="5951538" y="2705100"/>
                <a:ext cx="206375" cy="123825"/>
              </a:xfrm>
              <a:custGeom>
                <a:avLst/>
                <a:gdLst>
                  <a:gd name="T0" fmla="*/ 2147483646 w 471"/>
                  <a:gd name="T1" fmla="*/ 0 h 237"/>
                  <a:gd name="T2" fmla="*/ 2147483646 w 471"/>
                  <a:gd name="T3" fmla="*/ 2147483646 h 237"/>
                  <a:gd name="T4" fmla="*/ 2147483646 w 471"/>
                  <a:gd name="T5" fmla="*/ 2147483646 h 237"/>
                  <a:gd name="T6" fmla="*/ 2147483646 w 471"/>
                  <a:gd name="T7" fmla="*/ 2147483646 h 237"/>
                  <a:gd name="T8" fmla="*/ 2147483646 w 471"/>
                  <a:gd name="T9" fmla="*/ 2147483646 h 237"/>
                  <a:gd name="T10" fmla="*/ 2147483646 w 471"/>
                  <a:gd name="T11" fmla="*/ 2147483646 h 237"/>
                  <a:gd name="T12" fmla="*/ 2147483646 w 471"/>
                  <a:gd name="T13" fmla="*/ 2147483646 h 237"/>
                  <a:gd name="T14" fmla="*/ 2147483646 w 471"/>
                  <a:gd name="T15" fmla="*/ 2147483646 h 237"/>
                  <a:gd name="T16" fmla="*/ 2147483646 w 471"/>
                  <a:gd name="T17" fmla="*/ 2147483646 h 237"/>
                  <a:gd name="T18" fmla="*/ 2147483646 w 471"/>
                  <a:gd name="T19" fmla="*/ 2147483646 h 237"/>
                  <a:gd name="T20" fmla="*/ 2147483646 w 471"/>
                  <a:gd name="T21" fmla="*/ 2147483646 h 237"/>
                  <a:gd name="T22" fmla="*/ 2147483646 w 471"/>
                  <a:gd name="T23" fmla="*/ 2147483646 h 237"/>
                  <a:gd name="T24" fmla="*/ 2147483646 w 471"/>
                  <a:gd name="T25" fmla="*/ 2147483646 h 237"/>
                  <a:gd name="T26" fmla="*/ 2147483646 w 471"/>
                  <a:gd name="T27" fmla="*/ 2147483646 h 237"/>
                  <a:gd name="T28" fmla="*/ 2147483646 w 471"/>
                  <a:gd name="T29" fmla="*/ 2147483646 h 237"/>
                  <a:gd name="T30" fmla="*/ 2147483646 w 471"/>
                  <a:gd name="T31" fmla="*/ 2147483646 h 237"/>
                  <a:gd name="T32" fmla="*/ 2147483646 w 471"/>
                  <a:gd name="T33" fmla="*/ 2147483646 h 237"/>
                  <a:gd name="T34" fmla="*/ 2147483646 w 471"/>
                  <a:gd name="T35" fmla="*/ 2147483646 h 237"/>
                  <a:gd name="T36" fmla="*/ 2147483646 w 471"/>
                  <a:gd name="T37" fmla="*/ 2147483646 h 237"/>
                  <a:gd name="T38" fmla="*/ 2147483646 w 471"/>
                  <a:gd name="T39" fmla="*/ 2147483646 h 237"/>
                  <a:gd name="T40" fmla="*/ 2147483646 w 471"/>
                  <a:gd name="T41" fmla="*/ 2147483646 h 237"/>
                  <a:gd name="T42" fmla="*/ 2147483646 w 471"/>
                  <a:gd name="T43" fmla="*/ 2147483646 h 237"/>
                  <a:gd name="T44" fmla="*/ 2147483646 w 471"/>
                  <a:gd name="T45" fmla="*/ 2147483646 h 237"/>
                  <a:gd name="T46" fmla="*/ 2147483646 w 471"/>
                  <a:gd name="T47" fmla="*/ 2147483646 h 237"/>
                  <a:gd name="T48" fmla="*/ 2147483646 w 471"/>
                  <a:gd name="T49" fmla="*/ 2147483646 h 237"/>
                  <a:gd name="T50" fmla="*/ 2147483646 w 471"/>
                  <a:gd name="T51" fmla="*/ 2147483646 h 237"/>
                  <a:gd name="T52" fmla="*/ 2147483646 w 471"/>
                  <a:gd name="T53" fmla="*/ 2147483646 h 237"/>
                  <a:gd name="T54" fmla="*/ 2147483646 w 471"/>
                  <a:gd name="T55" fmla="*/ 2147483646 h 237"/>
                  <a:gd name="T56" fmla="*/ 2147483646 w 471"/>
                  <a:gd name="T57" fmla="*/ 2147483646 h 237"/>
                  <a:gd name="T58" fmla="*/ 2147483646 w 471"/>
                  <a:gd name="T59" fmla="*/ 2147483646 h 237"/>
                  <a:gd name="T60" fmla="*/ 2147483646 w 471"/>
                  <a:gd name="T61" fmla="*/ 2147483646 h 237"/>
                  <a:gd name="T62" fmla="*/ 2147483646 w 471"/>
                  <a:gd name="T63" fmla="*/ 2147483646 h 237"/>
                  <a:gd name="T64" fmla="*/ 2147483646 w 471"/>
                  <a:gd name="T65" fmla="*/ 2147483646 h 237"/>
                  <a:gd name="T66" fmla="*/ 2147483646 w 471"/>
                  <a:gd name="T67" fmla="*/ 2147483646 h 237"/>
                  <a:gd name="T68" fmla="*/ 2147483646 w 471"/>
                  <a:gd name="T69" fmla="*/ 2147483646 h 237"/>
                  <a:gd name="T70" fmla="*/ 2147483646 w 471"/>
                  <a:gd name="T71" fmla="*/ 2147483646 h 237"/>
                  <a:gd name="T72" fmla="*/ 2147483646 w 471"/>
                  <a:gd name="T73" fmla="*/ 2147483646 h 237"/>
                  <a:gd name="T74" fmla="*/ 2147483646 w 471"/>
                  <a:gd name="T75" fmla="*/ 0 h 237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471"/>
                  <a:gd name="T115" fmla="*/ 0 h 237"/>
                  <a:gd name="T116" fmla="*/ 471 w 471"/>
                  <a:gd name="T117" fmla="*/ 237 h 237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471" h="237">
                    <a:moveTo>
                      <a:pt x="7" y="0"/>
                    </a:moveTo>
                    <a:lnTo>
                      <a:pt x="86" y="0"/>
                    </a:lnTo>
                    <a:lnTo>
                      <a:pt x="89" y="4"/>
                    </a:lnTo>
                    <a:lnTo>
                      <a:pt x="92" y="7"/>
                    </a:lnTo>
                    <a:lnTo>
                      <a:pt x="97" y="10"/>
                    </a:lnTo>
                    <a:lnTo>
                      <a:pt x="102" y="13"/>
                    </a:lnTo>
                    <a:lnTo>
                      <a:pt x="113" y="18"/>
                    </a:lnTo>
                    <a:lnTo>
                      <a:pt x="125" y="23"/>
                    </a:lnTo>
                    <a:lnTo>
                      <a:pt x="147" y="32"/>
                    </a:lnTo>
                    <a:lnTo>
                      <a:pt x="159" y="37"/>
                    </a:lnTo>
                    <a:lnTo>
                      <a:pt x="192" y="58"/>
                    </a:lnTo>
                    <a:lnTo>
                      <a:pt x="223" y="77"/>
                    </a:lnTo>
                    <a:lnTo>
                      <a:pt x="237" y="88"/>
                    </a:lnTo>
                    <a:lnTo>
                      <a:pt x="253" y="97"/>
                    </a:lnTo>
                    <a:lnTo>
                      <a:pt x="267" y="105"/>
                    </a:lnTo>
                    <a:lnTo>
                      <a:pt x="283" y="113"/>
                    </a:lnTo>
                    <a:lnTo>
                      <a:pt x="299" y="121"/>
                    </a:lnTo>
                    <a:lnTo>
                      <a:pt x="316" y="127"/>
                    </a:lnTo>
                    <a:lnTo>
                      <a:pt x="335" y="133"/>
                    </a:lnTo>
                    <a:lnTo>
                      <a:pt x="355" y="139"/>
                    </a:lnTo>
                    <a:lnTo>
                      <a:pt x="376" y="143"/>
                    </a:lnTo>
                    <a:lnTo>
                      <a:pt x="399" y="146"/>
                    </a:lnTo>
                    <a:lnTo>
                      <a:pt x="424" y="148"/>
                    </a:lnTo>
                    <a:lnTo>
                      <a:pt x="451" y="148"/>
                    </a:lnTo>
                    <a:lnTo>
                      <a:pt x="451" y="179"/>
                    </a:lnTo>
                    <a:lnTo>
                      <a:pt x="452" y="187"/>
                    </a:lnTo>
                    <a:lnTo>
                      <a:pt x="457" y="202"/>
                    </a:lnTo>
                    <a:lnTo>
                      <a:pt x="459" y="211"/>
                    </a:lnTo>
                    <a:lnTo>
                      <a:pt x="462" y="219"/>
                    </a:lnTo>
                    <a:lnTo>
                      <a:pt x="467" y="227"/>
                    </a:lnTo>
                    <a:lnTo>
                      <a:pt x="471" y="234"/>
                    </a:lnTo>
                    <a:lnTo>
                      <a:pt x="467" y="236"/>
                    </a:lnTo>
                    <a:lnTo>
                      <a:pt x="459" y="237"/>
                    </a:lnTo>
                    <a:lnTo>
                      <a:pt x="451" y="236"/>
                    </a:lnTo>
                    <a:lnTo>
                      <a:pt x="440" y="235"/>
                    </a:lnTo>
                    <a:lnTo>
                      <a:pt x="416" y="231"/>
                    </a:lnTo>
                    <a:lnTo>
                      <a:pt x="390" y="226"/>
                    </a:lnTo>
                    <a:lnTo>
                      <a:pt x="362" y="219"/>
                    </a:lnTo>
                    <a:lnTo>
                      <a:pt x="337" y="213"/>
                    </a:lnTo>
                    <a:lnTo>
                      <a:pt x="315" y="207"/>
                    </a:lnTo>
                    <a:lnTo>
                      <a:pt x="299" y="204"/>
                    </a:lnTo>
                    <a:lnTo>
                      <a:pt x="294" y="203"/>
                    </a:lnTo>
                    <a:lnTo>
                      <a:pt x="290" y="201"/>
                    </a:lnTo>
                    <a:lnTo>
                      <a:pt x="287" y="199"/>
                    </a:lnTo>
                    <a:lnTo>
                      <a:pt x="283" y="196"/>
                    </a:lnTo>
                    <a:lnTo>
                      <a:pt x="277" y="190"/>
                    </a:lnTo>
                    <a:lnTo>
                      <a:pt x="272" y="184"/>
                    </a:lnTo>
                    <a:lnTo>
                      <a:pt x="267" y="178"/>
                    </a:lnTo>
                    <a:lnTo>
                      <a:pt x="261" y="171"/>
                    </a:lnTo>
                    <a:lnTo>
                      <a:pt x="255" y="166"/>
                    </a:lnTo>
                    <a:lnTo>
                      <a:pt x="246" y="160"/>
                    </a:lnTo>
                    <a:lnTo>
                      <a:pt x="240" y="159"/>
                    </a:lnTo>
                    <a:lnTo>
                      <a:pt x="234" y="158"/>
                    </a:lnTo>
                    <a:lnTo>
                      <a:pt x="227" y="159"/>
                    </a:lnTo>
                    <a:lnTo>
                      <a:pt x="221" y="159"/>
                    </a:lnTo>
                    <a:lnTo>
                      <a:pt x="205" y="163"/>
                    </a:lnTo>
                    <a:lnTo>
                      <a:pt x="191" y="166"/>
                    </a:lnTo>
                    <a:lnTo>
                      <a:pt x="183" y="167"/>
                    </a:lnTo>
                    <a:lnTo>
                      <a:pt x="176" y="168"/>
                    </a:lnTo>
                    <a:lnTo>
                      <a:pt x="169" y="168"/>
                    </a:lnTo>
                    <a:lnTo>
                      <a:pt x="164" y="166"/>
                    </a:lnTo>
                    <a:lnTo>
                      <a:pt x="158" y="164"/>
                    </a:lnTo>
                    <a:lnTo>
                      <a:pt x="153" y="161"/>
                    </a:lnTo>
                    <a:lnTo>
                      <a:pt x="148" y="155"/>
                    </a:lnTo>
                    <a:lnTo>
                      <a:pt x="146" y="148"/>
                    </a:lnTo>
                    <a:lnTo>
                      <a:pt x="139" y="148"/>
                    </a:lnTo>
                    <a:lnTo>
                      <a:pt x="131" y="147"/>
                    </a:lnTo>
                    <a:lnTo>
                      <a:pt x="122" y="145"/>
                    </a:lnTo>
                    <a:lnTo>
                      <a:pt x="113" y="142"/>
                    </a:lnTo>
                    <a:lnTo>
                      <a:pt x="92" y="135"/>
                    </a:lnTo>
                    <a:lnTo>
                      <a:pt x="70" y="126"/>
                    </a:lnTo>
                    <a:lnTo>
                      <a:pt x="48" y="117"/>
                    </a:lnTo>
                    <a:lnTo>
                      <a:pt x="29" y="107"/>
                    </a:lnTo>
                    <a:lnTo>
                      <a:pt x="12" y="96"/>
                    </a:lnTo>
                    <a:lnTo>
                      <a:pt x="0" y="87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52" name="Freeform 274">
                <a:extLst>
                  <a:ext uri="{FF2B5EF4-FFF2-40B4-BE49-F238E27FC236}">
                    <a16:creationId xmlns="" xmlns:a16="http://schemas.microsoft.com/office/drawing/2014/main" id="{4EA19A5E-BAF7-4D68-8674-20CBFF93ABC5}"/>
                  </a:ext>
                </a:extLst>
              </p:cNvPr>
              <p:cNvSpPr>
                <a:spLocks/>
              </p:cNvSpPr>
              <p:nvPr>
                <p:custDataLst>
                  <p:tags r:id="rId201"/>
                </p:custDataLst>
              </p:nvPr>
            </p:nvSpPr>
            <p:spPr bwMode="auto">
              <a:xfrm>
                <a:off x="6167438" y="2760663"/>
                <a:ext cx="73025" cy="65087"/>
              </a:xfrm>
              <a:custGeom>
                <a:avLst/>
                <a:gdLst>
                  <a:gd name="T0" fmla="*/ 2147483646 w 167"/>
                  <a:gd name="T1" fmla="*/ 2147483646 h 123"/>
                  <a:gd name="T2" fmla="*/ 2147483646 w 167"/>
                  <a:gd name="T3" fmla="*/ 2147483646 h 123"/>
                  <a:gd name="T4" fmla="*/ 2147483646 w 167"/>
                  <a:gd name="T5" fmla="*/ 2147483646 h 123"/>
                  <a:gd name="T6" fmla="*/ 2147483646 w 167"/>
                  <a:gd name="T7" fmla="*/ 2147483646 h 123"/>
                  <a:gd name="T8" fmla="*/ 2147483646 w 167"/>
                  <a:gd name="T9" fmla="*/ 2147483646 h 123"/>
                  <a:gd name="T10" fmla="*/ 2147483646 w 167"/>
                  <a:gd name="T11" fmla="*/ 2147483646 h 123"/>
                  <a:gd name="T12" fmla="*/ 2147483646 w 167"/>
                  <a:gd name="T13" fmla="*/ 2147483646 h 123"/>
                  <a:gd name="T14" fmla="*/ 2147483646 w 167"/>
                  <a:gd name="T15" fmla="*/ 2147483646 h 123"/>
                  <a:gd name="T16" fmla="*/ 2147483646 w 167"/>
                  <a:gd name="T17" fmla="*/ 2147483646 h 123"/>
                  <a:gd name="T18" fmla="*/ 2147483646 w 167"/>
                  <a:gd name="T19" fmla="*/ 2147483646 h 123"/>
                  <a:gd name="T20" fmla="*/ 2147483646 w 167"/>
                  <a:gd name="T21" fmla="*/ 2147483646 h 123"/>
                  <a:gd name="T22" fmla="*/ 2147483646 w 167"/>
                  <a:gd name="T23" fmla="*/ 2147483646 h 123"/>
                  <a:gd name="T24" fmla="*/ 2147483646 w 167"/>
                  <a:gd name="T25" fmla="*/ 2147483646 h 123"/>
                  <a:gd name="T26" fmla="*/ 2147483646 w 167"/>
                  <a:gd name="T27" fmla="*/ 2147483646 h 123"/>
                  <a:gd name="T28" fmla="*/ 2147483646 w 167"/>
                  <a:gd name="T29" fmla="*/ 2147483646 h 123"/>
                  <a:gd name="T30" fmla="*/ 2147483646 w 167"/>
                  <a:gd name="T31" fmla="*/ 2147483646 h 123"/>
                  <a:gd name="T32" fmla="*/ 2147483646 w 167"/>
                  <a:gd name="T33" fmla="*/ 2147483646 h 123"/>
                  <a:gd name="T34" fmla="*/ 2147483646 w 167"/>
                  <a:gd name="T35" fmla="*/ 2147483646 h 123"/>
                  <a:gd name="T36" fmla="*/ 2147483646 w 167"/>
                  <a:gd name="T37" fmla="*/ 2147483646 h 123"/>
                  <a:gd name="T38" fmla="*/ 2147483646 w 167"/>
                  <a:gd name="T39" fmla="*/ 2147483646 h 123"/>
                  <a:gd name="T40" fmla="*/ 2147483646 w 167"/>
                  <a:gd name="T41" fmla="*/ 2147483646 h 123"/>
                  <a:gd name="T42" fmla="*/ 2147483646 w 167"/>
                  <a:gd name="T43" fmla="*/ 2147483646 h 123"/>
                  <a:gd name="T44" fmla="*/ 2147483646 w 167"/>
                  <a:gd name="T45" fmla="*/ 2147483646 h 123"/>
                  <a:gd name="T46" fmla="*/ 2147483646 w 167"/>
                  <a:gd name="T47" fmla="*/ 2147483646 h 123"/>
                  <a:gd name="T48" fmla="*/ 0 w 167"/>
                  <a:gd name="T49" fmla="*/ 2147483646 h 123"/>
                  <a:gd name="T50" fmla="*/ 2147483646 w 167"/>
                  <a:gd name="T51" fmla="*/ 2147483646 h 123"/>
                  <a:gd name="T52" fmla="*/ 2147483646 w 167"/>
                  <a:gd name="T53" fmla="*/ 2147483646 h 123"/>
                  <a:gd name="T54" fmla="*/ 2147483646 w 167"/>
                  <a:gd name="T55" fmla="*/ 2147483646 h 123"/>
                  <a:gd name="T56" fmla="*/ 2147483646 w 167"/>
                  <a:gd name="T57" fmla="*/ 2147483646 h 123"/>
                  <a:gd name="T58" fmla="*/ 2147483646 w 167"/>
                  <a:gd name="T59" fmla="*/ 2147483646 h 123"/>
                  <a:gd name="T60" fmla="*/ 2147483646 w 167"/>
                  <a:gd name="T61" fmla="*/ 2147483646 h 123"/>
                  <a:gd name="T62" fmla="*/ 2147483646 w 167"/>
                  <a:gd name="T63" fmla="*/ 2147483646 h 123"/>
                  <a:gd name="T64" fmla="*/ 2147483646 w 167"/>
                  <a:gd name="T65" fmla="*/ 2147483646 h 123"/>
                  <a:gd name="T66" fmla="*/ 2147483646 w 167"/>
                  <a:gd name="T67" fmla="*/ 2147483646 h 123"/>
                  <a:gd name="T68" fmla="*/ 2147483646 w 167"/>
                  <a:gd name="T69" fmla="*/ 2147483646 h 123"/>
                  <a:gd name="T70" fmla="*/ 2147483646 w 167"/>
                  <a:gd name="T71" fmla="*/ 2147483646 h 123"/>
                  <a:gd name="T72" fmla="*/ 2147483646 w 167"/>
                  <a:gd name="T73" fmla="*/ 0 h 123"/>
                  <a:gd name="T74" fmla="*/ 2147483646 w 167"/>
                  <a:gd name="T75" fmla="*/ 2147483646 h 123"/>
                  <a:gd name="T76" fmla="*/ 2147483646 w 167"/>
                  <a:gd name="T77" fmla="*/ 2147483646 h 123"/>
                  <a:gd name="T78" fmla="*/ 2147483646 w 167"/>
                  <a:gd name="T79" fmla="*/ 2147483646 h 123"/>
                  <a:gd name="T80" fmla="*/ 2147483646 w 167"/>
                  <a:gd name="T81" fmla="*/ 2147483646 h 123"/>
                  <a:gd name="T82" fmla="*/ 2147483646 w 167"/>
                  <a:gd name="T83" fmla="*/ 2147483646 h 123"/>
                  <a:gd name="T84" fmla="*/ 2147483646 w 167"/>
                  <a:gd name="T85" fmla="*/ 2147483646 h 123"/>
                  <a:gd name="T86" fmla="*/ 2147483646 w 167"/>
                  <a:gd name="T87" fmla="*/ 2147483646 h 123"/>
                  <a:gd name="T88" fmla="*/ 2147483646 w 167"/>
                  <a:gd name="T89" fmla="*/ 2147483646 h 123"/>
                  <a:gd name="T90" fmla="*/ 2147483646 w 167"/>
                  <a:gd name="T91" fmla="*/ 2147483646 h 123"/>
                  <a:gd name="T92" fmla="*/ 2147483646 w 167"/>
                  <a:gd name="T93" fmla="*/ 2147483646 h 123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67"/>
                  <a:gd name="T142" fmla="*/ 0 h 123"/>
                  <a:gd name="T143" fmla="*/ 167 w 167"/>
                  <a:gd name="T144" fmla="*/ 123 h 123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67" h="123">
                    <a:moveTo>
                      <a:pt x="167" y="43"/>
                    </a:moveTo>
                    <a:lnTo>
                      <a:pt x="164" y="54"/>
                    </a:lnTo>
                    <a:lnTo>
                      <a:pt x="161" y="66"/>
                    </a:lnTo>
                    <a:lnTo>
                      <a:pt x="155" y="79"/>
                    </a:lnTo>
                    <a:lnTo>
                      <a:pt x="150" y="93"/>
                    </a:lnTo>
                    <a:lnTo>
                      <a:pt x="146" y="99"/>
                    </a:lnTo>
                    <a:lnTo>
                      <a:pt x="142" y="105"/>
                    </a:lnTo>
                    <a:lnTo>
                      <a:pt x="138" y="110"/>
                    </a:lnTo>
                    <a:lnTo>
                      <a:pt x="132" y="114"/>
                    </a:lnTo>
                    <a:lnTo>
                      <a:pt x="127" y="118"/>
                    </a:lnTo>
                    <a:lnTo>
                      <a:pt x="121" y="121"/>
                    </a:lnTo>
                    <a:lnTo>
                      <a:pt x="115" y="122"/>
                    </a:lnTo>
                    <a:lnTo>
                      <a:pt x="107" y="123"/>
                    </a:lnTo>
                    <a:lnTo>
                      <a:pt x="100" y="122"/>
                    </a:lnTo>
                    <a:lnTo>
                      <a:pt x="92" y="119"/>
                    </a:lnTo>
                    <a:lnTo>
                      <a:pt x="87" y="116"/>
                    </a:lnTo>
                    <a:lnTo>
                      <a:pt x="84" y="113"/>
                    </a:lnTo>
                    <a:lnTo>
                      <a:pt x="82" y="109"/>
                    </a:lnTo>
                    <a:lnTo>
                      <a:pt x="81" y="105"/>
                    </a:lnTo>
                    <a:lnTo>
                      <a:pt x="71" y="104"/>
                    </a:lnTo>
                    <a:lnTo>
                      <a:pt x="61" y="103"/>
                    </a:lnTo>
                    <a:lnTo>
                      <a:pt x="51" y="101"/>
                    </a:lnTo>
                    <a:lnTo>
                      <a:pt x="41" y="98"/>
                    </a:lnTo>
                    <a:lnTo>
                      <a:pt x="21" y="92"/>
                    </a:lnTo>
                    <a:lnTo>
                      <a:pt x="0" y="86"/>
                    </a:lnTo>
                    <a:lnTo>
                      <a:pt x="2" y="77"/>
                    </a:lnTo>
                    <a:lnTo>
                      <a:pt x="5" y="67"/>
                    </a:lnTo>
                    <a:lnTo>
                      <a:pt x="9" y="56"/>
                    </a:lnTo>
                    <a:lnTo>
                      <a:pt x="15" y="43"/>
                    </a:lnTo>
                    <a:lnTo>
                      <a:pt x="20" y="43"/>
                    </a:lnTo>
                    <a:lnTo>
                      <a:pt x="26" y="42"/>
                    </a:lnTo>
                    <a:lnTo>
                      <a:pt x="30" y="41"/>
                    </a:lnTo>
                    <a:lnTo>
                      <a:pt x="33" y="38"/>
                    </a:lnTo>
                    <a:lnTo>
                      <a:pt x="40" y="33"/>
                    </a:lnTo>
                    <a:lnTo>
                      <a:pt x="45" y="26"/>
                    </a:lnTo>
                    <a:lnTo>
                      <a:pt x="52" y="12"/>
                    </a:lnTo>
                    <a:lnTo>
                      <a:pt x="61" y="0"/>
                    </a:lnTo>
                    <a:lnTo>
                      <a:pt x="64" y="4"/>
                    </a:lnTo>
                    <a:lnTo>
                      <a:pt x="67" y="7"/>
                    </a:lnTo>
                    <a:lnTo>
                      <a:pt x="73" y="11"/>
                    </a:lnTo>
                    <a:lnTo>
                      <a:pt x="78" y="14"/>
                    </a:lnTo>
                    <a:lnTo>
                      <a:pt x="92" y="21"/>
                    </a:lnTo>
                    <a:lnTo>
                      <a:pt x="107" y="28"/>
                    </a:lnTo>
                    <a:lnTo>
                      <a:pt x="122" y="35"/>
                    </a:lnTo>
                    <a:lnTo>
                      <a:pt x="139" y="39"/>
                    </a:lnTo>
                    <a:lnTo>
                      <a:pt x="153" y="42"/>
                    </a:lnTo>
                    <a:lnTo>
                      <a:pt x="167" y="43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53" name="Freeform 275">
                <a:extLst>
                  <a:ext uri="{FF2B5EF4-FFF2-40B4-BE49-F238E27FC236}">
                    <a16:creationId xmlns="" xmlns:a16="http://schemas.microsoft.com/office/drawing/2014/main" id="{9C5ED05D-7C4D-4AEE-B006-8F724C4E77C9}"/>
                  </a:ext>
                </a:extLst>
              </p:cNvPr>
              <p:cNvSpPr>
                <a:spLocks/>
              </p:cNvSpPr>
              <p:nvPr>
                <p:custDataLst>
                  <p:tags r:id="rId202"/>
                </p:custDataLst>
              </p:nvPr>
            </p:nvSpPr>
            <p:spPr bwMode="auto">
              <a:xfrm>
                <a:off x="6157913" y="2832100"/>
                <a:ext cx="133350" cy="166688"/>
              </a:xfrm>
              <a:custGeom>
                <a:avLst/>
                <a:gdLst>
                  <a:gd name="T0" fmla="*/ 2147483646 w 306"/>
                  <a:gd name="T1" fmla="*/ 2147483646 h 321"/>
                  <a:gd name="T2" fmla="*/ 2147483646 w 306"/>
                  <a:gd name="T3" fmla="*/ 2147483646 h 321"/>
                  <a:gd name="T4" fmla="*/ 2147483646 w 306"/>
                  <a:gd name="T5" fmla="*/ 2147483646 h 321"/>
                  <a:gd name="T6" fmla="*/ 2147483646 w 306"/>
                  <a:gd name="T7" fmla="*/ 2147483646 h 321"/>
                  <a:gd name="T8" fmla="*/ 2147483646 w 306"/>
                  <a:gd name="T9" fmla="*/ 2147483646 h 321"/>
                  <a:gd name="T10" fmla="*/ 2147483646 w 306"/>
                  <a:gd name="T11" fmla="*/ 2147483646 h 321"/>
                  <a:gd name="T12" fmla="*/ 2147483646 w 306"/>
                  <a:gd name="T13" fmla="*/ 2147483646 h 321"/>
                  <a:gd name="T14" fmla="*/ 2147483646 w 306"/>
                  <a:gd name="T15" fmla="*/ 2147483646 h 321"/>
                  <a:gd name="T16" fmla="*/ 2147483646 w 306"/>
                  <a:gd name="T17" fmla="*/ 2147483646 h 321"/>
                  <a:gd name="T18" fmla="*/ 2147483646 w 306"/>
                  <a:gd name="T19" fmla="*/ 2147483646 h 321"/>
                  <a:gd name="T20" fmla="*/ 2147483646 w 306"/>
                  <a:gd name="T21" fmla="*/ 2147483646 h 321"/>
                  <a:gd name="T22" fmla="*/ 2147483646 w 306"/>
                  <a:gd name="T23" fmla="*/ 2147483646 h 321"/>
                  <a:gd name="T24" fmla="*/ 2147483646 w 306"/>
                  <a:gd name="T25" fmla="*/ 2147483646 h 321"/>
                  <a:gd name="T26" fmla="*/ 2147483646 w 306"/>
                  <a:gd name="T27" fmla="*/ 2147483646 h 321"/>
                  <a:gd name="T28" fmla="*/ 2147483646 w 306"/>
                  <a:gd name="T29" fmla="*/ 2147483646 h 321"/>
                  <a:gd name="T30" fmla="*/ 2147483646 w 306"/>
                  <a:gd name="T31" fmla="*/ 2147483646 h 321"/>
                  <a:gd name="T32" fmla="*/ 2147483646 w 306"/>
                  <a:gd name="T33" fmla="*/ 2147483646 h 321"/>
                  <a:gd name="T34" fmla="*/ 2147483646 w 306"/>
                  <a:gd name="T35" fmla="*/ 2147483646 h 321"/>
                  <a:gd name="T36" fmla="*/ 2147483646 w 306"/>
                  <a:gd name="T37" fmla="*/ 2147483646 h 321"/>
                  <a:gd name="T38" fmla="*/ 2147483646 w 306"/>
                  <a:gd name="T39" fmla="*/ 2147483646 h 321"/>
                  <a:gd name="T40" fmla="*/ 2147483646 w 306"/>
                  <a:gd name="T41" fmla="*/ 2147483646 h 321"/>
                  <a:gd name="T42" fmla="*/ 2147483646 w 306"/>
                  <a:gd name="T43" fmla="*/ 2147483646 h 321"/>
                  <a:gd name="T44" fmla="*/ 2147483646 w 306"/>
                  <a:gd name="T45" fmla="*/ 0 h 321"/>
                  <a:gd name="T46" fmla="*/ 2147483646 w 306"/>
                  <a:gd name="T47" fmla="*/ 0 h 321"/>
                  <a:gd name="T48" fmla="*/ 2147483646 w 306"/>
                  <a:gd name="T49" fmla="*/ 2147483646 h 321"/>
                  <a:gd name="T50" fmla="*/ 2147483646 w 306"/>
                  <a:gd name="T51" fmla="*/ 2147483646 h 321"/>
                  <a:gd name="T52" fmla="*/ 2147483646 w 306"/>
                  <a:gd name="T53" fmla="*/ 2147483646 h 321"/>
                  <a:gd name="T54" fmla="*/ 2147483646 w 306"/>
                  <a:gd name="T55" fmla="*/ 2147483646 h 321"/>
                  <a:gd name="T56" fmla="*/ 2147483646 w 306"/>
                  <a:gd name="T57" fmla="*/ 2147483646 h 321"/>
                  <a:gd name="T58" fmla="*/ 2147483646 w 306"/>
                  <a:gd name="T59" fmla="*/ 2147483646 h 321"/>
                  <a:gd name="T60" fmla="*/ 2147483646 w 306"/>
                  <a:gd name="T61" fmla="*/ 2147483646 h 321"/>
                  <a:gd name="T62" fmla="*/ 2147483646 w 306"/>
                  <a:gd name="T63" fmla="*/ 2147483646 h 321"/>
                  <a:gd name="T64" fmla="*/ 2147483646 w 306"/>
                  <a:gd name="T65" fmla="*/ 2147483646 h 321"/>
                  <a:gd name="T66" fmla="*/ 2147483646 w 306"/>
                  <a:gd name="T67" fmla="*/ 2147483646 h 321"/>
                  <a:gd name="T68" fmla="*/ 2147483646 w 306"/>
                  <a:gd name="T69" fmla="*/ 2147483646 h 321"/>
                  <a:gd name="T70" fmla="*/ 2147483646 w 306"/>
                  <a:gd name="T71" fmla="*/ 2147483646 h 321"/>
                  <a:gd name="T72" fmla="*/ 2147483646 w 306"/>
                  <a:gd name="T73" fmla="*/ 2147483646 h 321"/>
                  <a:gd name="T74" fmla="*/ 2147483646 w 306"/>
                  <a:gd name="T75" fmla="*/ 2147483646 h 321"/>
                  <a:gd name="T76" fmla="*/ 2147483646 w 306"/>
                  <a:gd name="T77" fmla="*/ 2147483646 h 321"/>
                  <a:gd name="T78" fmla="*/ 2147483646 w 306"/>
                  <a:gd name="T79" fmla="*/ 2147483646 h 321"/>
                  <a:gd name="T80" fmla="*/ 2147483646 w 306"/>
                  <a:gd name="T81" fmla="*/ 2147483646 h 321"/>
                  <a:gd name="T82" fmla="*/ 2147483646 w 306"/>
                  <a:gd name="T83" fmla="*/ 2147483646 h 321"/>
                  <a:gd name="T84" fmla="*/ 2147483646 w 306"/>
                  <a:gd name="T85" fmla="*/ 2147483646 h 321"/>
                  <a:gd name="T86" fmla="*/ 2147483646 w 306"/>
                  <a:gd name="T87" fmla="*/ 2147483646 h 321"/>
                  <a:gd name="T88" fmla="*/ 2147483646 w 306"/>
                  <a:gd name="T89" fmla="*/ 2147483646 h 321"/>
                  <a:gd name="T90" fmla="*/ 2147483646 w 306"/>
                  <a:gd name="T91" fmla="*/ 2147483646 h 321"/>
                  <a:gd name="T92" fmla="*/ 2147483646 w 306"/>
                  <a:gd name="T93" fmla="*/ 2147483646 h 321"/>
                  <a:gd name="T94" fmla="*/ 2147483646 w 306"/>
                  <a:gd name="T95" fmla="*/ 2147483646 h 321"/>
                  <a:gd name="T96" fmla="*/ 2147483646 w 306"/>
                  <a:gd name="T97" fmla="*/ 2147483646 h 321"/>
                  <a:gd name="T98" fmla="*/ 2147483646 w 306"/>
                  <a:gd name="T99" fmla="*/ 2147483646 h 321"/>
                  <a:gd name="T100" fmla="*/ 2147483646 w 306"/>
                  <a:gd name="T101" fmla="*/ 2147483646 h 321"/>
                  <a:gd name="T102" fmla="*/ 2147483646 w 306"/>
                  <a:gd name="T103" fmla="*/ 2147483646 h 321"/>
                  <a:gd name="T104" fmla="*/ 2147483646 w 306"/>
                  <a:gd name="T105" fmla="*/ 2147483646 h 321"/>
                  <a:gd name="T106" fmla="*/ 2147483646 w 306"/>
                  <a:gd name="T107" fmla="*/ 2147483646 h 321"/>
                  <a:gd name="T108" fmla="*/ 2147483646 w 306"/>
                  <a:gd name="T109" fmla="*/ 2147483646 h 321"/>
                  <a:gd name="T110" fmla="*/ 2147483646 w 306"/>
                  <a:gd name="T111" fmla="*/ 2147483646 h 321"/>
                  <a:gd name="T112" fmla="*/ 2147483646 w 306"/>
                  <a:gd name="T113" fmla="*/ 2147483646 h 321"/>
                  <a:gd name="T114" fmla="*/ 2147483646 w 306"/>
                  <a:gd name="T115" fmla="*/ 2147483646 h 321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306"/>
                  <a:gd name="T175" fmla="*/ 0 h 321"/>
                  <a:gd name="T176" fmla="*/ 306 w 306"/>
                  <a:gd name="T177" fmla="*/ 321 h 321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306" h="321">
                    <a:moveTo>
                      <a:pt x="306" y="235"/>
                    </a:moveTo>
                    <a:lnTo>
                      <a:pt x="259" y="160"/>
                    </a:lnTo>
                    <a:lnTo>
                      <a:pt x="257" y="164"/>
                    </a:lnTo>
                    <a:lnTo>
                      <a:pt x="252" y="173"/>
                    </a:lnTo>
                    <a:lnTo>
                      <a:pt x="247" y="178"/>
                    </a:lnTo>
                    <a:lnTo>
                      <a:pt x="243" y="182"/>
                    </a:lnTo>
                    <a:lnTo>
                      <a:pt x="238" y="185"/>
                    </a:lnTo>
                    <a:lnTo>
                      <a:pt x="233" y="186"/>
                    </a:lnTo>
                    <a:lnTo>
                      <a:pt x="227" y="185"/>
                    </a:lnTo>
                    <a:lnTo>
                      <a:pt x="223" y="184"/>
                    </a:lnTo>
                    <a:lnTo>
                      <a:pt x="219" y="181"/>
                    </a:lnTo>
                    <a:lnTo>
                      <a:pt x="214" y="178"/>
                    </a:lnTo>
                    <a:lnTo>
                      <a:pt x="211" y="173"/>
                    </a:lnTo>
                    <a:lnTo>
                      <a:pt x="209" y="169"/>
                    </a:lnTo>
                    <a:lnTo>
                      <a:pt x="206" y="165"/>
                    </a:lnTo>
                    <a:lnTo>
                      <a:pt x="206" y="160"/>
                    </a:lnTo>
                    <a:lnTo>
                      <a:pt x="206" y="154"/>
                    </a:lnTo>
                    <a:lnTo>
                      <a:pt x="209" y="148"/>
                    </a:lnTo>
                    <a:lnTo>
                      <a:pt x="211" y="142"/>
                    </a:lnTo>
                    <a:lnTo>
                      <a:pt x="213" y="136"/>
                    </a:lnTo>
                    <a:lnTo>
                      <a:pt x="221" y="125"/>
                    </a:lnTo>
                    <a:lnTo>
                      <a:pt x="230" y="114"/>
                    </a:lnTo>
                    <a:lnTo>
                      <a:pt x="238" y="104"/>
                    </a:lnTo>
                    <a:lnTo>
                      <a:pt x="246" y="93"/>
                    </a:lnTo>
                    <a:lnTo>
                      <a:pt x="248" y="87"/>
                    </a:lnTo>
                    <a:lnTo>
                      <a:pt x="250" y="82"/>
                    </a:lnTo>
                    <a:lnTo>
                      <a:pt x="253" y="75"/>
                    </a:lnTo>
                    <a:lnTo>
                      <a:pt x="253" y="69"/>
                    </a:lnTo>
                    <a:lnTo>
                      <a:pt x="133" y="69"/>
                    </a:lnTo>
                    <a:lnTo>
                      <a:pt x="129" y="68"/>
                    </a:lnTo>
                    <a:lnTo>
                      <a:pt x="123" y="65"/>
                    </a:lnTo>
                    <a:lnTo>
                      <a:pt x="119" y="59"/>
                    </a:lnTo>
                    <a:lnTo>
                      <a:pt x="115" y="53"/>
                    </a:lnTo>
                    <a:lnTo>
                      <a:pt x="112" y="45"/>
                    </a:lnTo>
                    <a:lnTo>
                      <a:pt x="109" y="37"/>
                    </a:lnTo>
                    <a:lnTo>
                      <a:pt x="108" y="28"/>
                    </a:lnTo>
                    <a:lnTo>
                      <a:pt x="107" y="19"/>
                    </a:lnTo>
                    <a:lnTo>
                      <a:pt x="101" y="19"/>
                    </a:lnTo>
                    <a:lnTo>
                      <a:pt x="96" y="18"/>
                    </a:lnTo>
                    <a:lnTo>
                      <a:pt x="90" y="17"/>
                    </a:lnTo>
                    <a:lnTo>
                      <a:pt x="85" y="15"/>
                    </a:lnTo>
                    <a:lnTo>
                      <a:pt x="80" y="12"/>
                    </a:lnTo>
                    <a:lnTo>
                      <a:pt x="77" y="9"/>
                    </a:lnTo>
                    <a:lnTo>
                      <a:pt x="75" y="4"/>
                    </a:lnTo>
                    <a:lnTo>
                      <a:pt x="74" y="0"/>
                    </a:lnTo>
                    <a:lnTo>
                      <a:pt x="65" y="0"/>
                    </a:lnTo>
                    <a:lnTo>
                      <a:pt x="57" y="0"/>
                    </a:lnTo>
                    <a:lnTo>
                      <a:pt x="49" y="0"/>
                    </a:lnTo>
                    <a:lnTo>
                      <a:pt x="41" y="0"/>
                    </a:lnTo>
                    <a:lnTo>
                      <a:pt x="34" y="1"/>
                    </a:lnTo>
                    <a:lnTo>
                      <a:pt x="29" y="2"/>
                    </a:lnTo>
                    <a:lnTo>
                      <a:pt x="22" y="5"/>
                    </a:lnTo>
                    <a:lnTo>
                      <a:pt x="15" y="9"/>
                    </a:lnTo>
                    <a:lnTo>
                      <a:pt x="10" y="14"/>
                    </a:lnTo>
                    <a:lnTo>
                      <a:pt x="4" y="19"/>
                    </a:lnTo>
                    <a:lnTo>
                      <a:pt x="1" y="25"/>
                    </a:lnTo>
                    <a:lnTo>
                      <a:pt x="0" y="31"/>
                    </a:lnTo>
                    <a:lnTo>
                      <a:pt x="2" y="35"/>
                    </a:lnTo>
                    <a:lnTo>
                      <a:pt x="8" y="40"/>
                    </a:lnTo>
                    <a:lnTo>
                      <a:pt x="15" y="46"/>
                    </a:lnTo>
                    <a:lnTo>
                      <a:pt x="25" y="52"/>
                    </a:lnTo>
                    <a:lnTo>
                      <a:pt x="35" y="58"/>
                    </a:lnTo>
                    <a:lnTo>
                      <a:pt x="45" y="63"/>
                    </a:lnTo>
                    <a:lnTo>
                      <a:pt x="54" y="67"/>
                    </a:lnTo>
                    <a:lnTo>
                      <a:pt x="60" y="69"/>
                    </a:lnTo>
                    <a:lnTo>
                      <a:pt x="47" y="79"/>
                    </a:lnTo>
                    <a:lnTo>
                      <a:pt x="32" y="91"/>
                    </a:lnTo>
                    <a:lnTo>
                      <a:pt x="25" y="97"/>
                    </a:lnTo>
                    <a:lnTo>
                      <a:pt x="19" y="104"/>
                    </a:lnTo>
                    <a:lnTo>
                      <a:pt x="17" y="107"/>
                    </a:lnTo>
                    <a:lnTo>
                      <a:pt x="15" y="110"/>
                    </a:lnTo>
                    <a:lnTo>
                      <a:pt x="14" y="114"/>
                    </a:lnTo>
                    <a:lnTo>
                      <a:pt x="13" y="117"/>
                    </a:lnTo>
                    <a:lnTo>
                      <a:pt x="14" y="122"/>
                    </a:lnTo>
                    <a:lnTo>
                      <a:pt x="15" y="125"/>
                    </a:lnTo>
                    <a:lnTo>
                      <a:pt x="18" y="129"/>
                    </a:lnTo>
                    <a:lnTo>
                      <a:pt x="20" y="133"/>
                    </a:lnTo>
                    <a:lnTo>
                      <a:pt x="28" y="141"/>
                    </a:lnTo>
                    <a:lnTo>
                      <a:pt x="37" y="149"/>
                    </a:lnTo>
                    <a:lnTo>
                      <a:pt x="47" y="156"/>
                    </a:lnTo>
                    <a:lnTo>
                      <a:pt x="58" y="162"/>
                    </a:lnTo>
                    <a:lnTo>
                      <a:pt x="64" y="164"/>
                    </a:lnTo>
                    <a:lnTo>
                      <a:pt x="69" y="165"/>
                    </a:lnTo>
                    <a:lnTo>
                      <a:pt x="75" y="166"/>
                    </a:lnTo>
                    <a:lnTo>
                      <a:pt x="80" y="167"/>
                    </a:lnTo>
                    <a:lnTo>
                      <a:pt x="107" y="271"/>
                    </a:lnTo>
                    <a:lnTo>
                      <a:pt x="107" y="267"/>
                    </a:lnTo>
                    <a:lnTo>
                      <a:pt x="108" y="263"/>
                    </a:lnTo>
                    <a:lnTo>
                      <a:pt x="110" y="260"/>
                    </a:lnTo>
                    <a:lnTo>
                      <a:pt x="112" y="256"/>
                    </a:lnTo>
                    <a:lnTo>
                      <a:pt x="119" y="251"/>
                    </a:lnTo>
                    <a:lnTo>
                      <a:pt x="127" y="246"/>
                    </a:lnTo>
                    <a:lnTo>
                      <a:pt x="137" y="243"/>
                    </a:lnTo>
                    <a:lnTo>
                      <a:pt x="148" y="240"/>
                    </a:lnTo>
                    <a:lnTo>
                      <a:pt x="160" y="237"/>
                    </a:lnTo>
                    <a:lnTo>
                      <a:pt x="174" y="235"/>
                    </a:lnTo>
                    <a:lnTo>
                      <a:pt x="174" y="222"/>
                    </a:lnTo>
                    <a:lnTo>
                      <a:pt x="174" y="210"/>
                    </a:lnTo>
                    <a:lnTo>
                      <a:pt x="178" y="212"/>
                    </a:lnTo>
                    <a:lnTo>
                      <a:pt x="183" y="212"/>
                    </a:lnTo>
                    <a:lnTo>
                      <a:pt x="188" y="213"/>
                    </a:lnTo>
                    <a:lnTo>
                      <a:pt x="193" y="212"/>
                    </a:lnTo>
                    <a:lnTo>
                      <a:pt x="203" y="211"/>
                    </a:lnTo>
                    <a:lnTo>
                      <a:pt x="213" y="210"/>
                    </a:lnTo>
                    <a:lnTo>
                      <a:pt x="220" y="233"/>
                    </a:lnTo>
                    <a:lnTo>
                      <a:pt x="232" y="261"/>
                    </a:lnTo>
                    <a:lnTo>
                      <a:pt x="245" y="292"/>
                    </a:lnTo>
                    <a:lnTo>
                      <a:pt x="259" y="321"/>
                    </a:lnTo>
                    <a:lnTo>
                      <a:pt x="267" y="316"/>
                    </a:lnTo>
                    <a:lnTo>
                      <a:pt x="272" y="311"/>
                    </a:lnTo>
                    <a:lnTo>
                      <a:pt x="278" y="307"/>
                    </a:lnTo>
                    <a:lnTo>
                      <a:pt x="282" y="302"/>
                    </a:lnTo>
                    <a:lnTo>
                      <a:pt x="290" y="291"/>
                    </a:lnTo>
                    <a:lnTo>
                      <a:pt x="295" y="280"/>
                    </a:lnTo>
                    <a:lnTo>
                      <a:pt x="301" y="258"/>
                    </a:lnTo>
                    <a:lnTo>
                      <a:pt x="306" y="235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54" name="Freeform 276">
                <a:extLst>
                  <a:ext uri="{FF2B5EF4-FFF2-40B4-BE49-F238E27FC236}">
                    <a16:creationId xmlns="" xmlns:a16="http://schemas.microsoft.com/office/drawing/2014/main" id="{C2D4AE72-9666-45F8-8040-8C000CE86663}"/>
                  </a:ext>
                </a:extLst>
              </p:cNvPr>
              <p:cNvSpPr>
                <a:spLocks/>
              </p:cNvSpPr>
              <p:nvPr>
                <p:custDataLst>
                  <p:tags r:id="rId203"/>
                </p:custDataLst>
              </p:nvPr>
            </p:nvSpPr>
            <p:spPr bwMode="auto">
              <a:xfrm>
                <a:off x="6475413" y="2947988"/>
                <a:ext cx="201612" cy="269875"/>
              </a:xfrm>
              <a:custGeom>
                <a:avLst/>
                <a:gdLst>
                  <a:gd name="T0" fmla="*/ 2147483646 w 471"/>
                  <a:gd name="T1" fmla="*/ 2147483646 h 518"/>
                  <a:gd name="T2" fmla="*/ 2147483646 w 471"/>
                  <a:gd name="T3" fmla="*/ 2147483646 h 518"/>
                  <a:gd name="T4" fmla="*/ 2147483646 w 471"/>
                  <a:gd name="T5" fmla="*/ 2147483646 h 518"/>
                  <a:gd name="T6" fmla="*/ 2147483646 w 471"/>
                  <a:gd name="T7" fmla="*/ 2147483646 h 518"/>
                  <a:gd name="T8" fmla="*/ 2147483646 w 471"/>
                  <a:gd name="T9" fmla="*/ 2147483646 h 518"/>
                  <a:gd name="T10" fmla="*/ 2147483646 w 471"/>
                  <a:gd name="T11" fmla="*/ 2147483646 h 518"/>
                  <a:gd name="T12" fmla="*/ 2147483646 w 471"/>
                  <a:gd name="T13" fmla="*/ 2147483646 h 518"/>
                  <a:gd name="T14" fmla="*/ 2147483646 w 471"/>
                  <a:gd name="T15" fmla="*/ 2147483646 h 518"/>
                  <a:gd name="T16" fmla="*/ 2147483646 w 471"/>
                  <a:gd name="T17" fmla="*/ 2147483646 h 518"/>
                  <a:gd name="T18" fmla="*/ 2147483646 w 471"/>
                  <a:gd name="T19" fmla="*/ 2147483646 h 518"/>
                  <a:gd name="T20" fmla="*/ 2147483646 w 471"/>
                  <a:gd name="T21" fmla="*/ 2147483646 h 518"/>
                  <a:gd name="T22" fmla="*/ 2147483646 w 471"/>
                  <a:gd name="T23" fmla="*/ 2147483646 h 518"/>
                  <a:gd name="T24" fmla="*/ 2147483646 w 471"/>
                  <a:gd name="T25" fmla="*/ 2147483646 h 518"/>
                  <a:gd name="T26" fmla="*/ 2147483646 w 471"/>
                  <a:gd name="T27" fmla="*/ 2147483646 h 518"/>
                  <a:gd name="T28" fmla="*/ 2147483646 w 471"/>
                  <a:gd name="T29" fmla="*/ 2147483646 h 518"/>
                  <a:gd name="T30" fmla="*/ 2147483646 w 471"/>
                  <a:gd name="T31" fmla="*/ 2147483646 h 518"/>
                  <a:gd name="T32" fmla="*/ 2147483646 w 471"/>
                  <a:gd name="T33" fmla="*/ 2147483646 h 518"/>
                  <a:gd name="T34" fmla="*/ 2147483646 w 471"/>
                  <a:gd name="T35" fmla="*/ 2147483646 h 518"/>
                  <a:gd name="T36" fmla="*/ 2147483646 w 471"/>
                  <a:gd name="T37" fmla="*/ 2147483646 h 518"/>
                  <a:gd name="T38" fmla="*/ 2147483646 w 471"/>
                  <a:gd name="T39" fmla="*/ 2147483646 h 518"/>
                  <a:gd name="T40" fmla="*/ 2147483646 w 471"/>
                  <a:gd name="T41" fmla="*/ 2147483646 h 518"/>
                  <a:gd name="T42" fmla="*/ 2147483646 w 471"/>
                  <a:gd name="T43" fmla="*/ 2147483646 h 518"/>
                  <a:gd name="T44" fmla="*/ 2147483646 w 471"/>
                  <a:gd name="T45" fmla="*/ 2147483646 h 518"/>
                  <a:gd name="T46" fmla="*/ 2147483646 w 471"/>
                  <a:gd name="T47" fmla="*/ 2147483646 h 518"/>
                  <a:gd name="T48" fmla="*/ 2147483646 w 471"/>
                  <a:gd name="T49" fmla="*/ 2147483646 h 518"/>
                  <a:gd name="T50" fmla="*/ 2147483646 w 471"/>
                  <a:gd name="T51" fmla="*/ 2147483646 h 518"/>
                  <a:gd name="T52" fmla="*/ 2147483646 w 471"/>
                  <a:gd name="T53" fmla="*/ 2147483646 h 518"/>
                  <a:gd name="T54" fmla="*/ 2147483646 w 471"/>
                  <a:gd name="T55" fmla="*/ 2147483646 h 518"/>
                  <a:gd name="T56" fmla="*/ 2147483646 w 471"/>
                  <a:gd name="T57" fmla="*/ 2147483646 h 518"/>
                  <a:gd name="T58" fmla="*/ 2147483646 w 471"/>
                  <a:gd name="T59" fmla="*/ 2147483646 h 518"/>
                  <a:gd name="T60" fmla="*/ 2147483646 w 471"/>
                  <a:gd name="T61" fmla="*/ 2147483646 h 518"/>
                  <a:gd name="T62" fmla="*/ 2147483646 w 471"/>
                  <a:gd name="T63" fmla="*/ 2147483646 h 518"/>
                  <a:gd name="T64" fmla="*/ 2147483646 w 471"/>
                  <a:gd name="T65" fmla="*/ 2147483646 h 518"/>
                  <a:gd name="T66" fmla="*/ 2147483646 w 471"/>
                  <a:gd name="T67" fmla="*/ 2147483646 h 518"/>
                  <a:gd name="T68" fmla="*/ 2147483646 w 471"/>
                  <a:gd name="T69" fmla="*/ 2147483646 h 518"/>
                  <a:gd name="T70" fmla="*/ 2147483646 w 471"/>
                  <a:gd name="T71" fmla="*/ 2147483646 h 518"/>
                  <a:gd name="T72" fmla="*/ 2147483646 w 471"/>
                  <a:gd name="T73" fmla="*/ 2147483646 h 518"/>
                  <a:gd name="T74" fmla="*/ 2147483646 w 471"/>
                  <a:gd name="T75" fmla="*/ 2147483646 h 518"/>
                  <a:gd name="T76" fmla="*/ 2147483646 w 471"/>
                  <a:gd name="T77" fmla="*/ 2147483646 h 518"/>
                  <a:gd name="T78" fmla="*/ 2147483646 w 471"/>
                  <a:gd name="T79" fmla="*/ 2147483646 h 518"/>
                  <a:gd name="T80" fmla="*/ 2147483646 w 471"/>
                  <a:gd name="T81" fmla="*/ 2147483646 h 518"/>
                  <a:gd name="T82" fmla="*/ 2147483646 w 471"/>
                  <a:gd name="T83" fmla="*/ 2147483646 h 518"/>
                  <a:gd name="T84" fmla="*/ 2147483646 w 471"/>
                  <a:gd name="T85" fmla="*/ 2147483646 h 518"/>
                  <a:gd name="T86" fmla="*/ 2147483646 w 471"/>
                  <a:gd name="T87" fmla="*/ 2147483646 h 51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471"/>
                  <a:gd name="T133" fmla="*/ 0 h 518"/>
                  <a:gd name="T134" fmla="*/ 471 w 471"/>
                  <a:gd name="T135" fmla="*/ 518 h 518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471" h="518">
                    <a:moveTo>
                      <a:pt x="113" y="0"/>
                    </a:moveTo>
                    <a:lnTo>
                      <a:pt x="104" y="5"/>
                    </a:lnTo>
                    <a:lnTo>
                      <a:pt x="94" y="12"/>
                    </a:lnTo>
                    <a:lnTo>
                      <a:pt x="85" y="18"/>
                    </a:lnTo>
                    <a:lnTo>
                      <a:pt x="76" y="25"/>
                    </a:lnTo>
                    <a:lnTo>
                      <a:pt x="67" y="32"/>
                    </a:lnTo>
                    <a:lnTo>
                      <a:pt x="59" y="38"/>
                    </a:lnTo>
                    <a:lnTo>
                      <a:pt x="50" y="44"/>
                    </a:lnTo>
                    <a:lnTo>
                      <a:pt x="40" y="49"/>
                    </a:lnTo>
                    <a:lnTo>
                      <a:pt x="37" y="59"/>
                    </a:lnTo>
                    <a:lnTo>
                      <a:pt x="32" y="71"/>
                    </a:lnTo>
                    <a:lnTo>
                      <a:pt x="27" y="82"/>
                    </a:lnTo>
                    <a:lnTo>
                      <a:pt x="20" y="93"/>
                    </a:lnTo>
                    <a:lnTo>
                      <a:pt x="14" y="106"/>
                    </a:lnTo>
                    <a:lnTo>
                      <a:pt x="8" y="118"/>
                    </a:lnTo>
                    <a:lnTo>
                      <a:pt x="4" y="131"/>
                    </a:lnTo>
                    <a:lnTo>
                      <a:pt x="0" y="142"/>
                    </a:lnTo>
                    <a:lnTo>
                      <a:pt x="7" y="136"/>
                    </a:lnTo>
                    <a:lnTo>
                      <a:pt x="16" y="141"/>
                    </a:lnTo>
                    <a:lnTo>
                      <a:pt x="23" y="147"/>
                    </a:lnTo>
                    <a:lnTo>
                      <a:pt x="30" y="153"/>
                    </a:lnTo>
                    <a:lnTo>
                      <a:pt x="37" y="159"/>
                    </a:lnTo>
                    <a:lnTo>
                      <a:pt x="43" y="164"/>
                    </a:lnTo>
                    <a:lnTo>
                      <a:pt x="50" y="168"/>
                    </a:lnTo>
                    <a:lnTo>
                      <a:pt x="53" y="170"/>
                    </a:lnTo>
                    <a:lnTo>
                      <a:pt x="57" y="171"/>
                    </a:lnTo>
                    <a:lnTo>
                      <a:pt x="62" y="172"/>
                    </a:lnTo>
                    <a:lnTo>
                      <a:pt x="66" y="172"/>
                    </a:lnTo>
                    <a:lnTo>
                      <a:pt x="71" y="191"/>
                    </a:lnTo>
                    <a:lnTo>
                      <a:pt x="75" y="211"/>
                    </a:lnTo>
                    <a:lnTo>
                      <a:pt x="77" y="233"/>
                    </a:lnTo>
                    <a:lnTo>
                      <a:pt x="80" y="254"/>
                    </a:lnTo>
                    <a:lnTo>
                      <a:pt x="84" y="272"/>
                    </a:lnTo>
                    <a:lnTo>
                      <a:pt x="88" y="289"/>
                    </a:lnTo>
                    <a:lnTo>
                      <a:pt x="90" y="294"/>
                    </a:lnTo>
                    <a:lnTo>
                      <a:pt x="94" y="299"/>
                    </a:lnTo>
                    <a:lnTo>
                      <a:pt x="96" y="302"/>
                    </a:lnTo>
                    <a:lnTo>
                      <a:pt x="100" y="302"/>
                    </a:lnTo>
                    <a:lnTo>
                      <a:pt x="104" y="302"/>
                    </a:lnTo>
                    <a:lnTo>
                      <a:pt x="107" y="301"/>
                    </a:lnTo>
                    <a:lnTo>
                      <a:pt x="110" y="299"/>
                    </a:lnTo>
                    <a:lnTo>
                      <a:pt x="112" y="297"/>
                    </a:lnTo>
                    <a:lnTo>
                      <a:pt x="118" y="291"/>
                    </a:lnTo>
                    <a:lnTo>
                      <a:pt x="121" y="283"/>
                    </a:lnTo>
                    <a:lnTo>
                      <a:pt x="128" y="268"/>
                    </a:lnTo>
                    <a:lnTo>
                      <a:pt x="133" y="259"/>
                    </a:lnTo>
                    <a:lnTo>
                      <a:pt x="140" y="260"/>
                    </a:lnTo>
                    <a:lnTo>
                      <a:pt x="145" y="262"/>
                    </a:lnTo>
                    <a:lnTo>
                      <a:pt x="151" y="265"/>
                    </a:lnTo>
                    <a:lnTo>
                      <a:pt x="155" y="268"/>
                    </a:lnTo>
                    <a:lnTo>
                      <a:pt x="160" y="272"/>
                    </a:lnTo>
                    <a:lnTo>
                      <a:pt x="164" y="274"/>
                    </a:lnTo>
                    <a:lnTo>
                      <a:pt x="168" y="277"/>
                    </a:lnTo>
                    <a:lnTo>
                      <a:pt x="173" y="277"/>
                    </a:lnTo>
                    <a:lnTo>
                      <a:pt x="176" y="277"/>
                    </a:lnTo>
                    <a:lnTo>
                      <a:pt x="179" y="276"/>
                    </a:lnTo>
                    <a:lnTo>
                      <a:pt x="183" y="274"/>
                    </a:lnTo>
                    <a:lnTo>
                      <a:pt x="185" y="272"/>
                    </a:lnTo>
                    <a:lnTo>
                      <a:pt x="189" y="266"/>
                    </a:lnTo>
                    <a:lnTo>
                      <a:pt x="192" y="259"/>
                    </a:lnTo>
                    <a:lnTo>
                      <a:pt x="197" y="252"/>
                    </a:lnTo>
                    <a:lnTo>
                      <a:pt x="201" y="247"/>
                    </a:lnTo>
                    <a:lnTo>
                      <a:pt x="203" y="244"/>
                    </a:lnTo>
                    <a:lnTo>
                      <a:pt x="206" y="243"/>
                    </a:lnTo>
                    <a:lnTo>
                      <a:pt x="209" y="241"/>
                    </a:lnTo>
                    <a:lnTo>
                      <a:pt x="212" y="241"/>
                    </a:lnTo>
                    <a:lnTo>
                      <a:pt x="224" y="242"/>
                    </a:lnTo>
                    <a:lnTo>
                      <a:pt x="233" y="244"/>
                    </a:lnTo>
                    <a:lnTo>
                      <a:pt x="241" y="247"/>
                    </a:lnTo>
                    <a:lnTo>
                      <a:pt x="246" y="252"/>
                    </a:lnTo>
                    <a:lnTo>
                      <a:pt x="254" y="261"/>
                    </a:lnTo>
                    <a:lnTo>
                      <a:pt x="259" y="271"/>
                    </a:lnTo>
                    <a:lnTo>
                      <a:pt x="274" y="293"/>
                    </a:lnTo>
                    <a:lnTo>
                      <a:pt x="290" y="314"/>
                    </a:lnTo>
                    <a:lnTo>
                      <a:pt x="308" y="336"/>
                    </a:lnTo>
                    <a:lnTo>
                      <a:pt x="325" y="359"/>
                    </a:lnTo>
                    <a:lnTo>
                      <a:pt x="333" y="371"/>
                    </a:lnTo>
                    <a:lnTo>
                      <a:pt x="341" y="382"/>
                    </a:lnTo>
                    <a:lnTo>
                      <a:pt x="347" y="394"/>
                    </a:lnTo>
                    <a:lnTo>
                      <a:pt x="354" y="407"/>
                    </a:lnTo>
                    <a:lnTo>
                      <a:pt x="358" y="419"/>
                    </a:lnTo>
                    <a:lnTo>
                      <a:pt x="363" y="431"/>
                    </a:lnTo>
                    <a:lnTo>
                      <a:pt x="365" y="443"/>
                    </a:lnTo>
                    <a:lnTo>
                      <a:pt x="366" y="457"/>
                    </a:lnTo>
                    <a:lnTo>
                      <a:pt x="365" y="461"/>
                    </a:lnTo>
                    <a:lnTo>
                      <a:pt x="363" y="466"/>
                    </a:lnTo>
                    <a:lnTo>
                      <a:pt x="359" y="470"/>
                    </a:lnTo>
                    <a:lnTo>
                      <a:pt x="355" y="474"/>
                    </a:lnTo>
                    <a:lnTo>
                      <a:pt x="346" y="481"/>
                    </a:lnTo>
                    <a:lnTo>
                      <a:pt x="339" y="487"/>
                    </a:lnTo>
                    <a:lnTo>
                      <a:pt x="348" y="490"/>
                    </a:lnTo>
                    <a:lnTo>
                      <a:pt x="356" y="493"/>
                    </a:lnTo>
                    <a:lnTo>
                      <a:pt x="363" y="496"/>
                    </a:lnTo>
                    <a:lnTo>
                      <a:pt x="368" y="500"/>
                    </a:lnTo>
                    <a:lnTo>
                      <a:pt x="379" y="508"/>
                    </a:lnTo>
                    <a:lnTo>
                      <a:pt x="392" y="518"/>
                    </a:lnTo>
                    <a:lnTo>
                      <a:pt x="395" y="511"/>
                    </a:lnTo>
                    <a:lnTo>
                      <a:pt x="398" y="504"/>
                    </a:lnTo>
                    <a:lnTo>
                      <a:pt x="401" y="499"/>
                    </a:lnTo>
                    <a:lnTo>
                      <a:pt x="404" y="495"/>
                    </a:lnTo>
                    <a:lnTo>
                      <a:pt x="409" y="491"/>
                    </a:lnTo>
                    <a:lnTo>
                      <a:pt x="413" y="489"/>
                    </a:lnTo>
                    <a:lnTo>
                      <a:pt x="418" y="487"/>
                    </a:lnTo>
                    <a:lnTo>
                      <a:pt x="422" y="485"/>
                    </a:lnTo>
                    <a:lnTo>
                      <a:pt x="444" y="483"/>
                    </a:lnTo>
                    <a:lnTo>
                      <a:pt x="471" y="481"/>
                    </a:lnTo>
                    <a:lnTo>
                      <a:pt x="471" y="459"/>
                    </a:lnTo>
                    <a:lnTo>
                      <a:pt x="468" y="438"/>
                    </a:lnTo>
                    <a:lnTo>
                      <a:pt x="464" y="420"/>
                    </a:lnTo>
                    <a:lnTo>
                      <a:pt x="457" y="403"/>
                    </a:lnTo>
                    <a:lnTo>
                      <a:pt x="449" y="387"/>
                    </a:lnTo>
                    <a:lnTo>
                      <a:pt x="441" y="372"/>
                    </a:lnTo>
                    <a:lnTo>
                      <a:pt x="431" y="359"/>
                    </a:lnTo>
                    <a:lnTo>
                      <a:pt x="421" y="347"/>
                    </a:lnTo>
                    <a:lnTo>
                      <a:pt x="397" y="322"/>
                    </a:lnTo>
                    <a:lnTo>
                      <a:pt x="371" y="300"/>
                    </a:lnTo>
                    <a:lnTo>
                      <a:pt x="345" y="277"/>
                    </a:lnTo>
                    <a:lnTo>
                      <a:pt x="319" y="253"/>
                    </a:lnTo>
                    <a:lnTo>
                      <a:pt x="299" y="237"/>
                    </a:lnTo>
                    <a:lnTo>
                      <a:pt x="279" y="218"/>
                    </a:lnTo>
                    <a:lnTo>
                      <a:pt x="261" y="200"/>
                    </a:lnTo>
                    <a:lnTo>
                      <a:pt x="242" y="182"/>
                    </a:lnTo>
                    <a:lnTo>
                      <a:pt x="224" y="162"/>
                    </a:lnTo>
                    <a:lnTo>
                      <a:pt x="208" y="143"/>
                    </a:lnTo>
                    <a:lnTo>
                      <a:pt x="192" y="124"/>
                    </a:lnTo>
                    <a:lnTo>
                      <a:pt x="179" y="105"/>
                    </a:lnTo>
                    <a:lnTo>
                      <a:pt x="158" y="79"/>
                    </a:lnTo>
                    <a:lnTo>
                      <a:pt x="136" y="52"/>
                    </a:lnTo>
                    <a:lnTo>
                      <a:pt x="127" y="40"/>
                    </a:lnTo>
                    <a:lnTo>
                      <a:pt x="120" y="27"/>
                    </a:lnTo>
                    <a:lnTo>
                      <a:pt x="117" y="21"/>
                    </a:lnTo>
                    <a:lnTo>
                      <a:pt x="115" y="14"/>
                    </a:lnTo>
                    <a:lnTo>
                      <a:pt x="113" y="7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55" name="Freeform 277">
                <a:extLst>
                  <a:ext uri="{FF2B5EF4-FFF2-40B4-BE49-F238E27FC236}">
                    <a16:creationId xmlns="" xmlns:a16="http://schemas.microsoft.com/office/drawing/2014/main" id="{A3E6E8DA-78D0-4F39-84F9-6EE209C7DACB}"/>
                  </a:ext>
                </a:extLst>
              </p:cNvPr>
              <p:cNvSpPr>
                <a:spLocks/>
              </p:cNvSpPr>
              <p:nvPr>
                <p:custDataLst>
                  <p:tags r:id="rId204"/>
                </p:custDataLst>
              </p:nvPr>
            </p:nvSpPr>
            <p:spPr bwMode="auto">
              <a:xfrm>
                <a:off x="6557963" y="3198813"/>
                <a:ext cx="133350" cy="130175"/>
              </a:xfrm>
              <a:custGeom>
                <a:avLst/>
                <a:gdLst>
                  <a:gd name="T0" fmla="*/ 2147483646 w 293"/>
                  <a:gd name="T1" fmla="*/ 2147483646 h 246"/>
                  <a:gd name="T2" fmla="*/ 2147483646 w 293"/>
                  <a:gd name="T3" fmla="*/ 2147483646 h 246"/>
                  <a:gd name="T4" fmla="*/ 2147483646 w 293"/>
                  <a:gd name="T5" fmla="*/ 2147483646 h 246"/>
                  <a:gd name="T6" fmla="*/ 2147483646 w 293"/>
                  <a:gd name="T7" fmla="*/ 2147483646 h 246"/>
                  <a:gd name="T8" fmla="*/ 2147483646 w 293"/>
                  <a:gd name="T9" fmla="*/ 2147483646 h 246"/>
                  <a:gd name="T10" fmla="*/ 2147483646 w 293"/>
                  <a:gd name="T11" fmla="*/ 2147483646 h 246"/>
                  <a:gd name="T12" fmla="*/ 2147483646 w 293"/>
                  <a:gd name="T13" fmla="*/ 2147483646 h 246"/>
                  <a:gd name="T14" fmla="*/ 2147483646 w 293"/>
                  <a:gd name="T15" fmla="*/ 2147483646 h 246"/>
                  <a:gd name="T16" fmla="*/ 2147483646 w 293"/>
                  <a:gd name="T17" fmla="*/ 2147483646 h 246"/>
                  <a:gd name="T18" fmla="*/ 2147483646 w 293"/>
                  <a:gd name="T19" fmla="*/ 2147483646 h 246"/>
                  <a:gd name="T20" fmla="*/ 2147483646 w 293"/>
                  <a:gd name="T21" fmla="*/ 2147483646 h 246"/>
                  <a:gd name="T22" fmla="*/ 2147483646 w 293"/>
                  <a:gd name="T23" fmla="*/ 2147483646 h 246"/>
                  <a:gd name="T24" fmla="*/ 2147483646 w 293"/>
                  <a:gd name="T25" fmla="*/ 2147483646 h 246"/>
                  <a:gd name="T26" fmla="*/ 2147483646 w 293"/>
                  <a:gd name="T27" fmla="*/ 2147483646 h 246"/>
                  <a:gd name="T28" fmla="*/ 2147483646 w 293"/>
                  <a:gd name="T29" fmla="*/ 2147483646 h 246"/>
                  <a:gd name="T30" fmla="*/ 2147483646 w 293"/>
                  <a:gd name="T31" fmla="*/ 2147483646 h 246"/>
                  <a:gd name="T32" fmla="*/ 2147483646 w 293"/>
                  <a:gd name="T33" fmla="*/ 2147483646 h 246"/>
                  <a:gd name="T34" fmla="*/ 2147483646 w 293"/>
                  <a:gd name="T35" fmla="*/ 2147483646 h 246"/>
                  <a:gd name="T36" fmla="*/ 2147483646 w 293"/>
                  <a:gd name="T37" fmla="*/ 2147483646 h 246"/>
                  <a:gd name="T38" fmla="*/ 2147483646 w 293"/>
                  <a:gd name="T39" fmla="*/ 2147483646 h 246"/>
                  <a:gd name="T40" fmla="*/ 2147483646 w 293"/>
                  <a:gd name="T41" fmla="*/ 2147483646 h 246"/>
                  <a:gd name="T42" fmla="*/ 2147483646 w 293"/>
                  <a:gd name="T43" fmla="*/ 2147483646 h 246"/>
                  <a:gd name="T44" fmla="*/ 2147483646 w 293"/>
                  <a:gd name="T45" fmla="*/ 2147483646 h 246"/>
                  <a:gd name="T46" fmla="*/ 2147483646 w 293"/>
                  <a:gd name="T47" fmla="*/ 2147483646 h 246"/>
                  <a:gd name="T48" fmla="*/ 2147483646 w 293"/>
                  <a:gd name="T49" fmla="*/ 2147483646 h 246"/>
                  <a:gd name="T50" fmla="*/ 2147483646 w 293"/>
                  <a:gd name="T51" fmla="*/ 2147483646 h 246"/>
                  <a:gd name="T52" fmla="*/ 2147483646 w 293"/>
                  <a:gd name="T53" fmla="*/ 2147483646 h 246"/>
                  <a:gd name="T54" fmla="*/ 2147483646 w 293"/>
                  <a:gd name="T55" fmla="*/ 2147483646 h 246"/>
                  <a:gd name="T56" fmla="*/ 2147483646 w 293"/>
                  <a:gd name="T57" fmla="*/ 2147483646 h 246"/>
                  <a:gd name="T58" fmla="*/ 2147483646 w 293"/>
                  <a:gd name="T59" fmla="*/ 2147483646 h 246"/>
                  <a:gd name="T60" fmla="*/ 2147483646 w 293"/>
                  <a:gd name="T61" fmla="*/ 2147483646 h 246"/>
                  <a:gd name="T62" fmla="*/ 0 w 293"/>
                  <a:gd name="T63" fmla="*/ 2147483646 h 246"/>
                  <a:gd name="T64" fmla="*/ 2147483646 w 293"/>
                  <a:gd name="T65" fmla="*/ 2147483646 h 246"/>
                  <a:gd name="T66" fmla="*/ 2147483646 w 293"/>
                  <a:gd name="T67" fmla="*/ 2147483646 h 246"/>
                  <a:gd name="T68" fmla="*/ 2147483646 w 293"/>
                  <a:gd name="T69" fmla="*/ 2147483646 h 246"/>
                  <a:gd name="T70" fmla="*/ 2147483646 w 293"/>
                  <a:gd name="T71" fmla="*/ 2147483646 h 246"/>
                  <a:gd name="T72" fmla="*/ 2147483646 w 293"/>
                  <a:gd name="T73" fmla="*/ 2147483646 h 246"/>
                  <a:gd name="T74" fmla="*/ 2147483646 w 293"/>
                  <a:gd name="T75" fmla="*/ 2147483646 h 246"/>
                  <a:gd name="T76" fmla="*/ 2147483646 w 293"/>
                  <a:gd name="T77" fmla="*/ 2147483646 h 246"/>
                  <a:gd name="T78" fmla="*/ 2147483646 w 293"/>
                  <a:gd name="T79" fmla="*/ 2147483646 h 24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293"/>
                  <a:gd name="T121" fmla="*/ 0 h 246"/>
                  <a:gd name="T122" fmla="*/ 293 w 293"/>
                  <a:gd name="T123" fmla="*/ 246 h 24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293" h="246">
                    <a:moveTo>
                      <a:pt x="133" y="12"/>
                    </a:moveTo>
                    <a:lnTo>
                      <a:pt x="152" y="19"/>
                    </a:lnTo>
                    <a:lnTo>
                      <a:pt x="166" y="24"/>
                    </a:lnTo>
                    <a:lnTo>
                      <a:pt x="179" y="30"/>
                    </a:lnTo>
                    <a:lnTo>
                      <a:pt x="193" y="37"/>
                    </a:lnTo>
                    <a:lnTo>
                      <a:pt x="196" y="30"/>
                    </a:lnTo>
                    <a:lnTo>
                      <a:pt x="199" y="23"/>
                    </a:lnTo>
                    <a:lnTo>
                      <a:pt x="202" y="18"/>
                    </a:lnTo>
                    <a:lnTo>
                      <a:pt x="205" y="14"/>
                    </a:lnTo>
                    <a:lnTo>
                      <a:pt x="210" y="10"/>
                    </a:lnTo>
                    <a:lnTo>
                      <a:pt x="214" y="8"/>
                    </a:lnTo>
                    <a:lnTo>
                      <a:pt x="219" y="6"/>
                    </a:lnTo>
                    <a:lnTo>
                      <a:pt x="223" y="4"/>
                    </a:lnTo>
                    <a:lnTo>
                      <a:pt x="245" y="2"/>
                    </a:lnTo>
                    <a:lnTo>
                      <a:pt x="272" y="0"/>
                    </a:lnTo>
                    <a:lnTo>
                      <a:pt x="293" y="80"/>
                    </a:lnTo>
                    <a:lnTo>
                      <a:pt x="279" y="93"/>
                    </a:lnTo>
                    <a:lnTo>
                      <a:pt x="266" y="107"/>
                    </a:lnTo>
                    <a:lnTo>
                      <a:pt x="250" y="123"/>
                    </a:lnTo>
                    <a:lnTo>
                      <a:pt x="237" y="141"/>
                    </a:lnTo>
                    <a:lnTo>
                      <a:pt x="231" y="150"/>
                    </a:lnTo>
                    <a:lnTo>
                      <a:pt x="225" y="159"/>
                    </a:lnTo>
                    <a:lnTo>
                      <a:pt x="220" y="169"/>
                    </a:lnTo>
                    <a:lnTo>
                      <a:pt x="215" y="178"/>
                    </a:lnTo>
                    <a:lnTo>
                      <a:pt x="212" y="187"/>
                    </a:lnTo>
                    <a:lnTo>
                      <a:pt x="209" y="197"/>
                    </a:lnTo>
                    <a:lnTo>
                      <a:pt x="206" y="207"/>
                    </a:lnTo>
                    <a:lnTo>
                      <a:pt x="206" y="216"/>
                    </a:lnTo>
                    <a:lnTo>
                      <a:pt x="201" y="216"/>
                    </a:lnTo>
                    <a:lnTo>
                      <a:pt x="196" y="217"/>
                    </a:lnTo>
                    <a:lnTo>
                      <a:pt x="190" y="218"/>
                    </a:lnTo>
                    <a:lnTo>
                      <a:pt x="186" y="220"/>
                    </a:lnTo>
                    <a:lnTo>
                      <a:pt x="178" y="224"/>
                    </a:lnTo>
                    <a:lnTo>
                      <a:pt x="170" y="229"/>
                    </a:lnTo>
                    <a:lnTo>
                      <a:pt x="163" y="234"/>
                    </a:lnTo>
                    <a:lnTo>
                      <a:pt x="154" y="239"/>
                    </a:lnTo>
                    <a:lnTo>
                      <a:pt x="145" y="243"/>
                    </a:lnTo>
                    <a:lnTo>
                      <a:pt x="133" y="246"/>
                    </a:lnTo>
                    <a:lnTo>
                      <a:pt x="118" y="243"/>
                    </a:lnTo>
                    <a:lnTo>
                      <a:pt x="102" y="240"/>
                    </a:lnTo>
                    <a:lnTo>
                      <a:pt x="87" y="236"/>
                    </a:lnTo>
                    <a:lnTo>
                      <a:pt x="71" y="232"/>
                    </a:lnTo>
                    <a:lnTo>
                      <a:pt x="65" y="229"/>
                    </a:lnTo>
                    <a:lnTo>
                      <a:pt x="59" y="226"/>
                    </a:lnTo>
                    <a:lnTo>
                      <a:pt x="54" y="223"/>
                    </a:lnTo>
                    <a:lnTo>
                      <a:pt x="49" y="220"/>
                    </a:lnTo>
                    <a:lnTo>
                      <a:pt x="45" y="216"/>
                    </a:lnTo>
                    <a:lnTo>
                      <a:pt x="43" y="212"/>
                    </a:lnTo>
                    <a:lnTo>
                      <a:pt x="41" y="208"/>
                    </a:lnTo>
                    <a:lnTo>
                      <a:pt x="41" y="204"/>
                    </a:lnTo>
                    <a:lnTo>
                      <a:pt x="44" y="193"/>
                    </a:lnTo>
                    <a:lnTo>
                      <a:pt x="47" y="178"/>
                    </a:lnTo>
                    <a:lnTo>
                      <a:pt x="46" y="170"/>
                    </a:lnTo>
                    <a:lnTo>
                      <a:pt x="45" y="162"/>
                    </a:lnTo>
                    <a:lnTo>
                      <a:pt x="43" y="154"/>
                    </a:lnTo>
                    <a:lnTo>
                      <a:pt x="40" y="147"/>
                    </a:lnTo>
                    <a:lnTo>
                      <a:pt x="32" y="132"/>
                    </a:lnTo>
                    <a:lnTo>
                      <a:pt x="24" y="119"/>
                    </a:lnTo>
                    <a:lnTo>
                      <a:pt x="15" y="106"/>
                    </a:lnTo>
                    <a:lnTo>
                      <a:pt x="8" y="91"/>
                    </a:lnTo>
                    <a:lnTo>
                      <a:pt x="4" y="83"/>
                    </a:lnTo>
                    <a:lnTo>
                      <a:pt x="2" y="74"/>
                    </a:lnTo>
                    <a:lnTo>
                      <a:pt x="1" y="65"/>
                    </a:lnTo>
                    <a:lnTo>
                      <a:pt x="0" y="55"/>
                    </a:lnTo>
                    <a:lnTo>
                      <a:pt x="1" y="50"/>
                    </a:lnTo>
                    <a:lnTo>
                      <a:pt x="2" y="45"/>
                    </a:lnTo>
                    <a:lnTo>
                      <a:pt x="4" y="40"/>
                    </a:lnTo>
                    <a:lnTo>
                      <a:pt x="8" y="36"/>
                    </a:lnTo>
                    <a:lnTo>
                      <a:pt x="12" y="32"/>
                    </a:lnTo>
                    <a:lnTo>
                      <a:pt x="17" y="29"/>
                    </a:lnTo>
                    <a:lnTo>
                      <a:pt x="21" y="25"/>
                    </a:lnTo>
                    <a:lnTo>
                      <a:pt x="26" y="22"/>
                    </a:lnTo>
                    <a:lnTo>
                      <a:pt x="37" y="17"/>
                    </a:lnTo>
                    <a:lnTo>
                      <a:pt x="48" y="14"/>
                    </a:lnTo>
                    <a:lnTo>
                      <a:pt x="58" y="13"/>
                    </a:lnTo>
                    <a:lnTo>
                      <a:pt x="67" y="12"/>
                    </a:lnTo>
                    <a:lnTo>
                      <a:pt x="79" y="12"/>
                    </a:lnTo>
                    <a:lnTo>
                      <a:pt x="96" y="12"/>
                    </a:lnTo>
                    <a:lnTo>
                      <a:pt x="113" y="12"/>
                    </a:lnTo>
                    <a:lnTo>
                      <a:pt x="133" y="12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56" name="Freeform 278">
                <a:extLst>
                  <a:ext uri="{FF2B5EF4-FFF2-40B4-BE49-F238E27FC236}">
                    <a16:creationId xmlns="" xmlns:a16="http://schemas.microsoft.com/office/drawing/2014/main" id="{5888EB40-1676-4335-A926-7B94E158CD65}"/>
                  </a:ext>
                </a:extLst>
              </p:cNvPr>
              <p:cNvSpPr>
                <a:spLocks/>
              </p:cNvSpPr>
              <p:nvPr>
                <p:custDataLst>
                  <p:tags r:id="rId205"/>
                </p:custDataLst>
              </p:nvPr>
            </p:nvSpPr>
            <p:spPr bwMode="auto">
              <a:xfrm>
                <a:off x="6959600" y="2435225"/>
                <a:ext cx="85725" cy="130175"/>
              </a:xfrm>
              <a:custGeom>
                <a:avLst/>
                <a:gdLst>
                  <a:gd name="T0" fmla="*/ 2147483646 w 200"/>
                  <a:gd name="T1" fmla="*/ 2147483646 h 246"/>
                  <a:gd name="T2" fmla="*/ 2147483646 w 200"/>
                  <a:gd name="T3" fmla="*/ 2147483646 h 246"/>
                  <a:gd name="T4" fmla="*/ 2147483646 w 200"/>
                  <a:gd name="T5" fmla="*/ 2147483646 h 246"/>
                  <a:gd name="T6" fmla="*/ 2147483646 w 200"/>
                  <a:gd name="T7" fmla="*/ 2147483646 h 246"/>
                  <a:gd name="T8" fmla="*/ 2147483646 w 200"/>
                  <a:gd name="T9" fmla="*/ 2147483646 h 246"/>
                  <a:gd name="T10" fmla="*/ 2147483646 w 200"/>
                  <a:gd name="T11" fmla="*/ 2147483646 h 246"/>
                  <a:gd name="T12" fmla="*/ 2147483646 w 200"/>
                  <a:gd name="T13" fmla="*/ 2147483646 h 246"/>
                  <a:gd name="T14" fmla="*/ 2147483646 w 200"/>
                  <a:gd name="T15" fmla="*/ 2147483646 h 246"/>
                  <a:gd name="T16" fmla="*/ 2147483646 w 200"/>
                  <a:gd name="T17" fmla="*/ 2147483646 h 246"/>
                  <a:gd name="T18" fmla="*/ 2147483646 w 200"/>
                  <a:gd name="T19" fmla="*/ 2147483646 h 246"/>
                  <a:gd name="T20" fmla="*/ 2147483646 w 200"/>
                  <a:gd name="T21" fmla="*/ 2147483646 h 246"/>
                  <a:gd name="T22" fmla="*/ 2147483646 w 200"/>
                  <a:gd name="T23" fmla="*/ 2147483646 h 246"/>
                  <a:gd name="T24" fmla="*/ 2147483646 w 200"/>
                  <a:gd name="T25" fmla="*/ 2147483646 h 246"/>
                  <a:gd name="T26" fmla="*/ 2147483646 w 200"/>
                  <a:gd name="T27" fmla="*/ 2147483646 h 246"/>
                  <a:gd name="T28" fmla="*/ 2147483646 w 200"/>
                  <a:gd name="T29" fmla="*/ 2147483646 h 246"/>
                  <a:gd name="T30" fmla="*/ 2147483646 w 200"/>
                  <a:gd name="T31" fmla="*/ 2147483646 h 246"/>
                  <a:gd name="T32" fmla="*/ 2147483646 w 200"/>
                  <a:gd name="T33" fmla="*/ 2147483646 h 246"/>
                  <a:gd name="T34" fmla="*/ 2147483646 w 200"/>
                  <a:gd name="T35" fmla="*/ 2147483646 h 246"/>
                  <a:gd name="T36" fmla="*/ 2147483646 w 200"/>
                  <a:gd name="T37" fmla="*/ 2147483646 h 246"/>
                  <a:gd name="T38" fmla="*/ 2147483646 w 200"/>
                  <a:gd name="T39" fmla="*/ 2147483646 h 246"/>
                  <a:gd name="T40" fmla="*/ 2147483646 w 200"/>
                  <a:gd name="T41" fmla="*/ 2147483646 h 246"/>
                  <a:gd name="T42" fmla="*/ 2147483646 w 200"/>
                  <a:gd name="T43" fmla="*/ 2147483646 h 246"/>
                  <a:gd name="T44" fmla="*/ 2147483646 w 200"/>
                  <a:gd name="T45" fmla="*/ 2147483646 h 246"/>
                  <a:gd name="T46" fmla="*/ 2147483646 w 200"/>
                  <a:gd name="T47" fmla="*/ 2147483646 h 246"/>
                  <a:gd name="T48" fmla="*/ 2147483646 w 200"/>
                  <a:gd name="T49" fmla="*/ 2147483646 h 246"/>
                  <a:gd name="T50" fmla="*/ 2147483646 w 200"/>
                  <a:gd name="T51" fmla="*/ 2147483646 h 246"/>
                  <a:gd name="T52" fmla="*/ 2147483646 w 200"/>
                  <a:gd name="T53" fmla="*/ 2147483646 h 246"/>
                  <a:gd name="T54" fmla="*/ 2147483646 w 200"/>
                  <a:gd name="T55" fmla="*/ 2147483646 h 246"/>
                  <a:gd name="T56" fmla="*/ 2147483646 w 200"/>
                  <a:gd name="T57" fmla="*/ 2147483646 h 246"/>
                  <a:gd name="T58" fmla="*/ 2147483646 w 200"/>
                  <a:gd name="T59" fmla="*/ 2147483646 h 246"/>
                  <a:gd name="T60" fmla="*/ 2147483646 w 200"/>
                  <a:gd name="T61" fmla="*/ 2147483646 h 246"/>
                  <a:gd name="T62" fmla="*/ 2147483646 w 200"/>
                  <a:gd name="T63" fmla="*/ 2147483646 h 246"/>
                  <a:gd name="T64" fmla="*/ 2147483646 w 200"/>
                  <a:gd name="T65" fmla="*/ 2147483646 h 246"/>
                  <a:gd name="T66" fmla="*/ 2147483646 w 200"/>
                  <a:gd name="T67" fmla="*/ 2147483646 h 246"/>
                  <a:gd name="T68" fmla="*/ 2147483646 w 200"/>
                  <a:gd name="T69" fmla="*/ 2147483646 h 246"/>
                  <a:gd name="T70" fmla="*/ 2147483646 w 200"/>
                  <a:gd name="T71" fmla="*/ 2147483646 h 246"/>
                  <a:gd name="T72" fmla="*/ 2147483646 w 200"/>
                  <a:gd name="T73" fmla="*/ 2147483646 h 246"/>
                  <a:gd name="T74" fmla="*/ 2147483646 w 200"/>
                  <a:gd name="T75" fmla="*/ 2147483646 h 246"/>
                  <a:gd name="T76" fmla="*/ 2147483646 w 200"/>
                  <a:gd name="T77" fmla="*/ 2147483646 h 246"/>
                  <a:gd name="T78" fmla="*/ 2147483646 w 200"/>
                  <a:gd name="T79" fmla="*/ 2147483646 h 246"/>
                  <a:gd name="T80" fmla="*/ 2147483646 w 200"/>
                  <a:gd name="T81" fmla="*/ 2147483646 h 24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200"/>
                  <a:gd name="T124" fmla="*/ 0 h 246"/>
                  <a:gd name="T125" fmla="*/ 200 w 200"/>
                  <a:gd name="T126" fmla="*/ 246 h 24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200" h="246">
                    <a:moveTo>
                      <a:pt x="13" y="49"/>
                    </a:moveTo>
                    <a:lnTo>
                      <a:pt x="18" y="41"/>
                    </a:lnTo>
                    <a:lnTo>
                      <a:pt x="22" y="32"/>
                    </a:lnTo>
                    <a:lnTo>
                      <a:pt x="28" y="26"/>
                    </a:lnTo>
                    <a:lnTo>
                      <a:pt x="33" y="20"/>
                    </a:lnTo>
                    <a:lnTo>
                      <a:pt x="38" y="16"/>
                    </a:lnTo>
                    <a:lnTo>
                      <a:pt x="44" y="12"/>
                    </a:lnTo>
                    <a:lnTo>
                      <a:pt x="50" y="9"/>
                    </a:lnTo>
                    <a:lnTo>
                      <a:pt x="54" y="6"/>
                    </a:lnTo>
                    <a:lnTo>
                      <a:pt x="73" y="1"/>
                    </a:lnTo>
                    <a:lnTo>
                      <a:pt x="80" y="0"/>
                    </a:lnTo>
                    <a:lnTo>
                      <a:pt x="88" y="12"/>
                    </a:lnTo>
                    <a:lnTo>
                      <a:pt x="98" y="23"/>
                    </a:lnTo>
                    <a:lnTo>
                      <a:pt x="108" y="34"/>
                    </a:lnTo>
                    <a:lnTo>
                      <a:pt x="119" y="46"/>
                    </a:lnTo>
                    <a:lnTo>
                      <a:pt x="125" y="50"/>
                    </a:lnTo>
                    <a:lnTo>
                      <a:pt x="132" y="54"/>
                    </a:lnTo>
                    <a:lnTo>
                      <a:pt x="139" y="58"/>
                    </a:lnTo>
                    <a:lnTo>
                      <a:pt x="145" y="61"/>
                    </a:lnTo>
                    <a:lnTo>
                      <a:pt x="152" y="64"/>
                    </a:lnTo>
                    <a:lnTo>
                      <a:pt x="158" y="66"/>
                    </a:lnTo>
                    <a:lnTo>
                      <a:pt x="166" y="67"/>
                    </a:lnTo>
                    <a:lnTo>
                      <a:pt x="174" y="67"/>
                    </a:lnTo>
                    <a:lnTo>
                      <a:pt x="184" y="96"/>
                    </a:lnTo>
                    <a:lnTo>
                      <a:pt x="191" y="123"/>
                    </a:lnTo>
                    <a:lnTo>
                      <a:pt x="195" y="137"/>
                    </a:lnTo>
                    <a:lnTo>
                      <a:pt x="198" y="151"/>
                    </a:lnTo>
                    <a:lnTo>
                      <a:pt x="199" y="165"/>
                    </a:lnTo>
                    <a:lnTo>
                      <a:pt x="200" y="178"/>
                    </a:lnTo>
                    <a:lnTo>
                      <a:pt x="200" y="185"/>
                    </a:lnTo>
                    <a:lnTo>
                      <a:pt x="199" y="192"/>
                    </a:lnTo>
                    <a:lnTo>
                      <a:pt x="198" y="197"/>
                    </a:lnTo>
                    <a:lnTo>
                      <a:pt x="196" y="202"/>
                    </a:lnTo>
                    <a:lnTo>
                      <a:pt x="195" y="207"/>
                    </a:lnTo>
                    <a:lnTo>
                      <a:pt x="192" y="211"/>
                    </a:lnTo>
                    <a:lnTo>
                      <a:pt x="189" y="214"/>
                    </a:lnTo>
                    <a:lnTo>
                      <a:pt x="186" y="216"/>
                    </a:lnTo>
                    <a:lnTo>
                      <a:pt x="179" y="220"/>
                    </a:lnTo>
                    <a:lnTo>
                      <a:pt x="173" y="222"/>
                    </a:lnTo>
                    <a:lnTo>
                      <a:pt x="164" y="224"/>
                    </a:lnTo>
                    <a:lnTo>
                      <a:pt x="156" y="224"/>
                    </a:lnTo>
                    <a:lnTo>
                      <a:pt x="140" y="224"/>
                    </a:lnTo>
                    <a:lnTo>
                      <a:pt x="124" y="226"/>
                    </a:lnTo>
                    <a:lnTo>
                      <a:pt x="118" y="229"/>
                    </a:lnTo>
                    <a:lnTo>
                      <a:pt x="112" y="232"/>
                    </a:lnTo>
                    <a:lnTo>
                      <a:pt x="111" y="235"/>
                    </a:lnTo>
                    <a:lnTo>
                      <a:pt x="109" y="238"/>
                    </a:lnTo>
                    <a:lnTo>
                      <a:pt x="108" y="242"/>
                    </a:lnTo>
                    <a:lnTo>
                      <a:pt x="107" y="246"/>
                    </a:lnTo>
                    <a:lnTo>
                      <a:pt x="98" y="245"/>
                    </a:lnTo>
                    <a:lnTo>
                      <a:pt x="90" y="243"/>
                    </a:lnTo>
                    <a:lnTo>
                      <a:pt x="85" y="240"/>
                    </a:lnTo>
                    <a:lnTo>
                      <a:pt x="80" y="235"/>
                    </a:lnTo>
                    <a:lnTo>
                      <a:pt x="77" y="230"/>
                    </a:lnTo>
                    <a:lnTo>
                      <a:pt x="75" y="223"/>
                    </a:lnTo>
                    <a:lnTo>
                      <a:pt x="73" y="216"/>
                    </a:lnTo>
                    <a:lnTo>
                      <a:pt x="72" y="209"/>
                    </a:lnTo>
                    <a:lnTo>
                      <a:pt x="72" y="192"/>
                    </a:lnTo>
                    <a:lnTo>
                      <a:pt x="72" y="176"/>
                    </a:lnTo>
                    <a:lnTo>
                      <a:pt x="71" y="168"/>
                    </a:lnTo>
                    <a:lnTo>
                      <a:pt x="71" y="161"/>
                    </a:lnTo>
                    <a:lnTo>
                      <a:pt x="69" y="154"/>
                    </a:lnTo>
                    <a:lnTo>
                      <a:pt x="67" y="148"/>
                    </a:lnTo>
                    <a:lnTo>
                      <a:pt x="64" y="142"/>
                    </a:lnTo>
                    <a:lnTo>
                      <a:pt x="61" y="137"/>
                    </a:lnTo>
                    <a:lnTo>
                      <a:pt x="56" y="134"/>
                    </a:lnTo>
                    <a:lnTo>
                      <a:pt x="51" y="130"/>
                    </a:lnTo>
                    <a:lnTo>
                      <a:pt x="40" y="125"/>
                    </a:lnTo>
                    <a:lnTo>
                      <a:pt x="29" y="120"/>
                    </a:lnTo>
                    <a:lnTo>
                      <a:pt x="18" y="115"/>
                    </a:lnTo>
                    <a:lnTo>
                      <a:pt x="9" y="110"/>
                    </a:lnTo>
                    <a:lnTo>
                      <a:pt x="6" y="106"/>
                    </a:lnTo>
                    <a:lnTo>
                      <a:pt x="3" y="103"/>
                    </a:lnTo>
                    <a:lnTo>
                      <a:pt x="1" y="98"/>
                    </a:lnTo>
                    <a:lnTo>
                      <a:pt x="0" y="93"/>
                    </a:lnTo>
                    <a:lnTo>
                      <a:pt x="1" y="87"/>
                    </a:lnTo>
                    <a:lnTo>
                      <a:pt x="3" y="83"/>
                    </a:lnTo>
                    <a:lnTo>
                      <a:pt x="5" y="78"/>
                    </a:lnTo>
                    <a:lnTo>
                      <a:pt x="7" y="73"/>
                    </a:lnTo>
                    <a:lnTo>
                      <a:pt x="10" y="68"/>
                    </a:lnTo>
                    <a:lnTo>
                      <a:pt x="12" y="62"/>
                    </a:lnTo>
                    <a:lnTo>
                      <a:pt x="13" y="56"/>
                    </a:lnTo>
                    <a:lnTo>
                      <a:pt x="13" y="49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57" name="Freeform 279">
                <a:extLst>
                  <a:ext uri="{FF2B5EF4-FFF2-40B4-BE49-F238E27FC236}">
                    <a16:creationId xmlns="" xmlns:a16="http://schemas.microsoft.com/office/drawing/2014/main" id="{CC880946-AE01-41DB-8520-E21A93C8D806}"/>
                  </a:ext>
                </a:extLst>
              </p:cNvPr>
              <p:cNvSpPr>
                <a:spLocks/>
              </p:cNvSpPr>
              <p:nvPr>
                <p:custDataLst>
                  <p:tags r:id="rId206"/>
                </p:custDataLst>
              </p:nvPr>
            </p:nvSpPr>
            <p:spPr bwMode="auto">
              <a:xfrm>
                <a:off x="7527925" y="3732213"/>
                <a:ext cx="231775" cy="254000"/>
              </a:xfrm>
              <a:custGeom>
                <a:avLst/>
                <a:gdLst>
                  <a:gd name="T0" fmla="*/ 2147483646 w 538"/>
                  <a:gd name="T1" fmla="*/ 2147483646 h 487"/>
                  <a:gd name="T2" fmla="*/ 2147483646 w 538"/>
                  <a:gd name="T3" fmla="*/ 2147483646 h 487"/>
                  <a:gd name="T4" fmla="*/ 2147483646 w 538"/>
                  <a:gd name="T5" fmla="*/ 2147483646 h 487"/>
                  <a:gd name="T6" fmla="*/ 2147483646 w 538"/>
                  <a:gd name="T7" fmla="*/ 2147483646 h 487"/>
                  <a:gd name="T8" fmla="*/ 2147483646 w 538"/>
                  <a:gd name="T9" fmla="*/ 2147483646 h 487"/>
                  <a:gd name="T10" fmla="*/ 2147483646 w 538"/>
                  <a:gd name="T11" fmla="*/ 2147483646 h 487"/>
                  <a:gd name="T12" fmla="*/ 2147483646 w 538"/>
                  <a:gd name="T13" fmla="*/ 2147483646 h 487"/>
                  <a:gd name="T14" fmla="*/ 2147483646 w 538"/>
                  <a:gd name="T15" fmla="*/ 2147483646 h 487"/>
                  <a:gd name="T16" fmla="*/ 2147483646 w 538"/>
                  <a:gd name="T17" fmla="*/ 2147483646 h 487"/>
                  <a:gd name="T18" fmla="*/ 2147483646 w 538"/>
                  <a:gd name="T19" fmla="*/ 2147483646 h 487"/>
                  <a:gd name="T20" fmla="*/ 2147483646 w 538"/>
                  <a:gd name="T21" fmla="*/ 2147483646 h 487"/>
                  <a:gd name="T22" fmla="*/ 2147483646 w 538"/>
                  <a:gd name="T23" fmla="*/ 2147483646 h 487"/>
                  <a:gd name="T24" fmla="*/ 2147483646 w 538"/>
                  <a:gd name="T25" fmla="*/ 2147483646 h 487"/>
                  <a:gd name="T26" fmla="*/ 2147483646 w 538"/>
                  <a:gd name="T27" fmla="*/ 2147483646 h 487"/>
                  <a:gd name="T28" fmla="*/ 2147483646 w 538"/>
                  <a:gd name="T29" fmla="*/ 2147483646 h 487"/>
                  <a:gd name="T30" fmla="*/ 2147483646 w 538"/>
                  <a:gd name="T31" fmla="*/ 2147483646 h 487"/>
                  <a:gd name="T32" fmla="*/ 2147483646 w 538"/>
                  <a:gd name="T33" fmla="*/ 2147483646 h 487"/>
                  <a:gd name="T34" fmla="*/ 2147483646 w 538"/>
                  <a:gd name="T35" fmla="*/ 2147483646 h 487"/>
                  <a:gd name="T36" fmla="*/ 2147483646 w 538"/>
                  <a:gd name="T37" fmla="*/ 2147483646 h 487"/>
                  <a:gd name="T38" fmla="*/ 2147483646 w 538"/>
                  <a:gd name="T39" fmla="*/ 2147483646 h 487"/>
                  <a:gd name="T40" fmla="*/ 2147483646 w 538"/>
                  <a:gd name="T41" fmla="*/ 2147483646 h 487"/>
                  <a:gd name="T42" fmla="*/ 2147483646 w 538"/>
                  <a:gd name="T43" fmla="*/ 2147483646 h 487"/>
                  <a:gd name="T44" fmla="*/ 2147483646 w 538"/>
                  <a:gd name="T45" fmla="*/ 2147483646 h 487"/>
                  <a:gd name="T46" fmla="*/ 2147483646 w 538"/>
                  <a:gd name="T47" fmla="*/ 2147483646 h 487"/>
                  <a:gd name="T48" fmla="*/ 2147483646 w 538"/>
                  <a:gd name="T49" fmla="*/ 2147483646 h 487"/>
                  <a:gd name="T50" fmla="*/ 2147483646 w 538"/>
                  <a:gd name="T51" fmla="*/ 2147483646 h 487"/>
                  <a:gd name="T52" fmla="*/ 2147483646 w 538"/>
                  <a:gd name="T53" fmla="*/ 2147483646 h 487"/>
                  <a:gd name="T54" fmla="*/ 2147483646 w 538"/>
                  <a:gd name="T55" fmla="*/ 2147483646 h 487"/>
                  <a:gd name="T56" fmla="*/ 2147483646 w 538"/>
                  <a:gd name="T57" fmla="*/ 2147483646 h 487"/>
                  <a:gd name="T58" fmla="*/ 2147483646 w 538"/>
                  <a:gd name="T59" fmla="*/ 2147483646 h 487"/>
                  <a:gd name="T60" fmla="*/ 2147483646 w 538"/>
                  <a:gd name="T61" fmla="*/ 2147483646 h 487"/>
                  <a:gd name="T62" fmla="*/ 2147483646 w 538"/>
                  <a:gd name="T63" fmla="*/ 2147483646 h 487"/>
                  <a:gd name="T64" fmla="*/ 2147483646 w 538"/>
                  <a:gd name="T65" fmla="*/ 2147483646 h 487"/>
                  <a:gd name="T66" fmla="*/ 2147483646 w 538"/>
                  <a:gd name="T67" fmla="*/ 2147483646 h 487"/>
                  <a:gd name="T68" fmla="*/ 2147483646 w 538"/>
                  <a:gd name="T69" fmla="*/ 2147483646 h 487"/>
                  <a:gd name="T70" fmla="*/ 2147483646 w 538"/>
                  <a:gd name="T71" fmla="*/ 2147483646 h 487"/>
                  <a:gd name="T72" fmla="*/ 2147483646 w 538"/>
                  <a:gd name="T73" fmla="*/ 2147483646 h 487"/>
                  <a:gd name="T74" fmla="*/ 2147483646 w 538"/>
                  <a:gd name="T75" fmla="*/ 2147483646 h 487"/>
                  <a:gd name="T76" fmla="*/ 2147483646 w 538"/>
                  <a:gd name="T77" fmla="*/ 2147483646 h 487"/>
                  <a:gd name="T78" fmla="*/ 2147483646 w 538"/>
                  <a:gd name="T79" fmla="*/ 2147483646 h 487"/>
                  <a:gd name="T80" fmla="*/ 2147483646 w 538"/>
                  <a:gd name="T81" fmla="*/ 2147483646 h 487"/>
                  <a:gd name="T82" fmla="*/ 2147483646 w 538"/>
                  <a:gd name="T83" fmla="*/ 2147483646 h 487"/>
                  <a:gd name="T84" fmla="*/ 2147483646 w 538"/>
                  <a:gd name="T85" fmla="*/ 2147483646 h 487"/>
                  <a:gd name="T86" fmla="*/ 2147483646 w 538"/>
                  <a:gd name="T87" fmla="*/ 0 h 487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538"/>
                  <a:gd name="T133" fmla="*/ 0 h 487"/>
                  <a:gd name="T134" fmla="*/ 538 w 538"/>
                  <a:gd name="T135" fmla="*/ 487 h 487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538" h="487">
                    <a:moveTo>
                      <a:pt x="20" y="0"/>
                    </a:moveTo>
                    <a:lnTo>
                      <a:pt x="58" y="10"/>
                    </a:lnTo>
                    <a:lnTo>
                      <a:pt x="91" y="21"/>
                    </a:lnTo>
                    <a:lnTo>
                      <a:pt x="119" y="30"/>
                    </a:lnTo>
                    <a:lnTo>
                      <a:pt x="142" y="38"/>
                    </a:lnTo>
                    <a:lnTo>
                      <a:pt x="160" y="47"/>
                    </a:lnTo>
                    <a:lnTo>
                      <a:pt x="177" y="55"/>
                    </a:lnTo>
                    <a:lnTo>
                      <a:pt x="190" y="62"/>
                    </a:lnTo>
                    <a:lnTo>
                      <a:pt x="202" y="70"/>
                    </a:lnTo>
                    <a:lnTo>
                      <a:pt x="222" y="86"/>
                    </a:lnTo>
                    <a:lnTo>
                      <a:pt x="242" y="102"/>
                    </a:lnTo>
                    <a:lnTo>
                      <a:pt x="253" y="110"/>
                    </a:lnTo>
                    <a:lnTo>
                      <a:pt x="266" y="118"/>
                    </a:lnTo>
                    <a:lnTo>
                      <a:pt x="281" y="127"/>
                    </a:lnTo>
                    <a:lnTo>
                      <a:pt x="300" y="136"/>
                    </a:lnTo>
                    <a:lnTo>
                      <a:pt x="297" y="152"/>
                    </a:lnTo>
                    <a:lnTo>
                      <a:pt x="297" y="158"/>
                    </a:lnTo>
                    <a:lnTo>
                      <a:pt x="299" y="161"/>
                    </a:lnTo>
                    <a:lnTo>
                      <a:pt x="300" y="167"/>
                    </a:lnTo>
                    <a:lnTo>
                      <a:pt x="314" y="178"/>
                    </a:lnTo>
                    <a:lnTo>
                      <a:pt x="347" y="205"/>
                    </a:lnTo>
                    <a:lnTo>
                      <a:pt x="381" y="231"/>
                    </a:lnTo>
                    <a:lnTo>
                      <a:pt x="399" y="247"/>
                    </a:lnTo>
                    <a:lnTo>
                      <a:pt x="393" y="248"/>
                    </a:lnTo>
                    <a:lnTo>
                      <a:pt x="386" y="250"/>
                    </a:lnTo>
                    <a:lnTo>
                      <a:pt x="382" y="250"/>
                    </a:lnTo>
                    <a:lnTo>
                      <a:pt x="379" y="250"/>
                    </a:lnTo>
                    <a:lnTo>
                      <a:pt x="376" y="249"/>
                    </a:lnTo>
                    <a:lnTo>
                      <a:pt x="372" y="247"/>
                    </a:lnTo>
                    <a:lnTo>
                      <a:pt x="372" y="256"/>
                    </a:lnTo>
                    <a:lnTo>
                      <a:pt x="372" y="265"/>
                    </a:lnTo>
                    <a:lnTo>
                      <a:pt x="372" y="272"/>
                    </a:lnTo>
                    <a:lnTo>
                      <a:pt x="372" y="278"/>
                    </a:lnTo>
                    <a:lnTo>
                      <a:pt x="373" y="285"/>
                    </a:lnTo>
                    <a:lnTo>
                      <a:pt x="375" y="292"/>
                    </a:lnTo>
                    <a:lnTo>
                      <a:pt x="377" y="301"/>
                    </a:lnTo>
                    <a:lnTo>
                      <a:pt x="380" y="309"/>
                    </a:lnTo>
                    <a:lnTo>
                      <a:pt x="384" y="317"/>
                    </a:lnTo>
                    <a:lnTo>
                      <a:pt x="389" y="325"/>
                    </a:lnTo>
                    <a:lnTo>
                      <a:pt x="394" y="333"/>
                    </a:lnTo>
                    <a:lnTo>
                      <a:pt x="401" y="341"/>
                    </a:lnTo>
                    <a:lnTo>
                      <a:pt x="407" y="348"/>
                    </a:lnTo>
                    <a:lnTo>
                      <a:pt x="414" y="355"/>
                    </a:lnTo>
                    <a:lnTo>
                      <a:pt x="421" y="361"/>
                    </a:lnTo>
                    <a:lnTo>
                      <a:pt x="428" y="366"/>
                    </a:lnTo>
                    <a:lnTo>
                      <a:pt x="436" y="371"/>
                    </a:lnTo>
                    <a:lnTo>
                      <a:pt x="444" y="374"/>
                    </a:lnTo>
                    <a:lnTo>
                      <a:pt x="451" y="376"/>
                    </a:lnTo>
                    <a:lnTo>
                      <a:pt x="459" y="376"/>
                    </a:lnTo>
                    <a:lnTo>
                      <a:pt x="459" y="384"/>
                    </a:lnTo>
                    <a:lnTo>
                      <a:pt x="461" y="390"/>
                    </a:lnTo>
                    <a:lnTo>
                      <a:pt x="465" y="396"/>
                    </a:lnTo>
                    <a:lnTo>
                      <a:pt x="468" y="401"/>
                    </a:lnTo>
                    <a:lnTo>
                      <a:pt x="472" y="406"/>
                    </a:lnTo>
                    <a:lnTo>
                      <a:pt x="478" y="411"/>
                    </a:lnTo>
                    <a:lnTo>
                      <a:pt x="483" y="414"/>
                    </a:lnTo>
                    <a:lnTo>
                      <a:pt x="489" y="417"/>
                    </a:lnTo>
                    <a:lnTo>
                      <a:pt x="500" y="423"/>
                    </a:lnTo>
                    <a:lnTo>
                      <a:pt x="510" y="429"/>
                    </a:lnTo>
                    <a:lnTo>
                      <a:pt x="513" y="432"/>
                    </a:lnTo>
                    <a:lnTo>
                      <a:pt x="516" y="436"/>
                    </a:lnTo>
                    <a:lnTo>
                      <a:pt x="518" y="440"/>
                    </a:lnTo>
                    <a:lnTo>
                      <a:pt x="518" y="444"/>
                    </a:lnTo>
                    <a:lnTo>
                      <a:pt x="519" y="446"/>
                    </a:lnTo>
                    <a:lnTo>
                      <a:pt x="522" y="448"/>
                    </a:lnTo>
                    <a:lnTo>
                      <a:pt x="525" y="450"/>
                    </a:lnTo>
                    <a:lnTo>
                      <a:pt x="528" y="452"/>
                    </a:lnTo>
                    <a:lnTo>
                      <a:pt x="536" y="455"/>
                    </a:lnTo>
                    <a:lnTo>
                      <a:pt x="538" y="456"/>
                    </a:lnTo>
                    <a:lnTo>
                      <a:pt x="538" y="461"/>
                    </a:lnTo>
                    <a:lnTo>
                      <a:pt x="536" y="467"/>
                    </a:lnTo>
                    <a:lnTo>
                      <a:pt x="534" y="472"/>
                    </a:lnTo>
                    <a:lnTo>
                      <a:pt x="529" y="477"/>
                    </a:lnTo>
                    <a:lnTo>
                      <a:pt x="525" y="481"/>
                    </a:lnTo>
                    <a:lnTo>
                      <a:pt x="519" y="484"/>
                    </a:lnTo>
                    <a:lnTo>
                      <a:pt x="513" y="487"/>
                    </a:lnTo>
                    <a:lnTo>
                      <a:pt x="505" y="487"/>
                    </a:lnTo>
                    <a:lnTo>
                      <a:pt x="490" y="487"/>
                    </a:lnTo>
                    <a:lnTo>
                      <a:pt x="474" y="485"/>
                    </a:lnTo>
                    <a:lnTo>
                      <a:pt x="461" y="483"/>
                    </a:lnTo>
                    <a:lnTo>
                      <a:pt x="448" y="480"/>
                    </a:lnTo>
                    <a:lnTo>
                      <a:pt x="436" y="476"/>
                    </a:lnTo>
                    <a:lnTo>
                      <a:pt x="425" y="471"/>
                    </a:lnTo>
                    <a:lnTo>
                      <a:pt x="414" y="466"/>
                    </a:lnTo>
                    <a:lnTo>
                      <a:pt x="404" y="459"/>
                    </a:lnTo>
                    <a:lnTo>
                      <a:pt x="395" y="453"/>
                    </a:lnTo>
                    <a:lnTo>
                      <a:pt x="386" y="446"/>
                    </a:lnTo>
                    <a:lnTo>
                      <a:pt x="378" y="438"/>
                    </a:lnTo>
                    <a:lnTo>
                      <a:pt x="369" y="431"/>
                    </a:lnTo>
                    <a:lnTo>
                      <a:pt x="355" y="415"/>
                    </a:lnTo>
                    <a:lnTo>
                      <a:pt x="341" y="398"/>
                    </a:lnTo>
                    <a:lnTo>
                      <a:pt x="326" y="381"/>
                    </a:lnTo>
                    <a:lnTo>
                      <a:pt x="312" y="365"/>
                    </a:lnTo>
                    <a:lnTo>
                      <a:pt x="298" y="350"/>
                    </a:lnTo>
                    <a:lnTo>
                      <a:pt x="282" y="336"/>
                    </a:lnTo>
                    <a:lnTo>
                      <a:pt x="274" y="330"/>
                    </a:lnTo>
                    <a:lnTo>
                      <a:pt x="265" y="325"/>
                    </a:lnTo>
                    <a:lnTo>
                      <a:pt x="256" y="320"/>
                    </a:lnTo>
                    <a:lnTo>
                      <a:pt x="246" y="316"/>
                    </a:lnTo>
                    <a:lnTo>
                      <a:pt x="235" y="313"/>
                    </a:lnTo>
                    <a:lnTo>
                      <a:pt x="224" y="311"/>
                    </a:lnTo>
                    <a:lnTo>
                      <a:pt x="212" y="309"/>
                    </a:lnTo>
                    <a:lnTo>
                      <a:pt x="200" y="309"/>
                    </a:lnTo>
                    <a:lnTo>
                      <a:pt x="189" y="309"/>
                    </a:lnTo>
                    <a:lnTo>
                      <a:pt x="180" y="310"/>
                    </a:lnTo>
                    <a:lnTo>
                      <a:pt x="171" y="311"/>
                    </a:lnTo>
                    <a:lnTo>
                      <a:pt x="165" y="313"/>
                    </a:lnTo>
                    <a:lnTo>
                      <a:pt x="153" y="317"/>
                    </a:lnTo>
                    <a:lnTo>
                      <a:pt x="144" y="322"/>
                    </a:lnTo>
                    <a:lnTo>
                      <a:pt x="130" y="334"/>
                    </a:lnTo>
                    <a:lnTo>
                      <a:pt x="113" y="345"/>
                    </a:lnTo>
                    <a:lnTo>
                      <a:pt x="126" y="352"/>
                    </a:lnTo>
                    <a:lnTo>
                      <a:pt x="134" y="358"/>
                    </a:lnTo>
                    <a:lnTo>
                      <a:pt x="136" y="361"/>
                    </a:lnTo>
                    <a:lnTo>
                      <a:pt x="138" y="363"/>
                    </a:lnTo>
                    <a:lnTo>
                      <a:pt x="140" y="366"/>
                    </a:lnTo>
                    <a:lnTo>
                      <a:pt x="140" y="370"/>
                    </a:lnTo>
                    <a:lnTo>
                      <a:pt x="136" y="380"/>
                    </a:lnTo>
                    <a:lnTo>
                      <a:pt x="130" y="394"/>
                    </a:lnTo>
                    <a:lnTo>
                      <a:pt x="124" y="401"/>
                    </a:lnTo>
                    <a:lnTo>
                      <a:pt x="120" y="407"/>
                    </a:lnTo>
                    <a:lnTo>
                      <a:pt x="117" y="412"/>
                    </a:lnTo>
                    <a:lnTo>
                      <a:pt x="113" y="414"/>
                    </a:lnTo>
                    <a:lnTo>
                      <a:pt x="93" y="395"/>
                    </a:lnTo>
                    <a:lnTo>
                      <a:pt x="70" y="399"/>
                    </a:lnTo>
                    <a:lnTo>
                      <a:pt x="47" y="403"/>
                    </a:lnTo>
                    <a:lnTo>
                      <a:pt x="28" y="406"/>
                    </a:lnTo>
                    <a:lnTo>
                      <a:pt x="20" y="407"/>
                    </a:lnTo>
                    <a:lnTo>
                      <a:pt x="20" y="259"/>
                    </a:lnTo>
                    <a:lnTo>
                      <a:pt x="0" y="234"/>
                    </a:lnTo>
                    <a:lnTo>
                      <a:pt x="20" y="222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58" name="Freeform 280">
                <a:extLst>
                  <a:ext uri="{FF2B5EF4-FFF2-40B4-BE49-F238E27FC236}">
                    <a16:creationId xmlns="" xmlns:a16="http://schemas.microsoft.com/office/drawing/2014/main" id="{433D29DF-2D2A-44AC-BEF0-4F6836F090E9}"/>
                  </a:ext>
                </a:extLst>
              </p:cNvPr>
              <p:cNvSpPr>
                <a:spLocks/>
              </p:cNvSpPr>
              <p:nvPr>
                <p:custDataLst>
                  <p:tags r:id="rId207"/>
                </p:custDataLst>
              </p:nvPr>
            </p:nvSpPr>
            <p:spPr bwMode="auto">
              <a:xfrm>
                <a:off x="7720013" y="3716338"/>
                <a:ext cx="106362" cy="128587"/>
              </a:xfrm>
              <a:custGeom>
                <a:avLst/>
                <a:gdLst>
                  <a:gd name="T0" fmla="*/ 2147483646 w 253"/>
                  <a:gd name="T1" fmla="*/ 2147483646 h 246"/>
                  <a:gd name="T2" fmla="*/ 2147483646 w 253"/>
                  <a:gd name="T3" fmla="*/ 2147483646 h 246"/>
                  <a:gd name="T4" fmla="*/ 2147483646 w 253"/>
                  <a:gd name="T5" fmla="*/ 2147483646 h 246"/>
                  <a:gd name="T6" fmla="*/ 2147483646 w 253"/>
                  <a:gd name="T7" fmla="*/ 2147483646 h 246"/>
                  <a:gd name="T8" fmla="*/ 2147483646 w 253"/>
                  <a:gd name="T9" fmla="*/ 2147483646 h 246"/>
                  <a:gd name="T10" fmla="*/ 2147483646 w 253"/>
                  <a:gd name="T11" fmla="*/ 2147483646 h 246"/>
                  <a:gd name="T12" fmla="*/ 2147483646 w 253"/>
                  <a:gd name="T13" fmla="*/ 2147483646 h 246"/>
                  <a:gd name="T14" fmla="*/ 2147483646 w 253"/>
                  <a:gd name="T15" fmla="*/ 2147483646 h 246"/>
                  <a:gd name="T16" fmla="*/ 2147483646 w 253"/>
                  <a:gd name="T17" fmla="*/ 2147483646 h 246"/>
                  <a:gd name="T18" fmla="*/ 2147483646 w 253"/>
                  <a:gd name="T19" fmla="*/ 2147483646 h 246"/>
                  <a:gd name="T20" fmla="*/ 2147483646 w 253"/>
                  <a:gd name="T21" fmla="*/ 2147483646 h 246"/>
                  <a:gd name="T22" fmla="*/ 2147483646 w 253"/>
                  <a:gd name="T23" fmla="*/ 2147483646 h 246"/>
                  <a:gd name="T24" fmla="*/ 2147483646 w 253"/>
                  <a:gd name="T25" fmla="*/ 2147483646 h 246"/>
                  <a:gd name="T26" fmla="*/ 2147483646 w 253"/>
                  <a:gd name="T27" fmla="*/ 2147483646 h 246"/>
                  <a:gd name="T28" fmla="*/ 2147483646 w 253"/>
                  <a:gd name="T29" fmla="*/ 2147483646 h 246"/>
                  <a:gd name="T30" fmla="*/ 2147483646 w 253"/>
                  <a:gd name="T31" fmla="*/ 2147483646 h 246"/>
                  <a:gd name="T32" fmla="*/ 2147483646 w 253"/>
                  <a:gd name="T33" fmla="*/ 2147483646 h 246"/>
                  <a:gd name="T34" fmla="*/ 2147483646 w 253"/>
                  <a:gd name="T35" fmla="*/ 2147483646 h 246"/>
                  <a:gd name="T36" fmla="*/ 2147483646 w 253"/>
                  <a:gd name="T37" fmla="*/ 2147483646 h 246"/>
                  <a:gd name="T38" fmla="*/ 2147483646 w 253"/>
                  <a:gd name="T39" fmla="*/ 2147483646 h 246"/>
                  <a:gd name="T40" fmla="*/ 2147483646 w 253"/>
                  <a:gd name="T41" fmla="*/ 2147483646 h 246"/>
                  <a:gd name="T42" fmla="*/ 2147483646 w 253"/>
                  <a:gd name="T43" fmla="*/ 2147483646 h 246"/>
                  <a:gd name="T44" fmla="*/ 2147483646 w 253"/>
                  <a:gd name="T45" fmla="*/ 2147483646 h 246"/>
                  <a:gd name="T46" fmla="*/ 2147483646 w 253"/>
                  <a:gd name="T47" fmla="*/ 2147483646 h 246"/>
                  <a:gd name="T48" fmla="*/ 2147483646 w 253"/>
                  <a:gd name="T49" fmla="*/ 2147483646 h 246"/>
                  <a:gd name="T50" fmla="*/ 2147483646 w 253"/>
                  <a:gd name="T51" fmla="*/ 2147483646 h 246"/>
                  <a:gd name="T52" fmla="*/ 2147483646 w 253"/>
                  <a:gd name="T53" fmla="*/ 2147483646 h 246"/>
                  <a:gd name="T54" fmla="*/ 2147483646 w 253"/>
                  <a:gd name="T55" fmla="*/ 2147483646 h 246"/>
                  <a:gd name="T56" fmla="*/ 2147483646 w 253"/>
                  <a:gd name="T57" fmla="*/ 2147483646 h 246"/>
                  <a:gd name="T58" fmla="*/ 2147483646 w 253"/>
                  <a:gd name="T59" fmla="*/ 2147483646 h 246"/>
                  <a:gd name="T60" fmla="*/ 2147483646 w 253"/>
                  <a:gd name="T61" fmla="*/ 2147483646 h 246"/>
                  <a:gd name="T62" fmla="*/ 2147483646 w 253"/>
                  <a:gd name="T63" fmla="*/ 2147483646 h 246"/>
                  <a:gd name="T64" fmla="*/ 2147483646 w 253"/>
                  <a:gd name="T65" fmla="*/ 2147483646 h 246"/>
                  <a:gd name="T66" fmla="*/ 2147483646 w 253"/>
                  <a:gd name="T67" fmla="*/ 2147483646 h 246"/>
                  <a:gd name="T68" fmla="*/ 2147483646 w 253"/>
                  <a:gd name="T69" fmla="*/ 2147483646 h 246"/>
                  <a:gd name="T70" fmla="*/ 2147483646 w 253"/>
                  <a:gd name="T71" fmla="*/ 2147483646 h 246"/>
                  <a:gd name="T72" fmla="*/ 2147483646 w 253"/>
                  <a:gd name="T73" fmla="*/ 2147483646 h 246"/>
                  <a:gd name="T74" fmla="*/ 2147483646 w 253"/>
                  <a:gd name="T75" fmla="*/ 2147483646 h 246"/>
                  <a:gd name="T76" fmla="*/ 2147483646 w 253"/>
                  <a:gd name="T77" fmla="*/ 2147483646 h 246"/>
                  <a:gd name="T78" fmla="*/ 2147483646 w 253"/>
                  <a:gd name="T79" fmla="*/ 2147483646 h 246"/>
                  <a:gd name="T80" fmla="*/ 2147483646 w 253"/>
                  <a:gd name="T81" fmla="*/ 2147483646 h 246"/>
                  <a:gd name="T82" fmla="*/ 2147483646 w 253"/>
                  <a:gd name="T83" fmla="*/ 2147483646 h 246"/>
                  <a:gd name="T84" fmla="*/ 2147483646 w 253"/>
                  <a:gd name="T85" fmla="*/ 2147483646 h 246"/>
                  <a:gd name="T86" fmla="*/ 2147483646 w 253"/>
                  <a:gd name="T87" fmla="*/ 2147483646 h 246"/>
                  <a:gd name="T88" fmla="*/ 2147483646 w 253"/>
                  <a:gd name="T89" fmla="*/ 2147483646 h 246"/>
                  <a:gd name="T90" fmla="*/ 2147483646 w 253"/>
                  <a:gd name="T91" fmla="*/ 2147483646 h 246"/>
                  <a:gd name="T92" fmla="*/ 2147483646 w 253"/>
                  <a:gd name="T93" fmla="*/ 2147483646 h 246"/>
                  <a:gd name="T94" fmla="*/ 2147483646 w 253"/>
                  <a:gd name="T95" fmla="*/ 2147483646 h 246"/>
                  <a:gd name="T96" fmla="*/ 2147483646 w 253"/>
                  <a:gd name="T97" fmla="*/ 2147483646 h 246"/>
                  <a:gd name="T98" fmla="*/ 2147483646 w 253"/>
                  <a:gd name="T99" fmla="*/ 2147483646 h 246"/>
                  <a:gd name="T100" fmla="*/ 2147483646 w 253"/>
                  <a:gd name="T101" fmla="*/ 2147483646 h 246"/>
                  <a:gd name="T102" fmla="*/ 2147483646 w 253"/>
                  <a:gd name="T103" fmla="*/ 2147483646 h 246"/>
                  <a:gd name="T104" fmla="*/ 2147483646 w 253"/>
                  <a:gd name="T105" fmla="*/ 2147483646 h 246"/>
                  <a:gd name="T106" fmla="*/ 2147483646 w 253"/>
                  <a:gd name="T107" fmla="*/ 2147483646 h 246"/>
                  <a:gd name="T108" fmla="*/ 2147483646 w 253"/>
                  <a:gd name="T109" fmla="*/ 2147483646 h 246"/>
                  <a:gd name="T110" fmla="*/ 2147483646 w 253"/>
                  <a:gd name="T111" fmla="*/ 0 h 24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53"/>
                  <a:gd name="T169" fmla="*/ 0 h 246"/>
                  <a:gd name="T170" fmla="*/ 253 w 253"/>
                  <a:gd name="T171" fmla="*/ 246 h 24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53" h="246">
                    <a:moveTo>
                      <a:pt x="127" y="0"/>
                    </a:moveTo>
                    <a:lnTo>
                      <a:pt x="136" y="1"/>
                    </a:lnTo>
                    <a:lnTo>
                      <a:pt x="146" y="4"/>
                    </a:lnTo>
                    <a:lnTo>
                      <a:pt x="157" y="8"/>
                    </a:lnTo>
                    <a:lnTo>
                      <a:pt x="168" y="14"/>
                    </a:lnTo>
                    <a:lnTo>
                      <a:pt x="179" y="21"/>
                    </a:lnTo>
                    <a:lnTo>
                      <a:pt x="189" y="28"/>
                    </a:lnTo>
                    <a:lnTo>
                      <a:pt x="199" y="37"/>
                    </a:lnTo>
                    <a:lnTo>
                      <a:pt x="209" y="47"/>
                    </a:lnTo>
                    <a:lnTo>
                      <a:pt x="218" y="57"/>
                    </a:lnTo>
                    <a:lnTo>
                      <a:pt x="227" y="66"/>
                    </a:lnTo>
                    <a:lnTo>
                      <a:pt x="234" y="76"/>
                    </a:lnTo>
                    <a:lnTo>
                      <a:pt x="240" y="85"/>
                    </a:lnTo>
                    <a:lnTo>
                      <a:pt x="245" y="94"/>
                    </a:lnTo>
                    <a:lnTo>
                      <a:pt x="250" y="103"/>
                    </a:lnTo>
                    <a:lnTo>
                      <a:pt x="252" y="111"/>
                    </a:lnTo>
                    <a:lnTo>
                      <a:pt x="253" y="117"/>
                    </a:lnTo>
                    <a:lnTo>
                      <a:pt x="252" y="128"/>
                    </a:lnTo>
                    <a:lnTo>
                      <a:pt x="248" y="140"/>
                    </a:lnTo>
                    <a:lnTo>
                      <a:pt x="243" y="151"/>
                    </a:lnTo>
                    <a:lnTo>
                      <a:pt x="236" y="163"/>
                    </a:lnTo>
                    <a:lnTo>
                      <a:pt x="229" y="174"/>
                    </a:lnTo>
                    <a:lnTo>
                      <a:pt x="219" y="185"/>
                    </a:lnTo>
                    <a:lnTo>
                      <a:pt x="209" y="195"/>
                    </a:lnTo>
                    <a:lnTo>
                      <a:pt x="197" y="204"/>
                    </a:lnTo>
                    <a:lnTo>
                      <a:pt x="184" y="214"/>
                    </a:lnTo>
                    <a:lnTo>
                      <a:pt x="171" y="222"/>
                    </a:lnTo>
                    <a:lnTo>
                      <a:pt x="157" y="229"/>
                    </a:lnTo>
                    <a:lnTo>
                      <a:pt x="143" y="235"/>
                    </a:lnTo>
                    <a:lnTo>
                      <a:pt x="129" y="240"/>
                    </a:lnTo>
                    <a:lnTo>
                      <a:pt x="115" y="243"/>
                    </a:lnTo>
                    <a:lnTo>
                      <a:pt x="100" y="245"/>
                    </a:lnTo>
                    <a:lnTo>
                      <a:pt x="86" y="246"/>
                    </a:lnTo>
                    <a:lnTo>
                      <a:pt x="74" y="245"/>
                    </a:lnTo>
                    <a:lnTo>
                      <a:pt x="64" y="243"/>
                    </a:lnTo>
                    <a:lnTo>
                      <a:pt x="53" y="240"/>
                    </a:lnTo>
                    <a:lnTo>
                      <a:pt x="43" y="237"/>
                    </a:lnTo>
                    <a:lnTo>
                      <a:pt x="33" y="234"/>
                    </a:lnTo>
                    <a:lnTo>
                      <a:pt x="22" y="231"/>
                    </a:lnTo>
                    <a:lnTo>
                      <a:pt x="11" y="229"/>
                    </a:lnTo>
                    <a:lnTo>
                      <a:pt x="0" y="228"/>
                    </a:lnTo>
                    <a:lnTo>
                      <a:pt x="3" y="219"/>
                    </a:lnTo>
                    <a:lnTo>
                      <a:pt x="6" y="212"/>
                    </a:lnTo>
                    <a:lnTo>
                      <a:pt x="10" y="205"/>
                    </a:lnTo>
                    <a:lnTo>
                      <a:pt x="16" y="200"/>
                    </a:lnTo>
                    <a:lnTo>
                      <a:pt x="22" y="196"/>
                    </a:lnTo>
                    <a:lnTo>
                      <a:pt x="29" y="193"/>
                    </a:lnTo>
                    <a:lnTo>
                      <a:pt x="37" y="191"/>
                    </a:lnTo>
                    <a:lnTo>
                      <a:pt x="46" y="191"/>
                    </a:lnTo>
                    <a:lnTo>
                      <a:pt x="50" y="197"/>
                    </a:lnTo>
                    <a:lnTo>
                      <a:pt x="53" y="209"/>
                    </a:lnTo>
                    <a:lnTo>
                      <a:pt x="60" y="207"/>
                    </a:lnTo>
                    <a:lnTo>
                      <a:pt x="65" y="204"/>
                    </a:lnTo>
                    <a:lnTo>
                      <a:pt x="68" y="201"/>
                    </a:lnTo>
                    <a:lnTo>
                      <a:pt x="72" y="198"/>
                    </a:lnTo>
                    <a:lnTo>
                      <a:pt x="75" y="190"/>
                    </a:lnTo>
                    <a:lnTo>
                      <a:pt x="79" y="179"/>
                    </a:lnTo>
                    <a:lnTo>
                      <a:pt x="84" y="180"/>
                    </a:lnTo>
                    <a:lnTo>
                      <a:pt x="88" y="181"/>
                    </a:lnTo>
                    <a:lnTo>
                      <a:pt x="91" y="181"/>
                    </a:lnTo>
                    <a:lnTo>
                      <a:pt x="95" y="181"/>
                    </a:lnTo>
                    <a:lnTo>
                      <a:pt x="98" y="179"/>
                    </a:lnTo>
                    <a:lnTo>
                      <a:pt x="99" y="179"/>
                    </a:lnTo>
                    <a:lnTo>
                      <a:pt x="106" y="178"/>
                    </a:lnTo>
                    <a:lnTo>
                      <a:pt x="112" y="177"/>
                    </a:lnTo>
                    <a:lnTo>
                      <a:pt x="120" y="174"/>
                    </a:lnTo>
                    <a:lnTo>
                      <a:pt x="130" y="171"/>
                    </a:lnTo>
                    <a:lnTo>
                      <a:pt x="149" y="164"/>
                    </a:lnTo>
                    <a:lnTo>
                      <a:pt x="169" y="153"/>
                    </a:lnTo>
                    <a:lnTo>
                      <a:pt x="179" y="147"/>
                    </a:lnTo>
                    <a:lnTo>
                      <a:pt x="188" y="141"/>
                    </a:lnTo>
                    <a:lnTo>
                      <a:pt x="197" y="135"/>
                    </a:lnTo>
                    <a:lnTo>
                      <a:pt x="205" y="129"/>
                    </a:lnTo>
                    <a:lnTo>
                      <a:pt x="210" y="123"/>
                    </a:lnTo>
                    <a:lnTo>
                      <a:pt x="216" y="117"/>
                    </a:lnTo>
                    <a:lnTo>
                      <a:pt x="218" y="111"/>
                    </a:lnTo>
                    <a:lnTo>
                      <a:pt x="219" y="105"/>
                    </a:lnTo>
                    <a:lnTo>
                      <a:pt x="219" y="98"/>
                    </a:lnTo>
                    <a:lnTo>
                      <a:pt x="217" y="92"/>
                    </a:lnTo>
                    <a:lnTo>
                      <a:pt x="214" y="88"/>
                    </a:lnTo>
                    <a:lnTo>
                      <a:pt x="212" y="84"/>
                    </a:lnTo>
                    <a:lnTo>
                      <a:pt x="210" y="80"/>
                    </a:lnTo>
                    <a:lnTo>
                      <a:pt x="208" y="76"/>
                    </a:lnTo>
                    <a:lnTo>
                      <a:pt x="207" y="72"/>
                    </a:lnTo>
                    <a:lnTo>
                      <a:pt x="206" y="68"/>
                    </a:lnTo>
                    <a:lnTo>
                      <a:pt x="201" y="67"/>
                    </a:lnTo>
                    <a:lnTo>
                      <a:pt x="196" y="67"/>
                    </a:lnTo>
                    <a:lnTo>
                      <a:pt x="191" y="65"/>
                    </a:lnTo>
                    <a:lnTo>
                      <a:pt x="188" y="63"/>
                    </a:lnTo>
                    <a:lnTo>
                      <a:pt x="184" y="61"/>
                    </a:lnTo>
                    <a:lnTo>
                      <a:pt x="182" y="57"/>
                    </a:lnTo>
                    <a:lnTo>
                      <a:pt x="180" y="54"/>
                    </a:lnTo>
                    <a:lnTo>
                      <a:pt x="179" y="49"/>
                    </a:lnTo>
                    <a:lnTo>
                      <a:pt x="140" y="49"/>
                    </a:lnTo>
                    <a:lnTo>
                      <a:pt x="138" y="47"/>
                    </a:lnTo>
                    <a:lnTo>
                      <a:pt x="136" y="44"/>
                    </a:lnTo>
                    <a:lnTo>
                      <a:pt x="136" y="39"/>
                    </a:lnTo>
                    <a:lnTo>
                      <a:pt x="136" y="36"/>
                    </a:lnTo>
                    <a:lnTo>
                      <a:pt x="139" y="27"/>
                    </a:lnTo>
                    <a:lnTo>
                      <a:pt x="140" y="18"/>
                    </a:lnTo>
                    <a:lnTo>
                      <a:pt x="124" y="14"/>
                    </a:lnTo>
                    <a:lnTo>
                      <a:pt x="110" y="11"/>
                    </a:lnTo>
                    <a:lnTo>
                      <a:pt x="104" y="11"/>
                    </a:lnTo>
                    <a:lnTo>
                      <a:pt x="97" y="12"/>
                    </a:lnTo>
                    <a:lnTo>
                      <a:pt x="91" y="15"/>
                    </a:lnTo>
                    <a:lnTo>
                      <a:pt x="86" y="18"/>
                    </a:lnTo>
                    <a:lnTo>
                      <a:pt x="96" y="10"/>
                    </a:lnTo>
                    <a:lnTo>
                      <a:pt x="104" y="5"/>
                    </a:lnTo>
                    <a:lnTo>
                      <a:pt x="108" y="3"/>
                    </a:lnTo>
                    <a:lnTo>
                      <a:pt x="113" y="1"/>
                    </a:lnTo>
                    <a:lnTo>
                      <a:pt x="119" y="0"/>
                    </a:lnTo>
                    <a:lnTo>
                      <a:pt x="127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59" name="Freeform 281">
                <a:extLst>
                  <a:ext uri="{FF2B5EF4-FFF2-40B4-BE49-F238E27FC236}">
                    <a16:creationId xmlns="" xmlns:a16="http://schemas.microsoft.com/office/drawing/2014/main" id="{CF6C616C-FE9A-48A2-A53F-48F3150BE707}"/>
                  </a:ext>
                </a:extLst>
              </p:cNvPr>
              <p:cNvSpPr>
                <a:spLocks/>
              </p:cNvSpPr>
              <p:nvPr>
                <p:custDataLst>
                  <p:tags r:id="rId208"/>
                </p:custDataLst>
              </p:nvPr>
            </p:nvSpPr>
            <p:spPr bwMode="auto">
              <a:xfrm>
                <a:off x="5995988" y="3349625"/>
                <a:ext cx="63500" cy="119063"/>
              </a:xfrm>
              <a:custGeom>
                <a:avLst/>
                <a:gdLst>
                  <a:gd name="T0" fmla="*/ 2147483646 w 141"/>
                  <a:gd name="T1" fmla="*/ 2147483646 h 228"/>
                  <a:gd name="T2" fmla="*/ 2147483646 w 141"/>
                  <a:gd name="T3" fmla="*/ 2147483646 h 228"/>
                  <a:gd name="T4" fmla="*/ 2147483646 w 141"/>
                  <a:gd name="T5" fmla="*/ 2147483646 h 228"/>
                  <a:gd name="T6" fmla="*/ 2147483646 w 141"/>
                  <a:gd name="T7" fmla="*/ 2147483646 h 228"/>
                  <a:gd name="T8" fmla="*/ 2147483646 w 141"/>
                  <a:gd name="T9" fmla="*/ 2147483646 h 228"/>
                  <a:gd name="T10" fmla="*/ 2147483646 w 141"/>
                  <a:gd name="T11" fmla="*/ 2147483646 h 228"/>
                  <a:gd name="T12" fmla="*/ 2147483646 w 141"/>
                  <a:gd name="T13" fmla="*/ 2147483646 h 228"/>
                  <a:gd name="T14" fmla="*/ 2147483646 w 141"/>
                  <a:gd name="T15" fmla="*/ 2147483646 h 228"/>
                  <a:gd name="T16" fmla="*/ 0 w 141"/>
                  <a:gd name="T17" fmla="*/ 2147483646 h 228"/>
                  <a:gd name="T18" fmla="*/ 2147483646 w 141"/>
                  <a:gd name="T19" fmla="*/ 2147483646 h 228"/>
                  <a:gd name="T20" fmla="*/ 2147483646 w 141"/>
                  <a:gd name="T21" fmla="*/ 2147483646 h 228"/>
                  <a:gd name="T22" fmla="*/ 2147483646 w 141"/>
                  <a:gd name="T23" fmla="*/ 2147483646 h 228"/>
                  <a:gd name="T24" fmla="*/ 2147483646 w 141"/>
                  <a:gd name="T25" fmla="*/ 2147483646 h 228"/>
                  <a:gd name="T26" fmla="*/ 2147483646 w 141"/>
                  <a:gd name="T27" fmla="*/ 2147483646 h 228"/>
                  <a:gd name="T28" fmla="*/ 2147483646 w 141"/>
                  <a:gd name="T29" fmla="*/ 0 h 228"/>
                  <a:gd name="T30" fmla="*/ 2147483646 w 141"/>
                  <a:gd name="T31" fmla="*/ 2147483646 h 228"/>
                  <a:gd name="T32" fmla="*/ 2147483646 w 141"/>
                  <a:gd name="T33" fmla="*/ 2147483646 h 228"/>
                  <a:gd name="T34" fmla="*/ 2147483646 w 141"/>
                  <a:gd name="T35" fmla="*/ 2147483646 h 228"/>
                  <a:gd name="T36" fmla="*/ 2147483646 w 141"/>
                  <a:gd name="T37" fmla="*/ 2147483646 h 228"/>
                  <a:gd name="T38" fmla="*/ 2147483646 w 141"/>
                  <a:gd name="T39" fmla="*/ 2147483646 h 228"/>
                  <a:gd name="T40" fmla="*/ 2147483646 w 141"/>
                  <a:gd name="T41" fmla="*/ 2147483646 h 228"/>
                  <a:gd name="T42" fmla="*/ 2147483646 w 141"/>
                  <a:gd name="T43" fmla="*/ 2147483646 h 228"/>
                  <a:gd name="T44" fmla="*/ 2147483646 w 141"/>
                  <a:gd name="T45" fmla="*/ 2147483646 h 228"/>
                  <a:gd name="T46" fmla="*/ 2147483646 w 141"/>
                  <a:gd name="T47" fmla="*/ 2147483646 h 228"/>
                  <a:gd name="T48" fmla="*/ 2147483646 w 141"/>
                  <a:gd name="T49" fmla="*/ 2147483646 h 228"/>
                  <a:gd name="T50" fmla="*/ 2147483646 w 141"/>
                  <a:gd name="T51" fmla="*/ 2147483646 h 228"/>
                  <a:gd name="T52" fmla="*/ 2147483646 w 141"/>
                  <a:gd name="T53" fmla="*/ 2147483646 h 228"/>
                  <a:gd name="T54" fmla="*/ 2147483646 w 141"/>
                  <a:gd name="T55" fmla="*/ 2147483646 h 228"/>
                  <a:gd name="T56" fmla="*/ 2147483646 w 141"/>
                  <a:gd name="T57" fmla="*/ 2147483646 h 228"/>
                  <a:gd name="T58" fmla="*/ 2147483646 w 141"/>
                  <a:gd name="T59" fmla="*/ 2147483646 h 228"/>
                  <a:gd name="T60" fmla="*/ 2147483646 w 141"/>
                  <a:gd name="T61" fmla="*/ 2147483646 h 228"/>
                  <a:gd name="T62" fmla="*/ 2147483646 w 141"/>
                  <a:gd name="T63" fmla="*/ 2147483646 h 228"/>
                  <a:gd name="T64" fmla="*/ 2147483646 w 141"/>
                  <a:gd name="T65" fmla="*/ 2147483646 h 228"/>
                  <a:gd name="T66" fmla="*/ 2147483646 w 141"/>
                  <a:gd name="T67" fmla="*/ 2147483646 h 228"/>
                  <a:gd name="T68" fmla="*/ 2147483646 w 141"/>
                  <a:gd name="T69" fmla="*/ 2147483646 h 228"/>
                  <a:gd name="T70" fmla="*/ 2147483646 w 141"/>
                  <a:gd name="T71" fmla="*/ 2147483646 h 228"/>
                  <a:gd name="T72" fmla="*/ 2147483646 w 141"/>
                  <a:gd name="T73" fmla="*/ 2147483646 h 228"/>
                  <a:gd name="T74" fmla="*/ 2147483646 w 141"/>
                  <a:gd name="T75" fmla="*/ 2147483646 h 228"/>
                  <a:gd name="T76" fmla="*/ 2147483646 w 141"/>
                  <a:gd name="T77" fmla="*/ 2147483646 h 228"/>
                  <a:gd name="T78" fmla="*/ 2147483646 w 141"/>
                  <a:gd name="T79" fmla="*/ 2147483646 h 228"/>
                  <a:gd name="T80" fmla="*/ 2147483646 w 141"/>
                  <a:gd name="T81" fmla="*/ 2147483646 h 228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41"/>
                  <a:gd name="T124" fmla="*/ 0 h 228"/>
                  <a:gd name="T125" fmla="*/ 141 w 141"/>
                  <a:gd name="T126" fmla="*/ 228 h 228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41" h="228">
                    <a:moveTo>
                      <a:pt x="41" y="228"/>
                    </a:moveTo>
                    <a:lnTo>
                      <a:pt x="36" y="220"/>
                    </a:lnTo>
                    <a:lnTo>
                      <a:pt x="29" y="208"/>
                    </a:lnTo>
                    <a:lnTo>
                      <a:pt x="22" y="194"/>
                    </a:lnTo>
                    <a:lnTo>
                      <a:pt x="16" y="178"/>
                    </a:lnTo>
                    <a:lnTo>
                      <a:pt x="10" y="163"/>
                    </a:lnTo>
                    <a:lnTo>
                      <a:pt x="5" y="148"/>
                    </a:lnTo>
                    <a:lnTo>
                      <a:pt x="2" y="135"/>
                    </a:lnTo>
                    <a:lnTo>
                      <a:pt x="0" y="123"/>
                    </a:lnTo>
                    <a:lnTo>
                      <a:pt x="2" y="104"/>
                    </a:lnTo>
                    <a:lnTo>
                      <a:pt x="4" y="87"/>
                    </a:lnTo>
                    <a:lnTo>
                      <a:pt x="6" y="70"/>
                    </a:lnTo>
                    <a:lnTo>
                      <a:pt x="9" y="55"/>
                    </a:lnTo>
                    <a:lnTo>
                      <a:pt x="18" y="28"/>
                    </a:lnTo>
                    <a:lnTo>
                      <a:pt x="28" y="0"/>
                    </a:lnTo>
                    <a:lnTo>
                      <a:pt x="45" y="16"/>
                    </a:lnTo>
                    <a:lnTo>
                      <a:pt x="62" y="28"/>
                    </a:lnTo>
                    <a:lnTo>
                      <a:pt x="76" y="37"/>
                    </a:lnTo>
                    <a:lnTo>
                      <a:pt x="89" y="48"/>
                    </a:lnTo>
                    <a:lnTo>
                      <a:pt x="95" y="55"/>
                    </a:lnTo>
                    <a:lnTo>
                      <a:pt x="101" y="63"/>
                    </a:lnTo>
                    <a:lnTo>
                      <a:pt x="107" y="74"/>
                    </a:lnTo>
                    <a:lnTo>
                      <a:pt x="114" y="86"/>
                    </a:lnTo>
                    <a:lnTo>
                      <a:pt x="120" y="100"/>
                    </a:lnTo>
                    <a:lnTo>
                      <a:pt x="127" y="117"/>
                    </a:lnTo>
                    <a:lnTo>
                      <a:pt x="133" y="138"/>
                    </a:lnTo>
                    <a:lnTo>
                      <a:pt x="141" y="161"/>
                    </a:lnTo>
                    <a:lnTo>
                      <a:pt x="140" y="169"/>
                    </a:lnTo>
                    <a:lnTo>
                      <a:pt x="138" y="177"/>
                    </a:lnTo>
                    <a:lnTo>
                      <a:pt x="135" y="186"/>
                    </a:lnTo>
                    <a:lnTo>
                      <a:pt x="131" y="192"/>
                    </a:lnTo>
                    <a:lnTo>
                      <a:pt x="127" y="199"/>
                    </a:lnTo>
                    <a:lnTo>
                      <a:pt x="121" y="204"/>
                    </a:lnTo>
                    <a:lnTo>
                      <a:pt x="115" y="209"/>
                    </a:lnTo>
                    <a:lnTo>
                      <a:pt x="108" y="213"/>
                    </a:lnTo>
                    <a:lnTo>
                      <a:pt x="100" y="217"/>
                    </a:lnTo>
                    <a:lnTo>
                      <a:pt x="93" y="220"/>
                    </a:lnTo>
                    <a:lnTo>
                      <a:pt x="85" y="223"/>
                    </a:lnTo>
                    <a:lnTo>
                      <a:pt x="76" y="225"/>
                    </a:lnTo>
                    <a:lnTo>
                      <a:pt x="59" y="227"/>
                    </a:lnTo>
                    <a:lnTo>
                      <a:pt x="41" y="228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1960" name="Group 282">
                <a:extLst>
                  <a:ext uri="{FF2B5EF4-FFF2-40B4-BE49-F238E27FC236}">
                    <a16:creationId xmlns="" xmlns:a16="http://schemas.microsoft.com/office/drawing/2014/main" id="{BB27DE63-5C8D-4745-8C50-3F0EC030068E}"/>
                  </a:ext>
                </a:extLst>
              </p:cNvPr>
              <p:cNvGrpSpPr>
                <a:grpSpLocks/>
              </p:cNvGrpSpPr>
              <p:nvPr>
                <p:custDataLst>
                  <p:tags r:id="rId209"/>
                </p:custDataLst>
              </p:nvPr>
            </p:nvGrpSpPr>
            <p:grpSpPr bwMode="auto">
              <a:xfrm>
                <a:off x="6935788" y="3060700"/>
                <a:ext cx="233362" cy="439738"/>
                <a:chOff x="5062" y="2295"/>
                <a:chExt cx="177" cy="279"/>
              </a:xfrm>
              <a:solidFill>
                <a:srgbClr val="FFFFFF">
                  <a:lumMod val="75000"/>
                </a:srgbClr>
              </a:solidFill>
            </p:grpSpPr>
            <p:sp>
              <p:nvSpPr>
                <p:cNvPr id="1961" name="Freeform 283">
                  <a:extLst>
                    <a:ext uri="{FF2B5EF4-FFF2-40B4-BE49-F238E27FC236}">
                      <a16:creationId xmlns="" xmlns:a16="http://schemas.microsoft.com/office/drawing/2014/main" id="{A2E2F84A-1AED-4E8C-AE15-D30DE88390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54" y="2449"/>
                  <a:ext cx="19" cy="37"/>
                </a:xfrm>
                <a:custGeom>
                  <a:avLst/>
                  <a:gdLst>
                    <a:gd name="T0" fmla="*/ 0 w 60"/>
                    <a:gd name="T1" fmla="*/ 0 h 110"/>
                    <a:gd name="T2" fmla="*/ 0 w 60"/>
                    <a:gd name="T3" fmla="*/ 0 h 110"/>
                    <a:gd name="T4" fmla="*/ 0 w 60"/>
                    <a:gd name="T5" fmla="*/ 0 h 110"/>
                    <a:gd name="T6" fmla="*/ 0 w 60"/>
                    <a:gd name="T7" fmla="*/ 0 h 110"/>
                    <a:gd name="T8" fmla="*/ 0 w 60"/>
                    <a:gd name="T9" fmla="*/ 0 h 110"/>
                    <a:gd name="T10" fmla="*/ 0 w 60"/>
                    <a:gd name="T11" fmla="*/ 0 h 110"/>
                    <a:gd name="T12" fmla="*/ 0 w 60"/>
                    <a:gd name="T13" fmla="*/ 0 h 110"/>
                    <a:gd name="T14" fmla="*/ 0 w 60"/>
                    <a:gd name="T15" fmla="*/ 0 h 110"/>
                    <a:gd name="T16" fmla="*/ 0 w 60"/>
                    <a:gd name="T17" fmla="*/ 0 h 110"/>
                    <a:gd name="T18" fmla="*/ 0 w 60"/>
                    <a:gd name="T19" fmla="*/ 0 h 110"/>
                    <a:gd name="T20" fmla="*/ 0 w 60"/>
                    <a:gd name="T21" fmla="*/ 0 h 110"/>
                    <a:gd name="T22" fmla="*/ 0 w 60"/>
                    <a:gd name="T23" fmla="*/ 0 h 110"/>
                    <a:gd name="T24" fmla="*/ 0 w 60"/>
                    <a:gd name="T25" fmla="*/ 0 h 110"/>
                    <a:gd name="T26" fmla="*/ 0 w 60"/>
                    <a:gd name="T27" fmla="*/ 0 h 110"/>
                    <a:gd name="T28" fmla="*/ 0 w 60"/>
                    <a:gd name="T29" fmla="*/ 0 h 110"/>
                    <a:gd name="T30" fmla="*/ 0 w 60"/>
                    <a:gd name="T31" fmla="*/ 0 h 110"/>
                    <a:gd name="T32" fmla="*/ 0 w 60"/>
                    <a:gd name="T33" fmla="*/ 0 h 110"/>
                    <a:gd name="T34" fmla="*/ 0 w 60"/>
                    <a:gd name="T35" fmla="*/ 0 h 110"/>
                    <a:gd name="T36" fmla="*/ 0 w 60"/>
                    <a:gd name="T37" fmla="*/ 0 h 110"/>
                    <a:gd name="T38" fmla="*/ 0 w 60"/>
                    <a:gd name="T39" fmla="*/ 0 h 110"/>
                    <a:gd name="T40" fmla="*/ 0 w 60"/>
                    <a:gd name="T41" fmla="*/ 0 h 110"/>
                    <a:gd name="T42" fmla="*/ 0 w 60"/>
                    <a:gd name="T43" fmla="*/ 0 h 110"/>
                    <a:gd name="T44" fmla="*/ 0 w 60"/>
                    <a:gd name="T45" fmla="*/ 0 h 110"/>
                    <a:gd name="T46" fmla="*/ 0 w 60"/>
                    <a:gd name="T47" fmla="*/ 0 h 110"/>
                    <a:gd name="T48" fmla="*/ 0 w 60"/>
                    <a:gd name="T49" fmla="*/ 0 h 110"/>
                    <a:gd name="T50" fmla="*/ 0 w 60"/>
                    <a:gd name="T51" fmla="*/ 0 h 110"/>
                    <a:gd name="T52" fmla="*/ 0 w 60"/>
                    <a:gd name="T53" fmla="*/ 0 h 110"/>
                    <a:gd name="T54" fmla="*/ 0 w 60"/>
                    <a:gd name="T55" fmla="*/ 0 h 110"/>
                    <a:gd name="T56" fmla="*/ 0 w 60"/>
                    <a:gd name="T57" fmla="*/ 0 h 110"/>
                    <a:gd name="T58" fmla="*/ 0 w 60"/>
                    <a:gd name="T59" fmla="*/ 0 h 110"/>
                    <a:gd name="T60" fmla="*/ 0 w 60"/>
                    <a:gd name="T61" fmla="*/ 0 h 110"/>
                    <a:gd name="T62" fmla="*/ 0 w 60"/>
                    <a:gd name="T63" fmla="*/ 0 h 110"/>
                    <a:gd name="T64" fmla="*/ 0 w 60"/>
                    <a:gd name="T65" fmla="*/ 0 h 110"/>
                    <a:gd name="T66" fmla="*/ 0 w 60"/>
                    <a:gd name="T67" fmla="*/ 0 h 110"/>
                    <a:gd name="T68" fmla="*/ 0 w 60"/>
                    <a:gd name="T69" fmla="*/ 0 h 110"/>
                    <a:gd name="T70" fmla="*/ 0 w 60"/>
                    <a:gd name="T71" fmla="*/ 0 h 110"/>
                    <a:gd name="T72" fmla="*/ 0 w 60"/>
                    <a:gd name="T73" fmla="*/ 0 h 110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60"/>
                    <a:gd name="T112" fmla="*/ 0 h 110"/>
                    <a:gd name="T113" fmla="*/ 60 w 60"/>
                    <a:gd name="T114" fmla="*/ 110 h 110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60" h="110">
                      <a:moveTo>
                        <a:pt x="39" y="110"/>
                      </a:moveTo>
                      <a:lnTo>
                        <a:pt x="42" y="109"/>
                      </a:lnTo>
                      <a:lnTo>
                        <a:pt x="46" y="106"/>
                      </a:lnTo>
                      <a:lnTo>
                        <a:pt x="49" y="101"/>
                      </a:lnTo>
                      <a:lnTo>
                        <a:pt x="52" y="96"/>
                      </a:lnTo>
                      <a:lnTo>
                        <a:pt x="54" y="90"/>
                      </a:lnTo>
                      <a:lnTo>
                        <a:pt x="57" y="84"/>
                      </a:lnTo>
                      <a:lnTo>
                        <a:pt x="59" y="78"/>
                      </a:lnTo>
                      <a:lnTo>
                        <a:pt x="60" y="73"/>
                      </a:lnTo>
                      <a:lnTo>
                        <a:pt x="59" y="60"/>
                      </a:lnTo>
                      <a:lnTo>
                        <a:pt x="58" y="48"/>
                      </a:lnTo>
                      <a:lnTo>
                        <a:pt x="57" y="38"/>
                      </a:lnTo>
                      <a:lnTo>
                        <a:pt x="54" y="29"/>
                      </a:lnTo>
                      <a:lnTo>
                        <a:pt x="51" y="21"/>
                      </a:lnTo>
                      <a:lnTo>
                        <a:pt x="48" y="13"/>
                      </a:lnTo>
                      <a:lnTo>
                        <a:pt x="45" y="6"/>
                      </a:lnTo>
                      <a:lnTo>
                        <a:pt x="39" y="0"/>
                      </a:lnTo>
                      <a:lnTo>
                        <a:pt x="35" y="3"/>
                      </a:lnTo>
                      <a:lnTo>
                        <a:pt x="30" y="8"/>
                      </a:lnTo>
                      <a:lnTo>
                        <a:pt x="27" y="13"/>
                      </a:lnTo>
                      <a:lnTo>
                        <a:pt x="24" y="18"/>
                      </a:lnTo>
                      <a:lnTo>
                        <a:pt x="18" y="29"/>
                      </a:lnTo>
                      <a:lnTo>
                        <a:pt x="15" y="40"/>
                      </a:lnTo>
                      <a:lnTo>
                        <a:pt x="10" y="51"/>
                      </a:lnTo>
                      <a:lnTo>
                        <a:pt x="7" y="62"/>
                      </a:lnTo>
                      <a:lnTo>
                        <a:pt x="6" y="66"/>
                      </a:lnTo>
                      <a:lnTo>
                        <a:pt x="4" y="69"/>
                      </a:lnTo>
                      <a:lnTo>
                        <a:pt x="2" y="72"/>
                      </a:lnTo>
                      <a:lnTo>
                        <a:pt x="0" y="73"/>
                      </a:lnTo>
                      <a:lnTo>
                        <a:pt x="1" y="78"/>
                      </a:lnTo>
                      <a:lnTo>
                        <a:pt x="3" y="84"/>
                      </a:lnTo>
                      <a:lnTo>
                        <a:pt x="7" y="90"/>
                      </a:lnTo>
                      <a:lnTo>
                        <a:pt x="12" y="96"/>
                      </a:lnTo>
                      <a:lnTo>
                        <a:pt x="18" y="101"/>
                      </a:lnTo>
                      <a:lnTo>
                        <a:pt x="25" y="106"/>
                      </a:lnTo>
                      <a:lnTo>
                        <a:pt x="32" y="109"/>
                      </a:lnTo>
                      <a:lnTo>
                        <a:pt x="39" y="11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62" name="Freeform 284">
                  <a:extLst>
                    <a:ext uri="{FF2B5EF4-FFF2-40B4-BE49-F238E27FC236}">
                      <a16:creationId xmlns="" xmlns:a16="http://schemas.microsoft.com/office/drawing/2014/main" id="{112B07C1-DA05-4152-8EE8-810E18D616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89" y="2422"/>
                  <a:ext cx="24" cy="25"/>
                </a:xfrm>
                <a:custGeom>
                  <a:avLst/>
                  <a:gdLst>
                    <a:gd name="T0" fmla="*/ 0 w 72"/>
                    <a:gd name="T1" fmla="*/ 0 h 75"/>
                    <a:gd name="T2" fmla="*/ 0 w 72"/>
                    <a:gd name="T3" fmla="*/ 0 h 75"/>
                    <a:gd name="T4" fmla="*/ 0 w 72"/>
                    <a:gd name="T5" fmla="*/ 0 h 75"/>
                    <a:gd name="T6" fmla="*/ 0 w 72"/>
                    <a:gd name="T7" fmla="*/ 0 h 75"/>
                    <a:gd name="T8" fmla="*/ 0 w 72"/>
                    <a:gd name="T9" fmla="*/ 0 h 75"/>
                    <a:gd name="T10" fmla="*/ 0 w 72"/>
                    <a:gd name="T11" fmla="*/ 0 h 75"/>
                    <a:gd name="T12" fmla="*/ 0 w 72"/>
                    <a:gd name="T13" fmla="*/ 0 h 75"/>
                    <a:gd name="T14" fmla="*/ 0 w 72"/>
                    <a:gd name="T15" fmla="*/ 0 h 75"/>
                    <a:gd name="T16" fmla="*/ 0 w 72"/>
                    <a:gd name="T17" fmla="*/ 0 h 75"/>
                    <a:gd name="T18" fmla="*/ 0 w 72"/>
                    <a:gd name="T19" fmla="*/ 0 h 75"/>
                    <a:gd name="T20" fmla="*/ 0 w 72"/>
                    <a:gd name="T21" fmla="*/ 0 h 75"/>
                    <a:gd name="T22" fmla="*/ 0 w 72"/>
                    <a:gd name="T23" fmla="*/ 0 h 75"/>
                    <a:gd name="T24" fmla="*/ 0 w 72"/>
                    <a:gd name="T25" fmla="*/ 0 h 75"/>
                    <a:gd name="T26" fmla="*/ 0 w 72"/>
                    <a:gd name="T27" fmla="*/ 0 h 75"/>
                    <a:gd name="T28" fmla="*/ 0 w 72"/>
                    <a:gd name="T29" fmla="*/ 0 h 75"/>
                    <a:gd name="T30" fmla="*/ 0 w 72"/>
                    <a:gd name="T31" fmla="*/ 0 h 75"/>
                    <a:gd name="T32" fmla="*/ 0 w 72"/>
                    <a:gd name="T33" fmla="*/ 0 h 75"/>
                    <a:gd name="T34" fmla="*/ 0 w 72"/>
                    <a:gd name="T35" fmla="*/ 0 h 75"/>
                    <a:gd name="T36" fmla="*/ 0 w 72"/>
                    <a:gd name="T37" fmla="*/ 0 h 75"/>
                    <a:gd name="T38" fmla="*/ 0 w 72"/>
                    <a:gd name="T39" fmla="*/ 0 h 75"/>
                    <a:gd name="T40" fmla="*/ 0 w 72"/>
                    <a:gd name="T41" fmla="*/ 0 h 75"/>
                    <a:gd name="T42" fmla="*/ 0 w 72"/>
                    <a:gd name="T43" fmla="*/ 0 h 75"/>
                    <a:gd name="T44" fmla="*/ 0 w 72"/>
                    <a:gd name="T45" fmla="*/ 0 h 75"/>
                    <a:gd name="T46" fmla="*/ 0 w 72"/>
                    <a:gd name="T47" fmla="*/ 0 h 75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72"/>
                    <a:gd name="T73" fmla="*/ 0 h 75"/>
                    <a:gd name="T74" fmla="*/ 72 w 72"/>
                    <a:gd name="T75" fmla="*/ 75 h 75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72" h="75">
                      <a:moveTo>
                        <a:pt x="0" y="13"/>
                      </a:moveTo>
                      <a:lnTo>
                        <a:pt x="8" y="18"/>
                      </a:lnTo>
                      <a:lnTo>
                        <a:pt x="15" y="25"/>
                      </a:lnTo>
                      <a:lnTo>
                        <a:pt x="23" y="32"/>
                      </a:lnTo>
                      <a:lnTo>
                        <a:pt x="31" y="40"/>
                      </a:lnTo>
                      <a:lnTo>
                        <a:pt x="37" y="48"/>
                      </a:lnTo>
                      <a:lnTo>
                        <a:pt x="42" y="57"/>
                      </a:lnTo>
                      <a:lnTo>
                        <a:pt x="45" y="65"/>
                      </a:lnTo>
                      <a:lnTo>
                        <a:pt x="46" y="75"/>
                      </a:lnTo>
                      <a:lnTo>
                        <a:pt x="72" y="75"/>
                      </a:lnTo>
                      <a:lnTo>
                        <a:pt x="65" y="50"/>
                      </a:lnTo>
                      <a:lnTo>
                        <a:pt x="60" y="34"/>
                      </a:lnTo>
                      <a:lnTo>
                        <a:pt x="60" y="27"/>
                      </a:lnTo>
                      <a:lnTo>
                        <a:pt x="63" y="19"/>
                      </a:lnTo>
                      <a:lnTo>
                        <a:pt x="67" y="11"/>
                      </a:lnTo>
                      <a:lnTo>
                        <a:pt x="72" y="1"/>
                      </a:lnTo>
                      <a:lnTo>
                        <a:pt x="52" y="0"/>
                      </a:lnTo>
                      <a:lnTo>
                        <a:pt x="32" y="0"/>
                      </a:lnTo>
                      <a:lnTo>
                        <a:pt x="22" y="1"/>
                      </a:lnTo>
                      <a:lnTo>
                        <a:pt x="13" y="3"/>
                      </a:lnTo>
                      <a:lnTo>
                        <a:pt x="9" y="5"/>
                      </a:lnTo>
                      <a:lnTo>
                        <a:pt x="6" y="7"/>
                      </a:lnTo>
                      <a:lnTo>
                        <a:pt x="2" y="10"/>
                      </a:lnTo>
                      <a:lnTo>
                        <a:pt x="0" y="13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63" name="Freeform 285">
                  <a:extLst>
                    <a:ext uri="{FF2B5EF4-FFF2-40B4-BE49-F238E27FC236}">
                      <a16:creationId xmlns="" xmlns:a16="http://schemas.microsoft.com/office/drawing/2014/main" id="{DCBDDFA7-B5FB-4839-9714-C273C60489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60" y="2389"/>
                  <a:ext cx="5" cy="16"/>
                </a:xfrm>
                <a:custGeom>
                  <a:avLst/>
                  <a:gdLst>
                    <a:gd name="T0" fmla="*/ 0 w 15"/>
                    <a:gd name="T1" fmla="*/ 0 h 49"/>
                    <a:gd name="T2" fmla="*/ 0 w 15"/>
                    <a:gd name="T3" fmla="*/ 0 h 49"/>
                    <a:gd name="T4" fmla="*/ 0 w 15"/>
                    <a:gd name="T5" fmla="*/ 0 h 49"/>
                    <a:gd name="T6" fmla="*/ 0 w 15"/>
                    <a:gd name="T7" fmla="*/ 0 h 49"/>
                    <a:gd name="T8" fmla="*/ 0 w 15"/>
                    <a:gd name="T9" fmla="*/ 0 h 49"/>
                    <a:gd name="T10" fmla="*/ 0 w 15"/>
                    <a:gd name="T11" fmla="*/ 0 h 49"/>
                    <a:gd name="T12" fmla="*/ 0 w 15"/>
                    <a:gd name="T13" fmla="*/ 0 h 49"/>
                    <a:gd name="T14" fmla="*/ 0 w 15"/>
                    <a:gd name="T15" fmla="*/ 0 h 49"/>
                    <a:gd name="T16" fmla="*/ 0 w 15"/>
                    <a:gd name="T17" fmla="*/ 0 h 49"/>
                    <a:gd name="T18" fmla="*/ 0 w 15"/>
                    <a:gd name="T19" fmla="*/ 0 h 49"/>
                    <a:gd name="T20" fmla="*/ 0 w 15"/>
                    <a:gd name="T21" fmla="*/ 0 h 49"/>
                    <a:gd name="T22" fmla="*/ 0 w 15"/>
                    <a:gd name="T23" fmla="*/ 0 h 49"/>
                    <a:gd name="T24" fmla="*/ 0 w 15"/>
                    <a:gd name="T25" fmla="*/ 0 h 49"/>
                    <a:gd name="T26" fmla="*/ 0 w 15"/>
                    <a:gd name="T27" fmla="*/ 0 h 49"/>
                    <a:gd name="T28" fmla="*/ 0 w 15"/>
                    <a:gd name="T29" fmla="*/ 0 h 49"/>
                    <a:gd name="T30" fmla="*/ 0 w 15"/>
                    <a:gd name="T31" fmla="*/ 0 h 49"/>
                    <a:gd name="T32" fmla="*/ 0 w 15"/>
                    <a:gd name="T33" fmla="*/ 0 h 49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5"/>
                    <a:gd name="T52" fmla="*/ 0 h 49"/>
                    <a:gd name="T53" fmla="*/ 15 w 15"/>
                    <a:gd name="T54" fmla="*/ 49 h 49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5" h="49">
                      <a:moveTo>
                        <a:pt x="15" y="49"/>
                      </a:moveTo>
                      <a:lnTo>
                        <a:pt x="15" y="33"/>
                      </a:lnTo>
                      <a:lnTo>
                        <a:pt x="15" y="19"/>
                      </a:lnTo>
                      <a:lnTo>
                        <a:pt x="14" y="13"/>
                      </a:lnTo>
                      <a:lnTo>
                        <a:pt x="13" y="7"/>
                      </a:lnTo>
                      <a:lnTo>
                        <a:pt x="11" y="3"/>
                      </a:lnTo>
                      <a:lnTo>
                        <a:pt x="9" y="0"/>
                      </a:lnTo>
                      <a:lnTo>
                        <a:pt x="4" y="7"/>
                      </a:lnTo>
                      <a:lnTo>
                        <a:pt x="2" y="15"/>
                      </a:lnTo>
                      <a:lnTo>
                        <a:pt x="0" y="23"/>
                      </a:lnTo>
                      <a:lnTo>
                        <a:pt x="0" y="30"/>
                      </a:lnTo>
                      <a:lnTo>
                        <a:pt x="1" y="36"/>
                      </a:lnTo>
                      <a:lnTo>
                        <a:pt x="4" y="42"/>
                      </a:lnTo>
                      <a:lnTo>
                        <a:pt x="7" y="44"/>
                      </a:lnTo>
                      <a:lnTo>
                        <a:pt x="9" y="46"/>
                      </a:lnTo>
                      <a:lnTo>
                        <a:pt x="12" y="48"/>
                      </a:lnTo>
                      <a:lnTo>
                        <a:pt x="15" y="49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64" name="Freeform 286">
                  <a:extLst>
                    <a:ext uri="{FF2B5EF4-FFF2-40B4-BE49-F238E27FC236}">
                      <a16:creationId xmlns="" xmlns:a16="http://schemas.microsoft.com/office/drawing/2014/main" id="{1ACA60ED-DD37-4762-B605-A1113C4E5E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39" y="2387"/>
                  <a:ext cx="15" cy="13"/>
                </a:xfrm>
                <a:custGeom>
                  <a:avLst/>
                  <a:gdLst>
                    <a:gd name="T0" fmla="*/ 0 w 47"/>
                    <a:gd name="T1" fmla="*/ 0 h 40"/>
                    <a:gd name="T2" fmla="*/ 0 w 47"/>
                    <a:gd name="T3" fmla="*/ 0 h 40"/>
                    <a:gd name="T4" fmla="*/ 0 w 47"/>
                    <a:gd name="T5" fmla="*/ 0 h 40"/>
                    <a:gd name="T6" fmla="*/ 0 w 47"/>
                    <a:gd name="T7" fmla="*/ 0 h 40"/>
                    <a:gd name="T8" fmla="*/ 0 w 47"/>
                    <a:gd name="T9" fmla="*/ 0 h 40"/>
                    <a:gd name="T10" fmla="*/ 0 w 47"/>
                    <a:gd name="T11" fmla="*/ 0 h 40"/>
                    <a:gd name="T12" fmla="*/ 0 w 47"/>
                    <a:gd name="T13" fmla="*/ 0 h 40"/>
                    <a:gd name="T14" fmla="*/ 0 w 47"/>
                    <a:gd name="T15" fmla="*/ 0 h 40"/>
                    <a:gd name="T16" fmla="*/ 0 w 47"/>
                    <a:gd name="T17" fmla="*/ 0 h 40"/>
                    <a:gd name="T18" fmla="*/ 0 w 47"/>
                    <a:gd name="T19" fmla="*/ 0 h 40"/>
                    <a:gd name="T20" fmla="*/ 0 w 47"/>
                    <a:gd name="T21" fmla="*/ 0 h 40"/>
                    <a:gd name="T22" fmla="*/ 0 w 47"/>
                    <a:gd name="T23" fmla="*/ 0 h 40"/>
                    <a:gd name="T24" fmla="*/ 0 w 47"/>
                    <a:gd name="T25" fmla="*/ 0 h 40"/>
                    <a:gd name="T26" fmla="*/ 0 w 47"/>
                    <a:gd name="T27" fmla="*/ 0 h 40"/>
                    <a:gd name="T28" fmla="*/ 0 w 47"/>
                    <a:gd name="T29" fmla="*/ 0 h 4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47"/>
                    <a:gd name="T46" fmla="*/ 0 h 40"/>
                    <a:gd name="T47" fmla="*/ 47 w 47"/>
                    <a:gd name="T48" fmla="*/ 40 h 40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47" h="40">
                      <a:moveTo>
                        <a:pt x="20" y="6"/>
                      </a:moveTo>
                      <a:lnTo>
                        <a:pt x="0" y="37"/>
                      </a:lnTo>
                      <a:lnTo>
                        <a:pt x="6" y="39"/>
                      </a:lnTo>
                      <a:lnTo>
                        <a:pt x="12" y="40"/>
                      </a:lnTo>
                      <a:lnTo>
                        <a:pt x="19" y="39"/>
                      </a:lnTo>
                      <a:lnTo>
                        <a:pt x="26" y="38"/>
                      </a:lnTo>
                      <a:lnTo>
                        <a:pt x="32" y="36"/>
                      </a:lnTo>
                      <a:lnTo>
                        <a:pt x="39" y="33"/>
                      </a:lnTo>
                      <a:lnTo>
                        <a:pt x="43" y="30"/>
                      </a:lnTo>
                      <a:lnTo>
                        <a:pt x="47" y="25"/>
                      </a:lnTo>
                      <a:lnTo>
                        <a:pt x="47" y="0"/>
                      </a:lnTo>
                      <a:lnTo>
                        <a:pt x="41" y="0"/>
                      </a:lnTo>
                      <a:lnTo>
                        <a:pt x="33" y="1"/>
                      </a:lnTo>
                      <a:lnTo>
                        <a:pt x="26" y="3"/>
                      </a:lnTo>
                      <a:lnTo>
                        <a:pt x="20" y="6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65" name="Freeform 287">
                  <a:extLst>
                    <a:ext uri="{FF2B5EF4-FFF2-40B4-BE49-F238E27FC236}">
                      <a16:creationId xmlns="" xmlns:a16="http://schemas.microsoft.com/office/drawing/2014/main" id="{F3C983C7-BBA0-4E1A-94FD-66352A8098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84" y="2465"/>
                  <a:ext cx="13" cy="10"/>
                </a:xfrm>
                <a:custGeom>
                  <a:avLst/>
                  <a:gdLst>
                    <a:gd name="T0" fmla="*/ 0 w 39"/>
                    <a:gd name="T1" fmla="*/ 0 h 31"/>
                    <a:gd name="T2" fmla="*/ 0 w 39"/>
                    <a:gd name="T3" fmla="*/ 0 h 31"/>
                    <a:gd name="T4" fmla="*/ 0 w 39"/>
                    <a:gd name="T5" fmla="*/ 0 h 31"/>
                    <a:gd name="T6" fmla="*/ 0 w 39"/>
                    <a:gd name="T7" fmla="*/ 0 h 31"/>
                    <a:gd name="T8" fmla="*/ 0 w 39"/>
                    <a:gd name="T9" fmla="*/ 0 h 31"/>
                    <a:gd name="T10" fmla="*/ 0 w 39"/>
                    <a:gd name="T11" fmla="*/ 0 h 31"/>
                    <a:gd name="T12" fmla="*/ 0 w 39"/>
                    <a:gd name="T13" fmla="*/ 0 h 31"/>
                    <a:gd name="T14" fmla="*/ 0 w 39"/>
                    <a:gd name="T15" fmla="*/ 0 h 31"/>
                    <a:gd name="T16" fmla="*/ 0 w 39"/>
                    <a:gd name="T17" fmla="*/ 0 h 31"/>
                    <a:gd name="T18" fmla="*/ 0 w 39"/>
                    <a:gd name="T19" fmla="*/ 0 h 31"/>
                    <a:gd name="T20" fmla="*/ 0 w 39"/>
                    <a:gd name="T21" fmla="*/ 0 h 31"/>
                    <a:gd name="T22" fmla="*/ 0 w 39"/>
                    <a:gd name="T23" fmla="*/ 0 h 31"/>
                    <a:gd name="T24" fmla="*/ 0 w 39"/>
                    <a:gd name="T25" fmla="*/ 0 h 3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39"/>
                    <a:gd name="T40" fmla="*/ 0 h 31"/>
                    <a:gd name="T41" fmla="*/ 39 w 39"/>
                    <a:gd name="T42" fmla="*/ 31 h 31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39" h="31">
                      <a:moveTo>
                        <a:pt x="0" y="0"/>
                      </a:moveTo>
                      <a:lnTo>
                        <a:pt x="3" y="8"/>
                      </a:lnTo>
                      <a:lnTo>
                        <a:pt x="6" y="13"/>
                      </a:lnTo>
                      <a:lnTo>
                        <a:pt x="12" y="19"/>
                      </a:lnTo>
                      <a:lnTo>
                        <a:pt x="17" y="23"/>
                      </a:lnTo>
                      <a:lnTo>
                        <a:pt x="23" y="26"/>
                      </a:lnTo>
                      <a:lnTo>
                        <a:pt x="28" y="29"/>
                      </a:lnTo>
                      <a:lnTo>
                        <a:pt x="34" y="31"/>
                      </a:lnTo>
                      <a:lnTo>
                        <a:pt x="39" y="31"/>
                      </a:lnTo>
                      <a:lnTo>
                        <a:pt x="33" y="22"/>
                      </a:lnTo>
                      <a:lnTo>
                        <a:pt x="25" y="14"/>
                      </a:lnTo>
                      <a:lnTo>
                        <a:pt x="16" y="7"/>
                      </a:lnTo>
                      <a:lnTo>
                        <a:pt x="6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66" name="Freeform 288">
                  <a:extLst>
                    <a:ext uri="{FF2B5EF4-FFF2-40B4-BE49-F238E27FC236}">
                      <a16:creationId xmlns="" xmlns:a16="http://schemas.microsoft.com/office/drawing/2014/main" id="{09F88EE1-FC52-4743-883E-45EF8D4607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72" y="2410"/>
                  <a:ext cx="10" cy="6"/>
                </a:xfrm>
                <a:custGeom>
                  <a:avLst/>
                  <a:gdLst>
                    <a:gd name="T0" fmla="*/ 0 w 34"/>
                    <a:gd name="T1" fmla="*/ 0 h 19"/>
                    <a:gd name="T2" fmla="*/ 0 w 34"/>
                    <a:gd name="T3" fmla="*/ 0 h 19"/>
                    <a:gd name="T4" fmla="*/ 0 w 34"/>
                    <a:gd name="T5" fmla="*/ 0 h 19"/>
                    <a:gd name="T6" fmla="*/ 0 w 34"/>
                    <a:gd name="T7" fmla="*/ 0 h 19"/>
                    <a:gd name="T8" fmla="*/ 0 w 34"/>
                    <a:gd name="T9" fmla="*/ 0 h 19"/>
                    <a:gd name="T10" fmla="*/ 0 w 34"/>
                    <a:gd name="T11" fmla="*/ 0 h 19"/>
                    <a:gd name="T12" fmla="*/ 0 w 34"/>
                    <a:gd name="T13" fmla="*/ 0 h 1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4"/>
                    <a:gd name="T22" fmla="*/ 0 h 19"/>
                    <a:gd name="T23" fmla="*/ 34 w 34"/>
                    <a:gd name="T24" fmla="*/ 19 h 19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4" h="19">
                      <a:moveTo>
                        <a:pt x="0" y="0"/>
                      </a:moveTo>
                      <a:lnTo>
                        <a:pt x="34" y="19"/>
                      </a:lnTo>
                      <a:lnTo>
                        <a:pt x="34" y="0"/>
                      </a:lnTo>
                      <a:lnTo>
                        <a:pt x="24" y="0"/>
                      </a:lnTo>
                      <a:lnTo>
                        <a:pt x="14" y="0"/>
                      </a:lnTo>
                      <a:lnTo>
                        <a:pt x="7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67" name="Freeform 289">
                  <a:extLst>
                    <a:ext uri="{FF2B5EF4-FFF2-40B4-BE49-F238E27FC236}">
                      <a16:creationId xmlns="" xmlns:a16="http://schemas.microsoft.com/office/drawing/2014/main" id="{62AA5F60-31F5-4CA6-8611-36D6E3B02B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80" y="2471"/>
                  <a:ext cx="6" cy="4"/>
                </a:xfrm>
                <a:custGeom>
                  <a:avLst/>
                  <a:gdLst>
                    <a:gd name="T0" fmla="*/ 0 w 19"/>
                    <a:gd name="T1" fmla="*/ 0 h 12"/>
                    <a:gd name="T2" fmla="*/ 0 w 19"/>
                    <a:gd name="T3" fmla="*/ 0 h 12"/>
                    <a:gd name="T4" fmla="*/ 0 w 19"/>
                    <a:gd name="T5" fmla="*/ 0 h 12"/>
                    <a:gd name="T6" fmla="*/ 0 w 19"/>
                    <a:gd name="T7" fmla="*/ 0 h 1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9"/>
                    <a:gd name="T13" fmla="*/ 0 h 12"/>
                    <a:gd name="T14" fmla="*/ 19 w 19"/>
                    <a:gd name="T15" fmla="*/ 12 h 1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9" h="12">
                      <a:moveTo>
                        <a:pt x="0" y="0"/>
                      </a:moveTo>
                      <a:lnTo>
                        <a:pt x="19" y="12"/>
                      </a:lnTo>
                      <a:lnTo>
                        <a:pt x="13" y="6"/>
                      </a:lnTo>
                      <a:lnTo>
                        <a:pt x="6" y="6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68" name="Freeform 290">
                  <a:extLst>
                    <a:ext uri="{FF2B5EF4-FFF2-40B4-BE49-F238E27FC236}">
                      <a16:creationId xmlns="" xmlns:a16="http://schemas.microsoft.com/office/drawing/2014/main" id="{87A59668-322C-4ABA-9968-B85835DD42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" y="2447"/>
                  <a:ext cx="42" cy="55"/>
                </a:xfrm>
                <a:custGeom>
                  <a:avLst/>
                  <a:gdLst>
                    <a:gd name="T0" fmla="*/ 0 w 126"/>
                    <a:gd name="T1" fmla="*/ 0 h 166"/>
                    <a:gd name="T2" fmla="*/ 0 w 126"/>
                    <a:gd name="T3" fmla="*/ 0 h 166"/>
                    <a:gd name="T4" fmla="*/ 0 w 126"/>
                    <a:gd name="T5" fmla="*/ 0 h 166"/>
                    <a:gd name="T6" fmla="*/ 1 w 126"/>
                    <a:gd name="T7" fmla="*/ 0 h 166"/>
                    <a:gd name="T8" fmla="*/ 1 w 126"/>
                    <a:gd name="T9" fmla="*/ 0 h 166"/>
                    <a:gd name="T10" fmla="*/ 1 w 126"/>
                    <a:gd name="T11" fmla="*/ 0 h 166"/>
                    <a:gd name="T12" fmla="*/ 1 w 126"/>
                    <a:gd name="T13" fmla="*/ 0 h 166"/>
                    <a:gd name="T14" fmla="*/ 1 w 126"/>
                    <a:gd name="T15" fmla="*/ 0 h 166"/>
                    <a:gd name="T16" fmla="*/ 0 w 126"/>
                    <a:gd name="T17" fmla="*/ 0 h 166"/>
                    <a:gd name="T18" fmla="*/ 0 w 126"/>
                    <a:gd name="T19" fmla="*/ 0 h 166"/>
                    <a:gd name="T20" fmla="*/ 0 w 126"/>
                    <a:gd name="T21" fmla="*/ 0 h 166"/>
                    <a:gd name="T22" fmla="*/ 0 w 126"/>
                    <a:gd name="T23" fmla="*/ 0 h 166"/>
                    <a:gd name="T24" fmla="*/ 0 w 126"/>
                    <a:gd name="T25" fmla="*/ 0 h 166"/>
                    <a:gd name="T26" fmla="*/ 0 w 126"/>
                    <a:gd name="T27" fmla="*/ 1 h 166"/>
                    <a:gd name="T28" fmla="*/ 0 w 126"/>
                    <a:gd name="T29" fmla="*/ 1 h 166"/>
                    <a:gd name="T30" fmla="*/ 0 w 126"/>
                    <a:gd name="T31" fmla="*/ 1 h 166"/>
                    <a:gd name="T32" fmla="*/ 0 w 126"/>
                    <a:gd name="T33" fmla="*/ 1 h 166"/>
                    <a:gd name="T34" fmla="*/ 0 w 126"/>
                    <a:gd name="T35" fmla="*/ 1 h 166"/>
                    <a:gd name="T36" fmla="*/ 0 w 126"/>
                    <a:gd name="T37" fmla="*/ 1 h 166"/>
                    <a:gd name="T38" fmla="*/ 0 w 126"/>
                    <a:gd name="T39" fmla="*/ 1 h 166"/>
                    <a:gd name="T40" fmla="*/ 0 w 126"/>
                    <a:gd name="T41" fmla="*/ 1 h 166"/>
                    <a:gd name="T42" fmla="*/ 0 w 126"/>
                    <a:gd name="T43" fmla="*/ 1 h 166"/>
                    <a:gd name="T44" fmla="*/ 0 w 126"/>
                    <a:gd name="T45" fmla="*/ 1 h 166"/>
                    <a:gd name="T46" fmla="*/ 0 w 126"/>
                    <a:gd name="T47" fmla="*/ 1 h 166"/>
                    <a:gd name="T48" fmla="*/ 0 w 126"/>
                    <a:gd name="T49" fmla="*/ 1 h 166"/>
                    <a:gd name="T50" fmla="*/ 0 w 126"/>
                    <a:gd name="T51" fmla="*/ 1 h 166"/>
                    <a:gd name="T52" fmla="*/ 0 w 126"/>
                    <a:gd name="T53" fmla="*/ 0 h 166"/>
                    <a:gd name="T54" fmla="*/ 0 w 126"/>
                    <a:gd name="T55" fmla="*/ 0 h 166"/>
                    <a:gd name="T56" fmla="*/ 0 w 126"/>
                    <a:gd name="T57" fmla="*/ 0 h 166"/>
                    <a:gd name="T58" fmla="*/ 0 w 126"/>
                    <a:gd name="T59" fmla="*/ 0 h 166"/>
                    <a:gd name="T60" fmla="*/ 0 w 126"/>
                    <a:gd name="T61" fmla="*/ 0 h 166"/>
                    <a:gd name="T62" fmla="*/ 0 w 126"/>
                    <a:gd name="T63" fmla="*/ 0 h 166"/>
                    <a:gd name="T64" fmla="*/ 0 w 126"/>
                    <a:gd name="T65" fmla="*/ 0 h 166"/>
                    <a:gd name="T66" fmla="*/ 0 w 126"/>
                    <a:gd name="T67" fmla="*/ 0 h 166"/>
                    <a:gd name="T68" fmla="*/ 0 w 126"/>
                    <a:gd name="T69" fmla="*/ 0 h 166"/>
                    <a:gd name="T70" fmla="*/ 0 w 126"/>
                    <a:gd name="T71" fmla="*/ 0 h 166"/>
                    <a:gd name="T72" fmla="*/ 0 w 126"/>
                    <a:gd name="T73" fmla="*/ 0 h 166"/>
                    <a:gd name="T74" fmla="*/ 0 w 126"/>
                    <a:gd name="T75" fmla="*/ 0 h 166"/>
                    <a:gd name="T76" fmla="*/ 0 w 126"/>
                    <a:gd name="T77" fmla="*/ 0 h 166"/>
                    <a:gd name="T78" fmla="*/ 0 w 126"/>
                    <a:gd name="T79" fmla="*/ 0 h 166"/>
                    <a:gd name="T80" fmla="*/ 0 w 126"/>
                    <a:gd name="T81" fmla="*/ 0 h 16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126"/>
                    <a:gd name="T124" fmla="*/ 0 h 166"/>
                    <a:gd name="T125" fmla="*/ 126 w 126"/>
                    <a:gd name="T126" fmla="*/ 166 h 166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126" h="166">
                      <a:moveTo>
                        <a:pt x="113" y="0"/>
                      </a:moveTo>
                      <a:lnTo>
                        <a:pt x="117" y="5"/>
                      </a:lnTo>
                      <a:lnTo>
                        <a:pt x="121" y="10"/>
                      </a:lnTo>
                      <a:lnTo>
                        <a:pt x="124" y="13"/>
                      </a:lnTo>
                      <a:lnTo>
                        <a:pt x="125" y="17"/>
                      </a:lnTo>
                      <a:lnTo>
                        <a:pt x="126" y="20"/>
                      </a:lnTo>
                      <a:lnTo>
                        <a:pt x="126" y="25"/>
                      </a:lnTo>
                      <a:lnTo>
                        <a:pt x="123" y="32"/>
                      </a:lnTo>
                      <a:lnTo>
                        <a:pt x="118" y="41"/>
                      </a:lnTo>
                      <a:lnTo>
                        <a:pt x="113" y="50"/>
                      </a:lnTo>
                      <a:lnTo>
                        <a:pt x="106" y="61"/>
                      </a:lnTo>
                      <a:lnTo>
                        <a:pt x="91" y="83"/>
                      </a:lnTo>
                      <a:lnTo>
                        <a:pt x="72" y="104"/>
                      </a:lnTo>
                      <a:lnTo>
                        <a:pt x="53" y="126"/>
                      </a:lnTo>
                      <a:lnTo>
                        <a:pt x="34" y="144"/>
                      </a:lnTo>
                      <a:lnTo>
                        <a:pt x="25" y="152"/>
                      </a:lnTo>
                      <a:lnTo>
                        <a:pt x="16" y="158"/>
                      </a:lnTo>
                      <a:lnTo>
                        <a:pt x="7" y="163"/>
                      </a:lnTo>
                      <a:lnTo>
                        <a:pt x="0" y="166"/>
                      </a:lnTo>
                      <a:lnTo>
                        <a:pt x="0" y="160"/>
                      </a:lnTo>
                      <a:lnTo>
                        <a:pt x="0" y="153"/>
                      </a:lnTo>
                      <a:lnTo>
                        <a:pt x="0" y="145"/>
                      </a:lnTo>
                      <a:lnTo>
                        <a:pt x="0" y="136"/>
                      </a:lnTo>
                      <a:lnTo>
                        <a:pt x="3" y="131"/>
                      </a:lnTo>
                      <a:lnTo>
                        <a:pt x="6" y="128"/>
                      </a:lnTo>
                      <a:lnTo>
                        <a:pt x="12" y="124"/>
                      </a:lnTo>
                      <a:lnTo>
                        <a:pt x="16" y="121"/>
                      </a:lnTo>
                      <a:lnTo>
                        <a:pt x="26" y="116"/>
                      </a:lnTo>
                      <a:lnTo>
                        <a:pt x="33" y="110"/>
                      </a:lnTo>
                      <a:lnTo>
                        <a:pt x="40" y="104"/>
                      </a:lnTo>
                      <a:lnTo>
                        <a:pt x="48" y="96"/>
                      </a:lnTo>
                      <a:lnTo>
                        <a:pt x="53" y="89"/>
                      </a:lnTo>
                      <a:lnTo>
                        <a:pt x="58" y="82"/>
                      </a:lnTo>
                      <a:lnTo>
                        <a:pt x="67" y="66"/>
                      </a:lnTo>
                      <a:lnTo>
                        <a:pt x="72" y="50"/>
                      </a:lnTo>
                      <a:lnTo>
                        <a:pt x="79" y="36"/>
                      </a:lnTo>
                      <a:lnTo>
                        <a:pt x="87" y="23"/>
                      </a:lnTo>
                      <a:lnTo>
                        <a:pt x="92" y="16"/>
                      </a:lnTo>
                      <a:lnTo>
                        <a:pt x="97" y="11"/>
                      </a:lnTo>
                      <a:lnTo>
                        <a:pt x="104" y="5"/>
                      </a:lnTo>
                      <a:lnTo>
                        <a:pt x="113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69" name="Freeform 291">
                  <a:extLst>
                    <a:ext uri="{FF2B5EF4-FFF2-40B4-BE49-F238E27FC236}">
                      <a16:creationId xmlns="" xmlns:a16="http://schemas.microsoft.com/office/drawing/2014/main" id="{E51D0F4B-A0FA-491D-B182-D303CECC46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54" y="2465"/>
                  <a:ext cx="85" cy="86"/>
                </a:xfrm>
                <a:custGeom>
                  <a:avLst/>
                  <a:gdLst>
                    <a:gd name="T0" fmla="*/ 0 w 259"/>
                    <a:gd name="T1" fmla="*/ 1 h 259"/>
                    <a:gd name="T2" fmla="*/ 0 w 259"/>
                    <a:gd name="T3" fmla="*/ 1 h 259"/>
                    <a:gd name="T4" fmla="*/ 0 w 259"/>
                    <a:gd name="T5" fmla="*/ 1 h 259"/>
                    <a:gd name="T6" fmla="*/ 0 w 259"/>
                    <a:gd name="T7" fmla="*/ 1 h 259"/>
                    <a:gd name="T8" fmla="*/ 0 w 259"/>
                    <a:gd name="T9" fmla="*/ 1 h 259"/>
                    <a:gd name="T10" fmla="*/ 0 w 259"/>
                    <a:gd name="T11" fmla="*/ 0 h 259"/>
                    <a:gd name="T12" fmla="*/ 0 w 259"/>
                    <a:gd name="T13" fmla="*/ 0 h 259"/>
                    <a:gd name="T14" fmla="*/ 0 w 259"/>
                    <a:gd name="T15" fmla="*/ 0 h 259"/>
                    <a:gd name="T16" fmla="*/ 0 w 259"/>
                    <a:gd name="T17" fmla="*/ 0 h 259"/>
                    <a:gd name="T18" fmla="*/ 0 w 259"/>
                    <a:gd name="T19" fmla="*/ 0 h 259"/>
                    <a:gd name="T20" fmla="*/ 0 w 259"/>
                    <a:gd name="T21" fmla="*/ 0 h 259"/>
                    <a:gd name="T22" fmla="*/ 0 w 259"/>
                    <a:gd name="T23" fmla="*/ 0 h 259"/>
                    <a:gd name="T24" fmla="*/ 0 w 259"/>
                    <a:gd name="T25" fmla="*/ 0 h 259"/>
                    <a:gd name="T26" fmla="*/ 0 w 259"/>
                    <a:gd name="T27" fmla="*/ 0 h 259"/>
                    <a:gd name="T28" fmla="*/ 1 w 259"/>
                    <a:gd name="T29" fmla="*/ 0 h 259"/>
                    <a:gd name="T30" fmla="*/ 1 w 259"/>
                    <a:gd name="T31" fmla="*/ 0 h 259"/>
                    <a:gd name="T32" fmla="*/ 1 w 259"/>
                    <a:gd name="T33" fmla="*/ 0 h 259"/>
                    <a:gd name="T34" fmla="*/ 1 w 259"/>
                    <a:gd name="T35" fmla="*/ 0 h 259"/>
                    <a:gd name="T36" fmla="*/ 1 w 259"/>
                    <a:gd name="T37" fmla="*/ 0 h 259"/>
                    <a:gd name="T38" fmla="*/ 1 w 259"/>
                    <a:gd name="T39" fmla="*/ 0 h 259"/>
                    <a:gd name="T40" fmla="*/ 1 w 259"/>
                    <a:gd name="T41" fmla="*/ 0 h 259"/>
                    <a:gd name="T42" fmla="*/ 1 w 259"/>
                    <a:gd name="T43" fmla="*/ 0 h 259"/>
                    <a:gd name="T44" fmla="*/ 1 w 259"/>
                    <a:gd name="T45" fmla="*/ 0 h 259"/>
                    <a:gd name="T46" fmla="*/ 1 w 259"/>
                    <a:gd name="T47" fmla="*/ 0 h 259"/>
                    <a:gd name="T48" fmla="*/ 1 w 259"/>
                    <a:gd name="T49" fmla="*/ 0 h 259"/>
                    <a:gd name="T50" fmla="*/ 1 w 259"/>
                    <a:gd name="T51" fmla="*/ 0 h 259"/>
                    <a:gd name="T52" fmla="*/ 1 w 259"/>
                    <a:gd name="T53" fmla="*/ 0 h 259"/>
                    <a:gd name="T54" fmla="*/ 1 w 259"/>
                    <a:gd name="T55" fmla="*/ 0 h 259"/>
                    <a:gd name="T56" fmla="*/ 1 w 259"/>
                    <a:gd name="T57" fmla="*/ 0 h 259"/>
                    <a:gd name="T58" fmla="*/ 1 w 259"/>
                    <a:gd name="T59" fmla="*/ 0 h 259"/>
                    <a:gd name="T60" fmla="*/ 1 w 259"/>
                    <a:gd name="T61" fmla="*/ 1 h 259"/>
                    <a:gd name="T62" fmla="*/ 1 w 259"/>
                    <a:gd name="T63" fmla="*/ 1 h 259"/>
                    <a:gd name="T64" fmla="*/ 1 w 259"/>
                    <a:gd name="T65" fmla="*/ 1 h 259"/>
                    <a:gd name="T66" fmla="*/ 1 w 259"/>
                    <a:gd name="T67" fmla="*/ 1 h 259"/>
                    <a:gd name="T68" fmla="*/ 1 w 259"/>
                    <a:gd name="T69" fmla="*/ 1 h 259"/>
                    <a:gd name="T70" fmla="*/ 1 w 259"/>
                    <a:gd name="T71" fmla="*/ 1 h 259"/>
                    <a:gd name="T72" fmla="*/ 1 w 259"/>
                    <a:gd name="T73" fmla="*/ 1 h 259"/>
                    <a:gd name="T74" fmla="*/ 1 w 259"/>
                    <a:gd name="T75" fmla="*/ 1 h 259"/>
                    <a:gd name="T76" fmla="*/ 1 w 259"/>
                    <a:gd name="T77" fmla="*/ 1 h 259"/>
                    <a:gd name="T78" fmla="*/ 1 w 259"/>
                    <a:gd name="T79" fmla="*/ 1 h 259"/>
                    <a:gd name="T80" fmla="*/ 1 w 259"/>
                    <a:gd name="T81" fmla="*/ 1 h 259"/>
                    <a:gd name="T82" fmla="*/ 0 w 259"/>
                    <a:gd name="T83" fmla="*/ 1 h 259"/>
                    <a:gd name="T84" fmla="*/ 0 w 259"/>
                    <a:gd name="T85" fmla="*/ 1 h 259"/>
                    <a:gd name="T86" fmla="*/ 0 w 259"/>
                    <a:gd name="T87" fmla="*/ 1 h 259"/>
                    <a:gd name="T88" fmla="*/ 0 w 259"/>
                    <a:gd name="T89" fmla="*/ 1 h 259"/>
                    <a:gd name="T90" fmla="*/ 0 w 259"/>
                    <a:gd name="T91" fmla="*/ 1 h 259"/>
                    <a:gd name="T92" fmla="*/ 0 w 259"/>
                    <a:gd name="T93" fmla="*/ 1 h 259"/>
                    <a:gd name="T94" fmla="*/ 0 w 259"/>
                    <a:gd name="T95" fmla="*/ 1 h 259"/>
                    <a:gd name="T96" fmla="*/ 0 w 259"/>
                    <a:gd name="T97" fmla="*/ 1 h 259"/>
                    <a:gd name="T98" fmla="*/ 0 w 259"/>
                    <a:gd name="T99" fmla="*/ 1 h 259"/>
                    <a:gd name="T100" fmla="*/ 0 w 259"/>
                    <a:gd name="T101" fmla="*/ 1 h 259"/>
                    <a:gd name="T102" fmla="*/ 0 w 259"/>
                    <a:gd name="T103" fmla="*/ 1 h 259"/>
                    <a:gd name="T104" fmla="*/ 0 w 259"/>
                    <a:gd name="T105" fmla="*/ 1 h 259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259"/>
                    <a:gd name="T160" fmla="*/ 0 h 259"/>
                    <a:gd name="T161" fmla="*/ 259 w 259"/>
                    <a:gd name="T162" fmla="*/ 259 h 259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259" h="259">
                      <a:moveTo>
                        <a:pt x="13" y="192"/>
                      </a:moveTo>
                      <a:lnTo>
                        <a:pt x="8" y="182"/>
                      </a:lnTo>
                      <a:lnTo>
                        <a:pt x="4" y="173"/>
                      </a:lnTo>
                      <a:lnTo>
                        <a:pt x="1" y="163"/>
                      </a:lnTo>
                      <a:lnTo>
                        <a:pt x="0" y="154"/>
                      </a:lnTo>
                      <a:lnTo>
                        <a:pt x="0" y="142"/>
                      </a:lnTo>
                      <a:lnTo>
                        <a:pt x="0" y="130"/>
                      </a:lnTo>
                      <a:lnTo>
                        <a:pt x="6" y="130"/>
                      </a:lnTo>
                      <a:lnTo>
                        <a:pt x="13" y="128"/>
                      </a:lnTo>
                      <a:lnTo>
                        <a:pt x="19" y="126"/>
                      </a:lnTo>
                      <a:lnTo>
                        <a:pt x="24" y="123"/>
                      </a:lnTo>
                      <a:lnTo>
                        <a:pt x="34" y="117"/>
                      </a:lnTo>
                      <a:lnTo>
                        <a:pt x="41" y="108"/>
                      </a:lnTo>
                      <a:lnTo>
                        <a:pt x="48" y="100"/>
                      </a:lnTo>
                      <a:lnTo>
                        <a:pt x="56" y="93"/>
                      </a:lnTo>
                      <a:lnTo>
                        <a:pt x="60" y="91"/>
                      </a:lnTo>
                      <a:lnTo>
                        <a:pt x="63" y="89"/>
                      </a:lnTo>
                      <a:lnTo>
                        <a:pt x="68" y="87"/>
                      </a:lnTo>
                      <a:lnTo>
                        <a:pt x="73" y="87"/>
                      </a:lnTo>
                      <a:lnTo>
                        <a:pt x="83" y="87"/>
                      </a:lnTo>
                      <a:lnTo>
                        <a:pt x="93" y="87"/>
                      </a:lnTo>
                      <a:lnTo>
                        <a:pt x="94" y="93"/>
                      </a:lnTo>
                      <a:lnTo>
                        <a:pt x="97" y="101"/>
                      </a:lnTo>
                      <a:lnTo>
                        <a:pt x="101" y="105"/>
                      </a:lnTo>
                      <a:lnTo>
                        <a:pt x="104" y="108"/>
                      </a:lnTo>
                      <a:lnTo>
                        <a:pt x="108" y="110"/>
                      </a:lnTo>
                      <a:lnTo>
                        <a:pt x="113" y="111"/>
                      </a:lnTo>
                      <a:lnTo>
                        <a:pt x="120" y="110"/>
                      </a:lnTo>
                      <a:lnTo>
                        <a:pt x="127" y="108"/>
                      </a:lnTo>
                      <a:lnTo>
                        <a:pt x="135" y="104"/>
                      </a:lnTo>
                      <a:lnTo>
                        <a:pt x="141" y="99"/>
                      </a:lnTo>
                      <a:lnTo>
                        <a:pt x="148" y="93"/>
                      </a:lnTo>
                      <a:lnTo>
                        <a:pt x="153" y="86"/>
                      </a:lnTo>
                      <a:lnTo>
                        <a:pt x="160" y="78"/>
                      </a:lnTo>
                      <a:lnTo>
                        <a:pt x="165" y="70"/>
                      </a:lnTo>
                      <a:lnTo>
                        <a:pt x="174" y="51"/>
                      </a:lnTo>
                      <a:lnTo>
                        <a:pt x="183" y="33"/>
                      </a:lnTo>
                      <a:lnTo>
                        <a:pt x="188" y="16"/>
                      </a:lnTo>
                      <a:lnTo>
                        <a:pt x="193" y="0"/>
                      </a:lnTo>
                      <a:lnTo>
                        <a:pt x="195" y="4"/>
                      </a:lnTo>
                      <a:lnTo>
                        <a:pt x="198" y="9"/>
                      </a:lnTo>
                      <a:lnTo>
                        <a:pt x="202" y="12"/>
                      </a:lnTo>
                      <a:lnTo>
                        <a:pt x="206" y="15"/>
                      </a:lnTo>
                      <a:lnTo>
                        <a:pt x="213" y="18"/>
                      </a:lnTo>
                      <a:lnTo>
                        <a:pt x="219" y="19"/>
                      </a:lnTo>
                      <a:lnTo>
                        <a:pt x="219" y="32"/>
                      </a:lnTo>
                      <a:lnTo>
                        <a:pt x="219" y="44"/>
                      </a:lnTo>
                      <a:lnTo>
                        <a:pt x="219" y="52"/>
                      </a:lnTo>
                      <a:lnTo>
                        <a:pt x="219" y="55"/>
                      </a:lnTo>
                      <a:lnTo>
                        <a:pt x="227" y="61"/>
                      </a:lnTo>
                      <a:lnTo>
                        <a:pt x="231" y="66"/>
                      </a:lnTo>
                      <a:lnTo>
                        <a:pt x="234" y="70"/>
                      </a:lnTo>
                      <a:lnTo>
                        <a:pt x="239" y="75"/>
                      </a:lnTo>
                      <a:lnTo>
                        <a:pt x="234" y="88"/>
                      </a:lnTo>
                      <a:lnTo>
                        <a:pt x="233" y="100"/>
                      </a:lnTo>
                      <a:lnTo>
                        <a:pt x="234" y="104"/>
                      </a:lnTo>
                      <a:lnTo>
                        <a:pt x="234" y="108"/>
                      </a:lnTo>
                      <a:lnTo>
                        <a:pt x="237" y="110"/>
                      </a:lnTo>
                      <a:lnTo>
                        <a:pt x="239" y="111"/>
                      </a:lnTo>
                      <a:lnTo>
                        <a:pt x="243" y="121"/>
                      </a:lnTo>
                      <a:lnTo>
                        <a:pt x="247" y="129"/>
                      </a:lnTo>
                      <a:lnTo>
                        <a:pt x="249" y="137"/>
                      </a:lnTo>
                      <a:lnTo>
                        <a:pt x="251" y="145"/>
                      </a:lnTo>
                      <a:lnTo>
                        <a:pt x="254" y="161"/>
                      </a:lnTo>
                      <a:lnTo>
                        <a:pt x="259" y="179"/>
                      </a:lnTo>
                      <a:lnTo>
                        <a:pt x="245" y="235"/>
                      </a:lnTo>
                      <a:lnTo>
                        <a:pt x="241" y="230"/>
                      </a:lnTo>
                      <a:lnTo>
                        <a:pt x="239" y="222"/>
                      </a:lnTo>
                      <a:lnTo>
                        <a:pt x="238" y="215"/>
                      </a:lnTo>
                      <a:lnTo>
                        <a:pt x="237" y="208"/>
                      </a:lnTo>
                      <a:lnTo>
                        <a:pt x="238" y="196"/>
                      </a:lnTo>
                      <a:lnTo>
                        <a:pt x="239" y="192"/>
                      </a:lnTo>
                      <a:lnTo>
                        <a:pt x="231" y="191"/>
                      </a:lnTo>
                      <a:lnTo>
                        <a:pt x="222" y="188"/>
                      </a:lnTo>
                      <a:lnTo>
                        <a:pt x="213" y="184"/>
                      </a:lnTo>
                      <a:lnTo>
                        <a:pt x="206" y="179"/>
                      </a:lnTo>
                      <a:lnTo>
                        <a:pt x="199" y="189"/>
                      </a:lnTo>
                      <a:lnTo>
                        <a:pt x="194" y="199"/>
                      </a:lnTo>
                      <a:lnTo>
                        <a:pt x="191" y="209"/>
                      </a:lnTo>
                      <a:lnTo>
                        <a:pt x="188" y="219"/>
                      </a:lnTo>
                      <a:lnTo>
                        <a:pt x="186" y="240"/>
                      </a:lnTo>
                      <a:lnTo>
                        <a:pt x="185" y="259"/>
                      </a:lnTo>
                      <a:lnTo>
                        <a:pt x="132" y="259"/>
                      </a:lnTo>
                      <a:lnTo>
                        <a:pt x="124" y="242"/>
                      </a:lnTo>
                      <a:lnTo>
                        <a:pt x="115" y="226"/>
                      </a:lnTo>
                      <a:lnTo>
                        <a:pt x="110" y="220"/>
                      </a:lnTo>
                      <a:lnTo>
                        <a:pt x="105" y="214"/>
                      </a:lnTo>
                      <a:lnTo>
                        <a:pt x="99" y="209"/>
                      </a:lnTo>
                      <a:lnTo>
                        <a:pt x="93" y="204"/>
                      </a:lnTo>
                      <a:lnTo>
                        <a:pt x="97" y="196"/>
                      </a:lnTo>
                      <a:lnTo>
                        <a:pt x="102" y="190"/>
                      </a:lnTo>
                      <a:lnTo>
                        <a:pt x="105" y="186"/>
                      </a:lnTo>
                      <a:lnTo>
                        <a:pt x="108" y="183"/>
                      </a:lnTo>
                      <a:lnTo>
                        <a:pt x="112" y="180"/>
                      </a:lnTo>
                      <a:lnTo>
                        <a:pt x="114" y="177"/>
                      </a:lnTo>
                      <a:lnTo>
                        <a:pt x="117" y="173"/>
                      </a:lnTo>
                      <a:lnTo>
                        <a:pt x="119" y="166"/>
                      </a:lnTo>
                      <a:lnTo>
                        <a:pt x="93" y="154"/>
                      </a:lnTo>
                      <a:lnTo>
                        <a:pt x="32" y="154"/>
                      </a:lnTo>
                      <a:lnTo>
                        <a:pt x="28" y="155"/>
                      </a:lnTo>
                      <a:lnTo>
                        <a:pt x="24" y="158"/>
                      </a:lnTo>
                      <a:lnTo>
                        <a:pt x="20" y="163"/>
                      </a:lnTo>
                      <a:lnTo>
                        <a:pt x="18" y="168"/>
                      </a:lnTo>
                      <a:lnTo>
                        <a:pt x="16" y="175"/>
                      </a:lnTo>
                      <a:lnTo>
                        <a:pt x="14" y="181"/>
                      </a:lnTo>
                      <a:lnTo>
                        <a:pt x="13" y="187"/>
                      </a:lnTo>
                      <a:lnTo>
                        <a:pt x="13" y="192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70" name="Freeform 292">
                  <a:extLst>
                    <a:ext uri="{FF2B5EF4-FFF2-40B4-BE49-F238E27FC236}">
                      <a16:creationId xmlns="" xmlns:a16="http://schemas.microsoft.com/office/drawing/2014/main" id="{A855C3D8-FCA9-4B4D-B54A-8826D6A069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04" y="2395"/>
                  <a:ext cx="23" cy="31"/>
                </a:xfrm>
                <a:custGeom>
                  <a:avLst/>
                  <a:gdLst>
                    <a:gd name="T0" fmla="*/ 0 w 72"/>
                    <a:gd name="T1" fmla="*/ 0 h 92"/>
                    <a:gd name="T2" fmla="*/ 0 w 72"/>
                    <a:gd name="T3" fmla="*/ 0 h 92"/>
                    <a:gd name="T4" fmla="*/ 0 w 72"/>
                    <a:gd name="T5" fmla="*/ 0 h 92"/>
                    <a:gd name="T6" fmla="*/ 0 w 72"/>
                    <a:gd name="T7" fmla="*/ 0 h 92"/>
                    <a:gd name="T8" fmla="*/ 0 w 72"/>
                    <a:gd name="T9" fmla="*/ 0 h 92"/>
                    <a:gd name="T10" fmla="*/ 0 w 72"/>
                    <a:gd name="T11" fmla="*/ 0 h 92"/>
                    <a:gd name="T12" fmla="*/ 0 w 72"/>
                    <a:gd name="T13" fmla="*/ 0 h 92"/>
                    <a:gd name="T14" fmla="*/ 0 w 72"/>
                    <a:gd name="T15" fmla="*/ 0 h 92"/>
                    <a:gd name="T16" fmla="*/ 0 w 72"/>
                    <a:gd name="T17" fmla="*/ 0 h 92"/>
                    <a:gd name="T18" fmla="*/ 0 w 72"/>
                    <a:gd name="T19" fmla="*/ 0 h 92"/>
                    <a:gd name="T20" fmla="*/ 0 w 72"/>
                    <a:gd name="T21" fmla="*/ 0 h 92"/>
                    <a:gd name="T22" fmla="*/ 0 w 72"/>
                    <a:gd name="T23" fmla="*/ 0 h 92"/>
                    <a:gd name="T24" fmla="*/ 0 w 72"/>
                    <a:gd name="T25" fmla="*/ 0 h 92"/>
                    <a:gd name="T26" fmla="*/ 0 w 72"/>
                    <a:gd name="T27" fmla="*/ 0 h 92"/>
                    <a:gd name="T28" fmla="*/ 0 w 72"/>
                    <a:gd name="T29" fmla="*/ 0 h 92"/>
                    <a:gd name="T30" fmla="*/ 0 w 72"/>
                    <a:gd name="T31" fmla="*/ 0 h 92"/>
                    <a:gd name="T32" fmla="*/ 0 w 72"/>
                    <a:gd name="T33" fmla="*/ 0 h 92"/>
                    <a:gd name="T34" fmla="*/ 0 w 72"/>
                    <a:gd name="T35" fmla="*/ 0 h 92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72"/>
                    <a:gd name="T55" fmla="*/ 0 h 92"/>
                    <a:gd name="T56" fmla="*/ 72 w 72"/>
                    <a:gd name="T57" fmla="*/ 92 h 92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72" h="92">
                      <a:moveTo>
                        <a:pt x="72" y="43"/>
                      </a:moveTo>
                      <a:lnTo>
                        <a:pt x="72" y="92"/>
                      </a:lnTo>
                      <a:lnTo>
                        <a:pt x="65" y="86"/>
                      </a:lnTo>
                      <a:lnTo>
                        <a:pt x="58" y="81"/>
                      </a:lnTo>
                      <a:lnTo>
                        <a:pt x="51" y="75"/>
                      </a:lnTo>
                      <a:lnTo>
                        <a:pt x="46" y="69"/>
                      </a:lnTo>
                      <a:lnTo>
                        <a:pt x="38" y="58"/>
                      </a:lnTo>
                      <a:lnTo>
                        <a:pt x="32" y="46"/>
                      </a:lnTo>
                      <a:lnTo>
                        <a:pt x="25" y="34"/>
                      </a:lnTo>
                      <a:lnTo>
                        <a:pt x="19" y="23"/>
                      </a:lnTo>
                      <a:lnTo>
                        <a:pt x="11" y="12"/>
                      </a:lnTo>
                      <a:lnTo>
                        <a:pt x="0" y="0"/>
                      </a:lnTo>
                      <a:lnTo>
                        <a:pt x="25" y="12"/>
                      </a:lnTo>
                      <a:lnTo>
                        <a:pt x="44" y="21"/>
                      </a:lnTo>
                      <a:lnTo>
                        <a:pt x="51" y="26"/>
                      </a:lnTo>
                      <a:lnTo>
                        <a:pt x="58" y="31"/>
                      </a:lnTo>
                      <a:lnTo>
                        <a:pt x="66" y="36"/>
                      </a:lnTo>
                      <a:lnTo>
                        <a:pt x="72" y="43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71" name="Freeform 293">
                  <a:extLst>
                    <a:ext uri="{FF2B5EF4-FFF2-40B4-BE49-F238E27FC236}">
                      <a16:creationId xmlns="" xmlns:a16="http://schemas.microsoft.com/office/drawing/2014/main" id="{79D127A2-8D6B-4E75-A3D2-D50E1713F5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43" y="2436"/>
                  <a:ext cx="16" cy="21"/>
                </a:xfrm>
                <a:custGeom>
                  <a:avLst/>
                  <a:gdLst>
                    <a:gd name="T0" fmla="*/ 0 w 46"/>
                    <a:gd name="T1" fmla="*/ 0 h 62"/>
                    <a:gd name="T2" fmla="*/ 0 w 46"/>
                    <a:gd name="T3" fmla="*/ 0 h 62"/>
                    <a:gd name="T4" fmla="*/ 0 w 46"/>
                    <a:gd name="T5" fmla="*/ 0 h 62"/>
                    <a:gd name="T6" fmla="*/ 0 w 46"/>
                    <a:gd name="T7" fmla="*/ 0 h 62"/>
                    <a:gd name="T8" fmla="*/ 0 w 46"/>
                    <a:gd name="T9" fmla="*/ 0 h 62"/>
                    <a:gd name="T10" fmla="*/ 0 w 46"/>
                    <a:gd name="T11" fmla="*/ 0 h 62"/>
                    <a:gd name="T12" fmla="*/ 0 w 46"/>
                    <a:gd name="T13" fmla="*/ 0 h 62"/>
                    <a:gd name="T14" fmla="*/ 0 w 46"/>
                    <a:gd name="T15" fmla="*/ 0 h 62"/>
                    <a:gd name="T16" fmla="*/ 0 w 46"/>
                    <a:gd name="T17" fmla="*/ 0 h 62"/>
                    <a:gd name="T18" fmla="*/ 0 w 46"/>
                    <a:gd name="T19" fmla="*/ 0 h 62"/>
                    <a:gd name="T20" fmla="*/ 0 w 46"/>
                    <a:gd name="T21" fmla="*/ 0 h 62"/>
                    <a:gd name="T22" fmla="*/ 0 w 46"/>
                    <a:gd name="T23" fmla="*/ 0 h 62"/>
                    <a:gd name="T24" fmla="*/ 0 w 46"/>
                    <a:gd name="T25" fmla="*/ 0 h 62"/>
                    <a:gd name="T26" fmla="*/ 0 w 46"/>
                    <a:gd name="T27" fmla="*/ 0 h 62"/>
                    <a:gd name="T28" fmla="*/ 0 w 46"/>
                    <a:gd name="T29" fmla="*/ 0 h 62"/>
                    <a:gd name="T30" fmla="*/ 0 w 46"/>
                    <a:gd name="T31" fmla="*/ 0 h 62"/>
                    <a:gd name="T32" fmla="*/ 0 w 46"/>
                    <a:gd name="T33" fmla="*/ 0 h 62"/>
                    <a:gd name="T34" fmla="*/ 0 w 46"/>
                    <a:gd name="T35" fmla="*/ 0 h 62"/>
                    <a:gd name="T36" fmla="*/ 0 w 46"/>
                    <a:gd name="T37" fmla="*/ 0 h 62"/>
                    <a:gd name="T38" fmla="*/ 0 w 46"/>
                    <a:gd name="T39" fmla="*/ 0 h 62"/>
                    <a:gd name="T40" fmla="*/ 0 w 46"/>
                    <a:gd name="T41" fmla="*/ 0 h 62"/>
                    <a:gd name="T42" fmla="*/ 0 w 46"/>
                    <a:gd name="T43" fmla="*/ 0 h 62"/>
                    <a:gd name="T44" fmla="*/ 0 w 46"/>
                    <a:gd name="T45" fmla="*/ 0 h 62"/>
                    <a:gd name="T46" fmla="*/ 0 w 46"/>
                    <a:gd name="T47" fmla="*/ 0 h 62"/>
                    <a:gd name="T48" fmla="*/ 0 w 46"/>
                    <a:gd name="T49" fmla="*/ 0 h 62"/>
                    <a:gd name="T50" fmla="*/ 0 w 46"/>
                    <a:gd name="T51" fmla="*/ 0 h 62"/>
                    <a:gd name="T52" fmla="*/ 0 w 46"/>
                    <a:gd name="T53" fmla="*/ 0 h 62"/>
                    <a:gd name="T54" fmla="*/ 0 w 46"/>
                    <a:gd name="T55" fmla="*/ 0 h 62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46"/>
                    <a:gd name="T85" fmla="*/ 0 h 62"/>
                    <a:gd name="T86" fmla="*/ 46 w 46"/>
                    <a:gd name="T87" fmla="*/ 62 h 62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46" h="62">
                      <a:moveTo>
                        <a:pt x="6" y="6"/>
                      </a:moveTo>
                      <a:lnTo>
                        <a:pt x="19" y="5"/>
                      </a:lnTo>
                      <a:lnTo>
                        <a:pt x="31" y="3"/>
                      </a:lnTo>
                      <a:lnTo>
                        <a:pt x="39" y="1"/>
                      </a:lnTo>
                      <a:lnTo>
                        <a:pt x="46" y="0"/>
                      </a:lnTo>
                      <a:lnTo>
                        <a:pt x="46" y="9"/>
                      </a:lnTo>
                      <a:lnTo>
                        <a:pt x="46" y="18"/>
                      </a:lnTo>
                      <a:lnTo>
                        <a:pt x="46" y="27"/>
                      </a:lnTo>
                      <a:lnTo>
                        <a:pt x="46" y="38"/>
                      </a:lnTo>
                      <a:lnTo>
                        <a:pt x="45" y="46"/>
                      </a:lnTo>
                      <a:lnTo>
                        <a:pt x="41" y="54"/>
                      </a:lnTo>
                      <a:lnTo>
                        <a:pt x="39" y="57"/>
                      </a:lnTo>
                      <a:lnTo>
                        <a:pt x="37" y="60"/>
                      </a:lnTo>
                      <a:lnTo>
                        <a:pt x="35" y="61"/>
                      </a:lnTo>
                      <a:lnTo>
                        <a:pt x="33" y="62"/>
                      </a:lnTo>
                      <a:lnTo>
                        <a:pt x="27" y="61"/>
                      </a:lnTo>
                      <a:lnTo>
                        <a:pt x="22" y="60"/>
                      </a:lnTo>
                      <a:lnTo>
                        <a:pt x="17" y="59"/>
                      </a:lnTo>
                      <a:lnTo>
                        <a:pt x="14" y="57"/>
                      </a:lnTo>
                      <a:lnTo>
                        <a:pt x="11" y="54"/>
                      </a:lnTo>
                      <a:lnTo>
                        <a:pt x="7" y="51"/>
                      </a:lnTo>
                      <a:lnTo>
                        <a:pt x="5" y="47"/>
                      </a:lnTo>
                      <a:lnTo>
                        <a:pt x="4" y="44"/>
                      </a:lnTo>
                      <a:lnTo>
                        <a:pt x="1" y="34"/>
                      </a:lnTo>
                      <a:lnTo>
                        <a:pt x="0" y="25"/>
                      </a:lnTo>
                      <a:lnTo>
                        <a:pt x="0" y="16"/>
                      </a:lnTo>
                      <a:lnTo>
                        <a:pt x="0" y="6"/>
                      </a:lnTo>
                      <a:lnTo>
                        <a:pt x="6" y="6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72" name="Freeform 294">
                  <a:extLst>
                    <a:ext uri="{FF2B5EF4-FFF2-40B4-BE49-F238E27FC236}">
                      <a16:creationId xmlns="" xmlns:a16="http://schemas.microsoft.com/office/drawing/2014/main" id="{A7236916-43AD-4C90-985F-D39EE94BE6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89" y="2295"/>
                  <a:ext cx="50" cy="98"/>
                </a:xfrm>
                <a:custGeom>
                  <a:avLst/>
                  <a:gdLst>
                    <a:gd name="T0" fmla="*/ 0 w 152"/>
                    <a:gd name="T1" fmla="*/ 0 h 296"/>
                    <a:gd name="T2" fmla="*/ 0 w 152"/>
                    <a:gd name="T3" fmla="*/ 0 h 296"/>
                    <a:gd name="T4" fmla="*/ 0 w 152"/>
                    <a:gd name="T5" fmla="*/ 0 h 296"/>
                    <a:gd name="T6" fmla="*/ 0 w 152"/>
                    <a:gd name="T7" fmla="*/ 0 h 296"/>
                    <a:gd name="T8" fmla="*/ 0 w 152"/>
                    <a:gd name="T9" fmla="*/ 0 h 296"/>
                    <a:gd name="T10" fmla="*/ 0 w 152"/>
                    <a:gd name="T11" fmla="*/ 0 h 296"/>
                    <a:gd name="T12" fmla="*/ 0 w 152"/>
                    <a:gd name="T13" fmla="*/ 0 h 296"/>
                    <a:gd name="T14" fmla="*/ 0 w 152"/>
                    <a:gd name="T15" fmla="*/ 0 h 296"/>
                    <a:gd name="T16" fmla="*/ 1 w 152"/>
                    <a:gd name="T17" fmla="*/ 0 h 296"/>
                    <a:gd name="T18" fmla="*/ 1 w 152"/>
                    <a:gd name="T19" fmla="*/ 0 h 296"/>
                    <a:gd name="T20" fmla="*/ 1 w 152"/>
                    <a:gd name="T21" fmla="*/ 0 h 296"/>
                    <a:gd name="T22" fmla="*/ 1 w 152"/>
                    <a:gd name="T23" fmla="*/ 0 h 296"/>
                    <a:gd name="T24" fmla="*/ 1 w 152"/>
                    <a:gd name="T25" fmla="*/ 0 h 296"/>
                    <a:gd name="T26" fmla="*/ 1 w 152"/>
                    <a:gd name="T27" fmla="*/ 1 h 296"/>
                    <a:gd name="T28" fmla="*/ 0 w 152"/>
                    <a:gd name="T29" fmla="*/ 1 h 296"/>
                    <a:gd name="T30" fmla="*/ 0 w 152"/>
                    <a:gd name="T31" fmla="*/ 1 h 296"/>
                    <a:gd name="T32" fmla="*/ 0 w 152"/>
                    <a:gd name="T33" fmla="*/ 1 h 296"/>
                    <a:gd name="T34" fmla="*/ 0 w 152"/>
                    <a:gd name="T35" fmla="*/ 1 h 296"/>
                    <a:gd name="T36" fmla="*/ 0 w 152"/>
                    <a:gd name="T37" fmla="*/ 1 h 296"/>
                    <a:gd name="T38" fmla="*/ 0 w 152"/>
                    <a:gd name="T39" fmla="*/ 1 h 296"/>
                    <a:gd name="T40" fmla="*/ 1 w 152"/>
                    <a:gd name="T41" fmla="*/ 1 h 296"/>
                    <a:gd name="T42" fmla="*/ 1 w 152"/>
                    <a:gd name="T43" fmla="*/ 1 h 296"/>
                    <a:gd name="T44" fmla="*/ 1 w 152"/>
                    <a:gd name="T45" fmla="*/ 1 h 296"/>
                    <a:gd name="T46" fmla="*/ 1 w 152"/>
                    <a:gd name="T47" fmla="*/ 1 h 296"/>
                    <a:gd name="T48" fmla="*/ 0 w 152"/>
                    <a:gd name="T49" fmla="*/ 1 h 296"/>
                    <a:gd name="T50" fmla="*/ 0 w 152"/>
                    <a:gd name="T51" fmla="*/ 1 h 296"/>
                    <a:gd name="T52" fmla="*/ 0 w 152"/>
                    <a:gd name="T53" fmla="*/ 1 h 296"/>
                    <a:gd name="T54" fmla="*/ 0 w 152"/>
                    <a:gd name="T55" fmla="*/ 1 h 296"/>
                    <a:gd name="T56" fmla="*/ 0 w 152"/>
                    <a:gd name="T57" fmla="*/ 1 h 296"/>
                    <a:gd name="T58" fmla="*/ 0 w 152"/>
                    <a:gd name="T59" fmla="*/ 1 h 296"/>
                    <a:gd name="T60" fmla="*/ 0 w 152"/>
                    <a:gd name="T61" fmla="*/ 1 h 296"/>
                    <a:gd name="T62" fmla="*/ 0 w 152"/>
                    <a:gd name="T63" fmla="*/ 1 h 296"/>
                    <a:gd name="T64" fmla="*/ 0 w 152"/>
                    <a:gd name="T65" fmla="*/ 1 h 296"/>
                    <a:gd name="T66" fmla="*/ 0 w 152"/>
                    <a:gd name="T67" fmla="*/ 1 h 296"/>
                    <a:gd name="T68" fmla="*/ 0 w 152"/>
                    <a:gd name="T69" fmla="*/ 1 h 296"/>
                    <a:gd name="T70" fmla="*/ 0 w 152"/>
                    <a:gd name="T71" fmla="*/ 1 h 296"/>
                    <a:gd name="T72" fmla="*/ 0 w 152"/>
                    <a:gd name="T73" fmla="*/ 1 h 296"/>
                    <a:gd name="T74" fmla="*/ 0 w 152"/>
                    <a:gd name="T75" fmla="*/ 1 h 296"/>
                    <a:gd name="T76" fmla="*/ 0 w 152"/>
                    <a:gd name="T77" fmla="*/ 1 h 296"/>
                    <a:gd name="T78" fmla="*/ 0 w 152"/>
                    <a:gd name="T79" fmla="*/ 1 h 296"/>
                    <a:gd name="T80" fmla="*/ 0 w 152"/>
                    <a:gd name="T81" fmla="*/ 0 h 296"/>
                    <a:gd name="T82" fmla="*/ 0 w 152"/>
                    <a:gd name="T83" fmla="*/ 0 h 296"/>
                    <a:gd name="T84" fmla="*/ 0 w 152"/>
                    <a:gd name="T85" fmla="*/ 0 h 296"/>
                    <a:gd name="T86" fmla="*/ 0 w 152"/>
                    <a:gd name="T87" fmla="*/ 0 h 29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152"/>
                    <a:gd name="T133" fmla="*/ 0 h 296"/>
                    <a:gd name="T134" fmla="*/ 152 w 152"/>
                    <a:gd name="T135" fmla="*/ 296 h 29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152" h="296">
                      <a:moveTo>
                        <a:pt x="26" y="0"/>
                      </a:moveTo>
                      <a:lnTo>
                        <a:pt x="59" y="0"/>
                      </a:lnTo>
                      <a:lnTo>
                        <a:pt x="62" y="4"/>
                      </a:lnTo>
                      <a:lnTo>
                        <a:pt x="66" y="9"/>
                      </a:lnTo>
                      <a:lnTo>
                        <a:pt x="71" y="13"/>
                      </a:lnTo>
                      <a:lnTo>
                        <a:pt x="77" y="17"/>
                      </a:lnTo>
                      <a:lnTo>
                        <a:pt x="82" y="21"/>
                      </a:lnTo>
                      <a:lnTo>
                        <a:pt x="88" y="23"/>
                      </a:lnTo>
                      <a:lnTo>
                        <a:pt x="93" y="24"/>
                      </a:lnTo>
                      <a:lnTo>
                        <a:pt x="99" y="25"/>
                      </a:lnTo>
                      <a:lnTo>
                        <a:pt x="104" y="24"/>
                      </a:lnTo>
                      <a:lnTo>
                        <a:pt x="108" y="21"/>
                      </a:lnTo>
                      <a:lnTo>
                        <a:pt x="114" y="17"/>
                      </a:lnTo>
                      <a:lnTo>
                        <a:pt x="118" y="12"/>
                      </a:lnTo>
                      <a:lnTo>
                        <a:pt x="119" y="23"/>
                      </a:lnTo>
                      <a:lnTo>
                        <a:pt x="122" y="35"/>
                      </a:lnTo>
                      <a:lnTo>
                        <a:pt x="126" y="49"/>
                      </a:lnTo>
                      <a:lnTo>
                        <a:pt x="130" y="62"/>
                      </a:lnTo>
                      <a:lnTo>
                        <a:pt x="136" y="76"/>
                      </a:lnTo>
                      <a:lnTo>
                        <a:pt x="141" y="86"/>
                      </a:lnTo>
                      <a:lnTo>
                        <a:pt x="144" y="91"/>
                      </a:lnTo>
                      <a:lnTo>
                        <a:pt x="147" y="94"/>
                      </a:lnTo>
                      <a:lnTo>
                        <a:pt x="149" y="97"/>
                      </a:lnTo>
                      <a:lnTo>
                        <a:pt x="152" y="99"/>
                      </a:lnTo>
                      <a:lnTo>
                        <a:pt x="148" y="110"/>
                      </a:lnTo>
                      <a:lnTo>
                        <a:pt x="143" y="120"/>
                      </a:lnTo>
                      <a:lnTo>
                        <a:pt x="137" y="131"/>
                      </a:lnTo>
                      <a:lnTo>
                        <a:pt x="129" y="140"/>
                      </a:lnTo>
                      <a:lnTo>
                        <a:pt x="123" y="149"/>
                      </a:lnTo>
                      <a:lnTo>
                        <a:pt x="117" y="157"/>
                      </a:lnTo>
                      <a:lnTo>
                        <a:pt x="114" y="165"/>
                      </a:lnTo>
                      <a:lnTo>
                        <a:pt x="112" y="172"/>
                      </a:lnTo>
                      <a:lnTo>
                        <a:pt x="113" y="187"/>
                      </a:lnTo>
                      <a:lnTo>
                        <a:pt x="115" y="197"/>
                      </a:lnTo>
                      <a:lnTo>
                        <a:pt x="115" y="201"/>
                      </a:lnTo>
                      <a:lnTo>
                        <a:pt x="115" y="205"/>
                      </a:lnTo>
                      <a:lnTo>
                        <a:pt x="114" y="210"/>
                      </a:lnTo>
                      <a:lnTo>
                        <a:pt x="112" y="216"/>
                      </a:lnTo>
                      <a:lnTo>
                        <a:pt x="118" y="216"/>
                      </a:lnTo>
                      <a:lnTo>
                        <a:pt x="126" y="216"/>
                      </a:lnTo>
                      <a:lnTo>
                        <a:pt x="136" y="216"/>
                      </a:lnTo>
                      <a:lnTo>
                        <a:pt x="146" y="216"/>
                      </a:lnTo>
                      <a:lnTo>
                        <a:pt x="139" y="235"/>
                      </a:lnTo>
                      <a:lnTo>
                        <a:pt x="136" y="252"/>
                      </a:lnTo>
                      <a:lnTo>
                        <a:pt x="135" y="259"/>
                      </a:lnTo>
                      <a:lnTo>
                        <a:pt x="136" y="267"/>
                      </a:lnTo>
                      <a:lnTo>
                        <a:pt x="139" y="275"/>
                      </a:lnTo>
                      <a:lnTo>
                        <a:pt x="146" y="283"/>
                      </a:lnTo>
                      <a:lnTo>
                        <a:pt x="136" y="288"/>
                      </a:lnTo>
                      <a:lnTo>
                        <a:pt x="125" y="291"/>
                      </a:lnTo>
                      <a:lnTo>
                        <a:pt x="115" y="295"/>
                      </a:lnTo>
                      <a:lnTo>
                        <a:pt x="105" y="296"/>
                      </a:lnTo>
                      <a:lnTo>
                        <a:pt x="94" y="296"/>
                      </a:lnTo>
                      <a:lnTo>
                        <a:pt x="85" y="294"/>
                      </a:lnTo>
                      <a:lnTo>
                        <a:pt x="79" y="291"/>
                      </a:lnTo>
                      <a:lnTo>
                        <a:pt x="73" y="288"/>
                      </a:lnTo>
                      <a:lnTo>
                        <a:pt x="70" y="284"/>
                      </a:lnTo>
                      <a:lnTo>
                        <a:pt x="67" y="280"/>
                      </a:lnTo>
                      <a:lnTo>
                        <a:pt x="66" y="276"/>
                      </a:lnTo>
                      <a:lnTo>
                        <a:pt x="66" y="271"/>
                      </a:lnTo>
                      <a:lnTo>
                        <a:pt x="76" y="262"/>
                      </a:lnTo>
                      <a:lnTo>
                        <a:pt x="85" y="253"/>
                      </a:lnTo>
                      <a:lnTo>
                        <a:pt x="77" y="251"/>
                      </a:lnTo>
                      <a:lnTo>
                        <a:pt x="69" y="249"/>
                      </a:lnTo>
                      <a:lnTo>
                        <a:pt x="60" y="246"/>
                      </a:lnTo>
                      <a:lnTo>
                        <a:pt x="52" y="242"/>
                      </a:lnTo>
                      <a:lnTo>
                        <a:pt x="45" y="236"/>
                      </a:lnTo>
                      <a:lnTo>
                        <a:pt x="38" y="231"/>
                      </a:lnTo>
                      <a:lnTo>
                        <a:pt x="32" y="226"/>
                      </a:lnTo>
                      <a:lnTo>
                        <a:pt x="25" y="219"/>
                      </a:lnTo>
                      <a:lnTo>
                        <a:pt x="20" y="213"/>
                      </a:lnTo>
                      <a:lnTo>
                        <a:pt x="14" y="205"/>
                      </a:lnTo>
                      <a:lnTo>
                        <a:pt x="10" y="198"/>
                      </a:lnTo>
                      <a:lnTo>
                        <a:pt x="6" y="190"/>
                      </a:lnTo>
                      <a:lnTo>
                        <a:pt x="3" y="180"/>
                      </a:lnTo>
                      <a:lnTo>
                        <a:pt x="1" y="172"/>
                      </a:lnTo>
                      <a:lnTo>
                        <a:pt x="0" y="163"/>
                      </a:lnTo>
                      <a:lnTo>
                        <a:pt x="0" y="154"/>
                      </a:lnTo>
                      <a:lnTo>
                        <a:pt x="0" y="142"/>
                      </a:lnTo>
                      <a:lnTo>
                        <a:pt x="0" y="130"/>
                      </a:lnTo>
                      <a:lnTo>
                        <a:pt x="26" y="130"/>
                      </a:lnTo>
                      <a:lnTo>
                        <a:pt x="27" y="106"/>
                      </a:lnTo>
                      <a:lnTo>
                        <a:pt x="31" y="67"/>
                      </a:lnTo>
                      <a:lnTo>
                        <a:pt x="32" y="46"/>
                      </a:lnTo>
                      <a:lnTo>
                        <a:pt x="32" y="27"/>
                      </a:lnTo>
                      <a:lnTo>
                        <a:pt x="31" y="18"/>
                      </a:lnTo>
                      <a:lnTo>
                        <a:pt x="29" y="10"/>
                      </a:lnTo>
                      <a:lnTo>
                        <a:pt x="28" y="4"/>
                      </a:lnTo>
                      <a:lnTo>
                        <a:pt x="26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73" name="Freeform 295">
                  <a:extLst>
                    <a:ext uri="{FF2B5EF4-FFF2-40B4-BE49-F238E27FC236}">
                      <a16:creationId xmlns="" xmlns:a16="http://schemas.microsoft.com/office/drawing/2014/main" id="{5E1A1CAD-4694-41EF-BA72-1F9681A762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89" y="2442"/>
                  <a:ext cx="8" cy="13"/>
                </a:xfrm>
                <a:custGeom>
                  <a:avLst/>
                  <a:gdLst>
                    <a:gd name="T0" fmla="*/ 0 w 26"/>
                    <a:gd name="T1" fmla="*/ 0 h 38"/>
                    <a:gd name="T2" fmla="*/ 0 w 26"/>
                    <a:gd name="T3" fmla="*/ 0 h 38"/>
                    <a:gd name="T4" fmla="*/ 0 w 26"/>
                    <a:gd name="T5" fmla="*/ 0 h 38"/>
                    <a:gd name="T6" fmla="*/ 0 w 26"/>
                    <a:gd name="T7" fmla="*/ 0 h 38"/>
                    <a:gd name="T8" fmla="*/ 0 w 26"/>
                    <a:gd name="T9" fmla="*/ 0 h 38"/>
                    <a:gd name="T10" fmla="*/ 0 w 26"/>
                    <a:gd name="T11" fmla="*/ 0 h 38"/>
                    <a:gd name="T12" fmla="*/ 0 w 26"/>
                    <a:gd name="T13" fmla="*/ 0 h 38"/>
                    <a:gd name="T14" fmla="*/ 0 w 26"/>
                    <a:gd name="T15" fmla="*/ 0 h 3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6"/>
                    <a:gd name="T25" fmla="*/ 0 h 38"/>
                    <a:gd name="T26" fmla="*/ 26 w 26"/>
                    <a:gd name="T27" fmla="*/ 38 h 38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6" h="38">
                      <a:moveTo>
                        <a:pt x="26" y="38"/>
                      </a:moveTo>
                      <a:lnTo>
                        <a:pt x="26" y="0"/>
                      </a:lnTo>
                      <a:lnTo>
                        <a:pt x="21" y="1"/>
                      </a:lnTo>
                      <a:lnTo>
                        <a:pt x="13" y="4"/>
                      </a:lnTo>
                      <a:lnTo>
                        <a:pt x="6" y="8"/>
                      </a:lnTo>
                      <a:lnTo>
                        <a:pt x="0" y="13"/>
                      </a:lnTo>
                      <a:lnTo>
                        <a:pt x="18" y="30"/>
                      </a:lnTo>
                      <a:lnTo>
                        <a:pt x="26" y="38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74" name="Freeform 296">
                  <a:extLst>
                    <a:ext uri="{FF2B5EF4-FFF2-40B4-BE49-F238E27FC236}">
                      <a16:creationId xmlns="" xmlns:a16="http://schemas.microsoft.com/office/drawing/2014/main" id="{4F9C4EFF-E0D7-4C5B-94CE-7B9A53C4C2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65" y="2420"/>
                  <a:ext cx="10" cy="10"/>
                </a:xfrm>
                <a:custGeom>
                  <a:avLst/>
                  <a:gdLst>
                    <a:gd name="T0" fmla="*/ 0 w 34"/>
                    <a:gd name="T1" fmla="*/ 0 h 31"/>
                    <a:gd name="T2" fmla="*/ 0 w 34"/>
                    <a:gd name="T3" fmla="*/ 0 h 31"/>
                    <a:gd name="T4" fmla="*/ 0 w 34"/>
                    <a:gd name="T5" fmla="*/ 0 h 31"/>
                    <a:gd name="T6" fmla="*/ 0 w 34"/>
                    <a:gd name="T7" fmla="*/ 0 h 31"/>
                    <a:gd name="T8" fmla="*/ 0 w 34"/>
                    <a:gd name="T9" fmla="*/ 0 h 31"/>
                    <a:gd name="T10" fmla="*/ 0 w 34"/>
                    <a:gd name="T11" fmla="*/ 0 h 31"/>
                    <a:gd name="T12" fmla="*/ 0 w 34"/>
                    <a:gd name="T13" fmla="*/ 0 h 31"/>
                    <a:gd name="T14" fmla="*/ 0 w 34"/>
                    <a:gd name="T15" fmla="*/ 0 h 31"/>
                    <a:gd name="T16" fmla="*/ 0 w 34"/>
                    <a:gd name="T17" fmla="*/ 0 h 31"/>
                    <a:gd name="T18" fmla="*/ 0 w 34"/>
                    <a:gd name="T19" fmla="*/ 0 h 31"/>
                    <a:gd name="T20" fmla="*/ 0 w 34"/>
                    <a:gd name="T21" fmla="*/ 0 h 31"/>
                    <a:gd name="T22" fmla="*/ 0 w 34"/>
                    <a:gd name="T23" fmla="*/ 0 h 31"/>
                    <a:gd name="T24" fmla="*/ 0 w 34"/>
                    <a:gd name="T25" fmla="*/ 0 h 31"/>
                    <a:gd name="T26" fmla="*/ 0 w 34"/>
                    <a:gd name="T27" fmla="*/ 0 h 31"/>
                    <a:gd name="T28" fmla="*/ 0 w 34"/>
                    <a:gd name="T29" fmla="*/ 0 h 31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34"/>
                    <a:gd name="T46" fmla="*/ 0 h 31"/>
                    <a:gd name="T47" fmla="*/ 34 w 34"/>
                    <a:gd name="T48" fmla="*/ 31 h 31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34" h="31">
                      <a:moveTo>
                        <a:pt x="0" y="18"/>
                      </a:moveTo>
                      <a:lnTo>
                        <a:pt x="8" y="22"/>
                      </a:lnTo>
                      <a:lnTo>
                        <a:pt x="17" y="26"/>
                      </a:lnTo>
                      <a:lnTo>
                        <a:pt x="27" y="30"/>
                      </a:lnTo>
                      <a:lnTo>
                        <a:pt x="34" y="31"/>
                      </a:lnTo>
                      <a:lnTo>
                        <a:pt x="33" y="24"/>
                      </a:lnTo>
                      <a:lnTo>
                        <a:pt x="30" y="15"/>
                      </a:lnTo>
                      <a:lnTo>
                        <a:pt x="26" y="6"/>
                      </a:lnTo>
                      <a:lnTo>
                        <a:pt x="20" y="0"/>
                      </a:lnTo>
                      <a:lnTo>
                        <a:pt x="16" y="5"/>
                      </a:lnTo>
                      <a:lnTo>
                        <a:pt x="10" y="11"/>
                      </a:lnTo>
                      <a:lnTo>
                        <a:pt x="8" y="14"/>
                      </a:lnTo>
                      <a:lnTo>
                        <a:pt x="6" y="16"/>
                      </a:lnTo>
                      <a:lnTo>
                        <a:pt x="4" y="18"/>
                      </a:lnTo>
                      <a:lnTo>
                        <a:pt x="0" y="18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75" name="Freeform 297">
                  <a:extLst>
                    <a:ext uri="{FF2B5EF4-FFF2-40B4-BE49-F238E27FC236}">
                      <a16:creationId xmlns="" xmlns:a16="http://schemas.microsoft.com/office/drawing/2014/main" id="{AC618001-8D8C-4808-A399-FEBC61173E3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39" y="2418"/>
                  <a:ext cx="6" cy="12"/>
                </a:xfrm>
                <a:custGeom>
                  <a:avLst/>
                  <a:gdLst>
                    <a:gd name="T0" fmla="*/ 0 w 20"/>
                    <a:gd name="T1" fmla="*/ 0 h 37"/>
                    <a:gd name="T2" fmla="*/ 0 w 20"/>
                    <a:gd name="T3" fmla="*/ 0 h 37"/>
                    <a:gd name="T4" fmla="*/ 0 w 20"/>
                    <a:gd name="T5" fmla="*/ 0 h 37"/>
                    <a:gd name="T6" fmla="*/ 0 w 20"/>
                    <a:gd name="T7" fmla="*/ 0 h 37"/>
                    <a:gd name="T8" fmla="*/ 0 w 20"/>
                    <a:gd name="T9" fmla="*/ 0 h 37"/>
                    <a:gd name="T10" fmla="*/ 0 w 20"/>
                    <a:gd name="T11" fmla="*/ 0 h 3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0"/>
                    <a:gd name="T19" fmla="*/ 0 h 37"/>
                    <a:gd name="T20" fmla="*/ 20 w 20"/>
                    <a:gd name="T21" fmla="*/ 37 h 3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0" h="37">
                      <a:moveTo>
                        <a:pt x="0" y="6"/>
                      </a:moveTo>
                      <a:lnTo>
                        <a:pt x="0" y="37"/>
                      </a:lnTo>
                      <a:lnTo>
                        <a:pt x="7" y="33"/>
                      </a:lnTo>
                      <a:lnTo>
                        <a:pt x="20" y="30"/>
                      </a:lnTo>
                      <a:lnTo>
                        <a:pt x="20" y="0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76" name="Line 298">
                  <a:extLst>
                    <a:ext uri="{FF2B5EF4-FFF2-40B4-BE49-F238E27FC236}">
                      <a16:creationId xmlns="" xmlns:a16="http://schemas.microsoft.com/office/drawing/2014/main" id="{A8D56A67-8CB4-4539-84A3-C806F25CCB2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180" y="2449"/>
                  <a:ext cx="1" cy="10"/>
                </a:xfrm>
                <a:prstGeom prst="line">
                  <a:avLst/>
                </a:pr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77" name="Freeform 299">
                  <a:extLst>
                    <a:ext uri="{FF2B5EF4-FFF2-40B4-BE49-F238E27FC236}">
                      <a16:creationId xmlns="" xmlns:a16="http://schemas.microsoft.com/office/drawing/2014/main" id="{FD0D2394-E027-4D9A-9E4E-C5725A1AE7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80" y="2453"/>
                  <a:ext cx="4" cy="6"/>
                </a:xfrm>
                <a:custGeom>
                  <a:avLst/>
                  <a:gdLst>
                    <a:gd name="T0" fmla="*/ 0 w 13"/>
                    <a:gd name="T1" fmla="*/ 0 h 18"/>
                    <a:gd name="T2" fmla="*/ 0 w 13"/>
                    <a:gd name="T3" fmla="*/ 0 h 18"/>
                    <a:gd name="T4" fmla="*/ 0 w 13"/>
                    <a:gd name="T5" fmla="*/ 0 h 18"/>
                    <a:gd name="T6" fmla="*/ 0 w 13"/>
                    <a:gd name="T7" fmla="*/ 0 h 18"/>
                    <a:gd name="T8" fmla="*/ 0 w 13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3"/>
                    <a:gd name="T16" fmla="*/ 0 h 18"/>
                    <a:gd name="T17" fmla="*/ 13 w 13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3" h="18">
                      <a:moveTo>
                        <a:pt x="0" y="18"/>
                      </a:moveTo>
                      <a:lnTo>
                        <a:pt x="1" y="13"/>
                      </a:lnTo>
                      <a:lnTo>
                        <a:pt x="3" y="9"/>
                      </a:lnTo>
                      <a:lnTo>
                        <a:pt x="7" y="4"/>
                      </a:lnTo>
                      <a:lnTo>
                        <a:pt x="13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78" name="Line 300">
                  <a:extLst>
                    <a:ext uri="{FF2B5EF4-FFF2-40B4-BE49-F238E27FC236}">
                      <a16:creationId xmlns="" xmlns:a16="http://schemas.microsoft.com/office/drawing/2014/main" id="{3FA69FA4-9A4A-42F8-9340-6A8F9E3734A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5178" y="2447"/>
                  <a:ext cx="6" cy="6"/>
                </a:xfrm>
                <a:prstGeom prst="line">
                  <a:avLst/>
                </a:pr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79" name="Freeform 301">
                  <a:extLst>
                    <a:ext uri="{FF2B5EF4-FFF2-40B4-BE49-F238E27FC236}">
                      <a16:creationId xmlns="" xmlns:a16="http://schemas.microsoft.com/office/drawing/2014/main" id="{71579131-F4BD-4A74-9341-1608EAD7DB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6" y="2564"/>
                  <a:ext cx="9" cy="10"/>
                </a:xfrm>
                <a:custGeom>
                  <a:avLst/>
                  <a:gdLst>
                    <a:gd name="T0" fmla="*/ 0 w 27"/>
                    <a:gd name="T1" fmla="*/ 0 h 31"/>
                    <a:gd name="T2" fmla="*/ 0 w 27"/>
                    <a:gd name="T3" fmla="*/ 0 h 31"/>
                    <a:gd name="T4" fmla="*/ 0 w 27"/>
                    <a:gd name="T5" fmla="*/ 0 h 31"/>
                    <a:gd name="T6" fmla="*/ 0 60000 65536"/>
                    <a:gd name="T7" fmla="*/ 0 60000 65536"/>
                    <a:gd name="T8" fmla="*/ 0 60000 65536"/>
                    <a:gd name="T9" fmla="*/ 0 w 27"/>
                    <a:gd name="T10" fmla="*/ 0 h 31"/>
                    <a:gd name="T11" fmla="*/ 27 w 27"/>
                    <a:gd name="T12" fmla="*/ 31 h 31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7" h="31">
                      <a:moveTo>
                        <a:pt x="0" y="0"/>
                      </a:moveTo>
                      <a:lnTo>
                        <a:pt x="20" y="31"/>
                      </a:lnTo>
                      <a:lnTo>
                        <a:pt x="27" y="13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80" name="Freeform 302">
                  <a:extLst>
                    <a:ext uri="{FF2B5EF4-FFF2-40B4-BE49-F238E27FC236}">
                      <a16:creationId xmlns="" xmlns:a16="http://schemas.microsoft.com/office/drawing/2014/main" id="{66CD93F5-B302-40D5-9FB6-218392B362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9" y="2568"/>
                  <a:ext cx="6" cy="1"/>
                </a:xfrm>
                <a:custGeom>
                  <a:avLst/>
                  <a:gdLst>
                    <a:gd name="T0" fmla="*/ 0 w 20"/>
                    <a:gd name="T1" fmla="*/ 0 h 1"/>
                    <a:gd name="T2" fmla="*/ 0 w 20"/>
                    <a:gd name="T3" fmla="*/ 0 h 1"/>
                    <a:gd name="T4" fmla="*/ 0 w 20"/>
                    <a:gd name="T5" fmla="*/ 0 h 1"/>
                    <a:gd name="T6" fmla="*/ 0 60000 65536"/>
                    <a:gd name="T7" fmla="*/ 0 60000 65536"/>
                    <a:gd name="T8" fmla="*/ 0 60000 65536"/>
                    <a:gd name="T9" fmla="*/ 0 w 20"/>
                    <a:gd name="T10" fmla="*/ 0 h 1"/>
                    <a:gd name="T11" fmla="*/ 20 w 20"/>
                    <a:gd name="T12" fmla="*/ 1 h 1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0" h="1">
                      <a:moveTo>
                        <a:pt x="20" y="0"/>
                      </a:move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81" name="Freeform 303">
                  <a:extLst>
                    <a:ext uri="{FF2B5EF4-FFF2-40B4-BE49-F238E27FC236}">
                      <a16:creationId xmlns="" xmlns:a16="http://schemas.microsoft.com/office/drawing/2014/main" id="{6D3ACCCA-A601-43A3-ADB9-644EDCC7D8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27" y="2557"/>
                  <a:ext cx="12" cy="5"/>
                </a:xfrm>
                <a:custGeom>
                  <a:avLst/>
                  <a:gdLst>
                    <a:gd name="T0" fmla="*/ 0 w 34"/>
                    <a:gd name="T1" fmla="*/ 0 h 13"/>
                    <a:gd name="T2" fmla="*/ 0 w 34"/>
                    <a:gd name="T3" fmla="*/ 0 h 13"/>
                    <a:gd name="T4" fmla="*/ 0 w 34"/>
                    <a:gd name="T5" fmla="*/ 0 h 13"/>
                    <a:gd name="T6" fmla="*/ 0 w 34"/>
                    <a:gd name="T7" fmla="*/ 0 h 13"/>
                    <a:gd name="T8" fmla="*/ 0 w 34"/>
                    <a:gd name="T9" fmla="*/ 0 h 13"/>
                    <a:gd name="T10" fmla="*/ 0 w 34"/>
                    <a:gd name="T11" fmla="*/ 0 h 13"/>
                    <a:gd name="T12" fmla="*/ 0 w 34"/>
                    <a:gd name="T13" fmla="*/ 0 h 13"/>
                    <a:gd name="T14" fmla="*/ 0 w 34"/>
                    <a:gd name="T15" fmla="*/ 0 h 13"/>
                    <a:gd name="T16" fmla="*/ 0 w 34"/>
                    <a:gd name="T17" fmla="*/ 0 h 1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34"/>
                    <a:gd name="T28" fmla="*/ 0 h 13"/>
                    <a:gd name="T29" fmla="*/ 34 w 34"/>
                    <a:gd name="T30" fmla="*/ 13 h 13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34" h="13">
                      <a:moveTo>
                        <a:pt x="0" y="13"/>
                      </a:moveTo>
                      <a:lnTo>
                        <a:pt x="6" y="13"/>
                      </a:lnTo>
                      <a:lnTo>
                        <a:pt x="10" y="11"/>
                      </a:lnTo>
                      <a:lnTo>
                        <a:pt x="16" y="10"/>
                      </a:lnTo>
                      <a:lnTo>
                        <a:pt x="20" y="7"/>
                      </a:lnTo>
                      <a:lnTo>
                        <a:pt x="28" y="2"/>
                      </a:lnTo>
                      <a:lnTo>
                        <a:pt x="34" y="0"/>
                      </a:lnTo>
                      <a:lnTo>
                        <a:pt x="25" y="0"/>
                      </a:lnTo>
                      <a:lnTo>
                        <a:pt x="15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82" name="Freeform 304">
                  <a:extLst>
                    <a:ext uri="{FF2B5EF4-FFF2-40B4-BE49-F238E27FC236}">
                      <a16:creationId xmlns="" xmlns:a16="http://schemas.microsoft.com/office/drawing/2014/main" id="{C39DD9E1-9829-4DB2-9696-20CD6863CBE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27" y="2547"/>
                  <a:ext cx="12" cy="6"/>
                </a:xfrm>
                <a:custGeom>
                  <a:avLst/>
                  <a:gdLst>
                    <a:gd name="T0" fmla="*/ 0 w 34"/>
                    <a:gd name="T1" fmla="*/ 0 h 18"/>
                    <a:gd name="T2" fmla="*/ 0 w 34"/>
                    <a:gd name="T3" fmla="*/ 0 h 18"/>
                    <a:gd name="T4" fmla="*/ 0 w 34"/>
                    <a:gd name="T5" fmla="*/ 0 h 18"/>
                    <a:gd name="T6" fmla="*/ 0 w 34"/>
                    <a:gd name="T7" fmla="*/ 0 h 18"/>
                    <a:gd name="T8" fmla="*/ 0 w 34"/>
                    <a:gd name="T9" fmla="*/ 0 h 18"/>
                    <a:gd name="T10" fmla="*/ 0 w 34"/>
                    <a:gd name="T11" fmla="*/ 0 h 18"/>
                    <a:gd name="T12" fmla="*/ 0 w 34"/>
                    <a:gd name="T13" fmla="*/ 0 h 1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4"/>
                    <a:gd name="T22" fmla="*/ 0 h 18"/>
                    <a:gd name="T23" fmla="*/ 34 w 34"/>
                    <a:gd name="T24" fmla="*/ 18 h 1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4" h="18">
                      <a:moveTo>
                        <a:pt x="34" y="18"/>
                      </a:moveTo>
                      <a:lnTo>
                        <a:pt x="34" y="0"/>
                      </a:lnTo>
                      <a:lnTo>
                        <a:pt x="28" y="0"/>
                      </a:lnTo>
                      <a:lnTo>
                        <a:pt x="20" y="0"/>
                      </a:lnTo>
                      <a:lnTo>
                        <a:pt x="10" y="0"/>
                      </a:lnTo>
                      <a:lnTo>
                        <a:pt x="0" y="0"/>
                      </a:lnTo>
                      <a:lnTo>
                        <a:pt x="34" y="18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83" name="Freeform 305">
                  <a:extLst>
                    <a:ext uri="{FF2B5EF4-FFF2-40B4-BE49-F238E27FC236}">
                      <a16:creationId xmlns="" xmlns:a16="http://schemas.microsoft.com/office/drawing/2014/main" id="{87F48A1D-0FE3-4EC6-B50B-BC755930CC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41" y="2535"/>
                  <a:ext cx="20" cy="8"/>
                </a:xfrm>
                <a:custGeom>
                  <a:avLst/>
                  <a:gdLst>
                    <a:gd name="T0" fmla="*/ 0 w 59"/>
                    <a:gd name="T1" fmla="*/ 0 h 25"/>
                    <a:gd name="T2" fmla="*/ 0 w 59"/>
                    <a:gd name="T3" fmla="*/ 0 h 25"/>
                    <a:gd name="T4" fmla="*/ 0 w 59"/>
                    <a:gd name="T5" fmla="*/ 0 h 25"/>
                    <a:gd name="T6" fmla="*/ 0 w 59"/>
                    <a:gd name="T7" fmla="*/ 0 h 25"/>
                    <a:gd name="T8" fmla="*/ 0 w 59"/>
                    <a:gd name="T9" fmla="*/ 0 h 25"/>
                    <a:gd name="T10" fmla="*/ 0 w 59"/>
                    <a:gd name="T11" fmla="*/ 0 h 25"/>
                    <a:gd name="T12" fmla="*/ 0 w 59"/>
                    <a:gd name="T13" fmla="*/ 0 h 25"/>
                    <a:gd name="T14" fmla="*/ 0 w 59"/>
                    <a:gd name="T15" fmla="*/ 0 h 25"/>
                    <a:gd name="T16" fmla="*/ 0 w 59"/>
                    <a:gd name="T17" fmla="*/ 0 h 25"/>
                    <a:gd name="T18" fmla="*/ 0 w 59"/>
                    <a:gd name="T19" fmla="*/ 0 h 25"/>
                    <a:gd name="T20" fmla="*/ 0 w 59"/>
                    <a:gd name="T21" fmla="*/ 0 h 25"/>
                    <a:gd name="T22" fmla="*/ 0 w 59"/>
                    <a:gd name="T23" fmla="*/ 0 h 25"/>
                    <a:gd name="T24" fmla="*/ 0 w 59"/>
                    <a:gd name="T25" fmla="*/ 0 h 25"/>
                    <a:gd name="T26" fmla="*/ 0 w 59"/>
                    <a:gd name="T27" fmla="*/ 0 h 25"/>
                    <a:gd name="T28" fmla="*/ 0 w 59"/>
                    <a:gd name="T29" fmla="*/ 0 h 25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59"/>
                    <a:gd name="T46" fmla="*/ 0 h 25"/>
                    <a:gd name="T47" fmla="*/ 59 w 59"/>
                    <a:gd name="T48" fmla="*/ 25 h 25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59" h="25">
                      <a:moveTo>
                        <a:pt x="53" y="25"/>
                      </a:moveTo>
                      <a:lnTo>
                        <a:pt x="56" y="12"/>
                      </a:lnTo>
                      <a:lnTo>
                        <a:pt x="59" y="0"/>
                      </a:lnTo>
                      <a:lnTo>
                        <a:pt x="44" y="0"/>
                      </a:lnTo>
                      <a:lnTo>
                        <a:pt x="27" y="0"/>
                      </a:lnTo>
                      <a:lnTo>
                        <a:pt x="19" y="1"/>
                      </a:lnTo>
                      <a:lnTo>
                        <a:pt x="12" y="2"/>
                      </a:lnTo>
                      <a:lnTo>
                        <a:pt x="5" y="4"/>
                      </a:lnTo>
                      <a:lnTo>
                        <a:pt x="0" y="6"/>
                      </a:lnTo>
                      <a:lnTo>
                        <a:pt x="13" y="14"/>
                      </a:lnTo>
                      <a:lnTo>
                        <a:pt x="26" y="20"/>
                      </a:lnTo>
                      <a:lnTo>
                        <a:pt x="33" y="22"/>
                      </a:lnTo>
                      <a:lnTo>
                        <a:pt x="38" y="24"/>
                      </a:lnTo>
                      <a:lnTo>
                        <a:pt x="46" y="25"/>
                      </a:lnTo>
                      <a:lnTo>
                        <a:pt x="53" y="25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84" name="Line 306">
                  <a:extLst>
                    <a:ext uri="{FF2B5EF4-FFF2-40B4-BE49-F238E27FC236}">
                      <a16:creationId xmlns="" xmlns:a16="http://schemas.microsoft.com/office/drawing/2014/main" id="{224BA84E-7C06-4D31-883D-0D549C5BAF7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191" y="2516"/>
                  <a:ext cx="6" cy="2"/>
                </a:xfrm>
                <a:prstGeom prst="line">
                  <a:avLst/>
                </a:pr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985" name="Freeform 307">
                <a:extLst>
                  <a:ext uri="{FF2B5EF4-FFF2-40B4-BE49-F238E27FC236}">
                    <a16:creationId xmlns="" xmlns:a16="http://schemas.microsoft.com/office/drawing/2014/main" id="{75DFF21D-334D-47A8-B0B7-017EF78554B1}"/>
                  </a:ext>
                </a:extLst>
              </p:cNvPr>
              <p:cNvSpPr>
                <a:spLocks/>
              </p:cNvSpPr>
              <p:nvPr>
                <p:custDataLst>
                  <p:tags r:id="rId210"/>
                </p:custDataLst>
              </p:nvPr>
            </p:nvSpPr>
            <p:spPr bwMode="auto">
              <a:xfrm>
                <a:off x="7280275" y="3879850"/>
                <a:ext cx="14288" cy="55563"/>
              </a:xfrm>
              <a:custGeom>
                <a:avLst/>
                <a:gdLst>
                  <a:gd name="T0" fmla="*/ 0 w 33"/>
                  <a:gd name="T1" fmla="*/ 2147483646 h 43"/>
                  <a:gd name="T2" fmla="*/ 2147483646 w 33"/>
                  <a:gd name="T3" fmla="*/ 2147483646 h 43"/>
                  <a:gd name="T4" fmla="*/ 2147483646 w 33"/>
                  <a:gd name="T5" fmla="*/ 2147483646 h 43"/>
                  <a:gd name="T6" fmla="*/ 2147483646 w 33"/>
                  <a:gd name="T7" fmla="*/ 2147483646 h 43"/>
                  <a:gd name="T8" fmla="*/ 2147483646 w 33"/>
                  <a:gd name="T9" fmla="*/ 2147483646 h 43"/>
                  <a:gd name="T10" fmla="*/ 2147483646 w 33"/>
                  <a:gd name="T11" fmla="*/ 2147483646 h 43"/>
                  <a:gd name="T12" fmla="*/ 2147483646 w 33"/>
                  <a:gd name="T13" fmla="*/ 2147483646 h 43"/>
                  <a:gd name="T14" fmla="*/ 2147483646 w 33"/>
                  <a:gd name="T15" fmla="*/ 2147483646 h 43"/>
                  <a:gd name="T16" fmla="*/ 2147483646 w 33"/>
                  <a:gd name="T17" fmla="*/ 0 h 43"/>
                  <a:gd name="T18" fmla="*/ 2147483646 w 33"/>
                  <a:gd name="T19" fmla="*/ 2147483646 h 43"/>
                  <a:gd name="T20" fmla="*/ 2147483646 w 33"/>
                  <a:gd name="T21" fmla="*/ 2147483646 h 43"/>
                  <a:gd name="T22" fmla="*/ 2147483646 w 33"/>
                  <a:gd name="T23" fmla="*/ 2147483646 h 43"/>
                  <a:gd name="T24" fmla="*/ 2147483646 w 33"/>
                  <a:gd name="T25" fmla="*/ 2147483646 h 43"/>
                  <a:gd name="T26" fmla="*/ 2147483646 w 33"/>
                  <a:gd name="T27" fmla="*/ 2147483646 h 43"/>
                  <a:gd name="T28" fmla="*/ 2147483646 w 33"/>
                  <a:gd name="T29" fmla="*/ 2147483646 h 43"/>
                  <a:gd name="T30" fmla="*/ 2147483646 w 33"/>
                  <a:gd name="T31" fmla="*/ 2147483646 h 43"/>
                  <a:gd name="T32" fmla="*/ 2147483646 w 33"/>
                  <a:gd name="T33" fmla="*/ 2147483646 h 43"/>
                  <a:gd name="T34" fmla="*/ 0 w 33"/>
                  <a:gd name="T35" fmla="*/ 2147483646 h 43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33"/>
                  <a:gd name="T55" fmla="*/ 0 h 43"/>
                  <a:gd name="T56" fmla="*/ 33 w 33"/>
                  <a:gd name="T57" fmla="*/ 43 h 43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33" h="43">
                    <a:moveTo>
                      <a:pt x="0" y="43"/>
                    </a:moveTo>
                    <a:lnTo>
                      <a:pt x="1" y="34"/>
                    </a:lnTo>
                    <a:lnTo>
                      <a:pt x="2" y="27"/>
                    </a:lnTo>
                    <a:lnTo>
                      <a:pt x="5" y="21"/>
                    </a:lnTo>
                    <a:lnTo>
                      <a:pt x="9" y="15"/>
                    </a:lnTo>
                    <a:lnTo>
                      <a:pt x="14" y="9"/>
                    </a:lnTo>
                    <a:lnTo>
                      <a:pt x="20" y="5"/>
                    </a:lnTo>
                    <a:lnTo>
                      <a:pt x="26" y="2"/>
                    </a:lnTo>
                    <a:lnTo>
                      <a:pt x="33" y="0"/>
                    </a:lnTo>
                    <a:lnTo>
                      <a:pt x="33" y="25"/>
                    </a:lnTo>
                    <a:lnTo>
                      <a:pt x="23" y="27"/>
                    </a:lnTo>
                    <a:lnTo>
                      <a:pt x="18" y="29"/>
                    </a:lnTo>
                    <a:lnTo>
                      <a:pt x="16" y="32"/>
                    </a:lnTo>
                    <a:lnTo>
                      <a:pt x="16" y="34"/>
                    </a:lnTo>
                    <a:lnTo>
                      <a:pt x="16" y="36"/>
                    </a:lnTo>
                    <a:lnTo>
                      <a:pt x="14" y="38"/>
                    </a:lnTo>
                    <a:lnTo>
                      <a:pt x="10" y="41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86" name="Freeform 308">
                <a:extLst>
                  <a:ext uri="{FF2B5EF4-FFF2-40B4-BE49-F238E27FC236}">
                    <a16:creationId xmlns="" xmlns:a16="http://schemas.microsoft.com/office/drawing/2014/main" id="{6000CBB2-F021-4141-A5B3-8AFB6DBB1770}"/>
                  </a:ext>
                </a:extLst>
              </p:cNvPr>
              <p:cNvSpPr>
                <a:spLocks/>
              </p:cNvSpPr>
              <p:nvPr>
                <p:custDataLst>
                  <p:tags r:id="rId211"/>
                </p:custDataLst>
              </p:nvPr>
            </p:nvSpPr>
            <p:spPr bwMode="auto">
              <a:xfrm>
                <a:off x="7356475" y="3819525"/>
                <a:ext cx="22225" cy="58738"/>
              </a:xfrm>
              <a:custGeom>
                <a:avLst/>
                <a:gdLst>
                  <a:gd name="T0" fmla="*/ 0 w 54"/>
                  <a:gd name="T1" fmla="*/ 2147483646 h 92"/>
                  <a:gd name="T2" fmla="*/ 2147483646 w 54"/>
                  <a:gd name="T3" fmla="*/ 2147483646 h 92"/>
                  <a:gd name="T4" fmla="*/ 2147483646 w 54"/>
                  <a:gd name="T5" fmla="*/ 2147483646 h 92"/>
                  <a:gd name="T6" fmla="*/ 2147483646 w 54"/>
                  <a:gd name="T7" fmla="*/ 2147483646 h 92"/>
                  <a:gd name="T8" fmla="*/ 2147483646 w 54"/>
                  <a:gd name="T9" fmla="*/ 2147483646 h 92"/>
                  <a:gd name="T10" fmla="*/ 2147483646 w 54"/>
                  <a:gd name="T11" fmla="*/ 2147483646 h 92"/>
                  <a:gd name="T12" fmla="*/ 2147483646 w 54"/>
                  <a:gd name="T13" fmla="*/ 2147483646 h 92"/>
                  <a:gd name="T14" fmla="*/ 2147483646 w 54"/>
                  <a:gd name="T15" fmla="*/ 2147483646 h 92"/>
                  <a:gd name="T16" fmla="*/ 2147483646 w 54"/>
                  <a:gd name="T17" fmla="*/ 0 h 92"/>
                  <a:gd name="T18" fmla="*/ 2147483646 w 54"/>
                  <a:gd name="T19" fmla="*/ 2147483646 h 92"/>
                  <a:gd name="T20" fmla="*/ 2147483646 w 54"/>
                  <a:gd name="T21" fmla="*/ 2147483646 h 92"/>
                  <a:gd name="T22" fmla="*/ 2147483646 w 54"/>
                  <a:gd name="T23" fmla="*/ 2147483646 h 92"/>
                  <a:gd name="T24" fmla="*/ 2147483646 w 54"/>
                  <a:gd name="T25" fmla="*/ 2147483646 h 92"/>
                  <a:gd name="T26" fmla="*/ 2147483646 w 54"/>
                  <a:gd name="T27" fmla="*/ 2147483646 h 92"/>
                  <a:gd name="T28" fmla="*/ 2147483646 w 54"/>
                  <a:gd name="T29" fmla="*/ 2147483646 h 92"/>
                  <a:gd name="T30" fmla="*/ 2147483646 w 54"/>
                  <a:gd name="T31" fmla="*/ 2147483646 h 92"/>
                  <a:gd name="T32" fmla="*/ 2147483646 w 54"/>
                  <a:gd name="T33" fmla="*/ 2147483646 h 92"/>
                  <a:gd name="T34" fmla="*/ 2147483646 w 54"/>
                  <a:gd name="T35" fmla="*/ 2147483646 h 92"/>
                  <a:gd name="T36" fmla="*/ 2147483646 w 54"/>
                  <a:gd name="T37" fmla="*/ 2147483646 h 92"/>
                  <a:gd name="T38" fmla="*/ 2147483646 w 54"/>
                  <a:gd name="T39" fmla="*/ 2147483646 h 92"/>
                  <a:gd name="T40" fmla="*/ 2147483646 w 54"/>
                  <a:gd name="T41" fmla="*/ 2147483646 h 92"/>
                  <a:gd name="T42" fmla="*/ 2147483646 w 54"/>
                  <a:gd name="T43" fmla="*/ 2147483646 h 92"/>
                  <a:gd name="T44" fmla="*/ 2147483646 w 54"/>
                  <a:gd name="T45" fmla="*/ 2147483646 h 92"/>
                  <a:gd name="T46" fmla="*/ 2147483646 w 54"/>
                  <a:gd name="T47" fmla="*/ 2147483646 h 92"/>
                  <a:gd name="T48" fmla="*/ 2147483646 w 54"/>
                  <a:gd name="T49" fmla="*/ 2147483646 h 92"/>
                  <a:gd name="T50" fmla="*/ 0 w 54"/>
                  <a:gd name="T51" fmla="*/ 2147483646 h 9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54"/>
                  <a:gd name="T79" fmla="*/ 0 h 92"/>
                  <a:gd name="T80" fmla="*/ 54 w 54"/>
                  <a:gd name="T81" fmla="*/ 92 h 92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54" h="92">
                    <a:moveTo>
                      <a:pt x="0" y="55"/>
                    </a:moveTo>
                    <a:lnTo>
                      <a:pt x="1" y="51"/>
                    </a:lnTo>
                    <a:lnTo>
                      <a:pt x="2" y="46"/>
                    </a:lnTo>
                    <a:lnTo>
                      <a:pt x="3" y="42"/>
                    </a:lnTo>
                    <a:lnTo>
                      <a:pt x="6" y="37"/>
                    </a:lnTo>
                    <a:lnTo>
                      <a:pt x="11" y="29"/>
                    </a:lnTo>
                    <a:lnTo>
                      <a:pt x="18" y="21"/>
                    </a:lnTo>
                    <a:lnTo>
                      <a:pt x="31" y="7"/>
                    </a:lnTo>
                    <a:lnTo>
                      <a:pt x="41" y="0"/>
                    </a:lnTo>
                    <a:lnTo>
                      <a:pt x="54" y="12"/>
                    </a:lnTo>
                    <a:lnTo>
                      <a:pt x="51" y="21"/>
                    </a:lnTo>
                    <a:lnTo>
                      <a:pt x="47" y="29"/>
                    </a:lnTo>
                    <a:lnTo>
                      <a:pt x="44" y="35"/>
                    </a:lnTo>
                    <a:lnTo>
                      <a:pt x="41" y="41"/>
                    </a:lnTo>
                    <a:lnTo>
                      <a:pt x="33" y="49"/>
                    </a:lnTo>
                    <a:lnTo>
                      <a:pt x="28" y="55"/>
                    </a:lnTo>
                    <a:lnTo>
                      <a:pt x="26" y="64"/>
                    </a:lnTo>
                    <a:lnTo>
                      <a:pt x="26" y="74"/>
                    </a:lnTo>
                    <a:lnTo>
                      <a:pt x="24" y="83"/>
                    </a:lnTo>
                    <a:lnTo>
                      <a:pt x="20" y="92"/>
                    </a:lnTo>
                    <a:lnTo>
                      <a:pt x="14" y="83"/>
                    </a:lnTo>
                    <a:lnTo>
                      <a:pt x="8" y="74"/>
                    </a:lnTo>
                    <a:lnTo>
                      <a:pt x="5" y="70"/>
                    </a:lnTo>
                    <a:lnTo>
                      <a:pt x="2" y="64"/>
                    </a:lnTo>
                    <a:lnTo>
                      <a:pt x="1" y="60"/>
                    </a:lnTo>
                    <a:lnTo>
                      <a:pt x="0" y="55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87" name="Freeform 309">
                <a:extLst>
                  <a:ext uri="{FF2B5EF4-FFF2-40B4-BE49-F238E27FC236}">
                    <a16:creationId xmlns="" xmlns:a16="http://schemas.microsoft.com/office/drawing/2014/main" id="{9E268163-A38A-495C-B8A7-D47D6D6B1657}"/>
                  </a:ext>
                </a:extLst>
              </p:cNvPr>
              <p:cNvSpPr>
                <a:spLocks/>
              </p:cNvSpPr>
              <p:nvPr>
                <p:custDataLst>
                  <p:tags r:id="rId212"/>
                </p:custDataLst>
              </p:nvPr>
            </p:nvSpPr>
            <p:spPr bwMode="auto">
              <a:xfrm>
                <a:off x="7404100" y="3698875"/>
                <a:ext cx="23813" cy="57150"/>
              </a:xfrm>
              <a:custGeom>
                <a:avLst/>
                <a:gdLst>
                  <a:gd name="T0" fmla="*/ 0 w 60"/>
                  <a:gd name="T1" fmla="*/ 0 h 18"/>
                  <a:gd name="T2" fmla="*/ 2147483646 w 60"/>
                  <a:gd name="T3" fmla="*/ 2147483646 h 18"/>
                  <a:gd name="T4" fmla="*/ 2147483646 w 60"/>
                  <a:gd name="T5" fmla="*/ 2147483646 h 18"/>
                  <a:gd name="T6" fmla="*/ 2147483646 w 60"/>
                  <a:gd name="T7" fmla="*/ 2147483646 h 18"/>
                  <a:gd name="T8" fmla="*/ 2147483646 w 60"/>
                  <a:gd name="T9" fmla="*/ 2147483646 h 18"/>
                  <a:gd name="T10" fmla="*/ 2147483646 w 60"/>
                  <a:gd name="T11" fmla="*/ 2147483646 h 18"/>
                  <a:gd name="T12" fmla="*/ 2147483646 w 60"/>
                  <a:gd name="T13" fmla="*/ 2147483646 h 18"/>
                  <a:gd name="T14" fmla="*/ 2147483646 w 60"/>
                  <a:gd name="T15" fmla="*/ 2147483646 h 18"/>
                  <a:gd name="T16" fmla="*/ 2147483646 w 60"/>
                  <a:gd name="T17" fmla="*/ 2147483646 h 18"/>
                  <a:gd name="T18" fmla="*/ 2147483646 w 60"/>
                  <a:gd name="T19" fmla="*/ 2147483646 h 18"/>
                  <a:gd name="T20" fmla="*/ 0 w 60"/>
                  <a:gd name="T21" fmla="*/ 2147483646 h 18"/>
                  <a:gd name="T22" fmla="*/ 0 w 60"/>
                  <a:gd name="T23" fmla="*/ 0 h 1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60"/>
                  <a:gd name="T37" fmla="*/ 0 h 18"/>
                  <a:gd name="T38" fmla="*/ 60 w 60"/>
                  <a:gd name="T39" fmla="*/ 18 h 18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60" h="18">
                    <a:moveTo>
                      <a:pt x="0" y="0"/>
                    </a:moveTo>
                    <a:lnTo>
                      <a:pt x="19" y="4"/>
                    </a:lnTo>
                    <a:lnTo>
                      <a:pt x="37" y="9"/>
                    </a:lnTo>
                    <a:lnTo>
                      <a:pt x="45" y="11"/>
                    </a:lnTo>
                    <a:lnTo>
                      <a:pt x="51" y="13"/>
                    </a:lnTo>
                    <a:lnTo>
                      <a:pt x="56" y="16"/>
                    </a:lnTo>
                    <a:lnTo>
                      <a:pt x="60" y="18"/>
                    </a:lnTo>
                    <a:lnTo>
                      <a:pt x="38" y="18"/>
                    </a:lnTo>
                    <a:lnTo>
                      <a:pt x="23" y="18"/>
                    </a:lnTo>
                    <a:lnTo>
                      <a:pt x="10" y="18"/>
                    </a:lnTo>
                    <a:lnTo>
                      <a:pt x="0" y="1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88" name="Freeform 310">
                <a:extLst>
                  <a:ext uri="{FF2B5EF4-FFF2-40B4-BE49-F238E27FC236}">
                    <a16:creationId xmlns="" xmlns:a16="http://schemas.microsoft.com/office/drawing/2014/main" id="{599EBBFB-0243-4C7E-8C71-0C8CF6DCFE19}"/>
                  </a:ext>
                </a:extLst>
              </p:cNvPr>
              <p:cNvSpPr>
                <a:spLocks/>
              </p:cNvSpPr>
              <p:nvPr>
                <p:custDataLst>
                  <p:tags r:id="rId213"/>
                </p:custDataLst>
              </p:nvPr>
            </p:nvSpPr>
            <p:spPr bwMode="auto">
              <a:xfrm>
                <a:off x="7388225" y="3668713"/>
                <a:ext cx="25400" cy="57150"/>
              </a:xfrm>
              <a:custGeom>
                <a:avLst/>
                <a:gdLst>
                  <a:gd name="T0" fmla="*/ 0 w 66"/>
                  <a:gd name="T1" fmla="*/ 2147483646 h 18"/>
                  <a:gd name="T2" fmla="*/ 2147483646 w 66"/>
                  <a:gd name="T3" fmla="*/ 2147483646 h 18"/>
                  <a:gd name="T4" fmla="*/ 2147483646 w 66"/>
                  <a:gd name="T5" fmla="*/ 2147483646 h 18"/>
                  <a:gd name="T6" fmla="*/ 2147483646 w 66"/>
                  <a:gd name="T7" fmla="*/ 2147483646 h 18"/>
                  <a:gd name="T8" fmla="*/ 2147483646 w 66"/>
                  <a:gd name="T9" fmla="*/ 2147483646 h 18"/>
                  <a:gd name="T10" fmla="*/ 2147483646 w 66"/>
                  <a:gd name="T11" fmla="*/ 2147483646 h 18"/>
                  <a:gd name="T12" fmla="*/ 2147483646 w 66"/>
                  <a:gd name="T13" fmla="*/ 2147483646 h 18"/>
                  <a:gd name="T14" fmla="*/ 2147483646 w 66"/>
                  <a:gd name="T15" fmla="*/ 0 h 18"/>
                  <a:gd name="T16" fmla="*/ 0 w 66"/>
                  <a:gd name="T17" fmla="*/ 2147483646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6"/>
                  <a:gd name="T28" fmla="*/ 0 h 18"/>
                  <a:gd name="T29" fmla="*/ 66 w 66"/>
                  <a:gd name="T30" fmla="*/ 18 h 1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6" h="18">
                    <a:moveTo>
                      <a:pt x="0" y="18"/>
                    </a:moveTo>
                    <a:lnTo>
                      <a:pt x="66" y="18"/>
                    </a:lnTo>
                    <a:lnTo>
                      <a:pt x="52" y="13"/>
                    </a:lnTo>
                    <a:lnTo>
                      <a:pt x="40" y="7"/>
                    </a:lnTo>
                    <a:lnTo>
                      <a:pt x="35" y="4"/>
                    </a:lnTo>
                    <a:lnTo>
                      <a:pt x="29" y="2"/>
                    </a:lnTo>
                    <a:lnTo>
                      <a:pt x="25" y="1"/>
                    </a:lnTo>
                    <a:lnTo>
                      <a:pt x="19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89" name="Freeform 311">
                <a:extLst>
                  <a:ext uri="{FF2B5EF4-FFF2-40B4-BE49-F238E27FC236}">
                    <a16:creationId xmlns="" xmlns:a16="http://schemas.microsoft.com/office/drawing/2014/main" id="{4508FE7E-1D30-4572-AFA6-32BFE1B747A5}"/>
                  </a:ext>
                </a:extLst>
              </p:cNvPr>
              <p:cNvSpPr>
                <a:spLocks/>
              </p:cNvSpPr>
              <p:nvPr>
                <p:custDataLst>
                  <p:tags r:id="rId214"/>
                </p:custDataLst>
              </p:nvPr>
            </p:nvSpPr>
            <p:spPr bwMode="auto">
              <a:xfrm>
                <a:off x="7213600" y="3565525"/>
                <a:ext cx="7938" cy="57150"/>
              </a:xfrm>
              <a:custGeom>
                <a:avLst/>
                <a:gdLst>
                  <a:gd name="T0" fmla="*/ 0 w 17"/>
                  <a:gd name="T1" fmla="*/ 2147483646 h 42"/>
                  <a:gd name="T2" fmla="*/ 2147483646 w 17"/>
                  <a:gd name="T3" fmla="*/ 2147483646 h 42"/>
                  <a:gd name="T4" fmla="*/ 2147483646 w 17"/>
                  <a:gd name="T5" fmla="*/ 2147483646 h 42"/>
                  <a:gd name="T6" fmla="*/ 2147483646 w 17"/>
                  <a:gd name="T7" fmla="*/ 2147483646 h 42"/>
                  <a:gd name="T8" fmla="*/ 2147483646 w 17"/>
                  <a:gd name="T9" fmla="*/ 2147483646 h 42"/>
                  <a:gd name="T10" fmla="*/ 2147483646 w 17"/>
                  <a:gd name="T11" fmla="*/ 2147483646 h 42"/>
                  <a:gd name="T12" fmla="*/ 2147483646 w 17"/>
                  <a:gd name="T13" fmla="*/ 2147483646 h 42"/>
                  <a:gd name="T14" fmla="*/ 2147483646 w 17"/>
                  <a:gd name="T15" fmla="*/ 0 h 42"/>
                  <a:gd name="T16" fmla="*/ 0 w 17"/>
                  <a:gd name="T17" fmla="*/ 2147483646 h 4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7"/>
                  <a:gd name="T28" fmla="*/ 0 h 42"/>
                  <a:gd name="T29" fmla="*/ 17 w 17"/>
                  <a:gd name="T30" fmla="*/ 42 h 4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7" h="42">
                    <a:moveTo>
                      <a:pt x="0" y="36"/>
                    </a:moveTo>
                    <a:lnTo>
                      <a:pt x="13" y="42"/>
                    </a:lnTo>
                    <a:lnTo>
                      <a:pt x="14" y="33"/>
                    </a:lnTo>
                    <a:lnTo>
                      <a:pt x="16" y="23"/>
                    </a:lnTo>
                    <a:lnTo>
                      <a:pt x="17" y="18"/>
                    </a:lnTo>
                    <a:lnTo>
                      <a:pt x="16" y="12"/>
                    </a:lnTo>
                    <a:lnTo>
                      <a:pt x="16" y="6"/>
                    </a:lnTo>
                    <a:lnTo>
                      <a:pt x="13" y="0"/>
                    </a:lnTo>
                    <a:lnTo>
                      <a:pt x="0" y="36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90" name="Freeform 312">
                <a:extLst>
                  <a:ext uri="{FF2B5EF4-FFF2-40B4-BE49-F238E27FC236}">
                    <a16:creationId xmlns="" xmlns:a16="http://schemas.microsoft.com/office/drawing/2014/main" id="{AD70E9C2-23EE-4CF5-84DB-A66CA33F6E27}"/>
                  </a:ext>
                </a:extLst>
              </p:cNvPr>
              <p:cNvSpPr>
                <a:spLocks/>
              </p:cNvSpPr>
              <p:nvPr>
                <p:custDataLst>
                  <p:tags r:id="rId215"/>
                </p:custDataLst>
              </p:nvPr>
            </p:nvSpPr>
            <p:spPr bwMode="auto">
              <a:xfrm>
                <a:off x="7140575" y="3700463"/>
                <a:ext cx="30163" cy="58737"/>
              </a:xfrm>
              <a:custGeom>
                <a:avLst/>
                <a:gdLst>
                  <a:gd name="T0" fmla="*/ 2147483646 w 72"/>
                  <a:gd name="T1" fmla="*/ 2147483646 h 29"/>
                  <a:gd name="T2" fmla="*/ 2147483646 w 72"/>
                  <a:gd name="T3" fmla="*/ 2147483646 h 29"/>
                  <a:gd name="T4" fmla="*/ 2147483646 w 72"/>
                  <a:gd name="T5" fmla="*/ 2147483646 h 29"/>
                  <a:gd name="T6" fmla="*/ 2147483646 w 72"/>
                  <a:gd name="T7" fmla="*/ 2147483646 h 29"/>
                  <a:gd name="T8" fmla="*/ 2147483646 w 72"/>
                  <a:gd name="T9" fmla="*/ 2147483646 h 29"/>
                  <a:gd name="T10" fmla="*/ 2147483646 w 72"/>
                  <a:gd name="T11" fmla="*/ 2147483646 h 29"/>
                  <a:gd name="T12" fmla="*/ 2147483646 w 72"/>
                  <a:gd name="T13" fmla="*/ 2147483646 h 29"/>
                  <a:gd name="T14" fmla="*/ 2147483646 w 72"/>
                  <a:gd name="T15" fmla="*/ 2147483646 h 29"/>
                  <a:gd name="T16" fmla="*/ 2147483646 w 72"/>
                  <a:gd name="T17" fmla="*/ 2147483646 h 29"/>
                  <a:gd name="T18" fmla="*/ 2147483646 w 72"/>
                  <a:gd name="T19" fmla="*/ 0 h 29"/>
                  <a:gd name="T20" fmla="*/ 2147483646 w 72"/>
                  <a:gd name="T21" fmla="*/ 0 h 29"/>
                  <a:gd name="T22" fmla="*/ 2147483646 w 72"/>
                  <a:gd name="T23" fmla="*/ 2147483646 h 29"/>
                  <a:gd name="T24" fmla="*/ 2147483646 w 72"/>
                  <a:gd name="T25" fmla="*/ 2147483646 h 29"/>
                  <a:gd name="T26" fmla="*/ 2147483646 w 72"/>
                  <a:gd name="T27" fmla="*/ 2147483646 h 29"/>
                  <a:gd name="T28" fmla="*/ 2147483646 w 72"/>
                  <a:gd name="T29" fmla="*/ 2147483646 h 29"/>
                  <a:gd name="T30" fmla="*/ 0 w 72"/>
                  <a:gd name="T31" fmla="*/ 2147483646 h 29"/>
                  <a:gd name="T32" fmla="*/ 2147483646 w 72"/>
                  <a:gd name="T33" fmla="*/ 2147483646 h 29"/>
                  <a:gd name="T34" fmla="*/ 2147483646 w 72"/>
                  <a:gd name="T35" fmla="*/ 2147483646 h 29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72"/>
                  <a:gd name="T55" fmla="*/ 0 h 29"/>
                  <a:gd name="T56" fmla="*/ 72 w 72"/>
                  <a:gd name="T57" fmla="*/ 29 h 29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72" h="29">
                    <a:moveTo>
                      <a:pt x="6" y="29"/>
                    </a:moveTo>
                    <a:lnTo>
                      <a:pt x="15" y="26"/>
                    </a:lnTo>
                    <a:lnTo>
                      <a:pt x="24" y="24"/>
                    </a:lnTo>
                    <a:lnTo>
                      <a:pt x="32" y="24"/>
                    </a:lnTo>
                    <a:lnTo>
                      <a:pt x="39" y="24"/>
                    </a:lnTo>
                    <a:lnTo>
                      <a:pt x="55" y="27"/>
                    </a:lnTo>
                    <a:lnTo>
                      <a:pt x="72" y="29"/>
                    </a:lnTo>
                    <a:lnTo>
                      <a:pt x="72" y="4"/>
                    </a:lnTo>
                    <a:lnTo>
                      <a:pt x="58" y="1"/>
                    </a:lnTo>
                    <a:lnTo>
                      <a:pt x="47" y="0"/>
                    </a:lnTo>
                    <a:lnTo>
                      <a:pt x="39" y="0"/>
                    </a:lnTo>
                    <a:lnTo>
                      <a:pt x="34" y="2"/>
                    </a:lnTo>
                    <a:lnTo>
                      <a:pt x="27" y="3"/>
                    </a:lnTo>
                    <a:lnTo>
                      <a:pt x="21" y="5"/>
                    </a:lnTo>
                    <a:lnTo>
                      <a:pt x="12" y="5"/>
                    </a:lnTo>
                    <a:lnTo>
                      <a:pt x="0" y="4"/>
                    </a:lnTo>
                    <a:lnTo>
                      <a:pt x="3" y="16"/>
                    </a:lnTo>
                    <a:lnTo>
                      <a:pt x="6" y="29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91" name="Freeform 313">
                <a:extLst>
                  <a:ext uri="{FF2B5EF4-FFF2-40B4-BE49-F238E27FC236}">
                    <a16:creationId xmlns="" xmlns:a16="http://schemas.microsoft.com/office/drawing/2014/main" id="{1F8C83D5-8CCE-4773-8D86-3772A02AE725}"/>
                  </a:ext>
                </a:extLst>
              </p:cNvPr>
              <p:cNvSpPr>
                <a:spLocks/>
              </p:cNvSpPr>
              <p:nvPr>
                <p:custDataLst>
                  <p:tags r:id="rId216"/>
                </p:custDataLst>
              </p:nvPr>
            </p:nvSpPr>
            <p:spPr bwMode="auto">
              <a:xfrm>
                <a:off x="7148513" y="3886200"/>
                <a:ext cx="19050" cy="55563"/>
              </a:xfrm>
              <a:custGeom>
                <a:avLst/>
                <a:gdLst>
                  <a:gd name="T0" fmla="*/ 0 w 46"/>
                  <a:gd name="T1" fmla="*/ 0 h 37"/>
                  <a:gd name="T2" fmla="*/ 2147483646 w 46"/>
                  <a:gd name="T3" fmla="*/ 2147483646 h 37"/>
                  <a:gd name="T4" fmla="*/ 2147483646 w 46"/>
                  <a:gd name="T5" fmla="*/ 2147483646 h 37"/>
                  <a:gd name="T6" fmla="*/ 2147483646 w 46"/>
                  <a:gd name="T7" fmla="*/ 2147483646 h 37"/>
                  <a:gd name="T8" fmla="*/ 2147483646 w 46"/>
                  <a:gd name="T9" fmla="*/ 2147483646 h 37"/>
                  <a:gd name="T10" fmla="*/ 2147483646 w 46"/>
                  <a:gd name="T11" fmla="*/ 2147483646 h 37"/>
                  <a:gd name="T12" fmla="*/ 2147483646 w 46"/>
                  <a:gd name="T13" fmla="*/ 2147483646 h 37"/>
                  <a:gd name="T14" fmla="*/ 2147483646 w 46"/>
                  <a:gd name="T15" fmla="*/ 2147483646 h 37"/>
                  <a:gd name="T16" fmla="*/ 2147483646 w 46"/>
                  <a:gd name="T17" fmla="*/ 2147483646 h 37"/>
                  <a:gd name="T18" fmla="*/ 2147483646 w 46"/>
                  <a:gd name="T19" fmla="*/ 2147483646 h 37"/>
                  <a:gd name="T20" fmla="*/ 2147483646 w 46"/>
                  <a:gd name="T21" fmla="*/ 2147483646 h 37"/>
                  <a:gd name="T22" fmla="*/ 2147483646 w 46"/>
                  <a:gd name="T23" fmla="*/ 2147483646 h 37"/>
                  <a:gd name="T24" fmla="*/ 2147483646 w 46"/>
                  <a:gd name="T25" fmla="*/ 2147483646 h 37"/>
                  <a:gd name="T26" fmla="*/ 2147483646 w 46"/>
                  <a:gd name="T27" fmla="*/ 2147483646 h 37"/>
                  <a:gd name="T28" fmla="*/ 0 w 46"/>
                  <a:gd name="T29" fmla="*/ 0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46"/>
                  <a:gd name="T46" fmla="*/ 0 h 37"/>
                  <a:gd name="T47" fmla="*/ 46 w 46"/>
                  <a:gd name="T48" fmla="*/ 37 h 37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46" h="37">
                    <a:moveTo>
                      <a:pt x="0" y="0"/>
                    </a:moveTo>
                    <a:lnTo>
                      <a:pt x="9" y="9"/>
                    </a:lnTo>
                    <a:lnTo>
                      <a:pt x="20" y="15"/>
                    </a:lnTo>
                    <a:lnTo>
                      <a:pt x="31" y="20"/>
                    </a:lnTo>
                    <a:lnTo>
                      <a:pt x="46" y="25"/>
                    </a:lnTo>
                    <a:lnTo>
                      <a:pt x="37" y="29"/>
                    </a:lnTo>
                    <a:lnTo>
                      <a:pt x="29" y="33"/>
                    </a:lnTo>
                    <a:lnTo>
                      <a:pt x="21" y="36"/>
                    </a:lnTo>
                    <a:lnTo>
                      <a:pt x="13" y="37"/>
                    </a:lnTo>
                    <a:lnTo>
                      <a:pt x="9" y="36"/>
                    </a:lnTo>
                    <a:lnTo>
                      <a:pt x="7" y="33"/>
                    </a:lnTo>
                    <a:lnTo>
                      <a:pt x="5" y="29"/>
                    </a:lnTo>
                    <a:lnTo>
                      <a:pt x="3" y="23"/>
                    </a:lnTo>
                    <a:lnTo>
                      <a:pt x="1" y="1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92" name="Freeform 314">
                <a:extLst>
                  <a:ext uri="{FF2B5EF4-FFF2-40B4-BE49-F238E27FC236}">
                    <a16:creationId xmlns="" xmlns:a16="http://schemas.microsoft.com/office/drawing/2014/main" id="{8272BB24-17A8-4D11-BD13-489347E09532}"/>
                  </a:ext>
                </a:extLst>
              </p:cNvPr>
              <p:cNvSpPr>
                <a:spLocks/>
              </p:cNvSpPr>
              <p:nvPr>
                <p:custDataLst>
                  <p:tags r:id="rId217"/>
                </p:custDataLst>
              </p:nvPr>
            </p:nvSpPr>
            <p:spPr bwMode="auto">
              <a:xfrm>
                <a:off x="7261225" y="3705225"/>
                <a:ext cx="11113" cy="57150"/>
              </a:xfrm>
              <a:custGeom>
                <a:avLst/>
                <a:gdLst>
                  <a:gd name="T0" fmla="*/ 0 w 26"/>
                  <a:gd name="T1" fmla="*/ 0 h 19"/>
                  <a:gd name="T2" fmla="*/ 2147483646 w 26"/>
                  <a:gd name="T3" fmla="*/ 2147483646 h 19"/>
                  <a:gd name="T4" fmla="*/ 2147483646 w 26"/>
                  <a:gd name="T5" fmla="*/ 2147483646 h 19"/>
                  <a:gd name="T6" fmla="*/ 2147483646 w 26"/>
                  <a:gd name="T7" fmla="*/ 0 h 19"/>
                  <a:gd name="T8" fmla="*/ 2147483646 w 26"/>
                  <a:gd name="T9" fmla="*/ 0 h 19"/>
                  <a:gd name="T10" fmla="*/ 0 w 26"/>
                  <a:gd name="T11" fmla="*/ 0 h 1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6"/>
                  <a:gd name="T19" fmla="*/ 0 h 19"/>
                  <a:gd name="T20" fmla="*/ 26 w 26"/>
                  <a:gd name="T21" fmla="*/ 19 h 1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6" h="19">
                    <a:moveTo>
                      <a:pt x="0" y="0"/>
                    </a:moveTo>
                    <a:lnTo>
                      <a:pt x="26" y="19"/>
                    </a:lnTo>
                    <a:lnTo>
                      <a:pt x="26" y="9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93" name="Freeform 315">
                <a:extLst>
                  <a:ext uri="{FF2B5EF4-FFF2-40B4-BE49-F238E27FC236}">
                    <a16:creationId xmlns="" xmlns:a16="http://schemas.microsoft.com/office/drawing/2014/main" id="{D69770D5-4A69-4260-B341-9324B7A640F7}"/>
                  </a:ext>
                </a:extLst>
              </p:cNvPr>
              <p:cNvSpPr>
                <a:spLocks/>
              </p:cNvSpPr>
              <p:nvPr>
                <p:custDataLst>
                  <p:tags r:id="rId218"/>
                </p:custDataLst>
              </p:nvPr>
            </p:nvSpPr>
            <p:spPr bwMode="auto">
              <a:xfrm>
                <a:off x="7121525" y="3700463"/>
                <a:ext cx="19050" cy="58737"/>
              </a:xfrm>
              <a:custGeom>
                <a:avLst/>
                <a:gdLst>
                  <a:gd name="T0" fmla="*/ 2147483646 w 43"/>
                  <a:gd name="T1" fmla="*/ 0 h 31"/>
                  <a:gd name="T2" fmla="*/ 2147483646 w 43"/>
                  <a:gd name="T3" fmla="*/ 2147483646 h 31"/>
                  <a:gd name="T4" fmla="*/ 0 w 43"/>
                  <a:gd name="T5" fmla="*/ 2147483646 h 31"/>
                  <a:gd name="T6" fmla="*/ 0 w 43"/>
                  <a:gd name="T7" fmla="*/ 2147483646 h 31"/>
                  <a:gd name="T8" fmla="*/ 0 w 43"/>
                  <a:gd name="T9" fmla="*/ 2147483646 h 31"/>
                  <a:gd name="T10" fmla="*/ 0 w 43"/>
                  <a:gd name="T11" fmla="*/ 2147483646 h 31"/>
                  <a:gd name="T12" fmla="*/ 2147483646 w 43"/>
                  <a:gd name="T13" fmla="*/ 2147483646 h 31"/>
                  <a:gd name="T14" fmla="*/ 2147483646 w 43"/>
                  <a:gd name="T15" fmla="*/ 2147483646 h 31"/>
                  <a:gd name="T16" fmla="*/ 2147483646 w 43"/>
                  <a:gd name="T17" fmla="*/ 2147483646 h 31"/>
                  <a:gd name="T18" fmla="*/ 2147483646 w 43"/>
                  <a:gd name="T19" fmla="*/ 2147483646 h 31"/>
                  <a:gd name="T20" fmla="*/ 2147483646 w 43"/>
                  <a:gd name="T21" fmla="*/ 0 h 31"/>
                  <a:gd name="T22" fmla="*/ 2147483646 w 43"/>
                  <a:gd name="T23" fmla="*/ 0 h 3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3"/>
                  <a:gd name="T37" fmla="*/ 0 h 31"/>
                  <a:gd name="T38" fmla="*/ 43 w 43"/>
                  <a:gd name="T39" fmla="*/ 31 h 31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3" h="31">
                    <a:moveTo>
                      <a:pt x="2" y="0"/>
                    </a:moveTo>
                    <a:lnTo>
                      <a:pt x="1" y="12"/>
                    </a:lnTo>
                    <a:lnTo>
                      <a:pt x="0" y="23"/>
                    </a:lnTo>
                    <a:lnTo>
                      <a:pt x="0" y="26"/>
                    </a:lnTo>
                    <a:lnTo>
                      <a:pt x="0" y="29"/>
                    </a:lnTo>
                    <a:lnTo>
                      <a:pt x="0" y="31"/>
                    </a:lnTo>
                    <a:lnTo>
                      <a:pt x="2" y="31"/>
                    </a:lnTo>
                    <a:lnTo>
                      <a:pt x="13" y="22"/>
                    </a:lnTo>
                    <a:lnTo>
                      <a:pt x="25" y="13"/>
                    </a:lnTo>
                    <a:lnTo>
                      <a:pt x="35" y="5"/>
                    </a:lnTo>
                    <a:lnTo>
                      <a:pt x="43" y="0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94" name="Freeform 316">
                <a:extLst>
                  <a:ext uri="{FF2B5EF4-FFF2-40B4-BE49-F238E27FC236}">
                    <a16:creationId xmlns="" xmlns:a16="http://schemas.microsoft.com/office/drawing/2014/main" id="{2BD60385-1A5A-4249-A44F-93847CA889C6}"/>
                  </a:ext>
                </a:extLst>
              </p:cNvPr>
              <p:cNvSpPr>
                <a:spLocks/>
              </p:cNvSpPr>
              <p:nvPr>
                <p:custDataLst>
                  <p:tags r:id="rId219"/>
                </p:custDataLst>
              </p:nvPr>
            </p:nvSpPr>
            <p:spPr bwMode="auto">
              <a:xfrm>
                <a:off x="7165975" y="3748088"/>
                <a:ext cx="30163" cy="57150"/>
              </a:xfrm>
              <a:custGeom>
                <a:avLst/>
                <a:gdLst>
                  <a:gd name="T0" fmla="*/ 2147483646 w 71"/>
                  <a:gd name="T1" fmla="*/ 2147483646 h 49"/>
                  <a:gd name="T2" fmla="*/ 2147483646 w 71"/>
                  <a:gd name="T3" fmla="*/ 2147483646 h 49"/>
                  <a:gd name="T4" fmla="*/ 2147483646 w 71"/>
                  <a:gd name="T5" fmla="*/ 2147483646 h 49"/>
                  <a:gd name="T6" fmla="*/ 2147483646 w 71"/>
                  <a:gd name="T7" fmla="*/ 2147483646 h 49"/>
                  <a:gd name="T8" fmla="*/ 2147483646 w 71"/>
                  <a:gd name="T9" fmla="*/ 2147483646 h 49"/>
                  <a:gd name="T10" fmla="*/ 2147483646 w 71"/>
                  <a:gd name="T11" fmla="*/ 2147483646 h 49"/>
                  <a:gd name="T12" fmla="*/ 2147483646 w 71"/>
                  <a:gd name="T13" fmla="*/ 2147483646 h 49"/>
                  <a:gd name="T14" fmla="*/ 2147483646 w 71"/>
                  <a:gd name="T15" fmla="*/ 2147483646 h 49"/>
                  <a:gd name="T16" fmla="*/ 2147483646 w 71"/>
                  <a:gd name="T17" fmla="*/ 2147483646 h 49"/>
                  <a:gd name="T18" fmla="*/ 2147483646 w 71"/>
                  <a:gd name="T19" fmla="*/ 2147483646 h 49"/>
                  <a:gd name="T20" fmla="*/ 2147483646 w 71"/>
                  <a:gd name="T21" fmla="*/ 2147483646 h 49"/>
                  <a:gd name="T22" fmla="*/ 2147483646 w 71"/>
                  <a:gd name="T23" fmla="*/ 2147483646 h 49"/>
                  <a:gd name="T24" fmla="*/ 2147483646 w 71"/>
                  <a:gd name="T25" fmla="*/ 2147483646 h 49"/>
                  <a:gd name="T26" fmla="*/ 2147483646 w 71"/>
                  <a:gd name="T27" fmla="*/ 2147483646 h 49"/>
                  <a:gd name="T28" fmla="*/ 2147483646 w 71"/>
                  <a:gd name="T29" fmla="*/ 2147483646 h 49"/>
                  <a:gd name="T30" fmla="*/ 2147483646 w 71"/>
                  <a:gd name="T31" fmla="*/ 2147483646 h 49"/>
                  <a:gd name="T32" fmla="*/ 2147483646 w 71"/>
                  <a:gd name="T33" fmla="*/ 2147483646 h 49"/>
                  <a:gd name="T34" fmla="*/ 2147483646 w 71"/>
                  <a:gd name="T35" fmla="*/ 2147483646 h 49"/>
                  <a:gd name="T36" fmla="*/ 2147483646 w 71"/>
                  <a:gd name="T37" fmla="*/ 2147483646 h 49"/>
                  <a:gd name="T38" fmla="*/ 2147483646 w 71"/>
                  <a:gd name="T39" fmla="*/ 2147483646 h 49"/>
                  <a:gd name="T40" fmla="*/ 2147483646 w 71"/>
                  <a:gd name="T41" fmla="*/ 2147483646 h 49"/>
                  <a:gd name="T42" fmla="*/ 2147483646 w 71"/>
                  <a:gd name="T43" fmla="*/ 2147483646 h 49"/>
                  <a:gd name="T44" fmla="*/ 2147483646 w 71"/>
                  <a:gd name="T45" fmla="*/ 0 h 49"/>
                  <a:gd name="T46" fmla="*/ 2147483646 w 71"/>
                  <a:gd name="T47" fmla="*/ 2147483646 h 49"/>
                  <a:gd name="T48" fmla="*/ 2147483646 w 71"/>
                  <a:gd name="T49" fmla="*/ 2147483646 h 49"/>
                  <a:gd name="T50" fmla="*/ 0 w 71"/>
                  <a:gd name="T51" fmla="*/ 2147483646 h 49"/>
                  <a:gd name="T52" fmla="*/ 0 w 71"/>
                  <a:gd name="T53" fmla="*/ 2147483646 h 49"/>
                  <a:gd name="T54" fmla="*/ 2147483646 w 71"/>
                  <a:gd name="T55" fmla="*/ 2147483646 h 49"/>
                  <a:gd name="T56" fmla="*/ 2147483646 w 71"/>
                  <a:gd name="T57" fmla="*/ 2147483646 h 49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71"/>
                  <a:gd name="T88" fmla="*/ 0 h 49"/>
                  <a:gd name="T89" fmla="*/ 71 w 71"/>
                  <a:gd name="T90" fmla="*/ 49 h 49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71" h="49">
                    <a:moveTo>
                      <a:pt x="4" y="12"/>
                    </a:moveTo>
                    <a:lnTo>
                      <a:pt x="4" y="18"/>
                    </a:lnTo>
                    <a:lnTo>
                      <a:pt x="5" y="25"/>
                    </a:lnTo>
                    <a:lnTo>
                      <a:pt x="7" y="31"/>
                    </a:lnTo>
                    <a:lnTo>
                      <a:pt x="9" y="37"/>
                    </a:lnTo>
                    <a:lnTo>
                      <a:pt x="14" y="41"/>
                    </a:lnTo>
                    <a:lnTo>
                      <a:pt x="18" y="46"/>
                    </a:lnTo>
                    <a:lnTo>
                      <a:pt x="23" y="48"/>
                    </a:lnTo>
                    <a:lnTo>
                      <a:pt x="30" y="49"/>
                    </a:lnTo>
                    <a:lnTo>
                      <a:pt x="35" y="48"/>
                    </a:lnTo>
                    <a:lnTo>
                      <a:pt x="40" y="46"/>
                    </a:lnTo>
                    <a:lnTo>
                      <a:pt x="45" y="42"/>
                    </a:lnTo>
                    <a:lnTo>
                      <a:pt x="50" y="37"/>
                    </a:lnTo>
                    <a:lnTo>
                      <a:pt x="60" y="28"/>
                    </a:lnTo>
                    <a:lnTo>
                      <a:pt x="71" y="18"/>
                    </a:lnTo>
                    <a:lnTo>
                      <a:pt x="61" y="12"/>
                    </a:lnTo>
                    <a:lnTo>
                      <a:pt x="52" y="9"/>
                    </a:lnTo>
                    <a:lnTo>
                      <a:pt x="44" y="7"/>
                    </a:lnTo>
                    <a:lnTo>
                      <a:pt x="37" y="6"/>
                    </a:lnTo>
                    <a:lnTo>
                      <a:pt x="29" y="6"/>
                    </a:lnTo>
                    <a:lnTo>
                      <a:pt x="21" y="5"/>
                    </a:lnTo>
                    <a:lnTo>
                      <a:pt x="14" y="3"/>
                    </a:lnTo>
                    <a:lnTo>
                      <a:pt x="4" y="0"/>
                    </a:lnTo>
                    <a:lnTo>
                      <a:pt x="3" y="1"/>
                    </a:lnTo>
                    <a:lnTo>
                      <a:pt x="1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4" y="12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95" name="Freeform 317">
                <a:extLst>
                  <a:ext uri="{FF2B5EF4-FFF2-40B4-BE49-F238E27FC236}">
                    <a16:creationId xmlns="" xmlns:a16="http://schemas.microsoft.com/office/drawing/2014/main" id="{D15573F0-69D7-4809-B03D-B20479A8DE91}"/>
                  </a:ext>
                </a:extLst>
              </p:cNvPr>
              <p:cNvSpPr>
                <a:spLocks/>
              </p:cNvSpPr>
              <p:nvPr>
                <p:custDataLst>
                  <p:tags r:id="rId220"/>
                </p:custDataLst>
              </p:nvPr>
            </p:nvSpPr>
            <p:spPr bwMode="auto">
              <a:xfrm>
                <a:off x="6967538" y="3951288"/>
                <a:ext cx="46037" cy="58737"/>
              </a:xfrm>
              <a:custGeom>
                <a:avLst/>
                <a:gdLst>
                  <a:gd name="T0" fmla="*/ 2147483646 w 112"/>
                  <a:gd name="T1" fmla="*/ 2147483646 h 26"/>
                  <a:gd name="T2" fmla="*/ 2147483646 w 112"/>
                  <a:gd name="T3" fmla="*/ 2147483646 h 26"/>
                  <a:gd name="T4" fmla="*/ 2147483646 w 112"/>
                  <a:gd name="T5" fmla="*/ 2147483646 h 26"/>
                  <a:gd name="T6" fmla="*/ 2147483646 w 112"/>
                  <a:gd name="T7" fmla="*/ 2147483646 h 26"/>
                  <a:gd name="T8" fmla="*/ 2147483646 w 112"/>
                  <a:gd name="T9" fmla="*/ 2147483646 h 26"/>
                  <a:gd name="T10" fmla="*/ 2147483646 w 112"/>
                  <a:gd name="T11" fmla="*/ 2147483646 h 26"/>
                  <a:gd name="T12" fmla="*/ 2147483646 w 112"/>
                  <a:gd name="T13" fmla="*/ 2147483646 h 26"/>
                  <a:gd name="T14" fmla="*/ 2147483646 w 112"/>
                  <a:gd name="T15" fmla="*/ 2147483646 h 26"/>
                  <a:gd name="T16" fmla="*/ 2147483646 w 112"/>
                  <a:gd name="T17" fmla="*/ 2147483646 h 26"/>
                  <a:gd name="T18" fmla="*/ 2147483646 w 112"/>
                  <a:gd name="T19" fmla="*/ 2147483646 h 26"/>
                  <a:gd name="T20" fmla="*/ 2147483646 w 112"/>
                  <a:gd name="T21" fmla="*/ 2147483646 h 26"/>
                  <a:gd name="T22" fmla="*/ 2147483646 w 112"/>
                  <a:gd name="T23" fmla="*/ 2147483646 h 26"/>
                  <a:gd name="T24" fmla="*/ 2147483646 w 112"/>
                  <a:gd name="T25" fmla="*/ 2147483646 h 26"/>
                  <a:gd name="T26" fmla="*/ 2147483646 w 112"/>
                  <a:gd name="T27" fmla="*/ 2147483646 h 26"/>
                  <a:gd name="T28" fmla="*/ 2147483646 w 112"/>
                  <a:gd name="T29" fmla="*/ 2147483646 h 26"/>
                  <a:gd name="T30" fmla="*/ 2147483646 w 112"/>
                  <a:gd name="T31" fmla="*/ 2147483646 h 26"/>
                  <a:gd name="T32" fmla="*/ 2147483646 w 112"/>
                  <a:gd name="T33" fmla="*/ 2147483646 h 26"/>
                  <a:gd name="T34" fmla="*/ 2147483646 w 112"/>
                  <a:gd name="T35" fmla="*/ 2147483646 h 26"/>
                  <a:gd name="T36" fmla="*/ 0 w 112"/>
                  <a:gd name="T37" fmla="*/ 2147483646 h 26"/>
                  <a:gd name="T38" fmla="*/ 2147483646 w 112"/>
                  <a:gd name="T39" fmla="*/ 2147483646 h 26"/>
                  <a:gd name="T40" fmla="*/ 2147483646 w 112"/>
                  <a:gd name="T41" fmla="*/ 2147483646 h 26"/>
                  <a:gd name="T42" fmla="*/ 2147483646 w 112"/>
                  <a:gd name="T43" fmla="*/ 2147483646 h 26"/>
                  <a:gd name="T44" fmla="*/ 2147483646 w 112"/>
                  <a:gd name="T45" fmla="*/ 0 h 26"/>
                  <a:gd name="T46" fmla="*/ 2147483646 w 112"/>
                  <a:gd name="T47" fmla="*/ 2147483646 h 26"/>
                  <a:gd name="T48" fmla="*/ 2147483646 w 112"/>
                  <a:gd name="T49" fmla="*/ 2147483646 h 2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12"/>
                  <a:gd name="T76" fmla="*/ 0 h 26"/>
                  <a:gd name="T77" fmla="*/ 112 w 112"/>
                  <a:gd name="T78" fmla="*/ 26 h 2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12" h="26">
                    <a:moveTo>
                      <a:pt x="46" y="2"/>
                    </a:moveTo>
                    <a:lnTo>
                      <a:pt x="56" y="2"/>
                    </a:lnTo>
                    <a:lnTo>
                      <a:pt x="66" y="3"/>
                    </a:lnTo>
                    <a:lnTo>
                      <a:pt x="74" y="4"/>
                    </a:lnTo>
                    <a:lnTo>
                      <a:pt x="84" y="6"/>
                    </a:lnTo>
                    <a:lnTo>
                      <a:pt x="92" y="9"/>
                    </a:lnTo>
                    <a:lnTo>
                      <a:pt x="100" y="12"/>
                    </a:lnTo>
                    <a:lnTo>
                      <a:pt x="106" y="16"/>
                    </a:lnTo>
                    <a:lnTo>
                      <a:pt x="112" y="20"/>
                    </a:lnTo>
                    <a:lnTo>
                      <a:pt x="110" y="22"/>
                    </a:lnTo>
                    <a:lnTo>
                      <a:pt x="105" y="23"/>
                    </a:lnTo>
                    <a:lnTo>
                      <a:pt x="101" y="25"/>
                    </a:lnTo>
                    <a:lnTo>
                      <a:pt x="95" y="25"/>
                    </a:lnTo>
                    <a:lnTo>
                      <a:pt x="87" y="26"/>
                    </a:lnTo>
                    <a:lnTo>
                      <a:pt x="79" y="26"/>
                    </a:lnTo>
                    <a:lnTo>
                      <a:pt x="66" y="24"/>
                    </a:lnTo>
                    <a:lnTo>
                      <a:pt x="41" y="19"/>
                    </a:lnTo>
                    <a:lnTo>
                      <a:pt x="16" y="13"/>
                    </a:lnTo>
                    <a:lnTo>
                      <a:pt x="0" y="8"/>
                    </a:lnTo>
                    <a:lnTo>
                      <a:pt x="5" y="4"/>
                    </a:lnTo>
                    <a:lnTo>
                      <a:pt x="11" y="2"/>
                    </a:lnTo>
                    <a:lnTo>
                      <a:pt x="18" y="1"/>
                    </a:lnTo>
                    <a:lnTo>
                      <a:pt x="25" y="0"/>
                    </a:lnTo>
                    <a:lnTo>
                      <a:pt x="37" y="1"/>
                    </a:lnTo>
                    <a:lnTo>
                      <a:pt x="46" y="2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96" name="Freeform 318">
                <a:extLst>
                  <a:ext uri="{FF2B5EF4-FFF2-40B4-BE49-F238E27FC236}">
                    <a16:creationId xmlns="" xmlns:a16="http://schemas.microsoft.com/office/drawing/2014/main" id="{1A274E2B-D4C3-4502-8DEC-CF28FA528BAC}"/>
                  </a:ext>
                </a:extLst>
              </p:cNvPr>
              <p:cNvSpPr>
                <a:spLocks/>
              </p:cNvSpPr>
              <p:nvPr>
                <p:custDataLst>
                  <p:tags r:id="rId221"/>
                </p:custDataLst>
              </p:nvPr>
            </p:nvSpPr>
            <p:spPr bwMode="auto">
              <a:xfrm>
                <a:off x="7065963" y="3989388"/>
                <a:ext cx="14287" cy="58737"/>
              </a:xfrm>
              <a:custGeom>
                <a:avLst/>
                <a:gdLst>
                  <a:gd name="T0" fmla="*/ 0 w 41"/>
                  <a:gd name="T1" fmla="*/ 0 h 25"/>
                  <a:gd name="T2" fmla="*/ 2147483646 w 41"/>
                  <a:gd name="T3" fmla="*/ 0 h 25"/>
                  <a:gd name="T4" fmla="*/ 2147483646 w 41"/>
                  <a:gd name="T5" fmla="*/ 2147483646 h 25"/>
                  <a:gd name="T6" fmla="*/ 2147483646 w 41"/>
                  <a:gd name="T7" fmla="*/ 2147483646 h 25"/>
                  <a:gd name="T8" fmla="*/ 2147483646 w 41"/>
                  <a:gd name="T9" fmla="*/ 2147483646 h 25"/>
                  <a:gd name="T10" fmla="*/ 0 w 41"/>
                  <a:gd name="T11" fmla="*/ 2147483646 h 25"/>
                  <a:gd name="T12" fmla="*/ 0 w 41"/>
                  <a:gd name="T13" fmla="*/ 0 h 2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1"/>
                  <a:gd name="T22" fmla="*/ 0 h 25"/>
                  <a:gd name="T23" fmla="*/ 41 w 41"/>
                  <a:gd name="T24" fmla="*/ 25 h 2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1" h="25">
                    <a:moveTo>
                      <a:pt x="0" y="0"/>
                    </a:moveTo>
                    <a:lnTo>
                      <a:pt x="41" y="0"/>
                    </a:lnTo>
                    <a:lnTo>
                      <a:pt x="28" y="8"/>
                    </a:lnTo>
                    <a:lnTo>
                      <a:pt x="18" y="15"/>
                    </a:lnTo>
                    <a:lnTo>
                      <a:pt x="9" y="20"/>
                    </a:lnTo>
                    <a:lnTo>
                      <a:pt x="0" y="25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97" name="Freeform 319">
                <a:extLst>
                  <a:ext uri="{FF2B5EF4-FFF2-40B4-BE49-F238E27FC236}">
                    <a16:creationId xmlns="" xmlns:a16="http://schemas.microsoft.com/office/drawing/2014/main" id="{85BF8F78-5653-400E-832B-7A999462D26E}"/>
                  </a:ext>
                </a:extLst>
              </p:cNvPr>
              <p:cNvSpPr>
                <a:spLocks/>
              </p:cNvSpPr>
              <p:nvPr>
                <p:custDataLst>
                  <p:tags r:id="rId222"/>
                </p:custDataLst>
              </p:nvPr>
            </p:nvSpPr>
            <p:spPr bwMode="auto">
              <a:xfrm>
                <a:off x="6899275" y="3921125"/>
                <a:ext cx="36513" cy="55563"/>
              </a:xfrm>
              <a:custGeom>
                <a:avLst/>
                <a:gdLst>
                  <a:gd name="T0" fmla="*/ 0 w 81"/>
                  <a:gd name="T1" fmla="*/ 2147483646 h 31"/>
                  <a:gd name="T2" fmla="*/ 0 w 81"/>
                  <a:gd name="T3" fmla="*/ 2147483646 h 31"/>
                  <a:gd name="T4" fmla="*/ 0 w 81"/>
                  <a:gd name="T5" fmla="*/ 2147483646 h 31"/>
                  <a:gd name="T6" fmla="*/ 0 w 81"/>
                  <a:gd name="T7" fmla="*/ 2147483646 h 31"/>
                  <a:gd name="T8" fmla="*/ 2147483646 w 81"/>
                  <a:gd name="T9" fmla="*/ 2147483646 h 31"/>
                  <a:gd name="T10" fmla="*/ 2147483646 w 81"/>
                  <a:gd name="T11" fmla="*/ 2147483646 h 31"/>
                  <a:gd name="T12" fmla="*/ 2147483646 w 81"/>
                  <a:gd name="T13" fmla="*/ 2147483646 h 31"/>
                  <a:gd name="T14" fmla="*/ 2147483646 w 81"/>
                  <a:gd name="T15" fmla="*/ 2147483646 h 31"/>
                  <a:gd name="T16" fmla="*/ 2147483646 w 81"/>
                  <a:gd name="T17" fmla="*/ 0 h 31"/>
                  <a:gd name="T18" fmla="*/ 2147483646 w 81"/>
                  <a:gd name="T19" fmla="*/ 2147483646 h 31"/>
                  <a:gd name="T20" fmla="*/ 2147483646 w 81"/>
                  <a:gd name="T21" fmla="*/ 2147483646 h 31"/>
                  <a:gd name="T22" fmla="*/ 2147483646 w 81"/>
                  <a:gd name="T23" fmla="*/ 2147483646 h 31"/>
                  <a:gd name="T24" fmla="*/ 2147483646 w 81"/>
                  <a:gd name="T25" fmla="*/ 2147483646 h 31"/>
                  <a:gd name="T26" fmla="*/ 2147483646 w 81"/>
                  <a:gd name="T27" fmla="*/ 2147483646 h 31"/>
                  <a:gd name="T28" fmla="*/ 2147483646 w 81"/>
                  <a:gd name="T29" fmla="*/ 2147483646 h 31"/>
                  <a:gd name="T30" fmla="*/ 2147483646 w 81"/>
                  <a:gd name="T31" fmla="*/ 2147483646 h 31"/>
                  <a:gd name="T32" fmla="*/ 2147483646 w 81"/>
                  <a:gd name="T33" fmla="*/ 2147483646 h 31"/>
                  <a:gd name="T34" fmla="*/ 2147483646 w 81"/>
                  <a:gd name="T35" fmla="*/ 2147483646 h 31"/>
                  <a:gd name="T36" fmla="*/ 2147483646 w 81"/>
                  <a:gd name="T37" fmla="*/ 2147483646 h 31"/>
                  <a:gd name="T38" fmla="*/ 2147483646 w 81"/>
                  <a:gd name="T39" fmla="*/ 2147483646 h 31"/>
                  <a:gd name="T40" fmla="*/ 2147483646 w 81"/>
                  <a:gd name="T41" fmla="*/ 2147483646 h 31"/>
                  <a:gd name="T42" fmla="*/ 2147483646 w 81"/>
                  <a:gd name="T43" fmla="*/ 2147483646 h 31"/>
                  <a:gd name="T44" fmla="*/ 2147483646 w 81"/>
                  <a:gd name="T45" fmla="*/ 2147483646 h 31"/>
                  <a:gd name="T46" fmla="*/ 0 w 81"/>
                  <a:gd name="T47" fmla="*/ 2147483646 h 3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81"/>
                  <a:gd name="T73" fmla="*/ 0 h 31"/>
                  <a:gd name="T74" fmla="*/ 81 w 81"/>
                  <a:gd name="T75" fmla="*/ 31 h 31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81" h="31">
                    <a:moveTo>
                      <a:pt x="0" y="31"/>
                    </a:moveTo>
                    <a:lnTo>
                      <a:pt x="0" y="22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" y="8"/>
                    </a:lnTo>
                    <a:lnTo>
                      <a:pt x="3" y="6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4" y="0"/>
                    </a:lnTo>
                    <a:lnTo>
                      <a:pt x="26" y="1"/>
                    </a:lnTo>
                    <a:lnTo>
                      <a:pt x="41" y="1"/>
                    </a:lnTo>
                    <a:lnTo>
                      <a:pt x="56" y="1"/>
                    </a:lnTo>
                    <a:lnTo>
                      <a:pt x="65" y="1"/>
                    </a:lnTo>
                    <a:lnTo>
                      <a:pt x="73" y="1"/>
                    </a:lnTo>
                    <a:lnTo>
                      <a:pt x="81" y="1"/>
                    </a:lnTo>
                    <a:lnTo>
                      <a:pt x="73" y="6"/>
                    </a:lnTo>
                    <a:lnTo>
                      <a:pt x="67" y="10"/>
                    </a:lnTo>
                    <a:lnTo>
                      <a:pt x="64" y="14"/>
                    </a:lnTo>
                    <a:lnTo>
                      <a:pt x="62" y="18"/>
                    </a:lnTo>
                    <a:lnTo>
                      <a:pt x="59" y="21"/>
                    </a:lnTo>
                    <a:lnTo>
                      <a:pt x="54" y="23"/>
                    </a:lnTo>
                    <a:lnTo>
                      <a:pt x="47" y="25"/>
                    </a:lnTo>
                    <a:lnTo>
                      <a:pt x="34" y="25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98" name="Freeform 320">
                <a:extLst>
                  <a:ext uri="{FF2B5EF4-FFF2-40B4-BE49-F238E27FC236}">
                    <a16:creationId xmlns="" xmlns:a16="http://schemas.microsoft.com/office/drawing/2014/main" id="{A85DBEDE-BC1D-4D2A-9821-22F5E012ADF7}"/>
                  </a:ext>
                </a:extLst>
              </p:cNvPr>
              <p:cNvSpPr>
                <a:spLocks/>
              </p:cNvSpPr>
              <p:nvPr>
                <p:custDataLst>
                  <p:tags r:id="rId223"/>
                </p:custDataLst>
              </p:nvPr>
            </p:nvSpPr>
            <p:spPr bwMode="auto">
              <a:xfrm>
                <a:off x="6943725" y="3906838"/>
                <a:ext cx="39688" cy="55562"/>
              </a:xfrm>
              <a:custGeom>
                <a:avLst/>
                <a:gdLst>
                  <a:gd name="T0" fmla="*/ 2147483646 w 89"/>
                  <a:gd name="T1" fmla="*/ 2147483646 h 49"/>
                  <a:gd name="T2" fmla="*/ 2147483646 w 89"/>
                  <a:gd name="T3" fmla="*/ 2147483646 h 49"/>
                  <a:gd name="T4" fmla="*/ 2147483646 w 89"/>
                  <a:gd name="T5" fmla="*/ 2147483646 h 49"/>
                  <a:gd name="T6" fmla="*/ 2147483646 w 89"/>
                  <a:gd name="T7" fmla="*/ 2147483646 h 49"/>
                  <a:gd name="T8" fmla="*/ 2147483646 w 89"/>
                  <a:gd name="T9" fmla="*/ 2147483646 h 49"/>
                  <a:gd name="T10" fmla="*/ 2147483646 w 89"/>
                  <a:gd name="T11" fmla="*/ 2147483646 h 49"/>
                  <a:gd name="T12" fmla="*/ 2147483646 w 89"/>
                  <a:gd name="T13" fmla="*/ 2147483646 h 49"/>
                  <a:gd name="T14" fmla="*/ 2147483646 w 89"/>
                  <a:gd name="T15" fmla="*/ 2147483646 h 49"/>
                  <a:gd name="T16" fmla="*/ 2147483646 w 89"/>
                  <a:gd name="T17" fmla="*/ 2147483646 h 49"/>
                  <a:gd name="T18" fmla="*/ 2147483646 w 89"/>
                  <a:gd name="T19" fmla="*/ 0 h 49"/>
                  <a:gd name="T20" fmla="*/ 2147483646 w 89"/>
                  <a:gd name="T21" fmla="*/ 2147483646 h 49"/>
                  <a:gd name="T22" fmla="*/ 2147483646 w 89"/>
                  <a:gd name="T23" fmla="*/ 2147483646 h 49"/>
                  <a:gd name="T24" fmla="*/ 0 w 89"/>
                  <a:gd name="T25" fmla="*/ 2147483646 h 49"/>
                  <a:gd name="T26" fmla="*/ 0 w 89"/>
                  <a:gd name="T27" fmla="*/ 2147483646 h 49"/>
                  <a:gd name="T28" fmla="*/ 0 w 89"/>
                  <a:gd name="T29" fmla="*/ 2147483646 h 49"/>
                  <a:gd name="T30" fmla="*/ 2147483646 w 89"/>
                  <a:gd name="T31" fmla="*/ 2147483646 h 4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89"/>
                  <a:gd name="T49" fmla="*/ 0 h 49"/>
                  <a:gd name="T50" fmla="*/ 89 w 89"/>
                  <a:gd name="T51" fmla="*/ 49 h 49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89" h="49">
                    <a:moveTo>
                      <a:pt x="2" y="49"/>
                    </a:moveTo>
                    <a:lnTo>
                      <a:pt x="89" y="49"/>
                    </a:lnTo>
                    <a:lnTo>
                      <a:pt x="78" y="41"/>
                    </a:lnTo>
                    <a:lnTo>
                      <a:pt x="68" y="35"/>
                    </a:lnTo>
                    <a:lnTo>
                      <a:pt x="57" y="30"/>
                    </a:lnTo>
                    <a:lnTo>
                      <a:pt x="46" y="25"/>
                    </a:lnTo>
                    <a:lnTo>
                      <a:pt x="36" y="21"/>
                    </a:lnTo>
                    <a:lnTo>
                      <a:pt x="26" y="14"/>
                    </a:lnTo>
                    <a:lnTo>
                      <a:pt x="16" y="8"/>
                    </a:lnTo>
                    <a:lnTo>
                      <a:pt x="9" y="0"/>
                    </a:lnTo>
                    <a:lnTo>
                      <a:pt x="4" y="10"/>
                    </a:lnTo>
                    <a:lnTo>
                      <a:pt x="1" y="23"/>
                    </a:lnTo>
                    <a:lnTo>
                      <a:pt x="0" y="29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2" y="49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99" name="Freeform 321">
                <a:extLst>
                  <a:ext uri="{FF2B5EF4-FFF2-40B4-BE49-F238E27FC236}">
                    <a16:creationId xmlns="" xmlns:a16="http://schemas.microsoft.com/office/drawing/2014/main" id="{5E1BB042-E2BA-488C-80B1-863E7A4059A4}"/>
                  </a:ext>
                </a:extLst>
              </p:cNvPr>
              <p:cNvSpPr>
                <a:spLocks/>
              </p:cNvSpPr>
              <p:nvPr>
                <p:custDataLst>
                  <p:tags r:id="rId224"/>
                </p:custDataLst>
              </p:nvPr>
            </p:nvSpPr>
            <p:spPr bwMode="auto">
              <a:xfrm>
                <a:off x="6996113" y="3916363"/>
                <a:ext cx="36512" cy="58737"/>
              </a:xfrm>
              <a:custGeom>
                <a:avLst/>
                <a:gdLst>
                  <a:gd name="T0" fmla="*/ 0 w 86"/>
                  <a:gd name="T1" fmla="*/ 2147483646 h 46"/>
                  <a:gd name="T2" fmla="*/ 2147483646 w 86"/>
                  <a:gd name="T3" fmla="*/ 2147483646 h 46"/>
                  <a:gd name="T4" fmla="*/ 2147483646 w 86"/>
                  <a:gd name="T5" fmla="*/ 2147483646 h 46"/>
                  <a:gd name="T6" fmla="*/ 2147483646 w 86"/>
                  <a:gd name="T7" fmla="*/ 2147483646 h 46"/>
                  <a:gd name="T8" fmla="*/ 2147483646 w 86"/>
                  <a:gd name="T9" fmla="*/ 2147483646 h 46"/>
                  <a:gd name="T10" fmla="*/ 2147483646 w 86"/>
                  <a:gd name="T11" fmla="*/ 2147483646 h 46"/>
                  <a:gd name="T12" fmla="*/ 2147483646 w 86"/>
                  <a:gd name="T13" fmla="*/ 2147483646 h 46"/>
                  <a:gd name="T14" fmla="*/ 2147483646 w 86"/>
                  <a:gd name="T15" fmla="*/ 2147483646 h 46"/>
                  <a:gd name="T16" fmla="*/ 2147483646 w 86"/>
                  <a:gd name="T17" fmla="*/ 2147483646 h 46"/>
                  <a:gd name="T18" fmla="*/ 2147483646 w 86"/>
                  <a:gd name="T19" fmla="*/ 2147483646 h 46"/>
                  <a:gd name="T20" fmla="*/ 2147483646 w 86"/>
                  <a:gd name="T21" fmla="*/ 2147483646 h 46"/>
                  <a:gd name="T22" fmla="*/ 2147483646 w 86"/>
                  <a:gd name="T23" fmla="*/ 2147483646 h 46"/>
                  <a:gd name="T24" fmla="*/ 2147483646 w 86"/>
                  <a:gd name="T25" fmla="*/ 2147483646 h 46"/>
                  <a:gd name="T26" fmla="*/ 2147483646 w 86"/>
                  <a:gd name="T27" fmla="*/ 2147483646 h 46"/>
                  <a:gd name="T28" fmla="*/ 2147483646 w 86"/>
                  <a:gd name="T29" fmla="*/ 2147483646 h 46"/>
                  <a:gd name="T30" fmla="*/ 2147483646 w 86"/>
                  <a:gd name="T31" fmla="*/ 2147483646 h 46"/>
                  <a:gd name="T32" fmla="*/ 2147483646 w 86"/>
                  <a:gd name="T33" fmla="*/ 2147483646 h 46"/>
                  <a:gd name="T34" fmla="*/ 2147483646 w 86"/>
                  <a:gd name="T35" fmla="*/ 2147483646 h 46"/>
                  <a:gd name="T36" fmla="*/ 2147483646 w 86"/>
                  <a:gd name="T37" fmla="*/ 2147483646 h 46"/>
                  <a:gd name="T38" fmla="*/ 2147483646 w 86"/>
                  <a:gd name="T39" fmla="*/ 2147483646 h 46"/>
                  <a:gd name="T40" fmla="*/ 2147483646 w 86"/>
                  <a:gd name="T41" fmla="*/ 2147483646 h 46"/>
                  <a:gd name="T42" fmla="*/ 2147483646 w 86"/>
                  <a:gd name="T43" fmla="*/ 0 h 46"/>
                  <a:gd name="T44" fmla="*/ 2147483646 w 86"/>
                  <a:gd name="T45" fmla="*/ 0 h 46"/>
                  <a:gd name="T46" fmla="*/ 2147483646 w 86"/>
                  <a:gd name="T47" fmla="*/ 2147483646 h 46"/>
                  <a:gd name="T48" fmla="*/ 2147483646 w 86"/>
                  <a:gd name="T49" fmla="*/ 2147483646 h 46"/>
                  <a:gd name="T50" fmla="*/ 2147483646 w 86"/>
                  <a:gd name="T51" fmla="*/ 2147483646 h 46"/>
                  <a:gd name="T52" fmla="*/ 2147483646 w 86"/>
                  <a:gd name="T53" fmla="*/ 2147483646 h 46"/>
                  <a:gd name="T54" fmla="*/ 2147483646 w 86"/>
                  <a:gd name="T55" fmla="*/ 2147483646 h 46"/>
                  <a:gd name="T56" fmla="*/ 0 w 86"/>
                  <a:gd name="T57" fmla="*/ 2147483646 h 4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86"/>
                  <a:gd name="T88" fmla="*/ 0 h 46"/>
                  <a:gd name="T89" fmla="*/ 86 w 86"/>
                  <a:gd name="T90" fmla="*/ 46 h 4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86" h="46">
                    <a:moveTo>
                      <a:pt x="0" y="21"/>
                    </a:moveTo>
                    <a:lnTo>
                      <a:pt x="14" y="26"/>
                    </a:lnTo>
                    <a:lnTo>
                      <a:pt x="25" y="29"/>
                    </a:lnTo>
                    <a:lnTo>
                      <a:pt x="30" y="30"/>
                    </a:lnTo>
                    <a:lnTo>
                      <a:pt x="36" y="30"/>
                    </a:lnTo>
                    <a:lnTo>
                      <a:pt x="41" y="29"/>
                    </a:lnTo>
                    <a:lnTo>
                      <a:pt x="46" y="27"/>
                    </a:lnTo>
                    <a:lnTo>
                      <a:pt x="46" y="36"/>
                    </a:lnTo>
                    <a:lnTo>
                      <a:pt x="46" y="46"/>
                    </a:lnTo>
                    <a:lnTo>
                      <a:pt x="56" y="45"/>
                    </a:lnTo>
                    <a:lnTo>
                      <a:pt x="67" y="43"/>
                    </a:lnTo>
                    <a:lnTo>
                      <a:pt x="77" y="40"/>
                    </a:lnTo>
                    <a:lnTo>
                      <a:pt x="86" y="40"/>
                    </a:lnTo>
                    <a:lnTo>
                      <a:pt x="83" y="32"/>
                    </a:lnTo>
                    <a:lnTo>
                      <a:pt x="80" y="25"/>
                    </a:lnTo>
                    <a:lnTo>
                      <a:pt x="74" y="19"/>
                    </a:lnTo>
                    <a:lnTo>
                      <a:pt x="70" y="14"/>
                    </a:lnTo>
                    <a:lnTo>
                      <a:pt x="64" y="9"/>
                    </a:lnTo>
                    <a:lnTo>
                      <a:pt x="58" y="6"/>
                    </a:lnTo>
                    <a:lnTo>
                      <a:pt x="51" y="3"/>
                    </a:lnTo>
                    <a:lnTo>
                      <a:pt x="46" y="1"/>
                    </a:lnTo>
                    <a:lnTo>
                      <a:pt x="39" y="0"/>
                    </a:lnTo>
                    <a:lnTo>
                      <a:pt x="33" y="0"/>
                    </a:lnTo>
                    <a:lnTo>
                      <a:pt x="26" y="1"/>
                    </a:lnTo>
                    <a:lnTo>
                      <a:pt x="19" y="3"/>
                    </a:lnTo>
                    <a:lnTo>
                      <a:pt x="14" y="6"/>
                    </a:lnTo>
                    <a:lnTo>
                      <a:pt x="8" y="10"/>
                    </a:lnTo>
                    <a:lnTo>
                      <a:pt x="4" y="15"/>
                    </a:lnTo>
                    <a:lnTo>
                      <a:pt x="0" y="21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00" name="Freeform 322">
                <a:extLst>
                  <a:ext uri="{FF2B5EF4-FFF2-40B4-BE49-F238E27FC236}">
                    <a16:creationId xmlns="" xmlns:a16="http://schemas.microsoft.com/office/drawing/2014/main" id="{9830D66F-AB00-4841-9126-9737080843EF}"/>
                  </a:ext>
                </a:extLst>
              </p:cNvPr>
              <p:cNvSpPr>
                <a:spLocks/>
              </p:cNvSpPr>
              <p:nvPr>
                <p:custDataLst>
                  <p:tags r:id="rId225"/>
                </p:custDataLst>
              </p:nvPr>
            </p:nvSpPr>
            <p:spPr bwMode="auto">
              <a:xfrm>
                <a:off x="7048500" y="3921125"/>
                <a:ext cx="25400" cy="55563"/>
              </a:xfrm>
              <a:custGeom>
                <a:avLst/>
                <a:gdLst>
                  <a:gd name="T0" fmla="*/ 0 w 59"/>
                  <a:gd name="T1" fmla="*/ 0 h 18"/>
                  <a:gd name="T2" fmla="*/ 0 w 59"/>
                  <a:gd name="T3" fmla="*/ 2147483646 h 18"/>
                  <a:gd name="T4" fmla="*/ 2147483646 w 59"/>
                  <a:gd name="T5" fmla="*/ 2147483646 h 18"/>
                  <a:gd name="T6" fmla="*/ 2147483646 w 59"/>
                  <a:gd name="T7" fmla="*/ 2147483646 h 18"/>
                  <a:gd name="T8" fmla="*/ 2147483646 w 59"/>
                  <a:gd name="T9" fmla="*/ 2147483646 h 18"/>
                  <a:gd name="T10" fmla="*/ 2147483646 w 59"/>
                  <a:gd name="T11" fmla="*/ 2147483646 h 18"/>
                  <a:gd name="T12" fmla="*/ 2147483646 w 59"/>
                  <a:gd name="T13" fmla="*/ 2147483646 h 18"/>
                  <a:gd name="T14" fmla="*/ 2147483646 w 59"/>
                  <a:gd name="T15" fmla="*/ 2147483646 h 18"/>
                  <a:gd name="T16" fmla="*/ 2147483646 w 59"/>
                  <a:gd name="T17" fmla="*/ 2147483646 h 18"/>
                  <a:gd name="T18" fmla="*/ 2147483646 w 59"/>
                  <a:gd name="T19" fmla="*/ 2147483646 h 18"/>
                  <a:gd name="T20" fmla="*/ 2147483646 w 59"/>
                  <a:gd name="T21" fmla="*/ 2147483646 h 18"/>
                  <a:gd name="T22" fmla="*/ 0 w 59"/>
                  <a:gd name="T23" fmla="*/ 0 h 1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59"/>
                  <a:gd name="T37" fmla="*/ 0 h 18"/>
                  <a:gd name="T38" fmla="*/ 59 w 59"/>
                  <a:gd name="T39" fmla="*/ 18 h 18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59" h="18">
                    <a:moveTo>
                      <a:pt x="0" y="0"/>
                    </a:moveTo>
                    <a:lnTo>
                      <a:pt x="0" y="18"/>
                    </a:lnTo>
                    <a:lnTo>
                      <a:pt x="39" y="18"/>
                    </a:lnTo>
                    <a:lnTo>
                      <a:pt x="59" y="6"/>
                    </a:lnTo>
                    <a:lnTo>
                      <a:pt x="51" y="5"/>
                    </a:lnTo>
                    <a:lnTo>
                      <a:pt x="45" y="4"/>
                    </a:lnTo>
                    <a:lnTo>
                      <a:pt x="37" y="5"/>
                    </a:lnTo>
                    <a:lnTo>
                      <a:pt x="29" y="6"/>
                    </a:lnTo>
                    <a:lnTo>
                      <a:pt x="22" y="6"/>
                    </a:lnTo>
                    <a:lnTo>
                      <a:pt x="14" y="5"/>
                    </a:lnTo>
                    <a:lnTo>
                      <a:pt x="7" y="4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01" name="Freeform 323">
                <a:extLst>
                  <a:ext uri="{FF2B5EF4-FFF2-40B4-BE49-F238E27FC236}">
                    <a16:creationId xmlns="" xmlns:a16="http://schemas.microsoft.com/office/drawing/2014/main" id="{6408DE34-036F-440C-9608-F11AAC696B97}"/>
                  </a:ext>
                </a:extLst>
              </p:cNvPr>
              <p:cNvSpPr>
                <a:spLocks/>
              </p:cNvSpPr>
              <p:nvPr>
                <p:custDataLst>
                  <p:tags r:id="rId226"/>
                </p:custDataLst>
              </p:nvPr>
            </p:nvSpPr>
            <p:spPr bwMode="auto">
              <a:xfrm>
                <a:off x="7121525" y="3913188"/>
                <a:ext cx="1588" cy="55562"/>
              </a:xfrm>
              <a:custGeom>
                <a:avLst/>
                <a:gdLst>
                  <a:gd name="T0" fmla="*/ 2147483646 w 4"/>
                  <a:gd name="T1" fmla="*/ 2147483646 h 19"/>
                  <a:gd name="T2" fmla="*/ 2147483646 w 4"/>
                  <a:gd name="T3" fmla="*/ 0 h 19"/>
                  <a:gd name="T4" fmla="*/ 2147483646 w 4"/>
                  <a:gd name="T5" fmla="*/ 2147483646 h 19"/>
                  <a:gd name="T6" fmla="*/ 2147483646 w 4"/>
                  <a:gd name="T7" fmla="*/ 2147483646 h 19"/>
                  <a:gd name="T8" fmla="*/ 0 w 4"/>
                  <a:gd name="T9" fmla="*/ 2147483646 h 19"/>
                  <a:gd name="T10" fmla="*/ 0 w 4"/>
                  <a:gd name="T11" fmla="*/ 2147483646 h 19"/>
                  <a:gd name="T12" fmla="*/ 0 w 4"/>
                  <a:gd name="T13" fmla="*/ 2147483646 h 19"/>
                  <a:gd name="T14" fmla="*/ 2147483646 w 4"/>
                  <a:gd name="T15" fmla="*/ 2147483646 h 19"/>
                  <a:gd name="T16" fmla="*/ 2147483646 w 4"/>
                  <a:gd name="T17" fmla="*/ 2147483646 h 19"/>
                  <a:gd name="T18" fmla="*/ 2147483646 w 4"/>
                  <a:gd name="T19" fmla="*/ 2147483646 h 1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4"/>
                  <a:gd name="T31" fmla="*/ 0 h 19"/>
                  <a:gd name="T32" fmla="*/ 4 w 4"/>
                  <a:gd name="T33" fmla="*/ 19 h 19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4" h="19">
                    <a:moveTo>
                      <a:pt x="4" y="19"/>
                    </a:moveTo>
                    <a:lnTo>
                      <a:pt x="4" y="0"/>
                    </a:lnTo>
                    <a:lnTo>
                      <a:pt x="2" y="1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1" y="16"/>
                    </a:lnTo>
                    <a:lnTo>
                      <a:pt x="2" y="19"/>
                    </a:lnTo>
                    <a:lnTo>
                      <a:pt x="4" y="19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02" name="Freeform 324">
                <a:extLst>
                  <a:ext uri="{FF2B5EF4-FFF2-40B4-BE49-F238E27FC236}">
                    <a16:creationId xmlns="" xmlns:a16="http://schemas.microsoft.com/office/drawing/2014/main" id="{4DA06B49-C4AD-471A-A175-971F41C08555}"/>
                  </a:ext>
                </a:extLst>
              </p:cNvPr>
              <p:cNvSpPr>
                <a:spLocks/>
              </p:cNvSpPr>
              <p:nvPr>
                <p:custDataLst>
                  <p:tags r:id="rId227"/>
                </p:custDataLst>
              </p:nvPr>
            </p:nvSpPr>
            <p:spPr bwMode="auto">
              <a:xfrm>
                <a:off x="6696075" y="3727450"/>
                <a:ext cx="20638" cy="58738"/>
              </a:xfrm>
              <a:custGeom>
                <a:avLst/>
                <a:gdLst>
                  <a:gd name="T0" fmla="*/ 0 w 46"/>
                  <a:gd name="T1" fmla="*/ 2147483646 h 50"/>
                  <a:gd name="T2" fmla="*/ 2147483646 w 46"/>
                  <a:gd name="T3" fmla="*/ 0 h 50"/>
                  <a:gd name="T4" fmla="*/ 2147483646 w 46"/>
                  <a:gd name="T5" fmla="*/ 2147483646 h 50"/>
                  <a:gd name="T6" fmla="*/ 2147483646 w 46"/>
                  <a:gd name="T7" fmla="*/ 2147483646 h 50"/>
                  <a:gd name="T8" fmla="*/ 2147483646 w 46"/>
                  <a:gd name="T9" fmla="*/ 2147483646 h 50"/>
                  <a:gd name="T10" fmla="*/ 2147483646 w 46"/>
                  <a:gd name="T11" fmla="*/ 2147483646 h 50"/>
                  <a:gd name="T12" fmla="*/ 2147483646 w 46"/>
                  <a:gd name="T13" fmla="*/ 2147483646 h 50"/>
                  <a:gd name="T14" fmla="*/ 2147483646 w 46"/>
                  <a:gd name="T15" fmla="*/ 2147483646 h 50"/>
                  <a:gd name="T16" fmla="*/ 2147483646 w 46"/>
                  <a:gd name="T17" fmla="*/ 2147483646 h 50"/>
                  <a:gd name="T18" fmla="*/ 2147483646 w 46"/>
                  <a:gd name="T19" fmla="*/ 2147483646 h 50"/>
                  <a:gd name="T20" fmla="*/ 2147483646 w 46"/>
                  <a:gd name="T21" fmla="*/ 2147483646 h 50"/>
                  <a:gd name="T22" fmla="*/ 0 w 46"/>
                  <a:gd name="T23" fmla="*/ 2147483646 h 5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6"/>
                  <a:gd name="T37" fmla="*/ 0 h 50"/>
                  <a:gd name="T38" fmla="*/ 46 w 46"/>
                  <a:gd name="T39" fmla="*/ 50 h 5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6" h="50">
                    <a:moveTo>
                      <a:pt x="0" y="50"/>
                    </a:moveTo>
                    <a:lnTo>
                      <a:pt x="7" y="0"/>
                    </a:lnTo>
                    <a:lnTo>
                      <a:pt x="23" y="8"/>
                    </a:lnTo>
                    <a:lnTo>
                      <a:pt x="34" y="14"/>
                    </a:lnTo>
                    <a:lnTo>
                      <a:pt x="37" y="18"/>
                    </a:lnTo>
                    <a:lnTo>
                      <a:pt x="41" y="22"/>
                    </a:lnTo>
                    <a:lnTo>
                      <a:pt x="44" y="30"/>
                    </a:lnTo>
                    <a:lnTo>
                      <a:pt x="46" y="38"/>
                    </a:lnTo>
                    <a:lnTo>
                      <a:pt x="34" y="42"/>
                    </a:lnTo>
                    <a:lnTo>
                      <a:pt x="21" y="46"/>
                    </a:lnTo>
                    <a:lnTo>
                      <a:pt x="8" y="49"/>
                    </a:lnTo>
                    <a:lnTo>
                      <a:pt x="0" y="5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03" name="Freeform 325">
                <a:extLst>
                  <a:ext uri="{FF2B5EF4-FFF2-40B4-BE49-F238E27FC236}">
                    <a16:creationId xmlns="" xmlns:a16="http://schemas.microsoft.com/office/drawing/2014/main" id="{F17617D8-39E1-4C9F-B258-D71715B17747}"/>
                  </a:ext>
                </a:extLst>
              </p:cNvPr>
              <p:cNvSpPr>
                <a:spLocks/>
              </p:cNvSpPr>
              <p:nvPr>
                <p:custDataLst>
                  <p:tags r:id="rId228"/>
                </p:custDataLst>
              </p:nvPr>
            </p:nvSpPr>
            <p:spPr bwMode="auto">
              <a:xfrm>
                <a:off x="6642100" y="3700463"/>
                <a:ext cx="30163" cy="58737"/>
              </a:xfrm>
              <a:custGeom>
                <a:avLst/>
                <a:gdLst>
                  <a:gd name="T0" fmla="*/ 0 w 66"/>
                  <a:gd name="T1" fmla="*/ 0 h 80"/>
                  <a:gd name="T2" fmla="*/ 2147483646 w 66"/>
                  <a:gd name="T3" fmla="*/ 0 h 80"/>
                  <a:gd name="T4" fmla="*/ 2147483646 w 66"/>
                  <a:gd name="T5" fmla="*/ 0 h 80"/>
                  <a:gd name="T6" fmla="*/ 2147483646 w 66"/>
                  <a:gd name="T7" fmla="*/ 0 h 80"/>
                  <a:gd name="T8" fmla="*/ 2147483646 w 66"/>
                  <a:gd name="T9" fmla="*/ 0 h 80"/>
                  <a:gd name="T10" fmla="*/ 2147483646 w 66"/>
                  <a:gd name="T11" fmla="*/ 2147483646 h 80"/>
                  <a:gd name="T12" fmla="*/ 2147483646 w 66"/>
                  <a:gd name="T13" fmla="*/ 2147483646 h 80"/>
                  <a:gd name="T14" fmla="*/ 2147483646 w 66"/>
                  <a:gd name="T15" fmla="*/ 2147483646 h 80"/>
                  <a:gd name="T16" fmla="*/ 2147483646 w 66"/>
                  <a:gd name="T17" fmla="*/ 2147483646 h 80"/>
                  <a:gd name="T18" fmla="*/ 2147483646 w 66"/>
                  <a:gd name="T19" fmla="*/ 2147483646 h 80"/>
                  <a:gd name="T20" fmla="*/ 2147483646 w 66"/>
                  <a:gd name="T21" fmla="*/ 2147483646 h 80"/>
                  <a:gd name="T22" fmla="*/ 2147483646 w 66"/>
                  <a:gd name="T23" fmla="*/ 2147483646 h 80"/>
                  <a:gd name="T24" fmla="*/ 2147483646 w 66"/>
                  <a:gd name="T25" fmla="*/ 2147483646 h 80"/>
                  <a:gd name="T26" fmla="*/ 2147483646 w 66"/>
                  <a:gd name="T27" fmla="*/ 2147483646 h 80"/>
                  <a:gd name="T28" fmla="*/ 2147483646 w 66"/>
                  <a:gd name="T29" fmla="*/ 2147483646 h 80"/>
                  <a:gd name="T30" fmla="*/ 2147483646 w 66"/>
                  <a:gd name="T31" fmla="*/ 2147483646 h 80"/>
                  <a:gd name="T32" fmla="*/ 2147483646 w 66"/>
                  <a:gd name="T33" fmla="*/ 2147483646 h 80"/>
                  <a:gd name="T34" fmla="*/ 0 w 66"/>
                  <a:gd name="T35" fmla="*/ 2147483646 h 80"/>
                  <a:gd name="T36" fmla="*/ 0 w 66"/>
                  <a:gd name="T37" fmla="*/ 0 h 80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6"/>
                  <a:gd name="T58" fmla="*/ 0 h 80"/>
                  <a:gd name="T59" fmla="*/ 66 w 66"/>
                  <a:gd name="T60" fmla="*/ 80 h 80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6" h="80">
                    <a:moveTo>
                      <a:pt x="0" y="0"/>
                    </a:moveTo>
                    <a:lnTo>
                      <a:pt x="10" y="0"/>
                    </a:lnTo>
                    <a:lnTo>
                      <a:pt x="18" y="0"/>
                    </a:lnTo>
                    <a:lnTo>
                      <a:pt x="26" y="0"/>
                    </a:lnTo>
                    <a:lnTo>
                      <a:pt x="33" y="0"/>
                    </a:lnTo>
                    <a:lnTo>
                      <a:pt x="33" y="7"/>
                    </a:lnTo>
                    <a:lnTo>
                      <a:pt x="34" y="14"/>
                    </a:lnTo>
                    <a:lnTo>
                      <a:pt x="36" y="21"/>
                    </a:lnTo>
                    <a:lnTo>
                      <a:pt x="38" y="27"/>
                    </a:lnTo>
                    <a:lnTo>
                      <a:pt x="44" y="36"/>
                    </a:lnTo>
                    <a:lnTo>
                      <a:pt x="49" y="45"/>
                    </a:lnTo>
                    <a:lnTo>
                      <a:pt x="56" y="52"/>
                    </a:lnTo>
                    <a:lnTo>
                      <a:pt x="61" y="60"/>
                    </a:lnTo>
                    <a:lnTo>
                      <a:pt x="62" y="65"/>
                    </a:lnTo>
                    <a:lnTo>
                      <a:pt x="65" y="69"/>
                    </a:lnTo>
                    <a:lnTo>
                      <a:pt x="66" y="75"/>
                    </a:lnTo>
                    <a:lnTo>
                      <a:pt x="66" y="80"/>
                    </a:lnTo>
                    <a:lnTo>
                      <a:pt x="0" y="1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04" name="Freeform 326">
                <a:extLst>
                  <a:ext uri="{FF2B5EF4-FFF2-40B4-BE49-F238E27FC236}">
                    <a16:creationId xmlns="" xmlns:a16="http://schemas.microsoft.com/office/drawing/2014/main" id="{470BAA62-C464-4217-AFFE-AB1A09ADC86C}"/>
                  </a:ext>
                </a:extLst>
              </p:cNvPr>
              <p:cNvSpPr>
                <a:spLocks/>
              </p:cNvSpPr>
              <p:nvPr>
                <p:custDataLst>
                  <p:tags r:id="rId229"/>
                </p:custDataLst>
              </p:nvPr>
            </p:nvSpPr>
            <p:spPr bwMode="auto">
              <a:xfrm>
                <a:off x="6477000" y="3684588"/>
                <a:ext cx="7938" cy="57150"/>
              </a:xfrm>
              <a:custGeom>
                <a:avLst/>
                <a:gdLst>
                  <a:gd name="T0" fmla="*/ 2147483646 w 20"/>
                  <a:gd name="T1" fmla="*/ 2147483646 h 48"/>
                  <a:gd name="T2" fmla="*/ 2147483646 w 20"/>
                  <a:gd name="T3" fmla="*/ 2147483646 h 48"/>
                  <a:gd name="T4" fmla="*/ 2147483646 w 20"/>
                  <a:gd name="T5" fmla="*/ 2147483646 h 48"/>
                  <a:gd name="T6" fmla="*/ 2147483646 w 20"/>
                  <a:gd name="T7" fmla="*/ 2147483646 h 48"/>
                  <a:gd name="T8" fmla="*/ 2147483646 w 20"/>
                  <a:gd name="T9" fmla="*/ 2147483646 h 48"/>
                  <a:gd name="T10" fmla="*/ 2147483646 w 20"/>
                  <a:gd name="T11" fmla="*/ 2147483646 h 48"/>
                  <a:gd name="T12" fmla="*/ 2147483646 w 20"/>
                  <a:gd name="T13" fmla="*/ 2147483646 h 48"/>
                  <a:gd name="T14" fmla="*/ 2147483646 w 20"/>
                  <a:gd name="T15" fmla="*/ 2147483646 h 48"/>
                  <a:gd name="T16" fmla="*/ 0 w 20"/>
                  <a:gd name="T17" fmla="*/ 0 h 48"/>
                  <a:gd name="T18" fmla="*/ 0 w 20"/>
                  <a:gd name="T19" fmla="*/ 2147483646 h 48"/>
                  <a:gd name="T20" fmla="*/ 2147483646 w 20"/>
                  <a:gd name="T21" fmla="*/ 2147483646 h 48"/>
                  <a:gd name="T22" fmla="*/ 2147483646 w 20"/>
                  <a:gd name="T23" fmla="*/ 2147483646 h 48"/>
                  <a:gd name="T24" fmla="*/ 2147483646 w 20"/>
                  <a:gd name="T25" fmla="*/ 2147483646 h 48"/>
                  <a:gd name="T26" fmla="*/ 2147483646 w 20"/>
                  <a:gd name="T27" fmla="*/ 2147483646 h 48"/>
                  <a:gd name="T28" fmla="*/ 2147483646 w 20"/>
                  <a:gd name="T29" fmla="*/ 2147483646 h 4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0"/>
                  <a:gd name="T46" fmla="*/ 0 h 48"/>
                  <a:gd name="T47" fmla="*/ 20 w 20"/>
                  <a:gd name="T48" fmla="*/ 48 h 4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0" h="48">
                    <a:moveTo>
                      <a:pt x="20" y="48"/>
                    </a:moveTo>
                    <a:lnTo>
                      <a:pt x="20" y="39"/>
                    </a:lnTo>
                    <a:lnTo>
                      <a:pt x="19" y="32"/>
                    </a:lnTo>
                    <a:lnTo>
                      <a:pt x="16" y="25"/>
                    </a:lnTo>
                    <a:lnTo>
                      <a:pt x="14" y="19"/>
                    </a:lnTo>
                    <a:lnTo>
                      <a:pt x="12" y="14"/>
                    </a:lnTo>
                    <a:lnTo>
                      <a:pt x="9" y="9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8"/>
                    </a:lnTo>
                    <a:lnTo>
                      <a:pt x="2" y="17"/>
                    </a:lnTo>
                    <a:lnTo>
                      <a:pt x="4" y="24"/>
                    </a:lnTo>
                    <a:lnTo>
                      <a:pt x="8" y="31"/>
                    </a:lnTo>
                    <a:lnTo>
                      <a:pt x="14" y="41"/>
                    </a:lnTo>
                    <a:lnTo>
                      <a:pt x="20" y="48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05" name="Line 327" descr="Horizontal dunkel">
                <a:extLst>
                  <a:ext uri="{FF2B5EF4-FFF2-40B4-BE49-F238E27FC236}">
                    <a16:creationId xmlns="" xmlns:a16="http://schemas.microsoft.com/office/drawing/2014/main" id="{28B2F130-A705-4103-8F64-2DD5DDACD2E6}"/>
                  </a:ext>
                </a:extLst>
              </p:cNvPr>
              <p:cNvSpPr>
                <a:spLocks noChangeShapeType="1"/>
              </p:cNvSpPr>
              <p:nvPr>
                <p:custDataLst>
                  <p:tags r:id="rId230"/>
                </p:custDataLst>
              </p:nvPr>
            </p:nvSpPr>
            <p:spPr bwMode="auto">
              <a:xfrm>
                <a:off x="6502400" y="3721100"/>
                <a:ext cx="4763" cy="635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s-ES" sz="1800" kern="1200"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06" name="Freeform 328">
                <a:extLst>
                  <a:ext uri="{FF2B5EF4-FFF2-40B4-BE49-F238E27FC236}">
                    <a16:creationId xmlns="" xmlns:a16="http://schemas.microsoft.com/office/drawing/2014/main" id="{FB4344E6-E5F5-4331-9723-3FB932D2E7EA}"/>
                  </a:ext>
                </a:extLst>
              </p:cNvPr>
              <p:cNvSpPr>
                <a:spLocks/>
              </p:cNvSpPr>
              <p:nvPr>
                <p:custDataLst>
                  <p:tags r:id="rId231"/>
                </p:custDataLst>
              </p:nvPr>
            </p:nvSpPr>
            <p:spPr bwMode="auto">
              <a:xfrm>
                <a:off x="6499225" y="3721100"/>
                <a:ext cx="7938" cy="57150"/>
              </a:xfrm>
              <a:custGeom>
                <a:avLst/>
                <a:gdLst>
                  <a:gd name="T0" fmla="*/ 2147483646 w 20"/>
                  <a:gd name="T1" fmla="*/ 2147483646 h 12"/>
                  <a:gd name="T2" fmla="*/ 2147483646 w 20"/>
                  <a:gd name="T3" fmla="*/ 2147483646 h 12"/>
                  <a:gd name="T4" fmla="*/ 2147483646 w 20"/>
                  <a:gd name="T5" fmla="*/ 2147483646 h 12"/>
                  <a:gd name="T6" fmla="*/ 2147483646 w 20"/>
                  <a:gd name="T7" fmla="*/ 2147483646 h 12"/>
                  <a:gd name="T8" fmla="*/ 2147483646 w 20"/>
                  <a:gd name="T9" fmla="*/ 2147483646 h 12"/>
                  <a:gd name="T10" fmla="*/ 2147483646 w 20"/>
                  <a:gd name="T11" fmla="*/ 0 h 12"/>
                  <a:gd name="T12" fmla="*/ 0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0"/>
                  <a:gd name="T22" fmla="*/ 0 h 12"/>
                  <a:gd name="T23" fmla="*/ 20 w 20"/>
                  <a:gd name="T24" fmla="*/ 12 h 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0" h="12">
                    <a:moveTo>
                      <a:pt x="20" y="12"/>
                    </a:moveTo>
                    <a:lnTo>
                      <a:pt x="20" y="8"/>
                    </a:lnTo>
                    <a:lnTo>
                      <a:pt x="18" y="5"/>
                    </a:lnTo>
                    <a:lnTo>
                      <a:pt x="15" y="3"/>
                    </a:lnTo>
                    <a:lnTo>
                      <a:pt x="13" y="2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07" name="Freeform 329">
                <a:extLst>
                  <a:ext uri="{FF2B5EF4-FFF2-40B4-BE49-F238E27FC236}">
                    <a16:creationId xmlns="" xmlns:a16="http://schemas.microsoft.com/office/drawing/2014/main" id="{988F7557-D5C8-43B9-BB94-525558AAA38A}"/>
                  </a:ext>
                </a:extLst>
              </p:cNvPr>
              <p:cNvSpPr>
                <a:spLocks/>
              </p:cNvSpPr>
              <p:nvPr>
                <p:custDataLst>
                  <p:tags r:id="rId232"/>
                </p:custDataLst>
              </p:nvPr>
            </p:nvSpPr>
            <p:spPr bwMode="auto">
              <a:xfrm>
                <a:off x="6400800" y="3565525"/>
                <a:ext cx="22225" cy="57150"/>
              </a:xfrm>
              <a:custGeom>
                <a:avLst/>
                <a:gdLst>
                  <a:gd name="T0" fmla="*/ 2147483646 w 53"/>
                  <a:gd name="T1" fmla="*/ 0 h 30"/>
                  <a:gd name="T2" fmla="*/ 2147483646 w 53"/>
                  <a:gd name="T3" fmla="*/ 2147483646 h 30"/>
                  <a:gd name="T4" fmla="*/ 2147483646 w 53"/>
                  <a:gd name="T5" fmla="*/ 2147483646 h 30"/>
                  <a:gd name="T6" fmla="*/ 2147483646 w 53"/>
                  <a:gd name="T7" fmla="*/ 2147483646 h 30"/>
                  <a:gd name="T8" fmla="*/ 2147483646 w 53"/>
                  <a:gd name="T9" fmla="*/ 2147483646 h 30"/>
                  <a:gd name="T10" fmla="*/ 2147483646 w 53"/>
                  <a:gd name="T11" fmla="*/ 2147483646 h 30"/>
                  <a:gd name="T12" fmla="*/ 2147483646 w 53"/>
                  <a:gd name="T13" fmla="*/ 2147483646 h 30"/>
                  <a:gd name="T14" fmla="*/ 2147483646 w 53"/>
                  <a:gd name="T15" fmla="*/ 2147483646 h 30"/>
                  <a:gd name="T16" fmla="*/ 2147483646 w 53"/>
                  <a:gd name="T17" fmla="*/ 2147483646 h 30"/>
                  <a:gd name="T18" fmla="*/ 2147483646 w 53"/>
                  <a:gd name="T19" fmla="*/ 2147483646 h 30"/>
                  <a:gd name="T20" fmla="*/ 2147483646 w 53"/>
                  <a:gd name="T21" fmla="*/ 2147483646 h 30"/>
                  <a:gd name="T22" fmla="*/ 2147483646 w 53"/>
                  <a:gd name="T23" fmla="*/ 2147483646 h 30"/>
                  <a:gd name="T24" fmla="*/ 0 w 53"/>
                  <a:gd name="T25" fmla="*/ 2147483646 h 30"/>
                  <a:gd name="T26" fmla="*/ 2147483646 w 53"/>
                  <a:gd name="T27" fmla="*/ 0 h 3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53"/>
                  <a:gd name="T43" fmla="*/ 0 h 30"/>
                  <a:gd name="T44" fmla="*/ 53 w 53"/>
                  <a:gd name="T45" fmla="*/ 30 h 30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53" h="30">
                    <a:moveTo>
                      <a:pt x="7" y="0"/>
                    </a:moveTo>
                    <a:lnTo>
                      <a:pt x="11" y="4"/>
                    </a:lnTo>
                    <a:lnTo>
                      <a:pt x="23" y="13"/>
                    </a:lnTo>
                    <a:lnTo>
                      <a:pt x="37" y="23"/>
                    </a:lnTo>
                    <a:lnTo>
                      <a:pt x="46" y="30"/>
                    </a:lnTo>
                    <a:lnTo>
                      <a:pt x="49" y="18"/>
                    </a:lnTo>
                    <a:lnTo>
                      <a:pt x="53" y="6"/>
                    </a:lnTo>
                    <a:lnTo>
                      <a:pt x="37" y="5"/>
                    </a:lnTo>
                    <a:lnTo>
                      <a:pt x="26" y="3"/>
                    </a:lnTo>
                    <a:lnTo>
                      <a:pt x="21" y="3"/>
                    </a:lnTo>
                    <a:lnTo>
                      <a:pt x="15" y="3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08" name="Freeform 330">
                <a:extLst>
                  <a:ext uri="{FF2B5EF4-FFF2-40B4-BE49-F238E27FC236}">
                    <a16:creationId xmlns="" xmlns:a16="http://schemas.microsoft.com/office/drawing/2014/main" id="{7019915F-37DC-4BE0-AF36-DD76C615CAA3}"/>
                  </a:ext>
                </a:extLst>
              </p:cNvPr>
              <p:cNvSpPr>
                <a:spLocks/>
              </p:cNvSpPr>
              <p:nvPr>
                <p:custDataLst>
                  <p:tags r:id="rId233"/>
                </p:custDataLst>
              </p:nvPr>
            </p:nvSpPr>
            <p:spPr bwMode="auto">
              <a:xfrm>
                <a:off x="6929438" y="3929063"/>
                <a:ext cx="11112" cy="57150"/>
              </a:xfrm>
              <a:custGeom>
                <a:avLst/>
                <a:gdLst>
                  <a:gd name="T0" fmla="*/ 0 w 33"/>
                  <a:gd name="T1" fmla="*/ 2147483646 h 31"/>
                  <a:gd name="T2" fmla="*/ 2147483646 w 33"/>
                  <a:gd name="T3" fmla="*/ 2147483646 h 31"/>
                  <a:gd name="T4" fmla="*/ 2147483646 w 33"/>
                  <a:gd name="T5" fmla="*/ 2147483646 h 31"/>
                  <a:gd name="T6" fmla="*/ 2147483646 w 33"/>
                  <a:gd name="T7" fmla="*/ 2147483646 h 31"/>
                  <a:gd name="T8" fmla="*/ 2147483646 w 33"/>
                  <a:gd name="T9" fmla="*/ 2147483646 h 31"/>
                  <a:gd name="T10" fmla="*/ 2147483646 w 33"/>
                  <a:gd name="T11" fmla="*/ 0 h 31"/>
                  <a:gd name="T12" fmla="*/ 2147483646 w 33"/>
                  <a:gd name="T13" fmla="*/ 0 h 31"/>
                  <a:gd name="T14" fmla="*/ 2147483646 w 33"/>
                  <a:gd name="T15" fmla="*/ 0 h 31"/>
                  <a:gd name="T16" fmla="*/ 2147483646 w 33"/>
                  <a:gd name="T17" fmla="*/ 0 h 31"/>
                  <a:gd name="T18" fmla="*/ 0 w 33"/>
                  <a:gd name="T19" fmla="*/ 0 h 31"/>
                  <a:gd name="T20" fmla="*/ 0 w 33"/>
                  <a:gd name="T21" fmla="*/ 2147483646 h 3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3"/>
                  <a:gd name="T34" fmla="*/ 0 h 31"/>
                  <a:gd name="T35" fmla="*/ 33 w 33"/>
                  <a:gd name="T36" fmla="*/ 31 h 31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3" h="31">
                    <a:moveTo>
                      <a:pt x="0" y="6"/>
                    </a:moveTo>
                    <a:lnTo>
                      <a:pt x="4" y="21"/>
                    </a:lnTo>
                    <a:lnTo>
                      <a:pt x="7" y="31"/>
                    </a:lnTo>
                    <a:lnTo>
                      <a:pt x="22" y="31"/>
                    </a:lnTo>
                    <a:lnTo>
                      <a:pt x="33" y="31"/>
                    </a:lnTo>
                    <a:lnTo>
                      <a:pt x="33" y="0"/>
                    </a:lnTo>
                    <a:lnTo>
                      <a:pt x="27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09" name="Freeform 331">
                <a:extLst>
                  <a:ext uri="{FF2B5EF4-FFF2-40B4-BE49-F238E27FC236}">
                    <a16:creationId xmlns="" xmlns:a16="http://schemas.microsoft.com/office/drawing/2014/main" id="{5B4FBB16-0EAD-43E0-BC9B-3276E60E8AFC}"/>
                  </a:ext>
                </a:extLst>
              </p:cNvPr>
              <p:cNvSpPr>
                <a:spLocks/>
              </p:cNvSpPr>
              <p:nvPr>
                <p:custDataLst>
                  <p:tags r:id="rId234"/>
                </p:custDataLst>
              </p:nvPr>
            </p:nvSpPr>
            <p:spPr bwMode="auto">
              <a:xfrm>
                <a:off x="7445375" y="3886200"/>
                <a:ext cx="28575" cy="55563"/>
              </a:xfrm>
              <a:custGeom>
                <a:avLst/>
                <a:gdLst>
                  <a:gd name="T0" fmla="*/ 2147483646 w 65"/>
                  <a:gd name="T1" fmla="*/ 2147483646 h 68"/>
                  <a:gd name="T2" fmla="*/ 2147483646 w 65"/>
                  <a:gd name="T3" fmla="*/ 2147483646 h 68"/>
                  <a:gd name="T4" fmla="*/ 2147483646 w 65"/>
                  <a:gd name="T5" fmla="*/ 2147483646 h 68"/>
                  <a:gd name="T6" fmla="*/ 2147483646 w 65"/>
                  <a:gd name="T7" fmla="*/ 2147483646 h 68"/>
                  <a:gd name="T8" fmla="*/ 2147483646 w 65"/>
                  <a:gd name="T9" fmla="*/ 2147483646 h 68"/>
                  <a:gd name="T10" fmla="*/ 2147483646 w 65"/>
                  <a:gd name="T11" fmla="*/ 2147483646 h 68"/>
                  <a:gd name="T12" fmla="*/ 2147483646 w 65"/>
                  <a:gd name="T13" fmla="*/ 2147483646 h 68"/>
                  <a:gd name="T14" fmla="*/ 0 w 65"/>
                  <a:gd name="T15" fmla="*/ 2147483646 h 68"/>
                  <a:gd name="T16" fmla="*/ 0 w 65"/>
                  <a:gd name="T17" fmla="*/ 2147483646 h 68"/>
                  <a:gd name="T18" fmla="*/ 0 w 65"/>
                  <a:gd name="T19" fmla="*/ 2147483646 h 68"/>
                  <a:gd name="T20" fmla="*/ 2147483646 w 65"/>
                  <a:gd name="T21" fmla="*/ 2147483646 h 68"/>
                  <a:gd name="T22" fmla="*/ 2147483646 w 65"/>
                  <a:gd name="T23" fmla="*/ 2147483646 h 68"/>
                  <a:gd name="T24" fmla="*/ 2147483646 w 65"/>
                  <a:gd name="T25" fmla="*/ 2147483646 h 68"/>
                  <a:gd name="T26" fmla="*/ 2147483646 w 65"/>
                  <a:gd name="T27" fmla="*/ 2147483646 h 68"/>
                  <a:gd name="T28" fmla="*/ 2147483646 w 65"/>
                  <a:gd name="T29" fmla="*/ 2147483646 h 68"/>
                  <a:gd name="T30" fmla="*/ 2147483646 w 65"/>
                  <a:gd name="T31" fmla="*/ 2147483646 h 68"/>
                  <a:gd name="T32" fmla="*/ 2147483646 w 65"/>
                  <a:gd name="T33" fmla="*/ 0 h 68"/>
                  <a:gd name="T34" fmla="*/ 2147483646 w 65"/>
                  <a:gd name="T35" fmla="*/ 0 h 68"/>
                  <a:gd name="T36" fmla="*/ 2147483646 w 65"/>
                  <a:gd name="T37" fmla="*/ 0 h 68"/>
                  <a:gd name="T38" fmla="*/ 2147483646 w 65"/>
                  <a:gd name="T39" fmla="*/ 2147483646 h 68"/>
                  <a:gd name="T40" fmla="*/ 2147483646 w 65"/>
                  <a:gd name="T41" fmla="*/ 2147483646 h 68"/>
                  <a:gd name="T42" fmla="*/ 2147483646 w 65"/>
                  <a:gd name="T43" fmla="*/ 2147483646 h 68"/>
                  <a:gd name="T44" fmla="*/ 2147483646 w 65"/>
                  <a:gd name="T45" fmla="*/ 2147483646 h 68"/>
                  <a:gd name="T46" fmla="*/ 2147483646 w 65"/>
                  <a:gd name="T47" fmla="*/ 2147483646 h 68"/>
                  <a:gd name="T48" fmla="*/ 2147483646 w 65"/>
                  <a:gd name="T49" fmla="*/ 2147483646 h 68"/>
                  <a:gd name="T50" fmla="*/ 2147483646 w 65"/>
                  <a:gd name="T51" fmla="*/ 2147483646 h 68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65"/>
                  <a:gd name="T79" fmla="*/ 0 h 68"/>
                  <a:gd name="T80" fmla="*/ 65 w 65"/>
                  <a:gd name="T81" fmla="*/ 68 h 68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65" h="68">
                    <a:moveTo>
                      <a:pt x="19" y="68"/>
                    </a:moveTo>
                    <a:lnTo>
                      <a:pt x="16" y="68"/>
                    </a:lnTo>
                    <a:lnTo>
                      <a:pt x="14" y="66"/>
                    </a:lnTo>
                    <a:lnTo>
                      <a:pt x="11" y="64"/>
                    </a:lnTo>
                    <a:lnTo>
                      <a:pt x="7" y="61"/>
                    </a:lnTo>
                    <a:lnTo>
                      <a:pt x="4" y="59"/>
                    </a:lnTo>
                    <a:lnTo>
                      <a:pt x="2" y="55"/>
                    </a:lnTo>
                    <a:lnTo>
                      <a:pt x="0" y="52"/>
                    </a:lnTo>
                    <a:lnTo>
                      <a:pt x="0" y="49"/>
                    </a:lnTo>
                    <a:lnTo>
                      <a:pt x="0" y="38"/>
                    </a:lnTo>
                    <a:lnTo>
                      <a:pt x="2" y="29"/>
                    </a:lnTo>
                    <a:lnTo>
                      <a:pt x="5" y="21"/>
                    </a:lnTo>
                    <a:lnTo>
                      <a:pt x="9" y="14"/>
                    </a:lnTo>
                    <a:lnTo>
                      <a:pt x="15" y="8"/>
                    </a:lnTo>
                    <a:lnTo>
                      <a:pt x="22" y="4"/>
                    </a:lnTo>
                    <a:lnTo>
                      <a:pt x="30" y="2"/>
                    </a:lnTo>
                    <a:lnTo>
                      <a:pt x="39" y="0"/>
                    </a:lnTo>
                    <a:lnTo>
                      <a:pt x="52" y="0"/>
                    </a:lnTo>
                    <a:lnTo>
                      <a:pt x="65" y="0"/>
                    </a:lnTo>
                    <a:lnTo>
                      <a:pt x="65" y="43"/>
                    </a:lnTo>
                    <a:lnTo>
                      <a:pt x="56" y="52"/>
                    </a:lnTo>
                    <a:lnTo>
                      <a:pt x="45" y="61"/>
                    </a:lnTo>
                    <a:lnTo>
                      <a:pt x="39" y="64"/>
                    </a:lnTo>
                    <a:lnTo>
                      <a:pt x="34" y="66"/>
                    </a:lnTo>
                    <a:lnTo>
                      <a:pt x="27" y="68"/>
                    </a:lnTo>
                    <a:lnTo>
                      <a:pt x="19" y="68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10" name="Freeform 332">
                <a:extLst>
                  <a:ext uri="{FF2B5EF4-FFF2-40B4-BE49-F238E27FC236}">
                    <a16:creationId xmlns="" xmlns:a16="http://schemas.microsoft.com/office/drawing/2014/main" id="{F9D97EC1-DC48-4347-82C6-778253FB82D3}"/>
                  </a:ext>
                </a:extLst>
              </p:cNvPr>
              <p:cNvSpPr>
                <a:spLocks/>
              </p:cNvSpPr>
              <p:nvPr>
                <p:custDataLst>
                  <p:tags r:id="rId235"/>
                </p:custDataLst>
              </p:nvPr>
            </p:nvSpPr>
            <p:spPr bwMode="auto">
              <a:xfrm>
                <a:off x="6383338" y="3468688"/>
                <a:ext cx="274637" cy="368300"/>
              </a:xfrm>
              <a:custGeom>
                <a:avLst/>
                <a:gdLst>
                  <a:gd name="T0" fmla="*/ 2147483646 w 625"/>
                  <a:gd name="T1" fmla="*/ 2147483646 h 694"/>
                  <a:gd name="T2" fmla="*/ 2147483646 w 625"/>
                  <a:gd name="T3" fmla="*/ 2147483646 h 694"/>
                  <a:gd name="T4" fmla="*/ 2147483646 w 625"/>
                  <a:gd name="T5" fmla="*/ 2147483646 h 694"/>
                  <a:gd name="T6" fmla="*/ 2147483646 w 625"/>
                  <a:gd name="T7" fmla="*/ 2147483646 h 694"/>
                  <a:gd name="T8" fmla="*/ 2147483646 w 625"/>
                  <a:gd name="T9" fmla="*/ 2147483646 h 694"/>
                  <a:gd name="T10" fmla="*/ 2147483646 w 625"/>
                  <a:gd name="T11" fmla="*/ 2147483646 h 694"/>
                  <a:gd name="T12" fmla="*/ 2147483646 w 625"/>
                  <a:gd name="T13" fmla="*/ 2147483646 h 694"/>
                  <a:gd name="T14" fmla="*/ 2147483646 w 625"/>
                  <a:gd name="T15" fmla="*/ 2147483646 h 694"/>
                  <a:gd name="T16" fmla="*/ 2147483646 w 625"/>
                  <a:gd name="T17" fmla="*/ 2147483646 h 694"/>
                  <a:gd name="T18" fmla="*/ 2147483646 w 625"/>
                  <a:gd name="T19" fmla="*/ 2147483646 h 694"/>
                  <a:gd name="T20" fmla="*/ 2147483646 w 625"/>
                  <a:gd name="T21" fmla="*/ 2147483646 h 694"/>
                  <a:gd name="T22" fmla="*/ 2147483646 w 625"/>
                  <a:gd name="T23" fmla="*/ 2147483646 h 694"/>
                  <a:gd name="T24" fmla="*/ 2147483646 w 625"/>
                  <a:gd name="T25" fmla="*/ 2147483646 h 694"/>
                  <a:gd name="T26" fmla="*/ 2147483646 w 625"/>
                  <a:gd name="T27" fmla="*/ 2147483646 h 694"/>
                  <a:gd name="T28" fmla="*/ 2147483646 w 625"/>
                  <a:gd name="T29" fmla="*/ 2147483646 h 694"/>
                  <a:gd name="T30" fmla="*/ 2147483646 w 625"/>
                  <a:gd name="T31" fmla="*/ 2147483646 h 694"/>
                  <a:gd name="T32" fmla="*/ 2147483646 w 625"/>
                  <a:gd name="T33" fmla="*/ 2147483646 h 694"/>
                  <a:gd name="T34" fmla="*/ 2147483646 w 625"/>
                  <a:gd name="T35" fmla="*/ 2147483646 h 694"/>
                  <a:gd name="T36" fmla="*/ 2147483646 w 625"/>
                  <a:gd name="T37" fmla="*/ 2147483646 h 694"/>
                  <a:gd name="T38" fmla="*/ 2147483646 w 625"/>
                  <a:gd name="T39" fmla="*/ 2147483646 h 694"/>
                  <a:gd name="T40" fmla="*/ 2147483646 w 625"/>
                  <a:gd name="T41" fmla="*/ 2147483646 h 694"/>
                  <a:gd name="T42" fmla="*/ 2147483646 w 625"/>
                  <a:gd name="T43" fmla="*/ 2147483646 h 694"/>
                  <a:gd name="T44" fmla="*/ 2147483646 w 625"/>
                  <a:gd name="T45" fmla="*/ 2147483646 h 694"/>
                  <a:gd name="T46" fmla="*/ 2147483646 w 625"/>
                  <a:gd name="T47" fmla="*/ 2147483646 h 694"/>
                  <a:gd name="T48" fmla="*/ 2147483646 w 625"/>
                  <a:gd name="T49" fmla="*/ 2147483646 h 694"/>
                  <a:gd name="T50" fmla="*/ 2147483646 w 625"/>
                  <a:gd name="T51" fmla="*/ 2147483646 h 694"/>
                  <a:gd name="T52" fmla="*/ 2147483646 w 625"/>
                  <a:gd name="T53" fmla="*/ 2147483646 h 694"/>
                  <a:gd name="T54" fmla="*/ 2147483646 w 625"/>
                  <a:gd name="T55" fmla="*/ 2147483646 h 694"/>
                  <a:gd name="T56" fmla="*/ 2147483646 w 625"/>
                  <a:gd name="T57" fmla="*/ 2147483646 h 694"/>
                  <a:gd name="T58" fmla="*/ 2147483646 w 625"/>
                  <a:gd name="T59" fmla="*/ 2147483646 h 694"/>
                  <a:gd name="T60" fmla="*/ 2147483646 w 625"/>
                  <a:gd name="T61" fmla="*/ 2147483646 h 694"/>
                  <a:gd name="T62" fmla="*/ 2147483646 w 625"/>
                  <a:gd name="T63" fmla="*/ 2147483646 h 694"/>
                  <a:gd name="T64" fmla="*/ 2147483646 w 625"/>
                  <a:gd name="T65" fmla="*/ 2147483646 h 694"/>
                  <a:gd name="T66" fmla="*/ 2147483646 w 625"/>
                  <a:gd name="T67" fmla="*/ 2147483646 h 694"/>
                  <a:gd name="T68" fmla="*/ 2147483646 w 625"/>
                  <a:gd name="T69" fmla="*/ 2147483646 h 694"/>
                  <a:gd name="T70" fmla="*/ 2147483646 w 625"/>
                  <a:gd name="T71" fmla="*/ 2147483646 h 694"/>
                  <a:gd name="T72" fmla="*/ 2147483646 w 625"/>
                  <a:gd name="T73" fmla="*/ 2147483646 h 694"/>
                  <a:gd name="T74" fmla="*/ 2147483646 w 625"/>
                  <a:gd name="T75" fmla="*/ 2147483646 h 694"/>
                  <a:gd name="T76" fmla="*/ 2147483646 w 625"/>
                  <a:gd name="T77" fmla="*/ 2147483646 h 694"/>
                  <a:gd name="T78" fmla="*/ 2147483646 w 625"/>
                  <a:gd name="T79" fmla="*/ 2147483646 h 694"/>
                  <a:gd name="T80" fmla="*/ 2147483646 w 625"/>
                  <a:gd name="T81" fmla="*/ 2147483646 h 694"/>
                  <a:gd name="T82" fmla="*/ 2147483646 w 625"/>
                  <a:gd name="T83" fmla="*/ 2147483646 h 694"/>
                  <a:gd name="T84" fmla="*/ 2147483646 w 625"/>
                  <a:gd name="T85" fmla="*/ 2147483646 h 694"/>
                  <a:gd name="T86" fmla="*/ 2147483646 w 625"/>
                  <a:gd name="T87" fmla="*/ 2147483646 h 694"/>
                  <a:gd name="T88" fmla="*/ 2147483646 w 625"/>
                  <a:gd name="T89" fmla="*/ 2147483646 h 694"/>
                  <a:gd name="T90" fmla="*/ 2147483646 w 625"/>
                  <a:gd name="T91" fmla="*/ 2147483646 h 694"/>
                  <a:gd name="T92" fmla="*/ 2147483646 w 625"/>
                  <a:gd name="T93" fmla="*/ 2147483646 h 694"/>
                  <a:gd name="T94" fmla="*/ 2147483646 w 625"/>
                  <a:gd name="T95" fmla="*/ 2147483646 h 694"/>
                  <a:gd name="T96" fmla="*/ 2147483646 w 625"/>
                  <a:gd name="T97" fmla="*/ 2147483646 h 694"/>
                  <a:gd name="T98" fmla="*/ 2147483646 w 625"/>
                  <a:gd name="T99" fmla="*/ 2147483646 h 694"/>
                  <a:gd name="T100" fmla="*/ 2147483646 w 625"/>
                  <a:gd name="T101" fmla="*/ 2147483646 h 694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625"/>
                  <a:gd name="T154" fmla="*/ 0 h 694"/>
                  <a:gd name="T155" fmla="*/ 625 w 625"/>
                  <a:gd name="T156" fmla="*/ 694 h 694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625" h="694">
                    <a:moveTo>
                      <a:pt x="433" y="265"/>
                    </a:moveTo>
                    <a:lnTo>
                      <a:pt x="512" y="333"/>
                    </a:lnTo>
                    <a:lnTo>
                      <a:pt x="502" y="337"/>
                    </a:lnTo>
                    <a:lnTo>
                      <a:pt x="493" y="341"/>
                    </a:lnTo>
                    <a:lnTo>
                      <a:pt x="489" y="341"/>
                    </a:lnTo>
                    <a:lnTo>
                      <a:pt x="484" y="341"/>
                    </a:lnTo>
                    <a:lnTo>
                      <a:pt x="481" y="341"/>
                    </a:lnTo>
                    <a:lnTo>
                      <a:pt x="479" y="339"/>
                    </a:lnTo>
                    <a:lnTo>
                      <a:pt x="479" y="382"/>
                    </a:lnTo>
                    <a:lnTo>
                      <a:pt x="493" y="392"/>
                    </a:lnTo>
                    <a:lnTo>
                      <a:pt x="507" y="402"/>
                    </a:lnTo>
                    <a:lnTo>
                      <a:pt x="515" y="404"/>
                    </a:lnTo>
                    <a:lnTo>
                      <a:pt x="524" y="406"/>
                    </a:lnTo>
                    <a:lnTo>
                      <a:pt x="528" y="405"/>
                    </a:lnTo>
                    <a:lnTo>
                      <a:pt x="534" y="405"/>
                    </a:lnTo>
                    <a:lnTo>
                      <a:pt x="539" y="403"/>
                    </a:lnTo>
                    <a:lnTo>
                      <a:pt x="545" y="402"/>
                    </a:lnTo>
                    <a:lnTo>
                      <a:pt x="550" y="424"/>
                    </a:lnTo>
                    <a:lnTo>
                      <a:pt x="554" y="443"/>
                    </a:lnTo>
                    <a:lnTo>
                      <a:pt x="558" y="451"/>
                    </a:lnTo>
                    <a:lnTo>
                      <a:pt x="560" y="459"/>
                    </a:lnTo>
                    <a:lnTo>
                      <a:pt x="563" y="465"/>
                    </a:lnTo>
                    <a:lnTo>
                      <a:pt x="568" y="470"/>
                    </a:lnTo>
                    <a:lnTo>
                      <a:pt x="572" y="474"/>
                    </a:lnTo>
                    <a:lnTo>
                      <a:pt x="576" y="478"/>
                    </a:lnTo>
                    <a:lnTo>
                      <a:pt x="582" y="481"/>
                    </a:lnTo>
                    <a:lnTo>
                      <a:pt x="588" y="483"/>
                    </a:lnTo>
                    <a:lnTo>
                      <a:pt x="596" y="485"/>
                    </a:lnTo>
                    <a:lnTo>
                      <a:pt x="605" y="486"/>
                    </a:lnTo>
                    <a:lnTo>
                      <a:pt x="614" y="487"/>
                    </a:lnTo>
                    <a:lnTo>
                      <a:pt x="625" y="487"/>
                    </a:lnTo>
                    <a:lnTo>
                      <a:pt x="625" y="496"/>
                    </a:lnTo>
                    <a:lnTo>
                      <a:pt x="625" y="505"/>
                    </a:lnTo>
                    <a:lnTo>
                      <a:pt x="625" y="515"/>
                    </a:lnTo>
                    <a:lnTo>
                      <a:pt x="625" y="525"/>
                    </a:lnTo>
                    <a:lnTo>
                      <a:pt x="625" y="539"/>
                    </a:lnTo>
                    <a:lnTo>
                      <a:pt x="622" y="557"/>
                    </a:lnTo>
                    <a:lnTo>
                      <a:pt x="620" y="579"/>
                    </a:lnTo>
                    <a:lnTo>
                      <a:pt x="618" y="603"/>
                    </a:lnTo>
                    <a:lnTo>
                      <a:pt x="616" y="628"/>
                    </a:lnTo>
                    <a:lnTo>
                      <a:pt x="614" y="651"/>
                    </a:lnTo>
                    <a:lnTo>
                      <a:pt x="611" y="672"/>
                    </a:lnTo>
                    <a:lnTo>
                      <a:pt x="611" y="691"/>
                    </a:lnTo>
                    <a:lnTo>
                      <a:pt x="582" y="692"/>
                    </a:lnTo>
                    <a:lnTo>
                      <a:pt x="562" y="693"/>
                    </a:lnTo>
                    <a:lnTo>
                      <a:pt x="553" y="694"/>
                    </a:lnTo>
                    <a:lnTo>
                      <a:pt x="546" y="693"/>
                    </a:lnTo>
                    <a:lnTo>
                      <a:pt x="539" y="693"/>
                    </a:lnTo>
                    <a:lnTo>
                      <a:pt x="531" y="691"/>
                    </a:lnTo>
                    <a:lnTo>
                      <a:pt x="392" y="567"/>
                    </a:lnTo>
                    <a:lnTo>
                      <a:pt x="394" y="564"/>
                    </a:lnTo>
                    <a:lnTo>
                      <a:pt x="396" y="560"/>
                    </a:lnTo>
                    <a:lnTo>
                      <a:pt x="397" y="556"/>
                    </a:lnTo>
                    <a:lnTo>
                      <a:pt x="397" y="552"/>
                    </a:lnTo>
                    <a:lnTo>
                      <a:pt x="397" y="547"/>
                    </a:lnTo>
                    <a:lnTo>
                      <a:pt x="396" y="543"/>
                    </a:lnTo>
                    <a:lnTo>
                      <a:pt x="394" y="539"/>
                    </a:lnTo>
                    <a:lnTo>
                      <a:pt x="392" y="537"/>
                    </a:lnTo>
                    <a:lnTo>
                      <a:pt x="366" y="513"/>
                    </a:lnTo>
                    <a:lnTo>
                      <a:pt x="338" y="488"/>
                    </a:lnTo>
                    <a:lnTo>
                      <a:pt x="326" y="476"/>
                    </a:lnTo>
                    <a:lnTo>
                      <a:pt x="315" y="465"/>
                    </a:lnTo>
                    <a:lnTo>
                      <a:pt x="305" y="453"/>
                    </a:lnTo>
                    <a:lnTo>
                      <a:pt x="300" y="444"/>
                    </a:lnTo>
                    <a:lnTo>
                      <a:pt x="295" y="432"/>
                    </a:lnTo>
                    <a:lnTo>
                      <a:pt x="293" y="419"/>
                    </a:lnTo>
                    <a:lnTo>
                      <a:pt x="292" y="407"/>
                    </a:lnTo>
                    <a:lnTo>
                      <a:pt x="292" y="393"/>
                    </a:lnTo>
                    <a:lnTo>
                      <a:pt x="291" y="381"/>
                    </a:lnTo>
                    <a:lnTo>
                      <a:pt x="289" y="370"/>
                    </a:lnTo>
                    <a:lnTo>
                      <a:pt x="288" y="365"/>
                    </a:lnTo>
                    <a:lnTo>
                      <a:pt x="285" y="360"/>
                    </a:lnTo>
                    <a:lnTo>
                      <a:pt x="282" y="356"/>
                    </a:lnTo>
                    <a:lnTo>
                      <a:pt x="279" y="352"/>
                    </a:lnTo>
                    <a:lnTo>
                      <a:pt x="268" y="342"/>
                    </a:lnTo>
                    <a:lnTo>
                      <a:pt x="258" y="332"/>
                    </a:lnTo>
                    <a:lnTo>
                      <a:pt x="249" y="321"/>
                    </a:lnTo>
                    <a:lnTo>
                      <a:pt x="241" y="310"/>
                    </a:lnTo>
                    <a:lnTo>
                      <a:pt x="235" y="297"/>
                    </a:lnTo>
                    <a:lnTo>
                      <a:pt x="229" y="283"/>
                    </a:lnTo>
                    <a:lnTo>
                      <a:pt x="224" y="269"/>
                    </a:lnTo>
                    <a:lnTo>
                      <a:pt x="220" y="253"/>
                    </a:lnTo>
                    <a:lnTo>
                      <a:pt x="216" y="246"/>
                    </a:lnTo>
                    <a:lnTo>
                      <a:pt x="213" y="238"/>
                    </a:lnTo>
                    <a:lnTo>
                      <a:pt x="207" y="231"/>
                    </a:lnTo>
                    <a:lnTo>
                      <a:pt x="202" y="224"/>
                    </a:lnTo>
                    <a:lnTo>
                      <a:pt x="190" y="212"/>
                    </a:lnTo>
                    <a:lnTo>
                      <a:pt x="177" y="199"/>
                    </a:lnTo>
                    <a:lnTo>
                      <a:pt x="162" y="187"/>
                    </a:lnTo>
                    <a:lnTo>
                      <a:pt x="150" y="171"/>
                    </a:lnTo>
                    <a:lnTo>
                      <a:pt x="145" y="164"/>
                    </a:lnTo>
                    <a:lnTo>
                      <a:pt x="140" y="155"/>
                    </a:lnTo>
                    <a:lnTo>
                      <a:pt x="136" y="146"/>
                    </a:lnTo>
                    <a:lnTo>
                      <a:pt x="133" y="136"/>
                    </a:lnTo>
                    <a:lnTo>
                      <a:pt x="123" y="135"/>
                    </a:lnTo>
                    <a:lnTo>
                      <a:pt x="112" y="132"/>
                    </a:lnTo>
                    <a:lnTo>
                      <a:pt x="102" y="128"/>
                    </a:lnTo>
                    <a:lnTo>
                      <a:pt x="91" y="121"/>
                    </a:lnTo>
                    <a:lnTo>
                      <a:pt x="80" y="113"/>
                    </a:lnTo>
                    <a:lnTo>
                      <a:pt x="69" y="104"/>
                    </a:lnTo>
                    <a:lnTo>
                      <a:pt x="59" y="95"/>
                    </a:lnTo>
                    <a:lnTo>
                      <a:pt x="49" y="85"/>
                    </a:lnTo>
                    <a:lnTo>
                      <a:pt x="39" y="74"/>
                    </a:lnTo>
                    <a:lnTo>
                      <a:pt x="31" y="62"/>
                    </a:lnTo>
                    <a:lnTo>
                      <a:pt x="23" y="51"/>
                    </a:lnTo>
                    <a:lnTo>
                      <a:pt x="16" y="40"/>
                    </a:lnTo>
                    <a:lnTo>
                      <a:pt x="10" y="29"/>
                    </a:lnTo>
                    <a:lnTo>
                      <a:pt x="5" y="19"/>
                    </a:lnTo>
                    <a:lnTo>
                      <a:pt x="2" y="9"/>
                    </a:lnTo>
                    <a:lnTo>
                      <a:pt x="0" y="0"/>
                    </a:lnTo>
                    <a:lnTo>
                      <a:pt x="10" y="4"/>
                    </a:lnTo>
                    <a:lnTo>
                      <a:pt x="20" y="7"/>
                    </a:lnTo>
                    <a:lnTo>
                      <a:pt x="28" y="10"/>
                    </a:lnTo>
                    <a:lnTo>
                      <a:pt x="37" y="13"/>
                    </a:lnTo>
                    <a:lnTo>
                      <a:pt x="54" y="15"/>
                    </a:lnTo>
                    <a:lnTo>
                      <a:pt x="69" y="16"/>
                    </a:lnTo>
                    <a:lnTo>
                      <a:pt x="84" y="16"/>
                    </a:lnTo>
                    <a:lnTo>
                      <a:pt x="100" y="17"/>
                    </a:lnTo>
                    <a:lnTo>
                      <a:pt x="108" y="19"/>
                    </a:lnTo>
                    <a:lnTo>
                      <a:pt x="116" y="20"/>
                    </a:lnTo>
                    <a:lnTo>
                      <a:pt x="124" y="22"/>
                    </a:lnTo>
                    <a:lnTo>
                      <a:pt x="133" y="25"/>
                    </a:lnTo>
                    <a:lnTo>
                      <a:pt x="138" y="27"/>
                    </a:lnTo>
                    <a:lnTo>
                      <a:pt x="144" y="31"/>
                    </a:lnTo>
                    <a:lnTo>
                      <a:pt x="149" y="36"/>
                    </a:lnTo>
                    <a:lnTo>
                      <a:pt x="156" y="42"/>
                    </a:lnTo>
                    <a:lnTo>
                      <a:pt x="169" y="57"/>
                    </a:lnTo>
                    <a:lnTo>
                      <a:pt x="181" y="76"/>
                    </a:lnTo>
                    <a:lnTo>
                      <a:pt x="204" y="109"/>
                    </a:lnTo>
                    <a:lnTo>
                      <a:pt x="220" y="130"/>
                    </a:lnTo>
                    <a:lnTo>
                      <a:pt x="237" y="147"/>
                    </a:lnTo>
                    <a:lnTo>
                      <a:pt x="254" y="163"/>
                    </a:lnTo>
                    <a:lnTo>
                      <a:pt x="271" y="181"/>
                    </a:lnTo>
                    <a:lnTo>
                      <a:pt x="289" y="196"/>
                    </a:lnTo>
                    <a:lnTo>
                      <a:pt x="299" y="202"/>
                    </a:lnTo>
                    <a:lnTo>
                      <a:pt x="308" y="209"/>
                    </a:lnTo>
                    <a:lnTo>
                      <a:pt x="318" y="214"/>
                    </a:lnTo>
                    <a:lnTo>
                      <a:pt x="329" y="219"/>
                    </a:lnTo>
                    <a:lnTo>
                      <a:pt x="341" y="223"/>
                    </a:lnTo>
                    <a:lnTo>
                      <a:pt x="353" y="226"/>
                    </a:lnTo>
                    <a:lnTo>
                      <a:pt x="366" y="227"/>
                    </a:lnTo>
                    <a:lnTo>
                      <a:pt x="379" y="228"/>
                    </a:lnTo>
                    <a:lnTo>
                      <a:pt x="383" y="229"/>
                    </a:lnTo>
                    <a:lnTo>
                      <a:pt x="388" y="230"/>
                    </a:lnTo>
                    <a:lnTo>
                      <a:pt x="392" y="231"/>
                    </a:lnTo>
                    <a:lnTo>
                      <a:pt x="395" y="235"/>
                    </a:lnTo>
                    <a:lnTo>
                      <a:pt x="401" y="241"/>
                    </a:lnTo>
                    <a:lnTo>
                      <a:pt x="405" y="247"/>
                    </a:lnTo>
                    <a:lnTo>
                      <a:pt x="411" y="254"/>
                    </a:lnTo>
                    <a:lnTo>
                      <a:pt x="416" y="260"/>
                    </a:lnTo>
                    <a:lnTo>
                      <a:pt x="419" y="262"/>
                    </a:lnTo>
                    <a:lnTo>
                      <a:pt x="423" y="264"/>
                    </a:lnTo>
                    <a:lnTo>
                      <a:pt x="427" y="265"/>
                    </a:lnTo>
                    <a:lnTo>
                      <a:pt x="433" y="265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11" name="Freeform 333">
                <a:extLst>
                  <a:ext uri="{FF2B5EF4-FFF2-40B4-BE49-F238E27FC236}">
                    <a16:creationId xmlns="" xmlns:a16="http://schemas.microsoft.com/office/drawing/2014/main" id="{6D675474-17DB-4FA9-859C-AFBB44DB19C8}"/>
                  </a:ext>
                </a:extLst>
              </p:cNvPr>
              <p:cNvSpPr>
                <a:spLocks/>
              </p:cNvSpPr>
              <p:nvPr>
                <p:custDataLst>
                  <p:tags r:id="rId236"/>
                </p:custDataLst>
              </p:nvPr>
            </p:nvSpPr>
            <p:spPr bwMode="auto">
              <a:xfrm>
                <a:off x="6724650" y="3517900"/>
                <a:ext cx="254000" cy="257175"/>
              </a:xfrm>
              <a:custGeom>
                <a:avLst/>
                <a:gdLst>
                  <a:gd name="T0" fmla="*/ 2147483646 w 585"/>
                  <a:gd name="T1" fmla="*/ 2147483646 h 493"/>
                  <a:gd name="T2" fmla="*/ 2147483646 w 585"/>
                  <a:gd name="T3" fmla="*/ 2147483646 h 493"/>
                  <a:gd name="T4" fmla="*/ 2147483646 w 585"/>
                  <a:gd name="T5" fmla="*/ 2147483646 h 493"/>
                  <a:gd name="T6" fmla="*/ 2147483646 w 585"/>
                  <a:gd name="T7" fmla="*/ 2147483646 h 493"/>
                  <a:gd name="T8" fmla="*/ 2147483646 w 585"/>
                  <a:gd name="T9" fmla="*/ 2147483646 h 493"/>
                  <a:gd name="T10" fmla="*/ 2147483646 w 585"/>
                  <a:gd name="T11" fmla="*/ 2147483646 h 493"/>
                  <a:gd name="T12" fmla="*/ 2147483646 w 585"/>
                  <a:gd name="T13" fmla="*/ 2147483646 h 493"/>
                  <a:gd name="T14" fmla="*/ 2147483646 w 585"/>
                  <a:gd name="T15" fmla="*/ 2147483646 h 493"/>
                  <a:gd name="T16" fmla="*/ 2147483646 w 585"/>
                  <a:gd name="T17" fmla="*/ 2147483646 h 493"/>
                  <a:gd name="T18" fmla="*/ 2147483646 w 585"/>
                  <a:gd name="T19" fmla="*/ 2147483646 h 493"/>
                  <a:gd name="T20" fmla="*/ 2147483646 w 585"/>
                  <a:gd name="T21" fmla="*/ 2147483646 h 493"/>
                  <a:gd name="T22" fmla="*/ 2147483646 w 585"/>
                  <a:gd name="T23" fmla="*/ 2147483646 h 493"/>
                  <a:gd name="T24" fmla="*/ 2147483646 w 585"/>
                  <a:gd name="T25" fmla="*/ 2147483646 h 493"/>
                  <a:gd name="T26" fmla="*/ 2147483646 w 585"/>
                  <a:gd name="T27" fmla="*/ 2147483646 h 493"/>
                  <a:gd name="T28" fmla="*/ 2147483646 w 585"/>
                  <a:gd name="T29" fmla="*/ 2147483646 h 493"/>
                  <a:gd name="T30" fmla="*/ 2147483646 w 585"/>
                  <a:gd name="T31" fmla="*/ 2147483646 h 493"/>
                  <a:gd name="T32" fmla="*/ 2147483646 w 585"/>
                  <a:gd name="T33" fmla="*/ 2147483646 h 493"/>
                  <a:gd name="T34" fmla="*/ 2147483646 w 585"/>
                  <a:gd name="T35" fmla="*/ 2147483646 h 493"/>
                  <a:gd name="T36" fmla="*/ 2147483646 w 585"/>
                  <a:gd name="T37" fmla="*/ 2147483646 h 493"/>
                  <a:gd name="T38" fmla="*/ 2147483646 w 585"/>
                  <a:gd name="T39" fmla="*/ 2147483646 h 493"/>
                  <a:gd name="T40" fmla="*/ 2147483646 w 585"/>
                  <a:gd name="T41" fmla="*/ 2147483646 h 493"/>
                  <a:gd name="T42" fmla="*/ 2147483646 w 585"/>
                  <a:gd name="T43" fmla="*/ 2147483646 h 493"/>
                  <a:gd name="T44" fmla="*/ 2147483646 w 585"/>
                  <a:gd name="T45" fmla="*/ 2147483646 h 493"/>
                  <a:gd name="T46" fmla="*/ 2147483646 w 585"/>
                  <a:gd name="T47" fmla="*/ 2147483646 h 493"/>
                  <a:gd name="T48" fmla="*/ 2147483646 w 585"/>
                  <a:gd name="T49" fmla="*/ 2147483646 h 493"/>
                  <a:gd name="T50" fmla="*/ 2147483646 w 585"/>
                  <a:gd name="T51" fmla="*/ 2147483646 h 493"/>
                  <a:gd name="T52" fmla="*/ 2147483646 w 585"/>
                  <a:gd name="T53" fmla="*/ 2147483646 h 493"/>
                  <a:gd name="T54" fmla="*/ 2147483646 w 585"/>
                  <a:gd name="T55" fmla="*/ 2147483646 h 493"/>
                  <a:gd name="T56" fmla="*/ 2147483646 w 585"/>
                  <a:gd name="T57" fmla="*/ 2147483646 h 493"/>
                  <a:gd name="T58" fmla="*/ 2147483646 w 585"/>
                  <a:gd name="T59" fmla="*/ 2147483646 h 493"/>
                  <a:gd name="T60" fmla="*/ 2147483646 w 585"/>
                  <a:gd name="T61" fmla="*/ 2147483646 h 493"/>
                  <a:gd name="T62" fmla="*/ 2147483646 w 585"/>
                  <a:gd name="T63" fmla="*/ 2147483646 h 493"/>
                  <a:gd name="T64" fmla="*/ 2147483646 w 585"/>
                  <a:gd name="T65" fmla="*/ 2147483646 h 493"/>
                  <a:gd name="T66" fmla="*/ 2147483646 w 585"/>
                  <a:gd name="T67" fmla="*/ 2147483646 h 493"/>
                  <a:gd name="T68" fmla="*/ 2147483646 w 585"/>
                  <a:gd name="T69" fmla="*/ 2147483646 h 493"/>
                  <a:gd name="T70" fmla="*/ 2147483646 w 585"/>
                  <a:gd name="T71" fmla="*/ 2147483646 h 493"/>
                  <a:gd name="T72" fmla="*/ 2147483646 w 585"/>
                  <a:gd name="T73" fmla="*/ 2147483646 h 493"/>
                  <a:gd name="T74" fmla="*/ 2147483646 w 585"/>
                  <a:gd name="T75" fmla="*/ 2147483646 h 493"/>
                  <a:gd name="T76" fmla="*/ 2147483646 w 585"/>
                  <a:gd name="T77" fmla="*/ 2147483646 h 493"/>
                  <a:gd name="T78" fmla="*/ 2147483646 w 585"/>
                  <a:gd name="T79" fmla="*/ 2147483646 h 493"/>
                  <a:gd name="T80" fmla="*/ 2147483646 w 585"/>
                  <a:gd name="T81" fmla="*/ 2147483646 h 493"/>
                  <a:gd name="T82" fmla="*/ 2147483646 w 585"/>
                  <a:gd name="T83" fmla="*/ 2147483646 h 493"/>
                  <a:gd name="T84" fmla="*/ 2147483646 w 585"/>
                  <a:gd name="T85" fmla="*/ 2147483646 h 493"/>
                  <a:gd name="T86" fmla="*/ 2147483646 w 585"/>
                  <a:gd name="T87" fmla="*/ 2147483646 h 493"/>
                  <a:gd name="T88" fmla="*/ 2147483646 w 585"/>
                  <a:gd name="T89" fmla="*/ 2147483646 h 493"/>
                  <a:gd name="T90" fmla="*/ 2147483646 w 585"/>
                  <a:gd name="T91" fmla="*/ 2147483646 h 493"/>
                  <a:gd name="T92" fmla="*/ 2147483646 w 585"/>
                  <a:gd name="T93" fmla="*/ 2147483646 h 493"/>
                  <a:gd name="T94" fmla="*/ 2147483646 w 585"/>
                  <a:gd name="T95" fmla="*/ 2147483646 h 493"/>
                  <a:gd name="T96" fmla="*/ 2147483646 w 585"/>
                  <a:gd name="T97" fmla="*/ 2147483646 h 493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85"/>
                  <a:gd name="T148" fmla="*/ 0 h 493"/>
                  <a:gd name="T149" fmla="*/ 585 w 585"/>
                  <a:gd name="T150" fmla="*/ 493 h 493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85" h="493">
                    <a:moveTo>
                      <a:pt x="525" y="12"/>
                    </a:moveTo>
                    <a:lnTo>
                      <a:pt x="524" y="17"/>
                    </a:lnTo>
                    <a:lnTo>
                      <a:pt x="520" y="22"/>
                    </a:lnTo>
                    <a:lnTo>
                      <a:pt x="516" y="28"/>
                    </a:lnTo>
                    <a:lnTo>
                      <a:pt x="510" y="33"/>
                    </a:lnTo>
                    <a:lnTo>
                      <a:pt x="497" y="45"/>
                    </a:lnTo>
                    <a:lnTo>
                      <a:pt x="485" y="55"/>
                    </a:lnTo>
                    <a:lnTo>
                      <a:pt x="495" y="55"/>
                    </a:lnTo>
                    <a:lnTo>
                      <a:pt x="505" y="55"/>
                    </a:lnTo>
                    <a:lnTo>
                      <a:pt x="506" y="68"/>
                    </a:lnTo>
                    <a:lnTo>
                      <a:pt x="508" y="81"/>
                    </a:lnTo>
                    <a:lnTo>
                      <a:pt x="512" y="93"/>
                    </a:lnTo>
                    <a:lnTo>
                      <a:pt x="516" y="103"/>
                    </a:lnTo>
                    <a:lnTo>
                      <a:pt x="520" y="112"/>
                    </a:lnTo>
                    <a:lnTo>
                      <a:pt x="527" y="121"/>
                    </a:lnTo>
                    <a:lnTo>
                      <a:pt x="534" y="130"/>
                    </a:lnTo>
                    <a:lnTo>
                      <a:pt x="540" y="138"/>
                    </a:lnTo>
                    <a:lnTo>
                      <a:pt x="553" y="155"/>
                    </a:lnTo>
                    <a:lnTo>
                      <a:pt x="566" y="170"/>
                    </a:lnTo>
                    <a:lnTo>
                      <a:pt x="573" y="177"/>
                    </a:lnTo>
                    <a:lnTo>
                      <a:pt x="577" y="185"/>
                    </a:lnTo>
                    <a:lnTo>
                      <a:pt x="582" y="194"/>
                    </a:lnTo>
                    <a:lnTo>
                      <a:pt x="585" y="204"/>
                    </a:lnTo>
                    <a:lnTo>
                      <a:pt x="580" y="205"/>
                    </a:lnTo>
                    <a:lnTo>
                      <a:pt x="574" y="206"/>
                    </a:lnTo>
                    <a:lnTo>
                      <a:pt x="568" y="206"/>
                    </a:lnTo>
                    <a:lnTo>
                      <a:pt x="561" y="206"/>
                    </a:lnTo>
                    <a:lnTo>
                      <a:pt x="547" y="204"/>
                    </a:lnTo>
                    <a:lnTo>
                      <a:pt x="531" y="204"/>
                    </a:lnTo>
                    <a:lnTo>
                      <a:pt x="524" y="217"/>
                    </a:lnTo>
                    <a:lnTo>
                      <a:pt x="518" y="229"/>
                    </a:lnTo>
                    <a:lnTo>
                      <a:pt x="516" y="233"/>
                    </a:lnTo>
                    <a:lnTo>
                      <a:pt x="513" y="237"/>
                    </a:lnTo>
                    <a:lnTo>
                      <a:pt x="509" y="239"/>
                    </a:lnTo>
                    <a:lnTo>
                      <a:pt x="505" y="240"/>
                    </a:lnTo>
                    <a:lnTo>
                      <a:pt x="506" y="246"/>
                    </a:lnTo>
                    <a:lnTo>
                      <a:pt x="508" y="253"/>
                    </a:lnTo>
                    <a:lnTo>
                      <a:pt x="512" y="259"/>
                    </a:lnTo>
                    <a:lnTo>
                      <a:pt x="515" y="265"/>
                    </a:lnTo>
                    <a:lnTo>
                      <a:pt x="518" y="271"/>
                    </a:lnTo>
                    <a:lnTo>
                      <a:pt x="521" y="277"/>
                    </a:lnTo>
                    <a:lnTo>
                      <a:pt x="524" y="283"/>
                    </a:lnTo>
                    <a:lnTo>
                      <a:pt x="525" y="289"/>
                    </a:lnTo>
                    <a:lnTo>
                      <a:pt x="525" y="294"/>
                    </a:lnTo>
                    <a:lnTo>
                      <a:pt x="523" y="297"/>
                    </a:lnTo>
                    <a:lnTo>
                      <a:pt x="519" y="301"/>
                    </a:lnTo>
                    <a:lnTo>
                      <a:pt x="516" y="304"/>
                    </a:lnTo>
                    <a:lnTo>
                      <a:pt x="505" y="308"/>
                    </a:lnTo>
                    <a:lnTo>
                      <a:pt x="494" y="312"/>
                    </a:lnTo>
                    <a:lnTo>
                      <a:pt x="481" y="316"/>
                    </a:lnTo>
                    <a:lnTo>
                      <a:pt x="469" y="319"/>
                    </a:lnTo>
                    <a:lnTo>
                      <a:pt x="459" y="323"/>
                    </a:lnTo>
                    <a:lnTo>
                      <a:pt x="452" y="327"/>
                    </a:lnTo>
                    <a:lnTo>
                      <a:pt x="448" y="334"/>
                    </a:lnTo>
                    <a:lnTo>
                      <a:pt x="446" y="344"/>
                    </a:lnTo>
                    <a:lnTo>
                      <a:pt x="443" y="354"/>
                    </a:lnTo>
                    <a:lnTo>
                      <a:pt x="443" y="365"/>
                    </a:lnTo>
                    <a:lnTo>
                      <a:pt x="445" y="386"/>
                    </a:lnTo>
                    <a:lnTo>
                      <a:pt x="446" y="400"/>
                    </a:lnTo>
                    <a:lnTo>
                      <a:pt x="445" y="415"/>
                    </a:lnTo>
                    <a:lnTo>
                      <a:pt x="442" y="428"/>
                    </a:lnTo>
                    <a:lnTo>
                      <a:pt x="439" y="439"/>
                    </a:lnTo>
                    <a:lnTo>
                      <a:pt x="436" y="447"/>
                    </a:lnTo>
                    <a:lnTo>
                      <a:pt x="430" y="454"/>
                    </a:lnTo>
                    <a:lnTo>
                      <a:pt x="425" y="459"/>
                    </a:lnTo>
                    <a:lnTo>
                      <a:pt x="419" y="464"/>
                    </a:lnTo>
                    <a:lnTo>
                      <a:pt x="413" y="467"/>
                    </a:lnTo>
                    <a:lnTo>
                      <a:pt x="400" y="472"/>
                    </a:lnTo>
                    <a:lnTo>
                      <a:pt x="386" y="477"/>
                    </a:lnTo>
                    <a:lnTo>
                      <a:pt x="380" y="480"/>
                    </a:lnTo>
                    <a:lnTo>
                      <a:pt x="374" y="484"/>
                    </a:lnTo>
                    <a:lnTo>
                      <a:pt x="370" y="488"/>
                    </a:lnTo>
                    <a:lnTo>
                      <a:pt x="366" y="493"/>
                    </a:lnTo>
                    <a:lnTo>
                      <a:pt x="356" y="493"/>
                    </a:lnTo>
                    <a:lnTo>
                      <a:pt x="346" y="493"/>
                    </a:lnTo>
                    <a:lnTo>
                      <a:pt x="341" y="493"/>
                    </a:lnTo>
                    <a:lnTo>
                      <a:pt x="337" y="492"/>
                    </a:lnTo>
                    <a:lnTo>
                      <a:pt x="334" y="491"/>
                    </a:lnTo>
                    <a:lnTo>
                      <a:pt x="331" y="489"/>
                    </a:lnTo>
                    <a:lnTo>
                      <a:pt x="329" y="487"/>
                    </a:lnTo>
                    <a:lnTo>
                      <a:pt x="328" y="484"/>
                    </a:lnTo>
                    <a:lnTo>
                      <a:pt x="327" y="482"/>
                    </a:lnTo>
                    <a:lnTo>
                      <a:pt x="326" y="478"/>
                    </a:lnTo>
                    <a:lnTo>
                      <a:pt x="327" y="471"/>
                    </a:lnTo>
                    <a:lnTo>
                      <a:pt x="328" y="464"/>
                    </a:lnTo>
                    <a:lnTo>
                      <a:pt x="330" y="457"/>
                    </a:lnTo>
                    <a:lnTo>
                      <a:pt x="333" y="450"/>
                    </a:lnTo>
                    <a:lnTo>
                      <a:pt x="304" y="451"/>
                    </a:lnTo>
                    <a:lnTo>
                      <a:pt x="279" y="454"/>
                    </a:lnTo>
                    <a:lnTo>
                      <a:pt x="267" y="455"/>
                    </a:lnTo>
                    <a:lnTo>
                      <a:pt x="257" y="455"/>
                    </a:lnTo>
                    <a:lnTo>
                      <a:pt x="251" y="454"/>
                    </a:lnTo>
                    <a:lnTo>
                      <a:pt x="247" y="453"/>
                    </a:lnTo>
                    <a:lnTo>
                      <a:pt x="244" y="452"/>
                    </a:lnTo>
                    <a:lnTo>
                      <a:pt x="239" y="450"/>
                    </a:lnTo>
                    <a:lnTo>
                      <a:pt x="219" y="462"/>
                    </a:lnTo>
                    <a:lnTo>
                      <a:pt x="207" y="455"/>
                    </a:lnTo>
                    <a:lnTo>
                      <a:pt x="192" y="447"/>
                    </a:lnTo>
                    <a:lnTo>
                      <a:pt x="183" y="444"/>
                    </a:lnTo>
                    <a:lnTo>
                      <a:pt x="176" y="440"/>
                    </a:lnTo>
                    <a:lnTo>
                      <a:pt x="168" y="438"/>
                    </a:lnTo>
                    <a:lnTo>
                      <a:pt x="159" y="438"/>
                    </a:lnTo>
                    <a:lnTo>
                      <a:pt x="144" y="437"/>
                    </a:lnTo>
                    <a:lnTo>
                      <a:pt x="122" y="436"/>
                    </a:lnTo>
                    <a:lnTo>
                      <a:pt x="111" y="435"/>
                    </a:lnTo>
                    <a:lnTo>
                      <a:pt x="102" y="432"/>
                    </a:lnTo>
                    <a:lnTo>
                      <a:pt x="98" y="431"/>
                    </a:lnTo>
                    <a:lnTo>
                      <a:pt x="95" y="429"/>
                    </a:lnTo>
                    <a:lnTo>
                      <a:pt x="93" y="428"/>
                    </a:lnTo>
                    <a:lnTo>
                      <a:pt x="93" y="424"/>
                    </a:lnTo>
                    <a:lnTo>
                      <a:pt x="87" y="393"/>
                    </a:lnTo>
                    <a:lnTo>
                      <a:pt x="81" y="366"/>
                    </a:lnTo>
                    <a:lnTo>
                      <a:pt x="75" y="346"/>
                    </a:lnTo>
                    <a:lnTo>
                      <a:pt x="69" y="331"/>
                    </a:lnTo>
                    <a:lnTo>
                      <a:pt x="64" y="320"/>
                    </a:lnTo>
                    <a:lnTo>
                      <a:pt x="58" y="310"/>
                    </a:lnTo>
                    <a:lnTo>
                      <a:pt x="53" y="304"/>
                    </a:lnTo>
                    <a:lnTo>
                      <a:pt x="47" y="300"/>
                    </a:lnTo>
                    <a:lnTo>
                      <a:pt x="41" y="296"/>
                    </a:lnTo>
                    <a:lnTo>
                      <a:pt x="35" y="292"/>
                    </a:lnTo>
                    <a:lnTo>
                      <a:pt x="30" y="288"/>
                    </a:lnTo>
                    <a:lnTo>
                      <a:pt x="24" y="281"/>
                    </a:lnTo>
                    <a:lnTo>
                      <a:pt x="19" y="272"/>
                    </a:lnTo>
                    <a:lnTo>
                      <a:pt x="12" y="260"/>
                    </a:lnTo>
                    <a:lnTo>
                      <a:pt x="6" y="243"/>
                    </a:lnTo>
                    <a:lnTo>
                      <a:pt x="0" y="222"/>
                    </a:lnTo>
                    <a:lnTo>
                      <a:pt x="2" y="215"/>
                    </a:lnTo>
                    <a:lnTo>
                      <a:pt x="5" y="204"/>
                    </a:lnTo>
                    <a:lnTo>
                      <a:pt x="11" y="191"/>
                    </a:lnTo>
                    <a:lnTo>
                      <a:pt x="17" y="177"/>
                    </a:lnTo>
                    <a:lnTo>
                      <a:pt x="24" y="164"/>
                    </a:lnTo>
                    <a:lnTo>
                      <a:pt x="31" y="153"/>
                    </a:lnTo>
                    <a:lnTo>
                      <a:pt x="36" y="144"/>
                    </a:lnTo>
                    <a:lnTo>
                      <a:pt x="41" y="141"/>
                    </a:lnTo>
                    <a:lnTo>
                      <a:pt x="46" y="141"/>
                    </a:lnTo>
                    <a:lnTo>
                      <a:pt x="54" y="141"/>
                    </a:lnTo>
                    <a:lnTo>
                      <a:pt x="64" y="141"/>
                    </a:lnTo>
                    <a:lnTo>
                      <a:pt x="73" y="141"/>
                    </a:lnTo>
                    <a:lnTo>
                      <a:pt x="73" y="146"/>
                    </a:lnTo>
                    <a:lnTo>
                      <a:pt x="75" y="152"/>
                    </a:lnTo>
                    <a:lnTo>
                      <a:pt x="77" y="158"/>
                    </a:lnTo>
                    <a:lnTo>
                      <a:pt x="80" y="164"/>
                    </a:lnTo>
                    <a:lnTo>
                      <a:pt x="88" y="176"/>
                    </a:lnTo>
                    <a:lnTo>
                      <a:pt x="97" y="187"/>
                    </a:lnTo>
                    <a:lnTo>
                      <a:pt x="107" y="198"/>
                    </a:lnTo>
                    <a:lnTo>
                      <a:pt x="118" y="208"/>
                    </a:lnTo>
                    <a:lnTo>
                      <a:pt x="124" y="211"/>
                    </a:lnTo>
                    <a:lnTo>
                      <a:pt x="129" y="214"/>
                    </a:lnTo>
                    <a:lnTo>
                      <a:pt x="135" y="215"/>
                    </a:lnTo>
                    <a:lnTo>
                      <a:pt x="139" y="216"/>
                    </a:lnTo>
                    <a:lnTo>
                      <a:pt x="155" y="215"/>
                    </a:lnTo>
                    <a:lnTo>
                      <a:pt x="170" y="213"/>
                    </a:lnTo>
                    <a:lnTo>
                      <a:pt x="184" y="209"/>
                    </a:lnTo>
                    <a:lnTo>
                      <a:pt x="199" y="204"/>
                    </a:lnTo>
                    <a:lnTo>
                      <a:pt x="211" y="196"/>
                    </a:lnTo>
                    <a:lnTo>
                      <a:pt x="221" y="189"/>
                    </a:lnTo>
                    <a:lnTo>
                      <a:pt x="225" y="185"/>
                    </a:lnTo>
                    <a:lnTo>
                      <a:pt x="228" y="181"/>
                    </a:lnTo>
                    <a:lnTo>
                      <a:pt x="230" y="177"/>
                    </a:lnTo>
                    <a:lnTo>
                      <a:pt x="233" y="172"/>
                    </a:lnTo>
                    <a:lnTo>
                      <a:pt x="256" y="175"/>
                    </a:lnTo>
                    <a:lnTo>
                      <a:pt x="273" y="176"/>
                    </a:lnTo>
                    <a:lnTo>
                      <a:pt x="281" y="177"/>
                    </a:lnTo>
                    <a:lnTo>
                      <a:pt x="288" y="178"/>
                    </a:lnTo>
                    <a:lnTo>
                      <a:pt x="294" y="181"/>
                    </a:lnTo>
                    <a:lnTo>
                      <a:pt x="300" y="184"/>
                    </a:lnTo>
                    <a:lnTo>
                      <a:pt x="326" y="184"/>
                    </a:lnTo>
                    <a:lnTo>
                      <a:pt x="326" y="181"/>
                    </a:lnTo>
                    <a:lnTo>
                      <a:pt x="327" y="178"/>
                    </a:lnTo>
                    <a:lnTo>
                      <a:pt x="329" y="176"/>
                    </a:lnTo>
                    <a:lnTo>
                      <a:pt x="331" y="174"/>
                    </a:lnTo>
                    <a:lnTo>
                      <a:pt x="337" y="170"/>
                    </a:lnTo>
                    <a:lnTo>
                      <a:pt x="344" y="167"/>
                    </a:lnTo>
                    <a:lnTo>
                      <a:pt x="350" y="164"/>
                    </a:lnTo>
                    <a:lnTo>
                      <a:pt x="357" y="162"/>
                    </a:lnTo>
                    <a:lnTo>
                      <a:pt x="362" y="158"/>
                    </a:lnTo>
                    <a:lnTo>
                      <a:pt x="366" y="154"/>
                    </a:lnTo>
                    <a:lnTo>
                      <a:pt x="372" y="149"/>
                    </a:lnTo>
                    <a:lnTo>
                      <a:pt x="378" y="143"/>
                    </a:lnTo>
                    <a:lnTo>
                      <a:pt x="383" y="136"/>
                    </a:lnTo>
                    <a:lnTo>
                      <a:pt x="389" y="129"/>
                    </a:lnTo>
                    <a:lnTo>
                      <a:pt x="400" y="114"/>
                    </a:lnTo>
                    <a:lnTo>
                      <a:pt x="408" y="97"/>
                    </a:lnTo>
                    <a:lnTo>
                      <a:pt x="415" y="79"/>
                    </a:lnTo>
                    <a:lnTo>
                      <a:pt x="420" y="62"/>
                    </a:lnTo>
                    <a:lnTo>
                      <a:pt x="424" y="46"/>
                    </a:lnTo>
                    <a:lnTo>
                      <a:pt x="426" y="30"/>
                    </a:lnTo>
                    <a:lnTo>
                      <a:pt x="427" y="25"/>
                    </a:lnTo>
                    <a:lnTo>
                      <a:pt x="429" y="20"/>
                    </a:lnTo>
                    <a:lnTo>
                      <a:pt x="435" y="15"/>
                    </a:lnTo>
                    <a:lnTo>
                      <a:pt x="440" y="11"/>
                    </a:lnTo>
                    <a:lnTo>
                      <a:pt x="447" y="6"/>
                    </a:lnTo>
                    <a:lnTo>
                      <a:pt x="453" y="3"/>
                    </a:lnTo>
                    <a:lnTo>
                      <a:pt x="460" y="1"/>
                    </a:lnTo>
                    <a:lnTo>
                      <a:pt x="465" y="0"/>
                    </a:lnTo>
                    <a:lnTo>
                      <a:pt x="479" y="2"/>
                    </a:lnTo>
                    <a:lnTo>
                      <a:pt x="495" y="6"/>
                    </a:lnTo>
                    <a:lnTo>
                      <a:pt x="512" y="10"/>
                    </a:lnTo>
                    <a:lnTo>
                      <a:pt x="525" y="12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12" name="Freeform 334">
                <a:extLst>
                  <a:ext uri="{FF2B5EF4-FFF2-40B4-BE49-F238E27FC236}">
                    <a16:creationId xmlns="" xmlns:a16="http://schemas.microsoft.com/office/drawing/2014/main" id="{8740C548-C648-440E-9B2D-B678502C9BD9}"/>
                  </a:ext>
                </a:extLst>
              </p:cNvPr>
              <p:cNvSpPr>
                <a:spLocks/>
              </p:cNvSpPr>
              <p:nvPr>
                <p:custDataLst>
                  <p:tags r:id="rId237"/>
                </p:custDataLst>
              </p:nvPr>
            </p:nvSpPr>
            <p:spPr bwMode="auto">
              <a:xfrm>
                <a:off x="7080250" y="3924300"/>
                <a:ext cx="92075" cy="57150"/>
              </a:xfrm>
              <a:custGeom>
                <a:avLst/>
                <a:gdLst>
                  <a:gd name="T0" fmla="*/ 0 w 212"/>
                  <a:gd name="T1" fmla="*/ 2147483646 h 105"/>
                  <a:gd name="T2" fmla="*/ 2147483646 w 212"/>
                  <a:gd name="T3" fmla="*/ 2147483646 h 105"/>
                  <a:gd name="T4" fmla="*/ 2147483646 w 212"/>
                  <a:gd name="T5" fmla="*/ 2147483646 h 105"/>
                  <a:gd name="T6" fmla="*/ 2147483646 w 212"/>
                  <a:gd name="T7" fmla="*/ 2147483646 h 105"/>
                  <a:gd name="T8" fmla="*/ 2147483646 w 212"/>
                  <a:gd name="T9" fmla="*/ 2147483646 h 105"/>
                  <a:gd name="T10" fmla="*/ 2147483646 w 212"/>
                  <a:gd name="T11" fmla="*/ 2147483646 h 105"/>
                  <a:gd name="T12" fmla="*/ 2147483646 w 212"/>
                  <a:gd name="T13" fmla="*/ 2147483646 h 105"/>
                  <a:gd name="T14" fmla="*/ 2147483646 w 212"/>
                  <a:gd name="T15" fmla="*/ 2147483646 h 105"/>
                  <a:gd name="T16" fmla="*/ 2147483646 w 212"/>
                  <a:gd name="T17" fmla="*/ 2147483646 h 105"/>
                  <a:gd name="T18" fmla="*/ 2147483646 w 212"/>
                  <a:gd name="T19" fmla="*/ 2147483646 h 105"/>
                  <a:gd name="T20" fmla="*/ 2147483646 w 212"/>
                  <a:gd name="T21" fmla="*/ 2147483646 h 105"/>
                  <a:gd name="T22" fmla="*/ 2147483646 w 212"/>
                  <a:gd name="T23" fmla="*/ 2147483646 h 105"/>
                  <a:gd name="T24" fmla="*/ 2147483646 w 212"/>
                  <a:gd name="T25" fmla="*/ 0 h 105"/>
                  <a:gd name="T26" fmla="*/ 2147483646 w 212"/>
                  <a:gd name="T27" fmla="*/ 0 h 105"/>
                  <a:gd name="T28" fmla="*/ 2147483646 w 212"/>
                  <a:gd name="T29" fmla="*/ 2147483646 h 105"/>
                  <a:gd name="T30" fmla="*/ 2147483646 w 212"/>
                  <a:gd name="T31" fmla="*/ 2147483646 h 105"/>
                  <a:gd name="T32" fmla="*/ 2147483646 w 212"/>
                  <a:gd name="T33" fmla="*/ 2147483646 h 105"/>
                  <a:gd name="T34" fmla="*/ 2147483646 w 212"/>
                  <a:gd name="T35" fmla="*/ 2147483646 h 105"/>
                  <a:gd name="T36" fmla="*/ 2147483646 w 212"/>
                  <a:gd name="T37" fmla="*/ 2147483646 h 105"/>
                  <a:gd name="T38" fmla="*/ 2147483646 w 212"/>
                  <a:gd name="T39" fmla="*/ 2147483646 h 105"/>
                  <a:gd name="T40" fmla="*/ 2147483646 w 212"/>
                  <a:gd name="T41" fmla="*/ 2147483646 h 105"/>
                  <a:gd name="T42" fmla="*/ 2147483646 w 212"/>
                  <a:gd name="T43" fmla="*/ 2147483646 h 105"/>
                  <a:gd name="T44" fmla="*/ 2147483646 w 212"/>
                  <a:gd name="T45" fmla="*/ 2147483646 h 105"/>
                  <a:gd name="T46" fmla="*/ 0 w 212"/>
                  <a:gd name="T47" fmla="*/ 2147483646 h 10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212"/>
                  <a:gd name="T73" fmla="*/ 0 h 105"/>
                  <a:gd name="T74" fmla="*/ 212 w 212"/>
                  <a:gd name="T75" fmla="*/ 105 h 105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212" h="105">
                    <a:moveTo>
                      <a:pt x="0" y="105"/>
                    </a:moveTo>
                    <a:lnTo>
                      <a:pt x="16" y="85"/>
                    </a:lnTo>
                    <a:lnTo>
                      <a:pt x="35" y="68"/>
                    </a:lnTo>
                    <a:lnTo>
                      <a:pt x="44" y="60"/>
                    </a:lnTo>
                    <a:lnTo>
                      <a:pt x="54" y="53"/>
                    </a:lnTo>
                    <a:lnTo>
                      <a:pt x="64" y="46"/>
                    </a:lnTo>
                    <a:lnTo>
                      <a:pt x="73" y="38"/>
                    </a:lnTo>
                    <a:lnTo>
                      <a:pt x="83" y="32"/>
                    </a:lnTo>
                    <a:lnTo>
                      <a:pt x="94" y="27"/>
                    </a:lnTo>
                    <a:lnTo>
                      <a:pt x="106" y="21"/>
                    </a:lnTo>
                    <a:lnTo>
                      <a:pt x="118" y="16"/>
                    </a:lnTo>
                    <a:lnTo>
                      <a:pt x="144" y="8"/>
                    </a:lnTo>
                    <a:lnTo>
                      <a:pt x="172" y="0"/>
                    </a:lnTo>
                    <a:lnTo>
                      <a:pt x="212" y="0"/>
                    </a:lnTo>
                    <a:lnTo>
                      <a:pt x="202" y="9"/>
                    </a:lnTo>
                    <a:lnTo>
                      <a:pt x="190" y="18"/>
                    </a:lnTo>
                    <a:lnTo>
                      <a:pt x="178" y="27"/>
                    </a:lnTo>
                    <a:lnTo>
                      <a:pt x="165" y="35"/>
                    </a:lnTo>
                    <a:lnTo>
                      <a:pt x="137" y="52"/>
                    </a:lnTo>
                    <a:lnTo>
                      <a:pt x="109" y="66"/>
                    </a:lnTo>
                    <a:lnTo>
                      <a:pt x="79" y="79"/>
                    </a:lnTo>
                    <a:lnTo>
                      <a:pt x="50" y="90"/>
                    </a:lnTo>
                    <a:lnTo>
                      <a:pt x="23" y="99"/>
                    </a:lnTo>
                    <a:lnTo>
                      <a:pt x="0" y="105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13" name="Freeform 335">
                <a:extLst>
                  <a:ext uri="{FF2B5EF4-FFF2-40B4-BE49-F238E27FC236}">
                    <a16:creationId xmlns="" xmlns:a16="http://schemas.microsoft.com/office/drawing/2014/main" id="{C6D61E0D-A780-42F8-A6AE-DB5E8E91CD59}"/>
                  </a:ext>
                </a:extLst>
              </p:cNvPr>
              <p:cNvSpPr>
                <a:spLocks/>
              </p:cNvSpPr>
              <p:nvPr>
                <p:custDataLst>
                  <p:tags r:id="rId238"/>
                </p:custDataLst>
              </p:nvPr>
            </p:nvSpPr>
            <p:spPr bwMode="auto">
              <a:xfrm>
                <a:off x="7196138" y="3590925"/>
                <a:ext cx="42862" cy="88900"/>
              </a:xfrm>
              <a:custGeom>
                <a:avLst/>
                <a:gdLst>
                  <a:gd name="T0" fmla="*/ 0 w 92"/>
                  <a:gd name="T1" fmla="*/ 2147483646 h 166"/>
                  <a:gd name="T2" fmla="*/ 0 w 92"/>
                  <a:gd name="T3" fmla="*/ 2147483646 h 166"/>
                  <a:gd name="T4" fmla="*/ 2147483646 w 92"/>
                  <a:gd name="T5" fmla="*/ 2147483646 h 166"/>
                  <a:gd name="T6" fmla="*/ 2147483646 w 92"/>
                  <a:gd name="T7" fmla="*/ 2147483646 h 166"/>
                  <a:gd name="T8" fmla="*/ 2147483646 w 92"/>
                  <a:gd name="T9" fmla="*/ 2147483646 h 166"/>
                  <a:gd name="T10" fmla="*/ 2147483646 w 92"/>
                  <a:gd name="T11" fmla="*/ 2147483646 h 166"/>
                  <a:gd name="T12" fmla="*/ 2147483646 w 92"/>
                  <a:gd name="T13" fmla="*/ 2147483646 h 166"/>
                  <a:gd name="T14" fmla="*/ 2147483646 w 92"/>
                  <a:gd name="T15" fmla="*/ 2147483646 h 166"/>
                  <a:gd name="T16" fmla="*/ 2147483646 w 92"/>
                  <a:gd name="T17" fmla="*/ 2147483646 h 166"/>
                  <a:gd name="T18" fmla="*/ 2147483646 w 92"/>
                  <a:gd name="T19" fmla="*/ 2147483646 h 166"/>
                  <a:gd name="T20" fmla="*/ 2147483646 w 92"/>
                  <a:gd name="T21" fmla="*/ 2147483646 h 166"/>
                  <a:gd name="T22" fmla="*/ 2147483646 w 92"/>
                  <a:gd name="T23" fmla="*/ 2147483646 h 166"/>
                  <a:gd name="T24" fmla="*/ 2147483646 w 92"/>
                  <a:gd name="T25" fmla="*/ 2147483646 h 166"/>
                  <a:gd name="T26" fmla="*/ 2147483646 w 92"/>
                  <a:gd name="T27" fmla="*/ 2147483646 h 166"/>
                  <a:gd name="T28" fmla="*/ 2147483646 w 92"/>
                  <a:gd name="T29" fmla="*/ 2147483646 h 166"/>
                  <a:gd name="T30" fmla="*/ 2147483646 w 92"/>
                  <a:gd name="T31" fmla="*/ 2147483646 h 166"/>
                  <a:gd name="T32" fmla="*/ 2147483646 w 92"/>
                  <a:gd name="T33" fmla="*/ 2147483646 h 166"/>
                  <a:gd name="T34" fmla="*/ 2147483646 w 92"/>
                  <a:gd name="T35" fmla="*/ 2147483646 h 166"/>
                  <a:gd name="T36" fmla="*/ 2147483646 w 92"/>
                  <a:gd name="T37" fmla="*/ 2147483646 h 166"/>
                  <a:gd name="T38" fmla="*/ 2147483646 w 92"/>
                  <a:gd name="T39" fmla="*/ 2147483646 h 166"/>
                  <a:gd name="T40" fmla="*/ 2147483646 w 92"/>
                  <a:gd name="T41" fmla="*/ 2147483646 h 166"/>
                  <a:gd name="T42" fmla="*/ 2147483646 w 92"/>
                  <a:gd name="T43" fmla="*/ 2147483646 h 166"/>
                  <a:gd name="T44" fmla="*/ 2147483646 w 92"/>
                  <a:gd name="T45" fmla="*/ 2147483646 h 166"/>
                  <a:gd name="T46" fmla="*/ 2147483646 w 92"/>
                  <a:gd name="T47" fmla="*/ 2147483646 h 166"/>
                  <a:gd name="T48" fmla="*/ 2147483646 w 92"/>
                  <a:gd name="T49" fmla="*/ 2147483646 h 166"/>
                  <a:gd name="T50" fmla="*/ 2147483646 w 92"/>
                  <a:gd name="T51" fmla="*/ 2147483646 h 166"/>
                  <a:gd name="T52" fmla="*/ 2147483646 w 92"/>
                  <a:gd name="T53" fmla="*/ 2147483646 h 166"/>
                  <a:gd name="T54" fmla="*/ 2147483646 w 92"/>
                  <a:gd name="T55" fmla="*/ 2147483646 h 166"/>
                  <a:gd name="T56" fmla="*/ 2147483646 w 92"/>
                  <a:gd name="T57" fmla="*/ 2147483646 h 166"/>
                  <a:gd name="T58" fmla="*/ 2147483646 w 92"/>
                  <a:gd name="T59" fmla="*/ 2147483646 h 166"/>
                  <a:gd name="T60" fmla="*/ 2147483646 w 92"/>
                  <a:gd name="T61" fmla="*/ 2147483646 h 166"/>
                  <a:gd name="T62" fmla="*/ 2147483646 w 92"/>
                  <a:gd name="T63" fmla="*/ 2147483646 h 166"/>
                  <a:gd name="T64" fmla="*/ 2147483646 w 92"/>
                  <a:gd name="T65" fmla="*/ 2147483646 h 166"/>
                  <a:gd name="T66" fmla="*/ 2147483646 w 92"/>
                  <a:gd name="T67" fmla="*/ 2147483646 h 166"/>
                  <a:gd name="T68" fmla="*/ 2147483646 w 92"/>
                  <a:gd name="T69" fmla="*/ 2147483646 h 166"/>
                  <a:gd name="T70" fmla="*/ 2147483646 w 92"/>
                  <a:gd name="T71" fmla="*/ 2147483646 h 166"/>
                  <a:gd name="T72" fmla="*/ 2147483646 w 92"/>
                  <a:gd name="T73" fmla="*/ 2147483646 h 166"/>
                  <a:gd name="T74" fmla="*/ 2147483646 w 92"/>
                  <a:gd name="T75" fmla="*/ 2147483646 h 166"/>
                  <a:gd name="T76" fmla="*/ 2147483646 w 92"/>
                  <a:gd name="T77" fmla="*/ 2147483646 h 166"/>
                  <a:gd name="T78" fmla="*/ 2147483646 w 92"/>
                  <a:gd name="T79" fmla="*/ 2147483646 h 166"/>
                  <a:gd name="T80" fmla="*/ 2147483646 w 92"/>
                  <a:gd name="T81" fmla="*/ 2147483646 h 166"/>
                  <a:gd name="T82" fmla="*/ 2147483646 w 92"/>
                  <a:gd name="T83" fmla="*/ 2147483646 h 166"/>
                  <a:gd name="T84" fmla="*/ 2147483646 w 92"/>
                  <a:gd name="T85" fmla="*/ 2147483646 h 166"/>
                  <a:gd name="T86" fmla="*/ 2147483646 w 92"/>
                  <a:gd name="T87" fmla="*/ 2147483646 h 166"/>
                  <a:gd name="T88" fmla="*/ 2147483646 w 92"/>
                  <a:gd name="T89" fmla="*/ 2147483646 h 166"/>
                  <a:gd name="T90" fmla="*/ 0 w 92"/>
                  <a:gd name="T91" fmla="*/ 0 h 166"/>
                  <a:gd name="T92" fmla="*/ 0 w 92"/>
                  <a:gd name="T93" fmla="*/ 2147483646 h 166"/>
                  <a:gd name="T94" fmla="*/ 0 w 92"/>
                  <a:gd name="T95" fmla="*/ 2147483646 h 166"/>
                  <a:gd name="T96" fmla="*/ 0 w 92"/>
                  <a:gd name="T97" fmla="*/ 2147483646 h 166"/>
                  <a:gd name="T98" fmla="*/ 0 w 92"/>
                  <a:gd name="T99" fmla="*/ 2147483646 h 166"/>
                  <a:gd name="T100" fmla="*/ 0 w 92"/>
                  <a:gd name="T101" fmla="*/ 2147483646 h 166"/>
                  <a:gd name="T102" fmla="*/ 0 w 92"/>
                  <a:gd name="T103" fmla="*/ 2147483646 h 16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92"/>
                  <a:gd name="T157" fmla="*/ 0 h 166"/>
                  <a:gd name="T158" fmla="*/ 92 w 92"/>
                  <a:gd name="T159" fmla="*/ 166 h 16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92" h="166">
                    <a:moveTo>
                      <a:pt x="0" y="81"/>
                    </a:moveTo>
                    <a:lnTo>
                      <a:pt x="0" y="148"/>
                    </a:lnTo>
                    <a:lnTo>
                      <a:pt x="5" y="144"/>
                    </a:lnTo>
                    <a:lnTo>
                      <a:pt x="12" y="139"/>
                    </a:lnTo>
                    <a:lnTo>
                      <a:pt x="14" y="137"/>
                    </a:lnTo>
                    <a:lnTo>
                      <a:pt x="17" y="135"/>
                    </a:lnTo>
                    <a:lnTo>
                      <a:pt x="18" y="132"/>
                    </a:lnTo>
                    <a:lnTo>
                      <a:pt x="19" y="130"/>
                    </a:lnTo>
                    <a:lnTo>
                      <a:pt x="20" y="138"/>
                    </a:lnTo>
                    <a:lnTo>
                      <a:pt x="24" y="148"/>
                    </a:lnTo>
                    <a:lnTo>
                      <a:pt x="27" y="154"/>
                    </a:lnTo>
                    <a:lnTo>
                      <a:pt x="30" y="159"/>
                    </a:lnTo>
                    <a:lnTo>
                      <a:pt x="35" y="163"/>
                    </a:lnTo>
                    <a:lnTo>
                      <a:pt x="39" y="166"/>
                    </a:lnTo>
                    <a:lnTo>
                      <a:pt x="41" y="158"/>
                    </a:lnTo>
                    <a:lnTo>
                      <a:pt x="41" y="148"/>
                    </a:lnTo>
                    <a:lnTo>
                      <a:pt x="41" y="137"/>
                    </a:lnTo>
                    <a:lnTo>
                      <a:pt x="41" y="126"/>
                    </a:lnTo>
                    <a:lnTo>
                      <a:pt x="40" y="107"/>
                    </a:lnTo>
                    <a:lnTo>
                      <a:pt x="39" y="99"/>
                    </a:lnTo>
                    <a:lnTo>
                      <a:pt x="48" y="100"/>
                    </a:lnTo>
                    <a:lnTo>
                      <a:pt x="57" y="102"/>
                    </a:lnTo>
                    <a:lnTo>
                      <a:pt x="64" y="105"/>
                    </a:lnTo>
                    <a:lnTo>
                      <a:pt x="71" y="108"/>
                    </a:lnTo>
                    <a:lnTo>
                      <a:pt x="76" y="111"/>
                    </a:lnTo>
                    <a:lnTo>
                      <a:pt x="82" y="114"/>
                    </a:lnTo>
                    <a:lnTo>
                      <a:pt x="87" y="116"/>
                    </a:lnTo>
                    <a:lnTo>
                      <a:pt x="92" y="118"/>
                    </a:lnTo>
                    <a:lnTo>
                      <a:pt x="85" y="103"/>
                    </a:lnTo>
                    <a:lnTo>
                      <a:pt x="81" y="89"/>
                    </a:lnTo>
                    <a:lnTo>
                      <a:pt x="76" y="75"/>
                    </a:lnTo>
                    <a:lnTo>
                      <a:pt x="73" y="60"/>
                    </a:lnTo>
                    <a:lnTo>
                      <a:pt x="70" y="47"/>
                    </a:lnTo>
                    <a:lnTo>
                      <a:pt x="67" y="34"/>
                    </a:lnTo>
                    <a:lnTo>
                      <a:pt x="63" y="23"/>
                    </a:lnTo>
                    <a:lnTo>
                      <a:pt x="59" y="13"/>
                    </a:lnTo>
                    <a:lnTo>
                      <a:pt x="59" y="19"/>
                    </a:lnTo>
                    <a:lnTo>
                      <a:pt x="59" y="25"/>
                    </a:lnTo>
                    <a:lnTo>
                      <a:pt x="50" y="23"/>
                    </a:lnTo>
                    <a:lnTo>
                      <a:pt x="42" y="19"/>
                    </a:lnTo>
                    <a:lnTo>
                      <a:pt x="35" y="15"/>
                    </a:lnTo>
                    <a:lnTo>
                      <a:pt x="29" y="11"/>
                    </a:lnTo>
                    <a:lnTo>
                      <a:pt x="23" y="7"/>
                    </a:lnTo>
                    <a:lnTo>
                      <a:pt x="16" y="3"/>
                    </a:lnTo>
                    <a:lnTo>
                      <a:pt x="8" y="1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19"/>
                    </a:lnTo>
                    <a:lnTo>
                      <a:pt x="0" y="33"/>
                    </a:lnTo>
                    <a:lnTo>
                      <a:pt x="0" y="52"/>
                    </a:lnTo>
                    <a:lnTo>
                      <a:pt x="0" y="7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14" name="Freeform 336">
                <a:extLst>
                  <a:ext uri="{FF2B5EF4-FFF2-40B4-BE49-F238E27FC236}">
                    <a16:creationId xmlns="" xmlns:a16="http://schemas.microsoft.com/office/drawing/2014/main" id="{F5C42D4A-E201-4458-AA76-C29E7A1B007E}"/>
                  </a:ext>
                </a:extLst>
              </p:cNvPr>
              <p:cNvSpPr>
                <a:spLocks/>
              </p:cNvSpPr>
              <p:nvPr>
                <p:custDataLst>
                  <p:tags r:id="rId239"/>
                </p:custDataLst>
              </p:nvPr>
            </p:nvSpPr>
            <p:spPr bwMode="auto">
              <a:xfrm>
                <a:off x="7208838" y="3735388"/>
                <a:ext cx="71437" cy="55562"/>
              </a:xfrm>
              <a:custGeom>
                <a:avLst/>
                <a:gdLst>
                  <a:gd name="T0" fmla="*/ 2147483646 w 166"/>
                  <a:gd name="T1" fmla="*/ 0 h 62"/>
                  <a:gd name="T2" fmla="*/ 2147483646 w 166"/>
                  <a:gd name="T3" fmla="*/ 2147483646 h 62"/>
                  <a:gd name="T4" fmla="*/ 2147483646 w 166"/>
                  <a:gd name="T5" fmla="*/ 2147483646 h 62"/>
                  <a:gd name="T6" fmla="*/ 2147483646 w 166"/>
                  <a:gd name="T7" fmla="*/ 2147483646 h 62"/>
                  <a:gd name="T8" fmla="*/ 2147483646 w 166"/>
                  <a:gd name="T9" fmla="*/ 2147483646 h 62"/>
                  <a:gd name="T10" fmla="*/ 2147483646 w 166"/>
                  <a:gd name="T11" fmla="*/ 2147483646 h 62"/>
                  <a:gd name="T12" fmla="*/ 2147483646 w 166"/>
                  <a:gd name="T13" fmla="*/ 2147483646 h 62"/>
                  <a:gd name="T14" fmla="*/ 2147483646 w 166"/>
                  <a:gd name="T15" fmla="*/ 2147483646 h 62"/>
                  <a:gd name="T16" fmla="*/ 2147483646 w 166"/>
                  <a:gd name="T17" fmla="*/ 2147483646 h 62"/>
                  <a:gd name="T18" fmla="*/ 2147483646 w 166"/>
                  <a:gd name="T19" fmla="*/ 2147483646 h 62"/>
                  <a:gd name="T20" fmla="*/ 2147483646 w 166"/>
                  <a:gd name="T21" fmla="*/ 0 h 62"/>
                  <a:gd name="T22" fmla="*/ 2147483646 w 166"/>
                  <a:gd name="T23" fmla="*/ 2147483646 h 62"/>
                  <a:gd name="T24" fmla="*/ 2147483646 w 166"/>
                  <a:gd name="T25" fmla="*/ 2147483646 h 62"/>
                  <a:gd name="T26" fmla="*/ 2147483646 w 166"/>
                  <a:gd name="T27" fmla="*/ 2147483646 h 62"/>
                  <a:gd name="T28" fmla="*/ 2147483646 w 166"/>
                  <a:gd name="T29" fmla="*/ 2147483646 h 62"/>
                  <a:gd name="T30" fmla="*/ 2147483646 w 166"/>
                  <a:gd name="T31" fmla="*/ 2147483646 h 62"/>
                  <a:gd name="T32" fmla="*/ 2147483646 w 166"/>
                  <a:gd name="T33" fmla="*/ 2147483646 h 62"/>
                  <a:gd name="T34" fmla="*/ 2147483646 w 166"/>
                  <a:gd name="T35" fmla="*/ 2147483646 h 62"/>
                  <a:gd name="T36" fmla="*/ 2147483646 w 166"/>
                  <a:gd name="T37" fmla="*/ 2147483646 h 62"/>
                  <a:gd name="T38" fmla="*/ 2147483646 w 166"/>
                  <a:gd name="T39" fmla="*/ 2147483646 h 62"/>
                  <a:gd name="T40" fmla="*/ 2147483646 w 166"/>
                  <a:gd name="T41" fmla="*/ 2147483646 h 62"/>
                  <a:gd name="T42" fmla="*/ 2147483646 w 166"/>
                  <a:gd name="T43" fmla="*/ 2147483646 h 62"/>
                  <a:gd name="T44" fmla="*/ 2147483646 w 166"/>
                  <a:gd name="T45" fmla="*/ 2147483646 h 62"/>
                  <a:gd name="T46" fmla="*/ 2147483646 w 166"/>
                  <a:gd name="T47" fmla="*/ 2147483646 h 62"/>
                  <a:gd name="T48" fmla="*/ 2147483646 w 166"/>
                  <a:gd name="T49" fmla="*/ 2147483646 h 62"/>
                  <a:gd name="T50" fmla="*/ 2147483646 w 166"/>
                  <a:gd name="T51" fmla="*/ 2147483646 h 62"/>
                  <a:gd name="T52" fmla="*/ 2147483646 w 166"/>
                  <a:gd name="T53" fmla="*/ 2147483646 h 62"/>
                  <a:gd name="T54" fmla="*/ 2147483646 w 166"/>
                  <a:gd name="T55" fmla="*/ 2147483646 h 62"/>
                  <a:gd name="T56" fmla="*/ 2147483646 w 166"/>
                  <a:gd name="T57" fmla="*/ 2147483646 h 62"/>
                  <a:gd name="T58" fmla="*/ 2147483646 w 166"/>
                  <a:gd name="T59" fmla="*/ 2147483646 h 62"/>
                  <a:gd name="T60" fmla="*/ 2147483646 w 166"/>
                  <a:gd name="T61" fmla="*/ 2147483646 h 62"/>
                  <a:gd name="T62" fmla="*/ 2147483646 w 166"/>
                  <a:gd name="T63" fmla="*/ 2147483646 h 62"/>
                  <a:gd name="T64" fmla="*/ 2147483646 w 166"/>
                  <a:gd name="T65" fmla="*/ 2147483646 h 62"/>
                  <a:gd name="T66" fmla="*/ 2147483646 w 166"/>
                  <a:gd name="T67" fmla="*/ 2147483646 h 62"/>
                  <a:gd name="T68" fmla="*/ 2147483646 w 166"/>
                  <a:gd name="T69" fmla="*/ 2147483646 h 62"/>
                  <a:gd name="T70" fmla="*/ 2147483646 w 166"/>
                  <a:gd name="T71" fmla="*/ 2147483646 h 62"/>
                  <a:gd name="T72" fmla="*/ 2147483646 w 166"/>
                  <a:gd name="T73" fmla="*/ 2147483646 h 62"/>
                  <a:gd name="T74" fmla="*/ 2147483646 w 166"/>
                  <a:gd name="T75" fmla="*/ 2147483646 h 62"/>
                  <a:gd name="T76" fmla="*/ 2147483646 w 166"/>
                  <a:gd name="T77" fmla="*/ 2147483646 h 62"/>
                  <a:gd name="T78" fmla="*/ 2147483646 w 166"/>
                  <a:gd name="T79" fmla="*/ 2147483646 h 62"/>
                  <a:gd name="T80" fmla="*/ 2147483646 w 166"/>
                  <a:gd name="T81" fmla="*/ 2147483646 h 62"/>
                  <a:gd name="T82" fmla="*/ 2147483646 w 166"/>
                  <a:gd name="T83" fmla="*/ 2147483646 h 62"/>
                  <a:gd name="T84" fmla="*/ 2147483646 w 166"/>
                  <a:gd name="T85" fmla="*/ 2147483646 h 62"/>
                  <a:gd name="T86" fmla="*/ 0 w 166"/>
                  <a:gd name="T87" fmla="*/ 2147483646 h 62"/>
                  <a:gd name="T88" fmla="*/ 2147483646 w 166"/>
                  <a:gd name="T89" fmla="*/ 2147483646 h 62"/>
                  <a:gd name="T90" fmla="*/ 2147483646 w 166"/>
                  <a:gd name="T91" fmla="*/ 2147483646 h 62"/>
                  <a:gd name="T92" fmla="*/ 2147483646 w 166"/>
                  <a:gd name="T93" fmla="*/ 0 h 6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66"/>
                  <a:gd name="T142" fmla="*/ 0 h 62"/>
                  <a:gd name="T143" fmla="*/ 166 w 166"/>
                  <a:gd name="T144" fmla="*/ 62 h 62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66" h="62">
                    <a:moveTo>
                      <a:pt x="7" y="0"/>
                    </a:moveTo>
                    <a:lnTo>
                      <a:pt x="14" y="3"/>
                    </a:lnTo>
                    <a:lnTo>
                      <a:pt x="22" y="6"/>
                    </a:lnTo>
                    <a:lnTo>
                      <a:pt x="30" y="7"/>
                    </a:lnTo>
                    <a:lnTo>
                      <a:pt x="36" y="8"/>
                    </a:lnTo>
                    <a:lnTo>
                      <a:pt x="48" y="8"/>
                    </a:lnTo>
                    <a:lnTo>
                      <a:pt x="58" y="7"/>
                    </a:lnTo>
                    <a:lnTo>
                      <a:pt x="69" y="5"/>
                    </a:lnTo>
                    <a:lnTo>
                      <a:pt x="80" y="3"/>
                    </a:lnTo>
                    <a:lnTo>
                      <a:pt x="92" y="1"/>
                    </a:lnTo>
                    <a:lnTo>
                      <a:pt x="106" y="0"/>
                    </a:lnTo>
                    <a:lnTo>
                      <a:pt x="111" y="1"/>
                    </a:lnTo>
                    <a:lnTo>
                      <a:pt x="115" y="2"/>
                    </a:lnTo>
                    <a:lnTo>
                      <a:pt x="120" y="5"/>
                    </a:lnTo>
                    <a:lnTo>
                      <a:pt x="124" y="8"/>
                    </a:lnTo>
                    <a:lnTo>
                      <a:pt x="132" y="17"/>
                    </a:lnTo>
                    <a:lnTo>
                      <a:pt x="138" y="26"/>
                    </a:lnTo>
                    <a:lnTo>
                      <a:pt x="145" y="36"/>
                    </a:lnTo>
                    <a:lnTo>
                      <a:pt x="151" y="45"/>
                    </a:lnTo>
                    <a:lnTo>
                      <a:pt x="155" y="49"/>
                    </a:lnTo>
                    <a:lnTo>
                      <a:pt x="158" y="52"/>
                    </a:lnTo>
                    <a:lnTo>
                      <a:pt x="162" y="54"/>
                    </a:lnTo>
                    <a:lnTo>
                      <a:pt x="166" y="56"/>
                    </a:lnTo>
                    <a:lnTo>
                      <a:pt x="159" y="57"/>
                    </a:lnTo>
                    <a:lnTo>
                      <a:pt x="151" y="59"/>
                    </a:lnTo>
                    <a:lnTo>
                      <a:pt x="143" y="61"/>
                    </a:lnTo>
                    <a:lnTo>
                      <a:pt x="133" y="62"/>
                    </a:lnTo>
                    <a:lnTo>
                      <a:pt x="125" y="61"/>
                    </a:lnTo>
                    <a:lnTo>
                      <a:pt x="119" y="58"/>
                    </a:lnTo>
                    <a:lnTo>
                      <a:pt x="112" y="54"/>
                    </a:lnTo>
                    <a:lnTo>
                      <a:pt x="106" y="50"/>
                    </a:lnTo>
                    <a:lnTo>
                      <a:pt x="100" y="45"/>
                    </a:lnTo>
                    <a:lnTo>
                      <a:pt x="93" y="41"/>
                    </a:lnTo>
                    <a:lnTo>
                      <a:pt x="87" y="39"/>
                    </a:lnTo>
                    <a:lnTo>
                      <a:pt x="79" y="38"/>
                    </a:lnTo>
                    <a:lnTo>
                      <a:pt x="56" y="38"/>
                    </a:lnTo>
                    <a:lnTo>
                      <a:pt x="35" y="39"/>
                    </a:lnTo>
                    <a:lnTo>
                      <a:pt x="26" y="41"/>
                    </a:lnTo>
                    <a:lnTo>
                      <a:pt x="19" y="43"/>
                    </a:lnTo>
                    <a:lnTo>
                      <a:pt x="12" y="46"/>
                    </a:lnTo>
                    <a:lnTo>
                      <a:pt x="7" y="50"/>
                    </a:lnTo>
                    <a:lnTo>
                      <a:pt x="2" y="45"/>
                    </a:lnTo>
                    <a:lnTo>
                      <a:pt x="1" y="40"/>
                    </a:lnTo>
                    <a:lnTo>
                      <a:pt x="0" y="34"/>
                    </a:lnTo>
                    <a:lnTo>
                      <a:pt x="1" y="28"/>
                    </a:lnTo>
                    <a:lnTo>
                      <a:pt x="4" y="15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15" name="Freeform 337">
                <a:extLst>
                  <a:ext uri="{FF2B5EF4-FFF2-40B4-BE49-F238E27FC236}">
                    <a16:creationId xmlns="" xmlns:a16="http://schemas.microsoft.com/office/drawing/2014/main" id="{838F6ACF-B45B-4101-8C22-A0FF0876E017}"/>
                  </a:ext>
                </a:extLst>
              </p:cNvPr>
              <p:cNvSpPr>
                <a:spLocks/>
              </p:cNvSpPr>
              <p:nvPr>
                <p:custDataLst>
                  <p:tags r:id="rId240"/>
                </p:custDataLst>
              </p:nvPr>
            </p:nvSpPr>
            <p:spPr bwMode="auto">
              <a:xfrm>
                <a:off x="7285038" y="3659188"/>
                <a:ext cx="85725" cy="63500"/>
              </a:xfrm>
              <a:custGeom>
                <a:avLst/>
                <a:gdLst>
                  <a:gd name="T0" fmla="*/ 2147483646 w 193"/>
                  <a:gd name="T1" fmla="*/ 2147483646 h 121"/>
                  <a:gd name="T2" fmla="*/ 2147483646 w 193"/>
                  <a:gd name="T3" fmla="*/ 2147483646 h 121"/>
                  <a:gd name="T4" fmla="*/ 2147483646 w 193"/>
                  <a:gd name="T5" fmla="*/ 2147483646 h 121"/>
                  <a:gd name="T6" fmla="*/ 2147483646 w 193"/>
                  <a:gd name="T7" fmla="*/ 2147483646 h 121"/>
                  <a:gd name="T8" fmla="*/ 2147483646 w 193"/>
                  <a:gd name="T9" fmla="*/ 2147483646 h 121"/>
                  <a:gd name="T10" fmla="*/ 2147483646 w 193"/>
                  <a:gd name="T11" fmla="*/ 2147483646 h 121"/>
                  <a:gd name="T12" fmla="*/ 2147483646 w 193"/>
                  <a:gd name="T13" fmla="*/ 2147483646 h 121"/>
                  <a:gd name="T14" fmla="*/ 2147483646 w 193"/>
                  <a:gd name="T15" fmla="*/ 2147483646 h 121"/>
                  <a:gd name="T16" fmla="*/ 2147483646 w 193"/>
                  <a:gd name="T17" fmla="*/ 2147483646 h 121"/>
                  <a:gd name="T18" fmla="*/ 2147483646 w 193"/>
                  <a:gd name="T19" fmla="*/ 2147483646 h 121"/>
                  <a:gd name="T20" fmla="*/ 2147483646 w 193"/>
                  <a:gd name="T21" fmla="*/ 2147483646 h 121"/>
                  <a:gd name="T22" fmla="*/ 2147483646 w 193"/>
                  <a:gd name="T23" fmla="*/ 2147483646 h 121"/>
                  <a:gd name="T24" fmla="*/ 2147483646 w 193"/>
                  <a:gd name="T25" fmla="*/ 2147483646 h 121"/>
                  <a:gd name="T26" fmla="*/ 2147483646 w 193"/>
                  <a:gd name="T27" fmla="*/ 2147483646 h 121"/>
                  <a:gd name="T28" fmla="*/ 2147483646 w 193"/>
                  <a:gd name="T29" fmla="*/ 2147483646 h 121"/>
                  <a:gd name="T30" fmla="*/ 2147483646 w 193"/>
                  <a:gd name="T31" fmla="*/ 2147483646 h 121"/>
                  <a:gd name="T32" fmla="*/ 2147483646 w 193"/>
                  <a:gd name="T33" fmla="*/ 2147483646 h 121"/>
                  <a:gd name="T34" fmla="*/ 2147483646 w 193"/>
                  <a:gd name="T35" fmla="*/ 2147483646 h 121"/>
                  <a:gd name="T36" fmla="*/ 2147483646 w 193"/>
                  <a:gd name="T37" fmla="*/ 2147483646 h 121"/>
                  <a:gd name="T38" fmla="*/ 2147483646 w 193"/>
                  <a:gd name="T39" fmla="*/ 2147483646 h 121"/>
                  <a:gd name="T40" fmla="*/ 2147483646 w 193"/>
                  <a:gd name="T41" fmla="*/ 2147483646 h 121"/>
                  <a:gd name="T42" fmla="*/ 2147483646 w 193"/>
                  <a:gd name="T43" fmla="*/ 2147483646 h 121"/>
                  <a:gd name="T44" fmla="*/ 2147483646 w 193"/>
                  <a:gd name="T45" fmla="*/ 2147483646 h 121"/>
                  <a:gd name="T46" fmla="*/ 2147483646 w 193"/>
                  <a:gd name="T47" fmla="*/ 2147483646 h 121"/>
                  <a:gd name="T48" fmla="*/ 2147483646 w 193"/>
                  <a:gd name="T49" fmla="*/ 2147483646 h 121"/>
                  <a:gd name="T50" fmla="*/ 2147483646 w 193"/>
                  <a:gd name="T51" fmla="*/ 2147483646 h 121"/>
                  <a:gd name="T52" fmla="*/ 2147483646 w 193"/>
                  <a:gd name="T53" fmla="*/ 2147483646 h 121"/>
                  <a:gd name="T54" fmla="*/ 2147483646 w 193"/>
                  <a:gd name="T55" fmla="*/ 2147483646 h 121"/>
                  <a:gd name="T56" fmla="*/ 2147483646 w 193"/>
                  <a:gd name="T57" fmla="*/ 2147483646 h 121"/>
                  <a:gd name="T58" fmla="*/ 0 w 193"/>
                  <a:gd name="T59" fmla="*/ 2147483646 h 121"/>
                  <a:gd name="T60" fmla="*/ 2147483646 w 193"/>
                  <a:gd name="T61" fmla="*/ 2147483646 h 121"/>
                  <a:gd name="T62" fmla="*/ 2147483646 w 193"/>
                  <a:gd name="T63" fmla="*/ 2147483646 h 121"/>
                  <a:gd name="T64" fmla="*/ 2147483646 w 193"/>
                  <a:gd name="T65" fmla="*/ 2147483646 h 12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93"/>
                  <a:gd name="T100" fmla="*/ 0 h 121"/>
                  <a:gd name="T101" fmla="*/ 193 w 193"/>
                  <a:gd name="T102" fmla="*/ 121 h 121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93" h="121">
                    <a:moveTo>
                      <a:pt x="26" y="36"/>
                    </a:moveTo>
                    <a:lnTo>
                      <a:pt x="33" y="35"/>
                    </a:lnTo>
                    <a:lnTo>
                      <a:pt x="39" y="31"/>
                    </a:lnTo>
                    <a:lnTo>
                      <a:pt x="48" y="25"/>
                    </a:lnTo>
                    <a:lnTo>
                      <a:pt x="58" y="18"/>
                    </a:lnTo>
                    <a:lnTo>
                      <a:pt x="68" y="12"/>
                    </a:lnTo>
                    <a:lnTo>
                      <a:pt x="79" y="6"/>
                    </a:lnTo>
                    <a:lnTo>
                      <a:pt x="84" y="4"/>
                    </a:lnTo>
                    <a:lnTo>
                      <a:pt x="90" y="2"/>
                    </a:lnTo>
                    <a:lnTo>
                      <a:pt x="94" y="1"/>
                    </a:lnTo>
                    <a:lnTo>
                      <a:pt x="100" y="0"/>
                    </a:lnTo>
                    <a:lnTo>
                      <a:pt x="105" y="1"/>
                    </a:lnTo>
                    <a:lnTo>
                      <a:pt x="111" y="1"/>
                    </a:lnTo>
                    <a:lnTo>
                      <a:pt x="116" y="3"/>
                    </a:lnTo>
                    <a:lnTo>
                      <a:pt x="122" y="5"/>
                    </a:lnTo>
                    <a:lnTo>
                      <a:pt x="131" y="10"/>
                    </a:lnTo>
                    <a:lnTo>
                      <a:pt x="139" y="15"/>
                    </a:lnTo>
                    <a:lnTo>
                      <a:pt x="148" y="21"/>
                    </a:lnTo>
                    <a:lnTo>
                      <a:pt x="158" y="26"/>
                    </a:lnTo>
                    <a:lnTo>
                      <a:pt x="162" y="28"/>
                    </a:lnTo>
                    <a:lnTo>
                      <a:pt x="168" y="29"/>
                    </a:lnTo>
                    <a:lnTo>
                      <a:pt x="173" y="30"/>
                    </a:lnTo>
                    <a:lnTo>
                      <a:pt x="179" y="30"/>
                    </a:lnTo>
                    <a:lnTo>
                      <a:pt x="179" y="48"/>
                    </a:lnTo>
                    <a:lnTo>
                      <a:pt x="178" y="60"/>
                    </a:lnTo>
                    <a:lnTo>
                      <a:pt x="178" y="66"/>
                    </a:lnTo>
                    <a:lnTo>
                      <a:pt x="179" y="71"/>
                    </a:lnTo>
                    <a:lnTo>
                      <a:pt x="182" y="75"/>
                    </a:lnTo>
                    <a:lnTo>
                      <a:pt x="187" y="80"/>
                    </a:lnTo>
                    <a:lnTo>
                      <a:pt x="187" y="89"/>
                    </a:lnTo>
                    <a:lnTo>
                      <a:pt x="187" y="97"/>
                    </a:lnTo>
                    <a:lnTo>
                      <a:pt x="188" y="102"/>
                    </a:lnTo>
                    <a:lnTo>
                      <a:pt x="189" y="106"/>
                    </a:lnTo>
                    <a:lnTo>
                      <a:pt x="191" y="109"/>
                    </a:lnTo>
                    <a:lnTo>
                      <a:pt x="193" y="111"/>
                    </a:lnTo>
                    <a:lnTo>
                      <a:pt x="188" y="114"/>
                    </a:lnTo>
                    <a:lnTo>
                      <a:pt x="182" y="117"/>
                    </a:lnTo>
                    <a:lnTo>
                      <a:pt x="177" y="118"/>
                    </a:lnTo>
                    <a:lnTo>
                      <a:pt x="171" y="120"/>
                    </a:lnTo>
                    <a:lnTo>
                      <a:pt x="159" y="121"/>
                    </a:lnTo>
                    <a:lnTo>
                      <a:pt x="146" y="121"/>
                    </a:lnTo>
                    <a:lnTo>
                      <a:pt x="116" y="119"/>
                    </a:lnTo>
                    <a:lnTo>
                      <a:pt x="80" y="117"/>
                    </a:lnTo>
                    <a:lnTo>
                      <a:pt x="72" y="116"/>
                    </a:lnTo>
                    <a:lnTo>
                      <a:pt x="67" y="114"/>
                    </a:lnTo>
                    <a:lnTo>
                      <a:pt x="63" y="110"/>
                    </a:lnTo>
                    <a:lnTo>
                      <a:pt x="59" y="106"/>
                    </a:lnTo>
                    <a:lnTo>
                      <a:pt x="56" y="100"/>
                    </a:lnTo>
                    <a:lnTo>
                      <a:pt x="55" y="93"/>
                    </a:lnTo>
                    <a:lnTo>
                      <a:pt x="54" y="87"/>
                    </a:lnTo>
                    <a:lnTo>
                      <a:pt x="54" y="80"/>
                    </a:lnTo>
                    <a:lnTo>
                      <a:pt x="47" y="79"/>
                    </a:lnTo>
                    <a:lnTo>
                      <a:pt x="39" y="78"/>
                    </a:lnTo>
                    <a:lnTo>
                      <a:pt x="31" y="75"/>
                    </a:lnTo>
                    <a:lnTo>
                      <a:pt x="22" y="72"/>
                    </a:lnTo>
                    <a:lnTo>
                      <a:pt x="13" y="69"/>
                    </a:lnTo>
                    <a:lnTo>
                      <a:pt x="7" y="65"/>
                    </a:lnTo>
                    <a:lnTo>
                      <a:pt x="3" y="62"/>
                    </a:lnTo>
                    <a:lnTo>
                      <a:pt x="2" y="60"/>
                    </a:lnTo>
                    <a:lnTo>
                      <a:pt x="0" y="58"/>
                    </a:lnTo>
                    <a:lnTo>
                      <a:pt x="0" y="56"/>
                    </a:lnTo>
                    <a:lnTo>
                      <a:pt x="1" y="51"/>
                    </a:lnTo>
                    <a:lnTo>
                      <a:pt x="3" y="48"/>
                    </a:lnTo>
                    <a:lnTo>
                      <a:pt x="7" y="45"/>
                    </a:lnTo>
                    <a:lnTo>
                      <a:pt x="11" y="41"/>
                    </a:lnTo>
                    <a:lnTo>
                      <a:pt x="20" y="38"/>
                    </a:lnTo>
                    <a:lnTo>
                      <a:pt x="26" y="36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16" name="Freeform 338">
                <a:extLst>
                  <a:ext uri="{FF2B5EF4-FFF2-40B4-BE49-F238E27FC236}">
                    <a16:creationId xmlns="" xmlns:a16="http://schemas.microsoft.com/office/drawing/2014/main" id="{ABB8F6F8-33F0-42C3-BF5A-A62A4609792C}"/>
                  </a:ext>
                </a:extLst>
              </p:cNvPr>
              <p:cNvSpPr>
                <a:spLocks/>
              </p:cNvSpPr>
              <p:nvPr>
                <p:custDataLst>
                  <p:tags r:id="rId241"/>
                </p:custDataLst>
              </p:nvPr>
            </p:nvSpPr>
            <p:spPr bwMode="auto">
              <a:xfrm>
                <a:off x="6973888" y="3597275"/>
                <a:ext cx="166687" cy="230188"/>
              </a:xfrm>
              <a:custGeom>
                <a:avLst/>
                <a:gdLst>
                  <a:gd name="T0" fmla="*/ 2147483646 w 379"/>
                  <a:gd name="T1" fmla="*/ 2147483646 h 437"/>
                  <a:gd name="T2" fmla="*/ 2147483646 w 379"/>
                  <a:gd name="T3" fmla="*/ 2147483646 h 437"/>
                  <a:gd name="T4" fmla="*/ 2147483646 w 379"/>
                  <a:gd name="T5" fmla="*/ 2147483646 h 437"/>
                  <a:gd name="T6" fmla="*/ 2147483646 w 379"/>
                  <a:gd name="T7" fmla="*/ 2147483646 h 437"/>
                  <a:gd name="T8" fmla="*/ 2147483646 w 379"/>
                  <a:gd name="T9" fmla="*/ 2147483646 h 437"/>
                  <a:gd name="T10" fmla="*/ 2147483646 w 379"/>
                  <a:gd name="T11" fmla="*/ 2147483646 h 437"/>
                  <a:gd name="T12" fmla="*/ 2147483646 w 379"/>
                  <a:gd name="T13" fmla="*/ 2147483646 h 437"/>
                  <a:gd name="T14" fmla="*/ 2147483646 w 379"/>
                  <a:gd name="T15" fmla="*/ 2147483646 h 437"/>
                  <a:gd name="T16" fmla="*/ 2147483646 w 379"/>
                  <a:gd name="T17" fmla="*/ 2147483646 h 437"/>
                  <a:gd name="T18" fmla="*/ 2147483646 w 379"/>
                  <a:gd name="T19" fmla="*/ 2147483646 h 437"/>
                  <a:gd name="T20" fmla="*/ 2147483646 w 379"/>
                  <a:gd name="T21" fmla="*/ 2147483646 h 437"/>
                  <a:gd name="T22" fmla="*/ 2147483646 w 379"/>
                  <a:gd name="T23" fmla="*/ 2147483646 h 437"/>
                  <a:gd name="T24" fmla="*/ 2147483646 w 379"/>
                  <a:gd name="T25" fmla="*/ 2147483646 h 437"/>
                  <a:gd name="T26" fmla="*/ 2147483646 w 379"/>
                  <a:gd name="T27" fmla="*/ 2147483646 h 437"/>
                  <a:gd name="T28" fmla="*/ 2147483646 w 379"/>
                  <a:gd name="T29" fmla="*/ 2147483646 h 437"/>
                  <a:gd name="T30" fmla="*/ 2147483646 w 379"/>
                  <a:gd name="T31" fmla="*/ 2147483646 h 437"/>
                  <a:gd name="T32" fmla="*/ 2147483646 w 379"/>
                  <a:gd name="T33" fmla="*/ 2147483646 h 437"/>
                  <a:gd name="T34" fmla="*/ 2147483646 w 379"/>
                  <a:gd name="T35" fmla="*/ 2147483646 h 437"/>
                  <a:gd name="T36" fmla="*/ 2147483646 w 379"/>
                  <a:gd name="T37" fmla="*/ 2147483646 h 437"/>
                  <a:gd name="T38" fmla="*/ 2147483646 w 379"/>
                  <a:gd name="T39" fmla="*/ 2147483646 h 437"/>
                  <a:gd name="T40" fmla="*/ 2147483646 w 379"/>
                  <a:gd name="T41" fmla="*/ 2147483646 h 437"/>
                  <a:gd name="T42" fmla="*/ 2147483646 w 379"/>
                  <a:gd name="T43" fmla="*/ 2147483646 h 437"/>
                  <a:gd name="T44" fmla="*/ 2147483646 w 379"/>
                  <a:gd name="T45" fmla="*/ 2147483646 h 437"/>
                  <a:gd name="T46" fmla="*/ 2147483646 w 379"/>
                  <a:gd name="T47" fmla="*/ 2147483646 h 437"/>
                  <a:gd name="T48" fmla="*/ 2147483646 w 379"/>
                  <a:gd name="T49" fmla="*/ 2147483646 h 437"/>
                  <a:gd name="T50" fmla="*/ 2147483646 w 379"/>
                  <a:gd name="T51" fmla="*/ 2147483646 h 437"/>
                  <a:gd name="T52" fmla="*/ 2147483646 w 379"/>
                  <a:gd name="T53" fmla="*/ 2147483646 h 437"/>
                  <a:gd name="T54" fmla="*/ 2147483646 w 379"/>
                  <a:gd name="T55" fmla="*/ 2147483646 h 437"/>
                  <a:gd name="T56" fmla="*/ 2147483646 w 379"/>
                  <a:gd name="T57" fmla="*/ 2147483646 h 437"/>
                  <a:gd name="T58" fmla="*/ 2147483646 w 379"/>
                  <a:gd name="T59" fmla="*/ 2147483646 h 437"/>
                  <a:gd name="T60" fmla="*/ 2147483646 w 379"/>
                  <a:gd name="T61" fmla="*/ 2147483646 h 437"/>
                  <a:gd name="T62" fmla="*/ 2147483646 w 379"/>
                  <a:gd name="T63" fmla="*/ 2147483646 h 437"/>
                  <a:gd name="T64" fmla="*/ 2147483646 w 379"/>
                  <a:gd name="T65" fmla="*/ 2147483646 h 437"/>
                  <a:gd name="T66" fmla="*/ 2147483646 w 379"/>
                  <a:gd name="T67" fmla="*/ 2147483646 h 437"/>
                  <a:gd name="T68" fmla="*/ 2147483646 w 379"/>
                  <a:gd name="T69" fmla="*/ 2147483646 h 437"/>
                  <a:gd name="T70" fmla="*/ 2147483646 w 379"/>
                  <a:gd name="T71" fmla="*/ 2147483646 h 437"/>
                  <a:gd name="T72" fmla="*/ 2147483646 w 379"/>
                  <a:gd name="T73" fmla="*/ 2147483646 h 437"/>
                  <a:gd name="T74" fmla="*/ 2147483646 w 379"/>
                  <a:gd name="T75" fmla="*/ 2147483646 h 437"/>
                  <a:gd name="T76" fmla="*/ 2147483646 w 379"/>
                  <a:gd name="T77" fmla="*/ 2147483646 h 437"/>
                  <a:gd name="T78" fmla="*/ 2147483646 w 379"/>
                  <a:gd name="T79" fmla="*/ 2147483646 h 437"/>
                  <a:gd name="T80" fmla="*/ 2147483646 w 379"/>
                  <a:gd name="T81" fmla="*/ 2147483646 h 437"/>
                  <a:gd name="T82" fmla="*/ 2147483646 w 379"/>
                  <a:gd name="T83" fmla="*/ 2147483646 h 437"/>
                  <a:gd name="T84" fmla="*/ 2147483646 w 379"/>
                  <a:gd name="T85" fmla="*/ 2147483646 h 437"/>
                  <a:gd name="T86" fmla="*/ 2147483646 w 379"/>
                  <a:gd name="T87" fmla="*/ 2147483646 h 437"/>
                  <a:gd name="T88" fmla="*/ 2147483646 w 379"/>
                  <a:gd name="T89" fmla="*/ 2147483646 h 437"/>
                  <a:gd name="T90" fmla="*/ 2147483646 w 379"/>
                  <a:gd name="T91" fmla="*/ 2147483646 h 437"/>
                  <a:gd name="T92" fmla="*/ 2147483646 w 379"/>
                  <a:gd name="T93" fmla="*/ 2147483646 h 437"/>
                  <a:gd name="T94" fmla="*/ 2147483646 w 379"/>
                  <a:gd name="T95" fmla="*/ 2147483646 h 437"/>
                  <a:gd name="T96" fmla="*/ 2147483646 w 379"/>
                  <a:gd name="T97" fmla="*/ 2147483646 h 437"/>
                  <a:gd name="T98" fmla="*/ 2147483646 w 379"/>
                  <a:gd name="T99" fmla="*/ 2147483646 h 437"/>
                  <a:gd name="T100" fmla="*/ 2147483646 w 379"/>
                  <a:gd name="T101" fmla="*/ 2147483646 h 437"/>
                  <a:gd name="T102" fmla="*/ 2147483646 w 379"/>
                  <a:gd name="T103" fmla="*/ 2147483646 h 437"/>
                  <a:gd name="T104" fmla="*/ 2147483646 w 379"/>
                  <a:gd name="T105" fmla="*/ 2147483646 h 437"/>
                  <a:gd name="T106" fmla="*/ 2147483646 w 379"/>
                  <a:gd name="T107" fmla="*/ 2147483646 h 437"/>
                  <a:gd name="T108" fmla="*/ 2147483646 w 379"/>
                  <a:gd name="T109" fmla="*/ 2147483646 h 437"/>
                  <a:gd name="T110" fmla="*/ 2147483646 w 379"/>
                  <a:gd name="T111" fmla="*/ 2147483646 h 437"/>
                  <a:gd name="T112" fmla="*/ 2147483646 w 379"/>
                  <a:gd name="T113" fmla="*/ 2147483646 h 437"/>
                  <a:gd name="T114" fmla="*/ 2147483646 w 379"/>
                  <a:gd name="T115" fmla="*/ 2147483646 h 437"/>
                  <a:gd name="T116" fmla="*/ 2147483646 w 379"/>
                  <a:gd name="T117" fmla="*/ 2147483646 h 437"/>
                  <a:gd name="T118" fmla="*/ 2147483646 w 379"/>
                  <a:gd name="T119" fmla="*/ 2147483646 h 437"/>
                  <a:gd name="T120" fmla="*/ 2147483646 w 379"/>
                  <a:gd name="T121" fmla="*/ 2147483646 h 437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79"/>
                  <a:gd name="T184" fmla="*/ 0 h 437"/>
                  <a:gd name="T185" fmla="*/ 379 w 379"/>
                  <a:gd name="T186" fmla="*/ 437 h 437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79" h="437">
                    <a:moveTo>
                      <a:pt x="59" y="437"/>
                    </a:moveTo>
                    <a:lnTo>
                      <a:pt x="33" y="437"/>
                    </a:lnTo>
                    <a:lnTo>
                      <a:pt x="34" y="430"/>
                    </a:lnTo>
                    <a:lnTo>
                      <a:pt x="37" y="419"/>
                    </a:lnTo>
                    <a:lnTo>
                      <a:pt x="38" y="415"/>
                    </a:lnTo>
                    <a:lnTo>
                      <a:pt x="41" y="410"/>
                    </a:lnTo>
                    <a:lnTo>
                      <a:pt x="44" y="408"/>
                    </a:lnTo>
                    <a:lnTo>
                      <a:pt x="46" y="407"/>
                    </a:lnTo>
                    <a:lnTo>
                      <a:pt x="46" y="320"/>
                    </a:lnTo>
                    <a:lnTo>
                      <a:pt x="38" y="317"/>
                    </a:lnTo>
                    <a:lnTo>
                      <a:pt x="32" y="314"/>
                    </a:lnTo>
                    <a:lnTo>
                      <a:pt x="24" y="311"/>
                    </a:lnTo>
                    <a:lnTo>
                      <a:pt x="18" y="307"/>
                    </a:lnTo>
                    <a:lnTo>
                      <a:pt x="12" y="303"/>
                    </a:lnTo>
                    <a:lnTo>
                      <a:pt x="7" y="299"/>
                    </a:lnTo>
                    <a:lnTo>
                      <a:pt x="2" y="294"/>
                    </a:lnTo>
                    <a:lnTo>
                      <a:pt x="0" y="290"/>
                    </a:lnTo>
                    <a:lnTo>
                      <a:pt x="5" y="284"/>
                    </a:lnTo>
                    <a:lnTo>
                      <a:pt x="11" y="278"/>
                    </a:lnTo>
                    <a:lnTo>
                      <a:pt x="15" y="270"/>
                    </a:lnTo>
                    <a:lnTo>
                      <a:pt x="19" y="264"/>
                    </a:lnTo>
                    <a:lnTo>
                      <a:pt x="24" y="250"/>
                    </a:lnTo>
                    <a:lnTo>
                      <a:pt x="28" y="236"/>
                    </a:lnTo>
                    <a:lnTo>
                      <a:pt x="31" y="221"/>
                    </a:lnTo>
                    <a:lnTo>
                      <a:pt x="32" y="204"/>
                    </a:lnTo>
                    <a:lnTo>
                      <a:pt x="33" y="189"/>
                    </a:lnTo>
                    <a:lnTo>
                      <a:pt x="33" y="173"/>
                    </a:lnTo>
                    <a:lnTo>
                      <a:pt x="39" y="172"/>
                    </a:lnTo>
                    <a:lnTo>
                      <a:pt x="45" y="170"/>
                    </a:lnTo>
                    <a:lnTo>
                      <a:pt x="50" y="168"/>
                    </a:lnTo>
                    <a:lnTo>
                      <a:pt x="54" y="164"/>
                    </a:lnTo>
                    <a:lnTo>
                      <a:pt x="57" y="159"/>
                    </a:lnTo>
                    <a:lnTo>
                      <a:pt x="59" y="154"/>
                    </a:lnTo>
                    <a:lnTo>
                      <a:pt x="61" y="149"/>
                    </a:lnTo>
                    <a:lnTo>
                      <a:pt x="63" y="143"/>
                    </a:lnTo>
                    <a:lnTo>
                      <a:pt x="65" y="130"/>
                    </a:lnTo>
                    <a:lnTo>
                      <a:pt x="66" y="115"/>
                    </a:lnTo>
                    <a:lnTo>
                      <a:pt x="69" y="100"/>
                    </a:lnTo>
                    <a:lnTo>
                      <a:pt x="72" y="86"/>
                    </a:lnTo>
                    <a:lnTo>
                      <a:pt x="76" y="78"/>
                    </a:lnTo>
                    <a:lnTo>
                      <a:pt x="78" y="71"/>
                    </a:lnTo>
                    <a:lnTo>
                      <a:pt x="81" y="64"/>
                    </a:lnTo>
                    <a:lnTo>
                      <a:pt x="86" y="57"/>
                    </a:lnTo>
                    <a:lnTo>
                      <a:pt x="90" y="51"/>
                    </a:lnTo>
                    <a:lnTo>
                      <a:pt x="95" y="44"/>
                    </a:lnTo>
                    <a:lnTo>
                      <a:pt x="101" y="39"/>
                    </a:lnTo>
                    <a:lnTo>
                      <a:pt x="108" y="35"/>
                    </a:lnTo>
                    <a:lnTo>
                      <a:pt x="115" y="31"/>
                    </a:lnTo>
                    <a:lnTo>
                      <a:pt x="123" y="29"/>
                    </a:lnTo>
                    <a:lnTo>
                      <a:pt x="132" y="27"/>
                    </a:lnTo>
                    <a:lnTo>
                      <a:pt x="142" y="25"/>
                    </a:lnTo>
                    <a:lnTo>
                      <a:pt x="153" y="25"/>
                    </a:lnTo>
                    <a:lnTo>
                      <a:pt x="165" y="26"/>
                    </a:lnTo>
                    <a:lnTo>
                      <a:pt x="178" y="28"/>
                    </a:lnTo>
                    <a:lnTo>
                      <a:pt x="192" y="30"/>
                    </a:lnTo>
                    <a:lnTo>
                      <a:pt x="217" y="38"/>
                    </a:lnTo>
                    <a:lnTo>
                      <a:pt x="237" y="44"/>
                    </a:lnTo>
                    <a:lnTo>
                      <a:pt x="246" y="46"/>
                    </a:lnTo>
                    <a:lnTo>
                      <a:pt x="254" y="47"/>
                    </a:lnTo>
                    <a:lnTo>
                      <a:pt x="262" y="48"/>
                    </a:lnTo>
                    <a:lnTo>
                      <a:pt x="272" y="50"/>
                    </a:lnTo>
                    <a:lnTo>
                      <a:pt x="283" y="48"/>
                    </a:lnTo>
                    <a:lnTo>
                      <a:pt x="294" y="47"/>
                    </a:lnTo>
                    <a:lnTo>
                      <a:pt x="303" y="45"/>
                    </a:lnTo>
                    <a:lnTo>
                      <a:pt x="311" y="42"/>
                    </a:lnTo>
                    <a:lnTo>
                      <a:pt x="317" y="39"/>
                    </a:lnTo>
                    <a:lnTo>
                      <a:pt x="324" y="35"/>
                    </a:lnTo>
                    <a:lnTo>
                      <a:pt x="329" y="31"/>
                    </a:lnTo>
                    <a:lnTo>
                      <a:pt x="334" y="27"/>
                    </a:lnTo>
                    <a:lnTo>
                      <a:pt x="343" y="18"/>
                    </a:lnTo>
                    <a:lnTo>
                      <a:pt x="351" y="10"/>
                    </a:lnTo>
                    <a:lnTo>
                      <a:pt x="356" y="7"/>
                    </a:lnTo>
                    <a:lnTo>
                      <a:pt x="360" y="4"/>
                    </a:lnTo>
                    <a:lnTo>
                      <a:pt x="366" y="2"/>
                    </a:lnTo>
                    <a:lnTo>
                      <a:pt x="371" y="0"/>
                    </a:lnTo>
                    <a:lnTo>
                      <a:pt x="374" y="9"/>
                    </a:lnTo>
                    <a:lnTo>
                      <a:pt x="379" y="18"/>
                    </a:lnTo>
                    <a:lnTo>
                      <a:pt x="378" y="23"/>
                    </a:lnTo>
                    <a:lnTo>
                      <a:pt x="375" y="29"/>
                    </a:lnTo>
                    <a:lnTo>
                      <a:pt x="372" y="35"/>
                    </a:lnTo>
                    <a:lnTo>
                      <a:pt x="369" y="41"/>
                    </a:lnTo>
                    <a:lnTo>
                      <a:pt x="358" y="55"/>
                    </a:lnTo>
                    <a:lnTo>
                      <a:pt x="344" y="68"/>
                    </a:lnTo>
                    <a:lnTo>
                      <a:pt x="329" y="80"/>
                    </a:lnTo>
                    <a:lnTo>
                      <a:pt x="314" y="89"/>
                    </a:lnTo>
                    <a:lnTo>
                      <a:pt x="306" y="93"/>
                    </a:lnTo>
                    <a:lnTo>
                      <a:pt x="299" y="96"/>
                    </a:lnTo>
                    <a:lnTo>
                      <a:pt x="292" y="97"/>
                    </a:lnTo>
                    <a:lnTo>
                      <a:pt x="285" y="98"/>
                    </a:lnTo>
                    <a:lnTo>
                      <a:pt x="280" y="98"/>
                    </a:lnTo>
                    <a:lnTo>
                      <a:pt x="276" y="96"/>
                    </a:lnTo>
                    <a:lnTo>
                      <a:pt x="271" y="94"/>
                    </a:lnTo>
                    <a:lnTo>
                      <a:pt x="266" y="91"/>
                    </a:lnTo>
                    <a:lnTo>
                      <a:pt x="257" y="85"/>
                    </a:lnTo>
                    <a:lnTo>
                      <a:pt x="248" y="77"/>
                    </a:lnTo>
                    <a:lnTo>
                      <a:pt x="238" y="69"/>
                    </a:lnTo>
                    <a:lnTo>
                      <a:pt x="228" y="62"/>
                    </a:lnTo>
                    <a:lnTo>
                      <a:pt x="223" y="60"/>
                    </a:lnTo>
                    <a:lnTo>
                      <a:pt x="217" y="57"/>
                    </a:lnTo>
                    <a:lnTo>
                      <a:pt x="212" y="56"/>
                    </a:lnTo>
                    <a:lnTo>
                      <a:pt x="205" y="56"/>
                    </a:lnTo>
                    <a:lnTo>
                      <a:pt x="199" y="56"/>
                    </a:lnTo>
                    <a:lnTo>
                      <a:pt x="190" y="56"/>
                    </a:lnTo>
                    <a:lnTo>
                      <a:pt x="177" y="56"/>
                    </a:lnTo>
                    <a:lnTo>
                      <a:pt x="159" y="56"/>
                    </a:lnTo>
                    <a:lnTo>
                      <a:pt x="151" y="56"/>
                    </a:lnTo>
                    <a:lnTo>
                      <a:pt x="145" y="58"/>
                    </a:lnTo>
                    <a:lnTo>
                      <a:pt x="138" y="61"/>
                    </a:lnTo>
                    <a:lnTo>
                      <a:pt x="132" y="64"/>
                    </a:lnTo>
                    <a:lnTo>
                      <a:pt x="125" y="69"/>
                    </a:lnTo>
                    <a:lnTo>
                      <a:pt x="120" y="74"/>
                    </a:lnTo>
                    <a:lnTo>
                      <a:pt x="114" y="79"/>
                    </a:lnTo>
                    <a:lnTo>
                      <a:pt x="109" y="85"/>
                    </a:lnTo>
                    <a:lnTo>
                      <a:pt x="92" y="110"/>
                    </a:lnTo>
                    <a:lnTo>
                      <a:pt x="79" y="129"/>
                    </a:lnTo>
                    <a:lnTo>
                      <a:pt x="79" y="161"/>
                    </a:lnTo>
                    <a:lnTo>
                      <a:pt x="91" y="161"/>
                    </a:lnTo>
                    <a:lnTo>
                      <a:pt x="102" y="163"/>
                    </a:lnTo>
                    <a:lnTo>
                      <a:pt x="111" y="165"/>
                    </a:lnTo>
                    <a:lnTo>
                      <a:pt x="119" y="169"/>
                    </a:lnTo>
                    <a:lnTo>
                      <a:pt x="124" y="173"/>
                    </a:lnTo>
                    <a:lnTo>
                      <a:pt x="128" y="178"/>
                    </a:lnTo>
                    <a:lnTo>
                      <a:pt x="132" y="184"/>
                    </a:lnTo>
                    <a:lnTo>
                      <a:pt x="133" y="191"/>
                    </a:lnTo>
                    <a:lnTo>
                      <a:pt x="139" y="186"/>
                    </a:lnTo>
                    <a:lnTo>
                      <a:pt x="145" y="180"/>
                    </a:lnTo>
                    <a:lnTo>
                      <a:pt x="150" y="174"/>
                    </a:lnTo>
                    <a:lnTo>
                      <a:pt x="155" y="168"/>
                    </a:lnTo>
                    <a:lnTo>
                      <a:pt x="159" y="163"/>
                    </a:lnTo>
                    <a:lnTo>
                      <a:pt x="164" y="157"/>
                    </a:lnTo>
                    <a:lnTo>
                      <a:pt x="168" y="155"/>
                    </a:lnTo>
                    <a:lnTo>
                      <a:pt x="172" y="153"/>
                    </a:lnTo>
                    <a:lnTo>
                      <a:pt x="184" y="150"/>
                    </a:lnTo>
                    <a:lnTo>
                      <a:pt x="196" y="149"/>
                    </a:lnTo>
                    <a:lnTo>
                      <a:pt x="209" y="149"/>
                    </a:lnTo>
                    <a:lnTo>
                      <a:pt x="221" y="150"/>
                    </a:lnTo>
                    <a:lnTo>
                      <a:pt x="232" y="150"/>
                    </a:lnTo>
                    <a:lnTo>
                      <a:pt x="242" y="149"/>
                    </a:lnTo>
                    <a:lnTo>
                      <a:pt x="246" y="148"/>
                    </a:lnTo>
                    <a:lnTo>
                      <a:pt x="250" y="147"/>
                    </a:lnTo>
                    <a:lnTo>
                      <a:pt x="255" y="144"/>
                    </a:lnTo>
                    <a:lnTo>
                      <a:pt x="259" y="141"/>
                    </a:lnTo>
                    <a:lnTo>
                      <a:pt x="268" y="158"/>
                    </a:lnTo>
                    <a:lnTo>
                      <a:pt x="273" y="173"/>
                    </a:lnTo>
                    <a:lnTo>
                      <a:pt x="276" y="179"/>
                    </a:lnTo>
                    <a:lnTo>
                      <a:pt x="278" y="187"/>
                    </a:lnTo>
                    <a:lnTo>
                      <a:pt x="278" y="194"/>
                    </a:lnTo>
                    <a:lnTo>
                      <a:pt x="279" y="203"/>
                    </a:lnTo>
                    <a:lnTo>
                      <a:pt x="268" y="200"/>
                    </a:lnTo>
                    <a:lnTo>
                      <a:pt x="259" y="198"/>
                    </a:lnTo>
                    <a:lnTo>
                      <a:pt x="252" y="195"/>
                    </a:lnTo>
                    <a:lnTo>
                      <a:pt x="246" y="192"/>
                    </a:lnTo>
                    <a:lnTo>
                      <a:pt x="240" y="189"/>
                    </a:lnTo>
                    <a:lnTo>
                      <a:pt x="235" y="187"/>
                    </a:lnTo>
                    <a:lnTo>
                      <a:pt x="227" y="185"/>
                    </a:lnTo>
                    <a:lnTo>
                      <a:pt x="218" y="185"/>
                    </a:lnTo>
                    <a:lnTo>
                      <a:pt x="210" y="186"/>
                    </a:lnTo>
                    <a:lnTo>
                      <a:pt x="202" y="188"/>
                    </a:lnTo>
                    <a:lnTo>
                      <a:pt x="196" y="191"/>
                    </a:lnTo>
                    <a:lnTo>
                      <a:pt x="192" y="195"/>
                    </a:lnTo>
                    <a:lnTo>
                      <a:pt x="189" y="199"/>
                    </a:lnTo>
                    <a:lnTo>
                      <a:pt x="187" y="203"/>
                    </a:lnTo>
                    <a:lnTo>
                      <a:pt x="186" y="206"/>
                    </a:lnTo>
                    <a:lnTo>
                      <a:pt x="186" y="209"/>
                    </a:lnTo>
                    <a:lnTo>
                      <a:pt x="186" y="215"/>
                    </a:lnTo>
                    <a:lnTo>
                      <a:pt x="188" y="223"/>
                    </a:lnTo>
                    <a:lnTo>
                      <a:pt x="189" y="228"/>
                    </a:lnTo>
                    <a:lnTo>
                      <a:pt x="192" y="233"/>
                    </a:lnTo>
                    <a:lnTo>
                      <a:pt x="198" y="243"/>
                    </a:lnTo>
                    <a:lnTo>
                      <a:pt x="205" y="252"/>
                    </a:lnTo>
                    <a:lnTo>
                      <a:pt x="213" y="261"/>
                    </a:lnTo>
                    <a:lnTo>
                      <a:pt x="220" y="272"/>
                    </a:lnTo>
                    <a:lnTo>
                      <a:pt x="222" y="277"/>
                    </a:lnTo>
                    <a:lnTo>
                      <a:pt x="224" y="283"/>
                    </a:lnTo>
                    <a:lnTo>
                      <a:pt x="225" y="289"/>
                    </a:lnTo>
                    <a:lnTo>
                      <a:pt x="225" y="296"/>
                    </a:lnTo>
                    <a:lnTo>
                      <a:pt x="225" y="302"/>
                    </a:lnTo>
                    <a:lnTo>
                      <a:pt x="222" y="309"/>
                    </a:lnTo>
                    <a:lnTo>
                      <a:pt x="220" y="316"/>
                    </a:lnTo>
                    <a:lnTo>
                      <a:pt x="215" y="322"/>
                    </a:lnTo>
                    <a:lnTo>
                      <a:pt x="212" y="329"/>
                    </a:lnTo>
                    <a:lnTo>
                      <a:pt x="209" y="335"/>
                    </a:lnTo>
                    <a:lnTo>
                      <a:pt x="206" y="340"/>
                    </a:lnTo>
                    <a:lnTo>
                      <a:pt x="205" y="345"/>
                    </a:lnTo>
                    <a:lnTo>
                      <a:pt x="205" y="348"/>
                    </a:lnTo>
                    <a:lnTo>
                      <a:pt x="206" y="351"/>
                    </a:lnTo>
                    <a:lnTo>
                      <a:pt x="209" y="354"/>
                    </a:lnTo>
                    <a:lnTo>
                      <a:pt x="210" y="356"/>
                    </a:lnTo>
                    <a:lnTo>
                      <a:pt x="215" y="361"/>
                    </a:lnTo>
                    <a:lnTo>
                      <a:pt x="222" y="364"/>
                    </a:lnTo>
                    <a:lnTo>
                      <a:pt x="228" y="366"/>
                    </a:lnTo>
                    <a:lnTo>
                      <a:pt x="236" y="368"/>
                    </a:lnTo>
                    <a:lnTo>
                      <a:pt x="244" y="369"/>
                    </a:lnTo>
                    <a:lnTo>
                      <a:pt x="252" y="369"/>
                    </a:lnTo>
                    <a:lnTo>
                      <a:pt x="252" y="390"/>
                    </a:lnTo>
                    <a:lnTo>
                      <a:pt x="252" y="400"/>
                    </a:lnTo>
                    <a:lnTo>
                      <a:pt x="252" y="411"/>
                    </a:lnTo>
                    <a:lnTo>
                      <a:pt x="252" y="431"/>
                    </a:lnTo>
                    <a:lnTo>
                      <a:pt x="245" y="430"/>
                    </a:lnTo>
                    <a:lnTo>
                      <a:pt x="239" y="429"/>
                    </a:lnTo>
                    <a:lnTo>
                      <a:pt x="234" y="427"/>
                    </a:lnTo>
                    <a:lnTo>
                      <a:pt x="229" y="425"/>
                    </a:lnTo>
                    <a:lnTo>
                      <a:pt x="225" y="423"/>
                    </a:lnTo>
                    <a:lnTo>
                      <a:pt x="221" y="421"/>
                    </a:lnTo>
                    <a:lnTo>
                      <a:pt x="217" y="419"/>
                    </a:lnTo>
                    <a:lnTo>
                      <a:pt x="212" y="419"/>
                    </a:lnTo>
                    <a:lnTo>
                      <a:pt x="207" y="418"/>
                    </a:lnTo>
                    <a:lnTo>
                      <a:pt x="202" y="417"/>
                    </a:lnTo>
                    <a:lnTo>
                      <a:pt x="198" y="416"/>
                    </a:lnTo>
                    <a:lnTo>
                      <a:pt x="193" y="414"/>
                    </a:lnTo>
                    <a:lnTo>
                      <a:pt x="186" y="408"/>
                    </a:lnTo>
                    <a:lnTo>
                      <a:pt x="177" y="400"/>
                    </a:lnTo>
                    <a:lnTo>
                      <a:pt x="170" y="391"/>
                    </a:lnTo>
                    <a:lnTo>
                      <a:pt x="164" y="379"/>
                    </a:lnTo>
                    <a:lnTo>
                      <a:pt x="158" y="368"/>
                    </a:lnTo>
                    <a:lnTo>
                      <a:pt x="153" y="356"/>
                    </a:lnTo>
                    <a:lnTo>
                      <a:pt x="148" y="343"/>
                    </a:lnTo>
                    <a:lnTo>
                      <a:pt x="144" y="330"/>
                    </a:lnTo>
                    <a:lnTo>
                      <a:pt x="140" y="317"/>
                    </a:lnTo>
                    <a:lnTo>
                      <a:pt x="137" y="304"/>
                    </a:lnTo>
                    <a:lnTo>
                      <a:pt x="134" y="282"/>
                    </a:lnTo>
                    <a:lnTo>
                      <a:pt x="133" y="264"/>
                    </a:lnTo>
                    <a:lnTo>
                      <a:pt x="122" y="264"/>
                    </a:lnTo>
                    <a:lnTo>
                      <a:pt x="114" y="263"/>
                    </a:lnTo>
                    <a:lnTo>
                      <a:pt x="109" y="261"/>
                    </a:lnTo>
                    <a:lnTo>
                      <a:pt x="104" y="260"/>
                    </a:lnTo>
                    <a:lnTo>
                      <a:pt x="101" y="259"/>
                    </a:lnTo>
                    <a:lnTo>
                      <a:pt x="97" y="259"/>
                    </a:lnTo>
                    <a:lnTo>
                      <a:pt x="92" y="261"/>
                    </a:lnTo>
                    <a:lnTo>
                      <a:pt x="86" y="264"/>
                    </a:lnTo>
                    <a:lnTo>
                      <a:pt x="86" y="296"/>
                    </a:lnTo>
                    <a:lnTo>
                      <a:pt x="105" y="381"/>
                    </a:lnTo>
                    <a:lnTo>
                      <a:pt x="104" y="389"/>
                    </a:lnTo>
                    <a:lnTo>
                      <a:pt x="101" y="394"/>
                    </a:lnTo>
                    <a:lnTo>
                      <a:pt x="98" y="399"/>
                    </a:lnTo>
                    <a:lnTo>
                      <a:pt x="93" y="404"/>
                    </a:lnTo>
                    <a:lnTo>
                      <a:pt x="83" y="411"/>
                    </a:lnTo>
                    <a:lnTo>
                      <a:pt x="72" y="416"/>
                    </a:lnTo>
                    <a:lnTo>
                      <a:pt x="64" y="421"/>
                    </a:lnTo>
                    <a:lnTo>
                      <a:pt x="57" y="426"/>
                    </a:lnTo>
                    <a:lnTo>
                      <a:pt x="56" y="428"/>
                    </a:lnTo>
                    <a:lnTo>
                      <a:pt x="55" y="431"/>
                    </a:lnTo>
                    <a:lnTo>
                      <a:pt x="56" y="434"/>
                    </a:lnTo>
                    <a:lnTo>
                      <a:pt x="59" y="437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17" name="Freeform 339">
                <a:extLst>
                  <a:ext uri="{FF2B5EF4-FFF2-40B4-BE49-F238E27FC236}">
                    <a16:creationId xmlns="" xmlns:a16="http://schemas.microsoft.com/office/drawing/2014/main" id="{41FCCC06-6717-47BA-83C3-FB3D9BE5E67B}"/>
                  </a:ext>
                </a:extLst>
              </p:cNvPr>
              <p:cNvSpPr>
                <a:spLocks/>
              </p:cNvSpPr>
              <p:nvPr>
                <p:custDataLst>
                  <p:tags r:id="rId242"/>
                </p:custDataLst>
              </p:nvPr>
            </p:nvSpPr>
            <p:spPr bwMode="auto">
              <a:xfrm>
                <a:off x="6638925" y="3838575"/>
                <a:ext cx="250825" cy="95250"/>
              </a:xfrm>
              <a:custGeom>
                <a:avLst/>
                <a:gdLst>
                  <a:gd name="T0" fmla="*/ 2147483646 w 578"/>
                  <a:gd name="T1" fmla="*/ 2147483646 h 184"/>
                  <a:gd name="T2" fmla="*/ 2147483646 w 578"/>
                  <a:gd name="T3" fmla="*/ 2147483646 h 184"/>
                  <a:gd name="T4" fmla="*/ 2147483646 w 578"/>
                  <a:gd name="T5" fmla="*/ 2147483646 h 184"/>
                  <a:gd name="T6" fmla="*/ 2147483646 w 578"/>
                  <a:gd name="T7" fmla="*/ 0 h 184"/>
                  <a:gd name="T8" fmla="*/ 2147483646 w 578"/>
                  <a:gd name="T9" fmla="*/ 2147483646 h 184"/>
                  <a:gd name="T10" fmla="*/ 2147483646 w 578"/>
                  <a:gd name="T11" fmla="*/ 2147483646 h 184"/>
                  <a:gd name="T12" fmla="*/ 2147483646 w 578"/>
                  <a:gd name="T13" fmla="*/ 2147483646 h 184"/>
                  <a:gd name="T14" fmla="*/ 2147483646 w 578"/>
                  <a:gd name="T15" fmla="*/ 2147483646 h 184"/>
                  <a:gd name="T16" fmla="*/ 2147483646 w 578"/>
                  <a:gd name="T17" fmla="*/ 2147483646 h 184"/>
                  <a:gd name="T18" fmla="*/ 2147483646 w 578"/>
                  <a:gd name="T19" fmla="*/ 2147483646 h 184"/>
                  <a:gd name="T20" fmla="*/ 2147483646 w 578"/>
                  <a:gd name="T21" fmla="*/ 2147483646 h 184"/>
                  <a:gd name="T22" fmla="*/ 2147483646 w 578"/>
                  <a:gd name="T23" fmla="*/ 2147483646 h 184"/>
                  <a:gd name="T24" fmla="*/ 2147483646 w 578"/>
                  <a:gd name="T25" fmla="*/ 2147483646 h 184"/>
                  <a:gd name="T26" fmla="*/ 2147483646 w 578"/>
                  <a:gd name="T27" fmla="*/ 2147483646 h 184"/>
                  <a:gd name="T28" fmla="*/ 2147483646 w 578"/>
                  <a:gd name="T29" fmla="*/ 2147483646 h 184"/>
                  <a:gd name="T30" fmla="*/ 2147483646 w 578"/>
                  <a:gd name="T31" fmla="*/ 2147483646 h 184"/>
                  <a:gd name="T32" fmla="*/ 2147483646 w 578"/>
                  <a:gd name="T33" fmla="*/ 2147483646 h 184"/>
                  <a:gd name="T34" fmla="*/ 2147483646 w 578"/>
                  <a:gd name="T35" fmla="*/ 2147483646 h 184"/>
                  <a:gd name="T36" fmla="*/ 2147483646 w 578"/>
                  <a:gd name="T37" fmla="*/ 2147483646 h 184"/>
                  <a:gd name="T38" fmla="*/ 2147483646 w 578"/>
                  <a:gd name="T39" fmla="*/ 2147483646 h 184"/>
                  <a:gd name="T40" fmla="*/ 2147483646 w 578"/>
                  <a:gd name="T41" fmla="*/ 2147483646 h 184"/>
                  <a:gd name="T42" fmla="*/ 2147483646 w 578"/>
                  <a:gd name="T43" fmla="*/ 2147483646 h 184"/>
                  <a:gd name="T44" fmla="*/ 2147483646 w 578"/>
                  <a:gd name="T45" fmla="*/ 2147483646 h 184"/>
                  <a:gd name="T46" fmla="*/ 2147483646 w 578"/>
                  <a:gd name="T47" fmla="*/ 2147483646 h 184"/>
                  <a:gd name="T48" fmla="*/ 2147483646 w 578"/>
                  <a:gd name="T49" fmla="*/ 2147483646 h 184"/>
                  <a:gd name="T50" fmla="*/ 2147483646 w 578"/>
                  <a:gd name="T51" fmla="*/ 2147483646 h 184"/>
                  <a:gd name="T52" fmla="*/ 2147483646 w 578"/>
                  <a:gd name="T53" fmla="*/ 2147483646 h 184"/>
                  <a:gd name="T54" fmla="*/ 2147483646 w 578"/>
                  <a:gd name="T55" fmla="*/ 2147483646 h 184"/>
                  <a:gd name="T56" fmla="*/ 2147483646 w 578"/>
                  <a:gd name="T57" fmla="*/ 2147483646 h 184"/>
                  <a:gd name="T58" fmla="*/ 2147483646 w 578"/>
                  <a:gd name="T59" fmla="*/ 2147483646 h 184"/>
                  <a:gd name="T60" fmla="*/ 2147483646 w 578"/>
                  <a:gd name="T61" fmla="*/ 2147483646 h 184"/>
                  <a:gd name="T62" fmla="*/ 2147483646 w 578"/>
                  <a:gd name="T63" fmla="*/ 2147483646 h 184"/>
                  <a:gd name="T64" fmla="*/ 2147483646 w 578"/>
                  <a:gd name="T65" fmla="*/ 2147483646 h 184"/>
                  <a:gd name="T66" fmla="*/ 2147483646 w 578"/>
                  <a:gd name="T67" fmla="*/ 2147483646 h 184"/>
                  <a:gd name="T68" fmla="*/ 2147483646 w 578"/>
                  <a:gd name="T69" fmla="*/ 2147483646 h 184"/>
                  <a:gd name="T70" fmla="*/ 2147483646 w 578"/>
                  <a:gd name="T71" fmla="*/ 2147483646 h 184"/>
                  <a:gd name="T72" fmla="*/ 2147483646 w 578"/>
                  <a:gd name="T73" fmla="*/ 2147483646 h 184"/>
                  <a:gd name="T74" fmla="*/ 2147483646 w 578"/>
                  <a:gd name="T75" fmla="*/ 2147483646 h 184"/>
                  <a:gd name="T76" fmla="*/ 2147483646 w 578"/>
                  <a:gd name="T77" fmla="*/ 2147483646 h 184"/>
                  <a:gd name="T78" fmla="*/ 2147483646 w 578"/>
                  <a:gd name="T79" fmla="*/ 2147483646 h 184"/>
                  <a:gd name="T80" fmla="*/ 2147483646 w 578"/>
                  <a:gd name="T81" fmla="*/ 2147483646 h 184"/>
                  <a:gd name="T82" fmla="*/ 2147483646 w 578"/>
                  <a:gd name="T83" fmla="*/ 2147483646 h 184"/>
                  <a:gd name="T84" fmla="*/ 2147483646 w 578"/>
                  <a:gd name="T85" fmla="*/ 2147483646 h 184"/>
                  <a:gd name="T86" fmla="*/ 2147483646 w 578"/>
                  <a:gd name="T87" fmla="*/ 2147483646 h 184"/>
                  <a:gd name="T88" fmla="*/ 2147483646 w 578"/>
                  <a:gd name="T89" fmla="*/ 2147483646 h 184"/>
                  <a:gd name="T90" fmla="*/ 2147483646 w 578"/>
                  <a:gd name="T91" fmla="*/ 2147483646 h 184"/>
                  <a:gd name="T92" fmla="*/ 2147483646 w 578"/>
                  <a:gd name="T93" fmla="*/ 2147483646 h 184"/>
                  <a:gd name="T94" fmla="*/ 2147483646 w 578"/>
                  <a:gd name="T95" fmla="*/ 2147483646 h 184"/>
                  <a:gd name="T96" fmla="*/ 2147483646 w 578"/>
                  <a:gd name="T97" fmla="*/ 2147483646 h 184"/>
                  <a:gd name="T98" fmla="*/ 2147483646 w 578"/>
                  <a:gd name="T99" fmla="*/ 2147483646 h 184"/>
                  <a:gd name="T100" fmla="*/ 2147483646 w 578"/>
                  <a:gd name="T101" fmla="*/ 2147483646 h 184"/>
                  <a:gd name="T102" fmla="*/ 2147483646 w 578"/>
                  <a:gd name="T103" fmla="*/ 2147483646 h 184"/>
                  <a:gd name="T104" fmla="*/ 2147483646 w 578"/>
                  <a:gd name="T105" fmla="*/ 2147483646 h 184"/>
                  <a:gd name="T106" fmla="*/ 0 w 578"/>
                  <a:gd name="T107" fmla="*/ 2147483646 h 184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578"/>
                  <a:gd name="T163" fmla="*/ 0 h 184"/>
                  <a:gd name="T164" fmla="*/ 578 w 578"/>
                  <a:gd name="T165" fmla="*/ 184 h 184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578" h="184">
                    <a:moveTo>
                      <a:pt x="0" y="55"/>
                    </a:moveTo>
                    <a:lnTo>
                      <a:pt x="6" y="53"/>
                    </a:lnTo>
                    <a:lnTo>
                      <a:pt x="11" y="50"/>
                    </a:lnTo>
                    <a:lnTo>
                      <a:pt x="14" y="46"/>
                    </a:lnTo>
                    <a:lnTo>
                      <a:pt x="19" y="42"/>
                    </a:lnTo>
                    <a:lnTo>
                      <a:pt x="24" y="32"/>
                    </a:lnTo>
                    <a:lnTo>
                      <a:pt x="30" y="23"/>
                    </a:lnTo>
                    <a:lnTo>
                      <a:pt x="35" y="14"/>
                    </a:lnTo>
                    <a:lnTo>
                      <a:pt x="41" y="7"/>
                    </a:lnTo>
                    <a:lnTo>
                      <a:pt x="44" y="4"/>
                    </a:lnTo>
                    <a:lnTo>
                      <a:pt x="48" y="2"/>
                    </a:lnTo>
                    <a:lnTo>
                      <a:pt x="54" y="0"/>
                    </a:lnTo>
                    <a:lnTo>
                      <a:pt x="59" y="0"/>
                    </a:lnTo>
                    <a:lnTo>
                      <a:pt x="69" y="1"/>
                    </a:lnTo>
                    <a:lnTo>
                      <a:pt x="79" y="2"/>
                    </a:lnTo>
                    <a:lnTo>
                      <a:pt x="85" y="3"/>
                    </a:lnTo>
                    <a:lnTo>
                      <a:pt x="89" y="3"/>
                    </a:lnTo>
                    <a:lnTo>
                      <a:pt x="95" y="2"/>
                    </a:lnTo>
                    <a:lnTo>
                      <a:pt x="99" y="0"/>
                    </a:lnTo>
                    <a:lnTo>
                      <a:pt x="100" y="2"/>
                    </a:lnTo>
                    <a:lnTo>
                      <a:pt x="101" y="5"/>
                    </a:lnTo>
                    <a:lnTo>
                      <a:pt x="103" y="7"/>
                    </a:lnTo>
                    <a:lnTo>
                      <a:pt x="107" y="10"/>
                    </a:lnTo>
                    <a:lnTo>
                      <a:pt x="115" y="15"/>
                    </a:lnTo>
                    <a:lnTo>
                      <a:pt x="125" y="20"/>
                    </a:lnTo>
                    <a:lnTo>
                      <a:pt x="136" y="24"/>
                    </a:lnTo>
                    <a:lnTo>
                      <a:pt x="147" y="27"/>
                    </a:lnTo>
                    <a:lnTo>
                      <a:pt x="157" y="29"/>
                    </a:lnTo>
                    <a:lnTo>
                      <a:pt x="166" y="30"/>
                    </a:lnTo>
                    <a:lnTo>
                      <a:pt x="168" y="37"/>
                    </a:lnTo>
                    <a:lnTo>
                      <a:pt x="171" y="44"/>
                    </a:lnTo>
                    <a:lnTo>
                      <a:pt x="174" y="49"/>
                    </a:lnTo>
                    <a:lnTo>
                      <a:pt x="178" y="53"/>
                    </a:lnTo>
                    <a:lnTo>
                      <a:pt x="181" y="57"/>
                    </a:lnTo>
                    <a:lnTo>
                      <a:pt x="187" y="59"/>
                    </a:lnTo>
                    <a:lnTo>
                      <a:pt x="192" y="61"/>
                    </a:lnTo>
                    <a:lnTo>
                      <a:pt x="199" y="61"/>
                    </a:lnTo>
                    <a:lnTo>
                      <a:pt x="214" y="61"/>
                    </a:lnTo>
                    <a:lnTo>
                      <a:pt x="231" y="60"/>
                    </a:lnTo>
                    <a:lnTo>
                      <a:pt x="247" y="58"/>
                    </a:lnTo>
                    <a:lnTo>
                      <a:pt x="263" y="55"/>
                    </a:lnTo>
                    <a:lnTo>
                      <a:pt x="277" y="51"/>
                    </a:lnTo>
                    <a:lnTo>
                      <a:pt x="289" y="46"/>
                    </a:lnTo>
                    <a:lnTo>
                      <a:pt x="294" y="43"/>
                    </a:lnTo>
                    <a:lnTo>
                      <a:pt x="299" y="39"/>
                    </a:lnTo>
                    <a:lnTo>
                      <a:pt x="302" y="35"/>
                    </a:lnTo>
                    <a:lnTo>
                      <a:pt x="305" y="30"/>
                    </a:lnTo>
                    <a:lnTo>
                      <a:pt x="314" y="34"/>
                    </a:lnTo>
                    <a:lnTo>
                      <a:pt x="320" y="35"/>
                    </a:lnTo>
                    <a:lnTo>
                      <a:pt x="324" y="36"/>
                    </a:lnTo>
                    <a:lnTo>
                      <a:pt x="327" y="35"/>
                    </a:lnTo>
                    <a:lnTo>
                      <a:pt x="331" y="33"/>
                    </a:lnTo>
                    <a:lnTo>
                      <a:pt x="334" y="32"/>
                    </a:lnTo>
                    <a:lnTo>
                      <a:pt x="339" y="31"/>
                    </a:lnTo>
                    <a:lnTo>
                      <a:pt x="345" y="30"/>
                    </a:lnTo>
                    <a:lnTo>
                      <a:pt x="356" y="31"/>
                    </a:lnTo>
                    <a:lnTo>
                      <a:pt x="366" y="34"/>
                    </a:lnTo>
                    <a:lnTo>
                      <a:pt x="375" y="39"/>
                    </a:lnTo>
                    <a:lnTo>
                      <a:pt x="383" y="45"/>
                    </a:lnTo>
                    <a:lnTo>
                      <a:pt x="399" y="59"/>
                    </a:lnTo>
                    <a:lnTo>
                      <a:pt x="413" y="74"/>
                    </a:lnTo>
                    <a:lnTo>
                      <a:pt x="421" y="82"/>
                    </a:lnTo>
                    <a:lnTo>
                      <a:pt x="428" y="89"/>
                    </a:lnTo>
                    <a:lnTo>
                      <a:pt x="437" y="96"/>
                    </a:lnTo>
                    <a:lnTo>
                      <a:pt x="446" y="101"/>
                    </a:lnTo>
                    <a:lnTo>
                      <a:pt x="456" y="105"/>
                    </a:lnTo>
                    <a:lnTo>
                      <a:pt x="467" y="107"/>
                    </a:lnTo>
                    <a:lnTo>
                      <a:pt x="472" y="107"/>
                    </a:lnTo>
                    <a:lnTo>
                      <a:pt x="479" y="107"/>
                    </a:lnTo>
                    <a:lnTo>
                      <a:pt x="484" y="106"/>
                    </a:lnTo>
                    <a:lnTo>
                      <a:pt x="491" y="105"/>
                    </a:lnTo>
                    <a:lnTo>
                      <a:pt x="493" y="108"/>
                    </a:lnTo>
                    <a:lnTo>
                      <a:pt x="495" y="113"/>
                    </a:lnTo>
                    <a:lnTo>
                      <a:pt x="500" y="119"/>
                    </a:lnTo>
                    <a:lnTo>
                      <a:pt x="505" y="125"/>
                    </a:lnTo>
                    <a:lnTo>
                      <a:pt x="511" y="131"/>
                    </a:lnTo>
                    <a:lnTo>
                      <a:pt x="516" y="136"/>
                    </a:lnTo>
                    <a:lnTo>
                      <a:pt x="522" y="140"/>
                    </a:lnTo>
                    <a:lnTo>
                      <a:pt x="525" y="141"/>
                    </a:lnTo>
                    <a:lnTo>
                      <a:pt x="529" y="141"/>
                    </a:lnTo>
                    <a:lnTo>
                      <a:pt x="534" y="139"/>
                    </a:lnTo>
                    <a:lnTo>
                      <a:pt x="537" y="137"/>
                    </a:lnTo>
                    <a:lnTo>
                      <a:pt x="540" y="134"/>
                    </a:lnTo>
                    <a:lnTo>
                      <a:pt x="546" y="128"/>
                    </a:lnTo>
                    <a:lnTo>
                      <a:pt x="551" y="123"/>
                    </a:lnTo>
                    <a:lnTo>
                      <a:pt x="555" y="129"/>
                    </a:lnTo>
                    <a:lnTo>
                      <a:pt x="558" y="134"/>
                    </a:lnTo>
                    <a:lnTo>
                      <a:pt x="562" y="138"/>
                    </a:lnTo>
                    <a:lnTo>
                      <a:pt x="567" y="141"/>
                    </a:lnTo>
                    <a:lnTo>
                      <a:pt x="571" y="145"/>
                    </a:lnTo>
                    <a:lnTo>
                      <a:pt x="574" y="150"/>
                    </a:lnTo>
                    <a:lnTo>
                      <a:pt x="577" y="154"/>
                    </a:lnTo>
                    <a:lnTo>
                      <a:pt x="578" y="160"/>
                    </a:lnTo>
                    <a:lnTo>
                      <a:pt x="578" y="165"/>
                    </a:lnTo>
                    <a:lnTo>
                      <a:pt x="577" y="169"/>
                    </a:lnTo>
                    <a:lnTo>
                      <a:pt x="575" y="173"/>
                    </a:lnTo>
                    <a:lnTo>
                      <a:pt x="573" y="177"/>
                    </a:lnTo>
                    <a:lnTo>
                      <a:pt x="570" y="180"/>
                    </a:lnTo>
                    <a:lnTo>
                      <a:pt x="567" y="182"/>
                    </a:lnTo>
                    <a:lnTo>
                      <a:pt x="562" y="184"/>
                    </a:lnTo>
                    <a:lnTo>
                      <a:pt x="558" y="184"/>
                    </a:lnTo>
                    <a:lnTo>
                      <a:pt x="551" y="178"/>
                    </a:lnTo>
                    <a:lnTo>
                      <a:pt x="545" y="172"/>
                    </a:lnTo>
                    <a:lnTo>
                      <a:pt x="535" y="171"/>
                    </a:lnTo>
                    <a:lnTo>
                      <a:pt x="526" y="170"/>
                    </a:lnTo>
                    <a:lnTo>
                      <a:pt x="517" y="170"/>
                    </a:lnTo>
                    <a:lnTo>
                      <a:pt x="509" y="170"/>
                    </a:lnTo>
                    <a:lnTo>
                      <a:pt x="491" y="172"/>
                    </a:lnTo>
                    <a:lnTo>
                      <a:pt x="471" y="172"/>
                    </a:lnTo>
                    <a:lnTo>
                      <a:pt x="467" y="172"/>
                    </a:lnTo>
                    <a:lnTo>
                      <a:pt x="462" y="170"/>
                    </a:lnTo>
                    <a:lnTo>
                      <a:pt x="459" y="167"/>
                    </a:lnTo>
                    <a:lnTo>
                      <a:pt x="455" y="163"/>
                    </a:lnTo>
                    <a:lnTo>
                      <a:pt x="451" y="160"/>
                    </a:lnTo>
                    <a:lnTo>
                      <a:pt x="447" y="157"/>
                    </a:lnTo>
                    <a:lnTo>
                      <a:pt x="443" y="155"/>
                    </a:lnTo>
                    <a:lnTo>
                      <a:pt x="438" y="154"/>
                    </a:lnTo>
                    <a:lnTo>
                      <a:pt x="434" y="155"/>
                    </a:lnTo>
                    <a:lnTo>
                      <a:pt x="429" y="157"/>
                    </a:lnTo>
                    <a:lnTo>
                      <a:pt x="426" y="160"/>
                    </a:lnTo>
                    <a:lnTo>
                      <a:pt x="423" y="163"/>
                    </a:lnTo>
                    <a:lnTo>
                      <a:pt x="420" y="167"/>
                    </a:lnTo>
                    <a:lnTo>
                      <a:pt x="416" y="170"/>
                    </a:lnTo>
                    <a:lnTo>
                      <a:pt x="414" y="172"/>
                    </a:lnTo>
                    <a:lnTo>
                      <a:pt x="412" y="172"/>
                    </a:lnTo>
                    <a:lnTo>
                      <a:pt x="398" y="171"/>
                    </a:lnTo>
                    <a:lnTo>
                      <a:pt x="378" y="167"/>
                    </a:lnTo>
                    <a:lnTo>
                      <a:pt x="354" y="160"/>
                    </a:lnTo>
                    <a:lnTo>
                      <a:pt x="328" y="153"/>
                    </a:lnTo>
                    <a:lnTo>
                      <a:pt x="304" y="144"/>
                    </a:lnTo>
                    <a:lnTo>
                      <a:pt x="285" y="136"/>
                    </a:lnTo>
                    <a:lnTo>
                      <a:pt x="277" y="132"/>
                    </a:lnTo>
                    <a:lnTo>
                      <a:pt x="270" y="129"/>
                    </a:lnTo>
                    <a:lnTo>
                      <a:pt x="267" y="126"/>
                    </a:lnTo>
                    <a:lnTo>
                      <a:pt x="266" y="123"/>
                    </a:lnTo>
                    <a:lnTo>
                      <a:pt x="252" y="122"/>
                    </a:lnTo>
                    <a:lnTo>
                      <a:pt x="240" y="121"/>
                    </a:lnTo>
                    <a:lnTo>
                      <a:pt x="230" y="119"/>
                    </a:lnTo>
                    <a:lnTo>
                      <a:pt x="220" y="117"/>
                    </a:lnTo>
                    <a:lnTo>
                      <a:pt x="211" y="115"/>
                    </a:lnTo>
                    <a:lnTo>
                      <a:pt x="201" y="113"/>
                    </a:lnTo>
                    <a:lnTo>
                      <a:pt x="191" y="111"/>
                    </a:lnTo>
                    <a:lnTo>
                      <a:pt x="179" y="111"/>
                    </a:lnTo>
                    <a:lnTo>
                      <a:pt x="168" y="111"/>
                    </a:lnTo>
                    <a:lnTo>
                      <a:pt x="157" y="111"/>
                    </a:lnTo>
                    <a:lnTo>
                      <a:pt x="149" y="111"/>
                    </a:lnTo>
                    <a:lnTo>
                      <a:pt x="146" y="111"/>
                    </a:lnTo>
                    <a:lnTo>
                      <a:pt x="136" y="110"/>
                    </a:lnTo>
                    <a:lnTo>
                      <a:pt x="128" y="107"/>
                    </a:lnTo>
                    <a:lnTo>
                      <a:pt x="124" y="105"/>
                    </a:lnTo>
                    <a:lnTo>
                      <a:pt x="122" y="103"/>
                    </a:lnTo>
                    <a:lnTo>
                      <a:pt x="120" y="101"/>
                    </a:lnTo>
                    <a:lnTo>
                      <a:pt x="120" y="99"/>
                    </a:lnTo>
                    <a:lnTo>
                      <a:pt x="79" y="99"/>
                    </a:lnTo>
                    <a:lnTo>
                      <a:pt x="75" y="98"/>
                    </a:lnTo>
                    <a:lnTo>
                      <a:pt x="69" y="97"/>
                    </a:lnTo>
                    <a:lnTo>
                      <a:pt x="64" y="96"/>
                    </a:lnTo>
                    <a:lnTo>
                      <a:pt x="57" y="94"/>
                    </a:lnTo>
                    <a:lnTo>
                      <a:pt x="46" y="88"/>
                    </a:lnTo>
                    <a:lnTo>
                      <a:pt x="34" y="81"/>
                    </a:lnTo>
                    <a:lnTo>
                      <a:pt x="14" y="67"/>
                    </a:lnTo>
                    <a:lnTo>
                      <a:pt x="0" y="55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18" name="Freeform 340">
                <a:extLst>
                  <a:ext uri="{FF2B5EF4-FFF2-40B4-BE49-F238E27FC236}">
                    <a16:creationId xmlns="" xmlns:a16="http://schemas.microsoft.com/office/drawing/2014/main" id="{860F9ACC-C119-45F2-8D3A-4C8CFD2D6AC0}"/>
                  </a:ext>
                </a:extLst>
              </p:cNvPr>
              <p:cNvSpPr>
                <a:spLocks/>
              </p:cNvSpPr>
              <p:nvPr>
                <p:custDataLst>
                  <p:tags r:id="rId243"/>
                </p:custDataLst>
              </p:nvPr>
            </p:nvSpPr>
            <p:spPr bwMode="auto">
              <a:xfrm>
                <a:off x="7319963" y="3695700"/>
                <a:ext cx="214312" cy="252413"/>
              </a:xfrm>
              <a:custGeom>
                <a:avLst/>
                <a:gdLst>
                  <a:gd name="T0" fmla="*/ 2147483646 w 491"/>
                  <a:gd name="T1" fmla="*/ 2147483646 h 481"/>
                  <a:gd name="T2" fmla="*/ 2147483646 w 491"/>
                  <a:gd name="T3" fmla="*/ 2147483646 h 481"/>
                  <a:gd name="T4" fmla="*/ 2147483646 w 491"/>
                  <a:gd name="T5" fmla="*/ 2147483646 h 481"/>
                  <a:gd name="T6" fmla="*/ 2147483646 w 491"/>
                  <a:gd name="T7" fmla="*/ 2147483646 h 481"/>
                  <a:gd name="T8" fmla="*/ 2147483646 w 491"/>
                  <a:gd name="T9" fmla="*/ 2147483646 h 481"/>
                  <a:gd name="T10" fmla="*/ 2147483646 w 491"/>
                  <a:gd name="T11" fmla="*/ 2147483646 h 481"/>
                  <a:gd name="T12" fmla="*/ 2147483646 w 491"/>
                  <a:gd name="T13" fmla="*/ 2147483646 h 481"/>
                  <a:gd name="T14" fmla="*/ 2147483646 w 491"/>
                  <a:gd name="T15" fmla="*/ 2147483646 h 481"/>
                  <a:gd name="T16" fmla="*/ 2147483646 w 491"/>
                  <a:gd name="T17" fmla="*/ 2147483646 h 481"/>
                  <a:gd name="T18" fmla="*/ 2147483646 w 491"/>
                  <a:gd name="T19" fmla="*/ 2147483646 h 481"/>
                  <a:gd name="T20" fmla="*/ 2147483646 w 491"/>
                  <a:gd name="T21" fmla="*/ 2147483646 h 481"/>
                  <a:gd name="T22" fmla="*/ 2147483646 w 491"/>
                  <a:gd name="T23" fmla="*/ 2147483646 h 481"/>
                  <a:gd name="T24" fmla="*/ 2147483646 w 491"/>
                  <a:gd name="T25" fmla="*/ 2147483646 h 481"/>
                  <a:gd name="T26" fmla="*/ 2147483646 w 491"/>
                  <a:gd name="T27" fmla="*/ 2147483646 h 481"/>
                  <a:gd name="T28" fmla="*/ 2147483646 w 491"/>
                  <a:gd name="T29" fmla="*/ 2147483646 h 481"/>
                  <a:gd name="T30" fmla="*/ 2147483646 w 491"/>
                  <a:gd name="T31" fmla="*/ 2147483646 h 481"/>
                  <a:gd name="T32" fmla="*/ 2147483646 w 491"/>
                  <a:gd name="T33" fmla="*/ 2147483646 h 481"/>
                  <a:gd name="T34" fmla="*/ 2147483646 w 491"/>
                  <a:gd name="T35" fmla="*/ 2147483646 h 481"/>
                  <a:gd name="T36" fmla="*/ 2147483646 w 491"/>
                  <a:gd name="T37" fmla="*/ 2147483646 h 481"/>
                  <a:gd name="T38" fmla="*/ 2147483646 w 491"/>
                  <a:gd name="T39" fmla="*/ 2147483646 h 481"/>
                  <a:gd name="T40" fmla="*/ 2147483646 w 491"/>
                  <a:gd name="T41" fmla="*/ 2147483646 h 481"/>
                  <a:gd name="T42" fmla="*/ 2147483646 w 491"/>
                  <a:gd name="T43" fmla="*/ 2147483646 h 481"/>
                  <a:gd name="T44" fmla="*/ 2147483646 w 491"/>
                  <a:gd name="T45" fmla="*/ 2147483646 h 481"/>
                  <a:gd name="T46" fmla="*/ 2147483646 w 491"/>
                  <a:gd name="T47" fmla="*/ 2147483646 h 481"/>
                  <a:gd name="T48" fmla="*/ 2147483646 w 491"/>
                  <a:gd name="T49" fmla="*/ 2147483646 h 481"/>
                  <a:gd name="T50" fmla="*/ 2147483646 w 491"/>
                  <a:gd name="T51" fmla="*/ 2147483646 h 481"/>
                  <a:gd name="T52" fmla="*/ 2147483646 w 491"/>
                  <a:gd name="T53" fmla="*/ 2147483646 h 481"/>
                  <a:gd name="T54" fmla="*/ 2147483646 w 491"/>
                  <a:gd name="T55" fmla="*/ 2147483646 h 481"/>
                  <a:gd name="T56" fmla="*/ 2147483646 w 491"/>
                  <a:gd name="T57" fmla="*/ 2147483646 h 481"/>
                  <a:gd name="T58" fmla="*/ 2147483646 w 491"/>
                  <a:gd name="T59" fmla="*/ 2147483646 h 481"/>
                  <a:gd name="T60" fmla="*/ 2147483646 w 491"/>
                  <a:gd name="T61" fmla="*/ 2147483646 h 481"/>
                  <a:gd name="T62" fmla="*/ 0 w 491"/>
                  <a:gd name="T63" fmla="*/ 2147483646 h 481"/>
                  <a:gd name="T64" fmla="*/ 2147483646 w 491"/>
                  <a:gd name="T65" fmla="*/ 2147483646 h 481"/>
                  <a:gd name="T66" fmla="*/ 2147483646 w 491"/>
                  <a:gd name="T67" fmla="*/ 2147483646 h 481"/>
                  <a:gd name="T68" fmla="*/ 2147483646 w 491"/>
                  <a:gd name="T69" fmla="*/ 2147483646 h 481"/>
                  <a:gd name="T70" fmla="*/ 2147483646 w 491"/>
                  <a:gd name="T71" fmla="*/ 2147483646 h 481"/>
                  <a:gd name="T72" fmla="*/ 2147483646 w 491"/>
                  <a:gd name="T73" fmla="*/ 2147483646 h 481"/>
                  <a:gd name="T74" fmla="*/ 2147483646 w 491"/>
                  <a:gd name="T75" fmla="*/ 2147483646 h 481"/>
                  <a:gd name="T76" fmla="*/ 2147483646 w 491"/>
                  <a:gd name="T77" fmla="*/ 2147483646 h 481"/>
                  <a:gd name="T78" fmla="*/ 2147483646 w 491"/>
                  <a:gd name="T79" fmla="*/ 2147483646 h 481"/>
                  <a:gd name="T80" fmla="*/ 2147483646 w 491"/>
                  <a:gd name="T81" fmla="*/ 2147483646 h 481"/>
                  <a:gd name="T82" fmla="*/ 2147483646 w 491"/>
                  <a:gd name="T83" fmla="*/ 2147483646 h 481"/>
                  <a:gd name="T84" fmla="*/ 2147483646 w 491"/>
                  <a:gd name="T85" fmla="*/ 2147483646 h 481"/>
                  <a:gd name="T86" fmla="*/ 2147483646 w 491"/>
                  <a:gd name="T87" fmla="*/ 2147483646 h 481"/>
                  <a:gd name="T88" fmla="*/ 2147483646 w 491"/>
                  <a:gd name="T89" fmla="*/ 2147483646 h 481"/>
                  <a:gd name="T90" fmla="*/ 2147483646 w 491"/>
                  <a:gd name="T91" fmla="*/ 2147483646 h 481"/>
                  <a:gd name="T92" fmla="*/ 2147483646 w 491"/>
                  <a:gd name="T93" fmla="*/ 2147483646 h 481"/>
                  <a:gd name="T94" fmla="*/ 2147483646 w 491"/>
                  <a:gd name="T95" fmla="*/ 0 h 481"/>
                  <a:gd name="T96" fmla="*/ 2147483646 w 491"/>
                  <a:gd name="T97" fmla="*/ 2147483646 h 481"/>
                  <a:gd name="T98" fmla="*/ 2147483646 w 491"/>
                  <a:gd name="T99" fmla="*/ 2147483646 h 481"/>
                  <a:gd name="T100" fmla="*/ 2147483646 w 491"/>
                  <a:gd name="T101" fmla="*/ 2147483646 h 481"/>
                  <a:gd name="T102" fmla="*/ 2147483646 w 491"/>
                  <a:gd name="T103" fmla="*/ 2147483646 h 481"/>
                  <a:gd name="T104" fmla="*/ 2147483646 w 491"/>
                  <a:gd name="T105" fmla="*/ 2147483646 h 481"/>
                  <a:gd name="T106" fmla="*/ 2147483646 w 491"/>
                  <a:gd name="T107" fmla="*/ 2147483646 h 481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491"/>
                  <a:gd name="T163" fmla="*/ 0 h 481"/>
                  <a:gd name="T164" fmla="*/ 491 w 491"/>
                  <a:gd name="T165" fmla="*/ 481 h 481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491" h="481">
                    <a:moveTo>
                      <a:pt x="491" y="481"/>
                    </a:moveTo>
                    <a:lnTo>
                      <a:pt x="488" y="480"/>
                    </a:lnTo>
                    <a:lnTo>
                      <a:pt x="482" y="479"/>
                    </a:lnTo>
                    <a:lnTo>
                      <a:pt x="477" y="477"/>
                    </a:lnTo>
                    <a:lnTo>
                      <a:pt x="470" y="473"/>
                    </a:lnTo>
                    <a:lnTo>
                      <a:pt x="457" y="465"/>
                    </a:lnTo>
                    <a:lnTo>
                      <a:pt x="444" y="455"/>
                    </a:lnTo>
                    <a:lnTo>
                      <a:pt x="432" y="445"/>
                    </a:lnTo>
                    <a:lnTo>
                      <a:pt x="422" y="434"/>
                    </a:lnTo>
                    <a:lnTo>
                      <a:pt x="417" y="428"/>
                    </a:lnTo>
                    <a:lnTo>
                      <a:pt x="414" y="423"/>
                    </a:lnTo>
                    <a:lnTo>
                      <a:pt x="412" y="417"/>
                    </a:lnTo>
                    <a:lnTo>
                      <a:pt x="412" y="412"/>
                    </a:lnTo>
                    <a:lnTo>
                      <a:pt x="392" y="412"/>
                    </a:lnTo>
                    <a:lnTo>
                      <a:pt x="376" y="410"/>
                    </a:lnTo>
                    <a:lnTo>
                      <a:pt x="370" y="409"/>
                    </a:lnTo>
                    <a:lnTo>
                      <a:pt x="365" y="408"/>
                    </a:lnTo>
                    <a:lnTo>
                      <a:pt x="360" y="406"/>
                    </a:lnTo>
                    <a:lnTo>
                      <a:pt x="356" y="403"/>
                    </a:lnTo>
                    <a:lnTo>
                      <a:pt x="353" y="400"/>
                    </a:lnTo>
                    <a:lnTo>
                      <a:pt x="350" y="396"/>
                    </a:lnTo>
                    <a:lnTo>
                      <a:pt x="348" y="392"/>
                    </a:lnTo>
                    <a:lnTo>
                      <a:pt x="347" y="387"/>
                    </a:lnTo>
                    <a:lnTo>
                      <a:pt x="346" y="374"/>
                    </a:lnTo>
                    <a:lnTo>
                      <a:pt x="345" y="357"/>
                    </a:lnTo>
                    <a:lnTo>
                      <a:pt x="344" y="344"/>
                    </a:lnTo>
                    <a:lnTo>
                      <a:pt x="342" y="332"/>
                    </a:lnTo>
                    <a:lnTo>
                      <a:pt x="337" y="322"/>
                    </a:lnTo>
                    <a:lnTo>
                      <a:pt x="332" y="313"/>
                    </a:lnTo>
                    <a:lnTo>
                      <a:pt x="327" y="303"/>
                    </a:lnTo>
                    <a:lnTo>
                      <a:pt x="323" y="294"/>
                    </a:lnTo>
                    <a:lnTo>
                      <a:pt x="320" y="286"/>
                    </a:lnTo>
                    <a:lnTo>
                      <a:pt x="319" y="277"/>
                    </a:lnTo>
                    <a:lnTo>
                      <a:pt x="319" y="267"/>
                    </a:lnTo>
                    <a:lnTo>
                      <a:pt x="319" y="252"/>
                    </a:lnTo>
                    <a:lnTo>
                      <a:pt x="314" y="244"/>
                    </a:lnTo>
                    <a:lnTo>
                      <a:pt x="309" y="237"/>
                    </a:lnTo>
                    <a:lnTo>
                      <a:pt x="301" y="229"/>
                    </a:lnTo>
                    <a:lnTo>
                      <a:pt x="292" y="223"/>
                    </a:lnTo>
                    <a:lnTo>
                      <a:pt x="282" y="216"/>
                    </a:lnTo>
                    <a:lnTo>
                      <a:pt x="272" y="210"/>
                    </a:lnTo>
                    <a:lnTo>
                      <a:pt x="260" y="205"/>
                    </a:lnTo>
                    <a:lnTo>
                      <a:pt x="248" y="200"/>
                    </a:lnTo>
                    <a:lnTo>
                      <a:pt x="235" y="194"/>
                    </a:lnTo>
                    <a:lnTo>
                      <a:pt x="221" y="190"/>
                    </a:lnTo>
                    <a:lnTo>
                      <a:pt x="208" y="187"/>
                    </a:lnTo>
                    <a:lnTo>
                      <a:pt x="192" y="184"/>
                    </a:lnTo>
                    <a:lnTo>
                      <a:pt x="178" y="181"/>
                    </a:lnTo>
                    <a:lnTo>
                      <a:pt x="163" y="180"/>
                    </a:lnTo>
                    <a:lnTo>
                      <a:pt x="147" y="179"/>
                    </a:lnTo>
                    <a:lnTo>
                      <a:pt x="133" y="178"/>
                    </a:lnTo>
                    <a:lnTo>
                      <a:pt x="133" y="170"/>
                    </a:lnTo>
                    <a:lnTo>
                      <a:pt x="133" y="163"/>
                    </a:lnTo>
                    <a:lnTo>
                      <a:pt x="133" y="156"/>
                    </a:lnTo>
                    <a:lnTo>
                      <a:pt x="133" y="148"/>
                    </a:lnTo>
                    <a:lnTo>
                      <a:pt x="121" y="147"/>
                    </a:lnTo>
                    <a:lnTo>
                      <a:pt x="110" y="145"/>
                    </a:lnTo>
                    <a:lnTo>
                      <a:pt x="100" y="140"/>
                    </a:lnTo>
                    <a:lnTo>
                      <a:pt x="92" y="136"/>
                    </a:lnTo>
                    <a:lnTo>
                      <a:pt x="85" y="130"/>
                    </a:lnTo>
                    <a:lnTo>
                      <a:pt x="77" y="124"/>
                    </a:lnTo>
                    <a:lnTo>
                      <a:pt x="71" y="117"/>
                    </a:lnTo>
                    <a:lnTo>
                      <a:pt x="66" y="111"/>
                    </a:lnTo>
                    <a:lnTo>
                      <a:pt x="92" y="111"/>
                    </a:lnTo>
                    <a:lnTo>
                      <a:pt x="82" y="121"/>
                    </a:lnTo>
                    <a:lnTo>
                      <a:pt x="73" y="133"/>
                    </a:lnTo>
                    <a:lnTo>
                      <a:pt x="66" y="139"/>
                    </a:lnTo>
                    <a:lnTo>
                      <a:pt x="60" y="144"/>
                    </a:lnTo>
                    <a:lnTo>
                      <a:pt x="54" y="147"/>
                    </a:lnTo>
                    <a:lnTo>
                      <a:pt x="46" y="148"/>
                    </a:lnTo>
                    <a:lnTo>
                      <a:pt x="43" y="163"/>
                    </a:lnTo>
                    <a:lnTo>
                      <a:pt x="40" y="178"/>
                    </a:lnTo>
                    <a:lnTo>
                      <a:pt x="34" y="192"/>
                    </a:lnTo>
                    <a:lnTo>
                      <a:pt x="30" y="206"/>
                    </a:lnTo>
                    <a:lnTo>
                      <a:pt x="24" y="220"/>
                    </a:lnTo>
                    <a:lnTo>
                      <a:pt x="20" y="234"/>
                    </a:lnTo>
                    <a:lnTo>
                      <a:pt x="17" y="249"/>
                    </a:lnTo>
                    <a:lnTo>
                      <a:pt x="13" y="265"/>
                    </a:lnTo>
                    <a:lnTo>
                      <a:pt x="13" y="256"/>
                    </a:lnTo>
                    <a:lnTo>
                      <a:pt x="13" y="246"/>
                    </a:lnTo>
                    <a:lnTo>
                      <a:pt x="14" y="237"/>
                    </a:lnTo>
                    <a:lnTo>
                      <a:pt x="17" y="228"/>
                    </a:lnTo>
                    <a:lnTo>
                      <a:pt x="20" y="219"/>
                    </a:lnTo>
                    <a:lnTo>
                      <a:pt x="23" y="209"/>
                    </a:lnTo>
                    <a:lnTo>
                      <a:pt x="26" y="200"/>
                    </a:lnTo>
                    <a:lnTo>
                      <a:pt x="30" y="190"/>
                    </a:lnTo>
                    <a:lnTo>
                      <a:pt x="32" y="181"/>
                    </a:lnTo>
                    <a:lnTo>
                      <a:pt x="33" y="172"/>
                    </a:lnTo>
                    <a:lnTo>
                      <a:pt x="32" y="156"/>
                    </a:lnTo>
                    <a:lnTo>
                      <a:pt x="30" y="143"/>
                    </a:lnTo>
                    <a:lnTo>
                      <a:pt x="26" y="130"/>
                    </a:lnTo>
                    <a:lnTo>
                      <a:pt x="21" y="120"/>
                    </a:lnTo>
                    <a:lnTo>
                      <a:pt x="17" y="111"/>
                    </a:lnTo>
                    <a:lnTo>
                      <a:pt x="11" y="101"/>
                    </a:lnTo>
                    <a:lnTo>
                      <a:pt x="4" y="89"/>
                    </a:lnTo>
                    <a:lnTo>
                      <a:pt x="0" y="73"/>
                    </a:lnTo>
                    <a:lnTo>
                      <a:pt x="13" y="68"/>
                    </a:lnTo>
                    <a:lnTo>
                      <a:pt x="28" y="62"/>
                    </a:lnTo>
                    <a:lnTo>
                      <a:pt x="34" y="59"/>
                    </a:lnTo>
                    <a:lnTo>
                      <a:pt x="42" y="57"/>
                    </a:lnTo>
                    <a:lnTo>
                      <a:pt x="51" y="56"/>
                    </a:lnTo>
                    <a:lnTo>
                      <a:pt x="59" y="55"/>
                    </a:lnTo>
                    <a:lnTo>
                      <a:pt x="68" y="56"/>
                    </a:lnTo>
                    <a:lnTo>
                      <a:pt x="76" y="57"/>
                    </a:lnTo>
                    <a:lnTo>
                      <a:pt x="84" y="58"/>
                    </a:lnTo>
                    <a:lnTo>
                      <a:pt x="90" y="60"/>
                    </a:lnTo>
                    <a:lnTo>
                      <a:pt x="96" y="63"/>
                    </a:lnTo>
                    <a:lnTo>
                      <a:pt x="102" y="66"/>
                    </a:lnTo>
                    <a:lnTo>
                      <a:pt x="107" y="70"/>
                    </a:lnTo>
                    <a:lnTo>
                      <a:pt x="112" y="73"/>
                    </a:lnTo>
                    <a:lnTo>
                      <a:pt x="121" y="82"/>
                    </a:lnTo>
                    <a:lnTo>
                      <a:pt x="127" y="92"/>
                    </a:lnTo>
                    <a:lnTo>
                      <a:pt x="134" y="101"/>
                    </a:lnTo>
                    <a:lnTo>
                      <a:pt x="140" y="111"/>
                    </a:lnTo>
                    <a:lnTo>
                      <a:pt x="179" y="111"/>
                    </a:lnTo>
                    <a:lnTo>
                      <a:pt x="180" y="107"/>
                    </a:lnTo>
                    <a:lnTo>
                      <a:pt x="183" y="103"/>
                    </a:lnTo>
                    <a:lnTo>
                      <a:pt x="187" y="101"/>
                    </a:lnTo>
                    <a:lnTo>
                      <a:pt x="191" y="99"/>
                    </a:lnTo>
                    <a:lnTo>
                      <a:pt x="196" y="96"/>
                    </a:lnTo>
                    <a:lnTo>
                      <a:pt x="199" y="94"/>
                    </a:lnTo>
                    <a:lnTo>
                      <a:pt x="200" y="92"/>
                    </a:lnTo>
                    <a:lnTo>
                      <a:pt x="200" y="90"/>
                    </a:lnTo>
                    <a:lnTo>
                      <a:pt x="200" y="89"/>
                    </a:lnTo>
                    <a:lnTo>
                      <a:pt x="199" y="85"/>
                    </a:lnTo>
                    <a:lnTo>
                      <a:pt x="207" y="73"/>
                    </a:lnTo>
                    <a:lnTo>
                      <a:pt x="215" y="64"/>
                    </a:lnTo>
                    <a:lnTo>
                      <a:pt x="223" y="58"/>
                    </a:lnTo>
                    <a:lnTo>
                      <a:pt x="232" y="54"/>
                    </a:lnTo>
                    <a:lnTo>
                      <a:pt x="239" y="51"/>
                    </a:lnTo>
                    <a:lnTo>
                      <a:pt x="247" y="50"/>
                    </a:lnTo>
                    <a:lnTo>
                      <a:pt x="254" y="49"/>
                    </a:lnTo>
                    <a:lnTo>
                      <a:pt x="259" y="49"/>
                    </a:lnTo>
                    <a:lnTo>
                      <a:pt x="260" y="40"/>
                    </a:lnTo>
                    <a:lnTo>
                      <a:pt x="263" y="30"/>
                    </a:lnTo>
                    <a:lnTo>
                      <a:pt x="267" y="22"/>
                    </a:lnTo>
                    <a:lnTo>
                      <a:pt x="273" y="15"/>
                    </a:lnTo>
                    <a:lnTo>
                      <a:pt x="280" y="9"/>
                    </a:lnTo>
                    <a:lnTo>
                      <a:pt x="290" y="4"/>
                    </a:lnTo>
                    <a:lnTo>
                      <a:pt x="294" y="2"/>
                    </a:lnTo>
                    <a:lnTo>
                      <a:pt x="300" y="1"/>
                    </a:lnTo>
                    <a:lnTo>
                      <a:pt x="306" y="0"/>
                    </a:lnTo>
                    <a:lnTo>
                      <a:pt x="312" y="0"/>
                    </a:lnTo>
                    <a:lnTo>
                      <a:pt x="323" y="0"/>
                    </a:lnTo>
                    <a:lnTo>
                      <a:pt x="333" y="2"/>
                    </a:lnTo>
                    <a:lnTo>
                      <a:pt x="343" y="5"/>
                    </a:lnTo>
                    <a:lnTo>
                      <a:pt x="351" y="8"/>
                    </a:lnTo>
                    <a:lnTo>
                      <a:pt x="368" y="17"/>
                    </a:lnTo>
                    <a:lnTo>
                      <a:pt x="383" y="27"/>
                    </a:lnTo>
                    <a:lnTo>
                      <a:pt x="399" y="38"/>
                    </a:lnTo>
                    <a:lnTo>
                      <a:pt x="413" y="47"/>
                    </a:lnTo>
                    <a:lnTo>
                      <a:pt x="421" y="50"/>
                    </a:lnTo>
                    <a:lnTo>
                      <a:pt x="428" y="53"/>
                    </a:lnTo>
                    <a:lnTo>
                      <a:pt x="436" y="55"/>
                    </a:lnTo>
                    <a:lnTo>
                      <a:pt x="445" y="55"/>
                    </a:lnTo>
                    <a:lnTo>
                      <a:pt x="459" y="60"/>
                    </a:lnTo>
                    <a:lnTo>
                      <a:pt x="471" y="64"/>
                    </a:lnTo>
                    <a:lnTo>
                      <a:pt x="481" y="66"/>
                    </a:lnTo>
                    <a:lnTo>
                      <a:pt x="491" y="67"/>
                    </a:lnTo>
                    <a:lnTo>
                      <a:pt x="491" y="289"/>
                    </a:lnTo>
                    <a:lnTo>
                      <a:pt x="471" y="301"/>
                    </a:lnTo>
                    <a:lnTo>
                      <a:pt x="491" y="326"/>
                    </a:lnTo>
                    <a:lnTo>
                      <a:pt x="491" y="474"/>
                    </a:lnTo>
                    <a:lnTo>
                      <a:pt x="491" y="481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19" name="Freeform 341">
                <a:extLst>
                  <a:ext uri="{FF2B5EF4-FFF2-40B4-BE49-F238E27FC236}">
                    <a16:creationId xmlns="" xmlns:a16="http://schemas.microsoft.com/office/drawing/2014/main" id="{5F54742A-B895-45CC-B3D6-640618D4347C}"/>
                  </a:ext>
                </a:extLst>
              </p:cNvPr>
              <p:cNvSpPr>
                <a:spLocks/>
              </p:cNvSpPr>
              <p:nvPr>
                <p:custDataLst>
                  <p:tags r:id="rId244"/>
                </p:custDataLst>
              </p:nvPr>
            </p:nvSpPr>
            <p:spPr bwMode="auto">
              <a:xfrm>
                <a:off x="5851525" y="2527300"/>
                <a:ext cx="53975" cy="60325"/>
              </a:xfrm>
              <a:custGeom>
                <a:avLst/>
                <a:gdLst>
                  <a:gd name="T0" fmla="*/ 0 w 133"/>
                  <a:gd name="T1" fmla="*/ 2147483646 h 117"/>
                  <a:gd name="T2" fmla="*/ 2147483646 w 133"/>
                  <a:gd name="T3" fmla="*/ 0 h 117"/>
                  <a:gd name="T4" fmla="*/ 2147483646 w 133"/>
                  <a:gd name="T5" fmla="*/ 2147483646 h 117"/>
                  <a:gd name="T6" fmla="*/ 2147483646 w 133"/>
                  <a:gd name="T7" fmla="*/ 2147483646 h 117"/>
                  <a:gd name="T8" fmla="*/ 2147483646 w 133"/>
                  <a:gd name="T9" fmla="*/ 2147483646 h 117"/>
                  <a:gd name="T10" fmla="*/ 2147483646 w 133"/>
                  <a:gd name="T11" fmla="*/ 2147483646 h 117"/>
                  <a:gd name="T12" fmla="*/ 2147483646 w 133"/>
                  <a:gd name="T13" fmla="*/ 2147483646 h 117"/>
                  <a:gd name="T14" fmla="*/ 2147483646 w 133"/>
                  <a:gd name="T15" fmla="*/ 2147483646 h 117"/>
                  <a:gd name="T16" fmla="*/ 2147483646 w 133"/>
                  <a:gd name="T17" fmla="*/ 2147483646 h 117"/>
                  <a:gd name="T18" fmla="*/ 2147483646 w 133"/>
                  <a:gd name="T19" fmla="*/ 2147483646 h 117"/>
                  <a:gd name="T20" fmla="*/ 2147483646 w 133"/>
                  <a:gd name="T21" fmla="*/ 2147483646 h 117"/>
                  <a:gd name="T22" fmla="*/ 2147483646 w 133"/>
                  <a:gd name="T23" fmla="*/ 2147483646 h 117"/>
                  <a:gd name="T24" fmla="*/ 2147483646 w 133"/>
                  <a:gd name="T25" fmla="*/ 2147483646 h 117"/>
                  <a:gd name="T26" fmla="*/ 2147483646 w 133"/>
                  <a:gd name="T27" fmla="*/ 2147483646 h 117"/>
                  <a:gd name="T28" fmla="*/ 2147483646 w 133"/>
                  <a:gd name="T29" fmla="*/ 2147483646 h 117"/>
                  <a:gd name="T30" fmla="*/ 2147483646 w 133"/>
                  <a:gd name="T31" fmla="*/ 2147483646 h 117"/>
                  <a:gd name="T32" fmla="*/ 2147483646 w 133"/>
                  <a:gd name="T33" fmla="*/ 2147483646 h 117"/>
                  <a:gd name="T34" fmla="*/ 2147483646 w 133"/>
                  <a:gd name="T35" fmla="*/ 2147483646 h 117"/>
                  <a:gd name="T36" fmla="*/ 2147483646 w 133"/>
                  <a:gd name="T37" fmla="*/ 2147483646 h 117"/>
                  <a:gd name="T38" fmla="*/ 2147483646 w 133"/>
                  <a:gd name="T39" fmla="*/ 2147483646 h 117"/>
                  <a:gd name="T40" fmla="*/ 2147483646 w 133"/>
                  <a:gd name="T41" fmla="*/ 2147483646 h 117"/>
                  <a:gd name="T42" fmla="*/ 2147483646 w 133"/>
                  <a:gd name="T43" fmla="*/ 2147483646 h 117"/>
                  <a:gd name="T44" fmla="*/ 2147483646 w 133"/>
                  <a:gd name="T45" fmla="*/ 2147483646 h 117"/>
                  <a:gd name="T46" fmla="*/ 2147483646 w 133"/>
                  <a:gd name="T47" fmla="*/ 2147483646 h 117"/>
                  <a:gd name="T48" fmla="*/ 2147483646 w 133"/>
                  <a:gd name="T49" fmla="*/ 2147483646 h 117"/>
                  <a:gd name="T50" fmla="*/ 0 w 133"/>
                  <a:gd name="T51" fmla="*/ 2147483646 h 117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33"/>
                  <a:gd name="T79" fmla="*/ 0 h 117"/>
                  <a:gd name="T80" fmla="*/ 133 w 133"/>
                  <a:gd name="T81" fmla="*/ 117 h 117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33" h="117">
                    <a:moveTo>
                      <a:pt x="0" y="19"/>
                    </a:moveTo>
                    <a:lnTo>
                      <a:pt x="72" y="0"/>
                    </a:lnTo>
                    <a:lnTo>
                      <a:pt x="81" y="6"/>
                    </a:lnTo>
                    <a:lnTo>
                      <a:pt x="91" y="14"/>
                    </a:lnTo>
                    <a:lnTo>
                      <a:pt x="101" y="25"/>
                    </a:lnTo>
                    <a:lnTo>
                      <a:pt x="109" y="37"/>
                    </a:lnTo>
                    <a:lnTo>
                      <a:pt x="118" y="49"/>
                    </a:lnTo>
                    <a:lnTo>
                      <a:pt x="126" y="62"/>
                    </a:lnTo>
                    <a:lnTo>
                      <a:pt x="128" y="68"/>
                    </a:lnTo>
                    <a:lnTo>
                      <a:pt x="130" y="74"/>
                    </a:lnTo>
                    <a:lnTo>
                      <a:pt x="131" y="80"/>
                    </a:lnTo>
                    <a:lnTo>
                      <a:pt x="133" y="86"/>
                    </a:lnTo>
                    <a:lnTo>
                      <a:pt x="131" y="92"/>
                    </a:lnTo>
                    <a:lnTo>
                      <a:pt x="128" y="97"/>
                    </a:lnTo>
                    <a:lnTo>
                      <a:pt x="124" y="102"/>
                    </a:lnTo>
                    <a:lnTo>
                      <a:pt x="118" y="107"/>
                    </a:lnTo>
                    <a:lnTo>
                      <a:pt x="113" y="111"/>
                    </a:lnTo>
                    <a:lnTo>
                      <a:pt x="107" y="114"/>
                    </a:lnTo>
                    <a:lnTo>
                      <a:pt x="103" y="117"/>
                    </a:lnTo>
                    <a:lnTo>
                      <a:pt x="100" y="117"/>
                    </a:lnTo>
                    <a:lnTo>
                      <a:pt x="72" y="95"/>
                    </a:lnTo>
                    <a:lnTo>
                      <a:pt x="45" y="70"/>
                    </a:lnTo>
                    <a:lnTo>
                      <a:pt x="32" y="58"/>
                    </a:lnTo>
                    <a:lnTo>
                      <a:pt x="18" y="46"/>
                    </a:lnTo>
                    <a:lnTo>
                      <a:pt x="8" y="33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20" name="Freeform 342">
                <a:extLst>
                  <a:ext uri="{FF2B5EF4-FFF2-40B4-BE49-F238E27FC236}">
                    <a16:creationId xmlns="" xmlns:a16="http://schemas.microsoft.com/office/drawing/2014/main" id="{2C6F61B2-DE9F-4BC8-9D95-13623309AE7D}"/>
                  </a:ext>
                </a:extLst>
              </p:cNvPr>
              <p:cNvSpPr>
                <a:spLocks/>
              </p:cNvSpPr>
              <p:nvPr>
                <p:custDataLst>
                  <p:tags r:id="rId245"/>
                </p:custDataLst>
              </p:nvPr>
            </p:nvSpPr>
            <p:spPr bwMode="auto">
              <a:xfrm>
                <a:off x="4308475" y="1931988"/>
                <a:ext cx="220663" cy="177800"/>
              </a:xfrm>
              <a:custGeom>
                <a:avLst/>
                <a:gdLst>
                  <a:gd name="T0" fmla="*/ 2147483646 w 505"/>
                  <a:gd name="T1" fmla="*/ 2147483646 h 339"/>
                  <a:gd name="T2" fmla="*/ 2147483646 w 505"/>
                  <a:gd name="T3" fmla="*/ 2147483646 h 339"/>
                  <a:gd name="T4" fmla="*/ 2147483646 w 505"/>
                  <a:gd name="T5" fmla="*/ 2147483646 h 339"/>
                  <a:gd name="T6" fmla="*/ 2147483646 w 505"/>
                  <a:gd name="T7" fmla="*/ 2147483646 h 339"/>
                  <a:gd name="T8" fmla="*/ 2147483646 w 505"/>
                  <a:gd name="T9" fmla="*/ 2147483646 h 339"/>
                  <a:gd name="T10" fmla="*/ 2147483646 w 505"/>
                  <a:gd name="T11" fmla="*/ 2147483646 h 339"/>
                  <a:gd name="T12" fmla="*/ 2147483646 w 505"/>
                  <a:gd name="T13" fmla="*/ 2147483646 h 339"/>
                  <a:gd name="T14" fmla="*/ 2147483646 w 505"/>
                  <a:gd name="T15" fmla="*/ 2147483646 h 339"/>
                  <a:gd name="T16" fmla="*/ 2147483646 w 505"/>
                  <a:gd name="T17" fmla="*/ 2147483646 h 339"/>
                  <a:gd name="T18" fmla="*/ 2147483646 w 505"/>
                  <a:gd name="T19" fmla="*/ 2147483646 h 339"/>
                  <a:gd name="T20" fmla="*/ 2147483646 w 505"/>
                  <a:gd name="T21" fmla="*/ 2147483646 h 339"/>
                  <a:gd name="T22" fmla="*/ 2147483646 w 505"/>
                  <a:gd name="T23" fmla="*/ 2147483646 h 339"/>
                  <a:gd name="T24" fmla="*/ 2147483646 w 505"/>
                  <a:gd name="T25" fmla="*/ 2147483646 h 339"/>
                  <a:gd name="T26" fmla="*/ 2147483646 w 505"/>
                  <a:gd name="T27" fmla="*/ 2147483646 h 339"/>
                  <a:gd name="T28" fmla="*/ 2147483646 w 505"/>
                  <a:gd name="T29" fmla="*/ 2147483646 h 339"/>
                  <a:gd name="T30" fmla="*/ 2147483646 w 505"/>
                  <a:gd name="T31" fmla="*/ 2147483646 h 339"/>
                  <a:gd name="T32" fmla="*/ 2147483646 w 505"/>
                  <a:gd name="T33" fmla="*/ 2147483646 h 339"/>
                  <a:gd name="T34" fmla="*/ 2147483646 w 505"/>
                  <a:gd name="T35" fmla="*/ 2147483646 h 339"/>
                  <a:gd name="T36" fmla="*/ 2147483646 w 505"/>
                  <a:gd name="T37" fmla="*/ 2147483646 h 339"/>
                  <a:gd name="T38" fmla="*/ 2147483646 w 505"/>
                  <a:gd name="T39" fmla="*/ 2147483646 h 339"/>
                  <a:gd name="T40" fmla="*/ 2147483646 w 505"/>
                  <a:gd name="T41" fmla="*/ 2147483646 h 339"/>
                  <a:gd name="T42" fmla="*/ 2147483646 w 505"/>
                  <a:gd name="T43" fmla="*/ 2147483646 h 339"/>
                  <a:gd name="T44" fmla="*/ 2147483646 w 505"/>
                  <a:gd name="T45" fmla="*/ 2147483646 h 339"/>
                  <a:gd name="T46" fmla="*/ 2147483646 w 505"/>
                  <a:gd name="T47" fmla="*/ 2147483646 h 339"/>
                  <a:gd name="T48" fmla="*/ 2147483646 w 505"/>
                  <a:gd name="T49" fmla="*/ 2147483646 h 339"/>
                  <a:gd name="T50" fmla="*/ 2147483646 w 505"/>
                  <a:gd name="T51" fmla="*/ 2147483646 h 339"/>
                  <a:gd name="T52" fmla="*/ 2147483646 w 505"/>
                  <a:gd name="T53" fmla="*/ 2147483646 h 339"/>
                  <a:gd name="T54" fmla="*/ 2147483646 w 505"/>
                  <a:gd name="T55" fmla="*/ 2147483646 h 339"/>
                  <a:gd name="T56" fmla="*/ 2147483646 w 505"/>
                  <a:gd name="T57" fmla="*/ 2147483646 h 339"/>
                  <a:gd name="T58" fmla="*/ 2147483646 w 505"/>
                  <a:gd name="T59" fmla="*/ 2147483646 h 339"/>
                  <a:gd name="T60" fmla="*/ 2147483646 w 505"/>
                  <a:gd name="T61" fmla="*/ 2147483646 h 339"/>
                  <a:gd name="T62" fmla="*/ 2147483646 w 505"/>
                  <a:gd name="T63" fmla="*/ 2147483646 h 339"/>
                  <a:gd name="T64" fmla="*/ 2147483646 w 505"/>
                  <a:gd name="T65" fmla="*/ 2147483646 h 339"/>
                  <a:gd name="T66" fmla="*/ 2147483646 w 505"/>
                  <a:gd name="T67" fmla="*/ 2147483646 h 339"/>
                  <a:gd name="T68" fmla="*/ 2147483646 w 505"/>
                  <a:gd name="T69" fmla="*/ 2147483646 h 339"/>
                  <a:gd name="T70" fmla="*/ 2147483646 w 505"/>
                  <a:gd name="T71" fmla="*/ 2147483646 h 339"/>
                  <a:gd name="T72" fmla="*/ 2147483646 w 505"/>
                  <a:gd name="T73" fmla="*/ 2147483646 h 339"/>
                  <a:gd name="T74" fmla="*/ 2147483646 w 505"/>
                  <a:gd name="T75" fmla="*/ 2147483646 h 339"/>
                  <a:gd name="T76" fmla="*/ 2147483646 w 505"/>
                  <a:gd name="T77" fmla="*/ 2147483646 h 339"/>
                  <a:gd name="T78" fmla="*/ 2147483646 w 505"/>
                  <a:gd name="T79" fmla="*/ 2147483646 h 339"/>
                  <a:gd name="T80" fmla="*/ 2147483646 w 505"/>
                  <a:gd name="T81" fmla="*/ 2147483646 h 339"/>
                  <a:gd name="T82" fmla="*/ 2147483646 w 505"/>
                  <a:gd name="T83" fmla="*/ 2147483646 h 339"/>
                  <a:gd name="T84" fmla="*/ 2147483646 w 505"/>
                  <a:gd name="T85" fmla="*/ 2147483646 h 339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505"/>
                  <a:gd name="T130" fmla="*/ 0 h 339"/>
                  <a:gd name="T131" fmla="*/ 505 w 505"/>
                  <a:gd name="T132" fmla="*/ 339 h 339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505" h="339">
                    <a:moveTo>
                      <a:pt x="259" y="24"/>
                    </a:moveTo>
                    <a:lnTo>
                      <a:pt x="272" y="36"/>
                    </a:lnTo>
                    <a:lnTo>
                      <a:pt x="444" y="48"/>
                    </a:lnTo>
                    <a:lnTo>
                      <a:pt x="484" y="86"/>
                    </a:lnTo>
                    <a:lnTo>
                      <a:pt x="482" y="97"/>
                    </a:lnTo>
                    <a:lnTo>
                      <a:pt x="478" y="109"/>
                    </a:lnTo>
                    <a:lnTo>
                      <a:pt x="474" y="120"/>
                    </a:lnTo>
                    <a:lnTo>
                      <a:pt x="471" y="129"/>
                    </a:lnTo>
                    <a:lnTo>
                      <a:pt x="465" y="138"/>
                    </a:lnTo>
                    <a:lnTo>
                      <a:pt x="461" y="145"/>
                    </a:lnTo>
                    <a:lnTo>
                      <a:pt x="456" y="150"/>
                    </a:lnTo>
                    <a:lnTo>
                      <a:pt x="451" y="153"/>
                    </a:lnTo>
                    <a:lnTo>
                      <a:pt x="455" y="169"/>
                    </a:lnTo>
                    <a:lnTo>
                      <a:pt x="461" y="184"/>
                    </a:lnTo>
                    <a:lnTo>
                      <a:pt x="470" y="200"/>
                    </a:lnTo>
                    <a:lnTo>
                      <a:pt x="477" y="215"/>
                    </a:lnTo>
                    <a:lnTo>
                      <a:pt x="494" y="242"/>
                    </a:lnTo>
                    <a:lnTo>
                      <a:pt x="505" y="258"/>
                    </a:lnTo>
                    <a:lnTo>
                      <a:pt x="499" y="264"/>
                    </a:lnTo>
                    <a:lnTo>
                      <a:pt x="493" y="271"/>
                    </a:lnTo>
                    <a:lnTo>
                      <a:pt x="486" y="281"/>
                    </a:lnTo>
                    <a:lnTo>
                      <a:pt x="479" y="292"/>
                    </a:lnTo>
                    <a:lnTo>
                      <a:pt x="474" y="303"/>
                    </a:lnTo>
                    <a:lnTo>
                      <a:pt x="468" y="314"/>
                    </a:lnTo>
                    <a:lnTo>
                      <a:pt x="465" y="326"/>
                    </a:lnTo>
                    <a:lnTo>
                      <a:pt x="464" y="339"/>
                    </a:lnTo>
                    <a:lnTo>
                      <a:pt x="457" y="339"/>
                    </a:lnTo>
                    <a:lnTo>
                      <a:pt x="443" y="338"/>
                    </a:lnTo>
                    <a:lnTo>
                      <a:pt x="428" y="337"/>
                    </a:lnTo>
                    <a:lnTo>
                      <a:pt x="414" y="335"/>
                    </a:lnTo>
                    <a:lnTo>
                      <a:pt x="399" y="333"/>
                    </a:lnTo>
                    <a:lnTo>
                      <a:pt x="385" y="331"/>
                    </a:lnTo>
                    <a:lnTo>
                      <a:pt x="371" y="328"/>
                    </a:lnTo>
                    <a:lnTo>
                      <a:pt x="358" y="326"/>
                    </a:lnTo>
                    <a:lnTo>
                      <a:pt x="344" y="326"/>
                    </a:lnTo>
                    <a:lnTo>
                      <a:pt x="304" y="325"/>
                    </a:lnTo>
                    <a:lnTo>
                      <a:pt x="275" y="323"/>
                    </a:lnTo>
                    <a:lnTo>
                      <a:pt x="264" y="321"/>
                    </a:lnTo>
                    <a:lnTo>
                      <a:pt x="255" y="319"/>
                    </a:lnTo>
                    <a:lnTo>
                      <a:pt x="248" y="317"/>
                    </a:lnTo>
                    <a:lnTo>
                      <a:pt x="242" y="315"/>
                    </a:lnTo>
                    <a:lnTo>
                      <a:pt x="232" y="310"/>
                    </a:lnTo>
                    <a:lnTo>
                      <a:pt x="224" y="305"/>
                    </a:lnTo>
                    <a:lnTo>
                      <a:pt x="213" y="300"/>
                    </a:lnTo>
                    <a:lnTo>
                      <a:pt x="198" y="295"/>
                    </a:lnTo>
                    <a:lnTo>
                      <a:pt x="180" y="289"/>
                    </a:lnTo>
                    <a:lnTo>
                      <a:pt x="162" y="282"/>
                    </a:lnTo>
                    <a:lnTo>
                      <a:pt x="146" y="273"/>
                    </a:lnTo>
                    <a:lnTo>
                      <a:pt x="130" y="266"/>
                    </a:lnTo>
                    <a:lnTo>
                      <a:pt x="98" y="249"/>
                    </a:lnTo>
                    <a:lnTo>
                      <a:pt x="65" y="228"/>
                    </a:lnTo>
                    <a:lnTo>
                      <a:pt x="62" y="206"/>
                    </a:lnTo>
                    <a:lnTo>
                      <a:pt x="57" y="187"/>
                    </a:lnTo>
                    <a:lnTo>
                      <a:pt x="52" y="169"/>
                    </a:lnTo>
                    <a:lnTo>
                      <a:pt x="47" y="152"/>
                    </a:lnTo>
                    <a:lnTo>
                      <a:pt x="36" y="124"/>
                    </a:lnTo>
                    <a:lnTo>
                      <a:pt x="25" y="100"/>
                    </a:lnTo>
                    <a:lnTo>
                      <a:pt x="15" y="83"/>
                    </a:lnTo>
                    <a:lnTo>
                      <a:pt x="7" y="71"/>
                    </a:lnTo>
                    <a:lnTo>
                      <a:pt x="2" y="64"/>
                    </a:lnTo>
                    <a:lnTo>
                      <a:pt x="0" y="62"/>
                    </a:lnTo>
                    <a:lnTo>
                      <a:pt x="5" y="61"/>
                    </a:lnTo>
                    <a:lnTo>
                      <a:pt x="8" y="59"/>
                    </a:lnTo>
                    <a:lnTo>
                      <a:pt x="11" y="56"/>
                    </a:lnTo>
                    <a:lnTo>
                      <a:pt x="11" y="51"/>
                    </a:lnTo>
                    <a:lnTo>
                      <a:pt x="11" y="48"/>
                    </a:lnTo>
                    <a:lnTo>
                      <a:pt x="11" y="45"/>
                    </a:lnTo>
                    <a:lnTo>
                      <a:pt x="11" y="43"/>
                    </a:lnTo>
                    <a:lnTo>
                      <a:pt x="13" y="42"/>
                    </a:lnTo>
                    <a:lnTo>
                      <a:pt x="34" y="34"/>
                    </a:lnTo>
                    <a:lnTo>
                      <a:pt x="55" y="27"/>
                    </a:lnTo>
                    <a:lnTo>
                      <a:pt x="73" y="22"/>
                    </a:lnTo>
                    <a:lnTo>
                      <a:pt x="92" y="17"/>
                    </a:lnTo>
                    <a:lnTo>
                      <a:pt x="128" y="8"/>
                    </a:lnTo>
                    <a:lnTo>
                      <a:pt x="165" y="0"/>
                    </a:lnTo>
                    <a:lnTo>
                      <a:pt x="173" y="11"/>
                    </a:lnTo>
                    <a:lnTo>
                      <a:pt x="183" y="23"/>
                    </a:lnTo>
                    <a:lnTo>
                      <a:pt x="188" y="28"/>
                    </a:lnTo>
                    <a:lnTo>
                      <a:pt x="194" y="32"/>
                    </a:lnTo>
                    <a:lnTo>
                      <a:pt x="201" y="35"/>
                    </a:lnTo>
                    <a:lnTo>
                      <a:pt x="205" y="36"/>
                    </a:lnTo>
                    <a:lnTo>
                      <a:pt x="219" y="36"/>
                    </a:lnTo>
                    <a:lnTo>
                      <a:pt x="230" y="36"/>
                    </a:lnTo>
                    <a:lnTo>
                      <a:pt x="239" y="36"/>
                    </a:lnTo>
                    <a:lnTo>
                      <a:pt x="246" y="36"/>
                    </a:lnTo>
                    <a:lnTo>
                      <a:pt x="259" y="24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21" name="Freeform 343">
                <a:extLst>
                  <a:ext uri="{FF2B5EF4-FFF2-40B4-BE49-F238E27FC236}">
                    <a16:creationId xmlns="" xmlns:a16="http://schemas.microsoft.com/office/drawing/2014/main" id="{8FCAA7AE-56F3-4F2D-9329-65A433F90BBE}"/>
                  </a:ext>
                </a:extLst>
              </p:cNvPr>
              <p:cNvSpPr>
                <a:spLocks/>
              </p:cNvSpPr>
              <p:nvPr>
                <p:custDataLst>
                  <p:tags r:id="rId246"/>
                </p:custDataLst>
              </p:nvPr>
            </p:nvSpPr>
            <p:spPr bwMode="auto">
              <a:xfrm>
                <a:off x="4371975" y="2136775"/>
                <a:ext cx="146050" cy="71438"/>
              </a:xfrm>
              <a:custGeom>
                <a:avLst/>
                <a:gdLst>
                  <a:gd name="T0" fmla="*/ 2147483646 w 338"/>
                  <a:gd name="T1" fmla="*/ 0 h 141"/>
                  <a:gd name="T2" fmla="*/ 2147483646 w 338"/>
                  <a:gd name="T3" fmla="*/ 0 h 141"/>
                  <a:gd name="T4" fmla="*/ 2147483646 w 338"/>
                  <a:gd name="T5" fmla="*/ 2147483646 h 141"/>
                  <a:gd name="T6" fmla="*/ 2147483646 w 338"/>
                  <a:gd name="T7" fmla="*/ 2147483646 h 141"/>
                  <a:gd name="T8" fmla="*/ 2147483646 w 338"/>
                  <a:gd name="T9" fmla="*/ 2147483646 h 141"/>
                  <a:gd name="T10" fmla="*/ 2147483646 w 338"/>
                  <a:gd name="T11" fmla="*/ 2147483646 h 141"/>
                  <a:gd name="T12" fmla="*/ 2147483646 w 338"/>
                  <a:gd name="T13" fmla="*/ 2147483646 h 141"/>
                  <a:gd name="T14" fmla="*/ 2147483646 w 338"/>
                  <a:gd name="T15" fmla="*/ 2147483646 h 141"/>
                  <a:gd name="T16" fmla="*/ 2147483646 w 338"/>
                  <a:gd name="T17" fmla="*/ 2147483646 h 141"/>
                  <a:gd name="T18" fmla="*/ 2147483646 w 338"/>
                  <a:gd name="T19" fmla="*/ 2147483646 h 141"/>
                  <a:gd name="T20" fmla="*/ 2147483646 w 338"/>
                  <a:gd name="T21" fmla="*/ 2147483646 h 141"/>
                  <a:gd name="T22" fmla="*/ 2147483646 w 338"/>
                  <a:gd name="T23" fmla="*/ 2147483646 h 141"/>
                  <a:gd name="T24" fmla="*/ 2147483646 w 338"/>
                  <a:gd name="T25" fmla="*/ 2147483646 h 141"/>
                  <a:gd name="T26" fmla="*/ 2147483646 w 338"/>
                  <a:gd name="T27" fmla="*/ 2147483646 h 141"/>
                  <a:gd name="T28" fmla="*/ 2147483646 w 338"/>
                  <a:gd name="T29" fmla="*/ 2147483646 h 141"/>
                  <a:gd name="T30" fmla="*/ 2147483646 w 338"/>
                  <a:gd name="T31" fmla="*/ 2147483646 h 141"/>
                  <a:gd name="T32" fmla="*/ 2147483646 w 338"/>
                  <a:gd name="T33" fmla="*/ 2147483646 h 141"/>
                  <a:gd name="T34" fmla="*/ 2147483646 w 338"/>
                  <a:gd name="T35" fmla="*/ 2147483646 h 141"/>
                  <a:gd name="T36" fmla="*/ 2147483646 w 338"/>
                  <a:gd name="T37" fmla="*/ 2147483646 h 141"/>
                  <a:gd name="T38" fmla="*/ 2147483646 w 338"/>
                  <a:gd name="T39" fmla="*/ 2147483646 h 141"/>
                  <a:gd name="T40" fmla="*/ 2147483646 w 338"/>
                  <a:gd name="T41" fmla="*/ 2147483646 h 141"/>
                  <a:gd name="T42" fmla="*/ 0 w 338"/>
                  <a:gd name="T43" fmla="*/ 2147483646 h 141"/>
                  <a:gd name="T44" fmla="*/ 2147483646 w 338"/>
                  <a:gd name="T45" fmla="*/ 2147483646 h 141"/>
                  <a:gd name="T46" fmla="*/ 2147483646 w 338"/>
                  <a:gd name="T47" fmla="*/ 2147483646 h 141"/>
                  <a:gd name="T48" fmla="*/ 2147483646 w 338"/>
                  <a:gd name="T49" fmla="*/ 2147483646 h 141"/>
                  <a:gd name="T50" fmla="*/ 2147483646 w 338"/>
                  <a:gd name="T51" fmla="*/ 2147483646 h 141"/>
                  <a:gd name="T52" fmla="*/ 2147483646 w 338"/>
                  <a:gd name="T53" fmla="*/ 2147483646 h 141"/>
                  <a:gd name="T54" fmla="*/ 2147483646 w 338"/>
                  <a:gd name="T55" fmla="*/ 2147483646 h 141"/>
                  <a:gd name="T56" fmla="*/ 2147483646 w 338"/>
                  <a:gd name="T57" fmla="*/ 2147483646 h 141"/>
                  <a:gd name="T58" fmla="*/ 2147483646 w 338"/>
                  <a:gd name="T59" fmla="*/ 2147483646 h 141"/>
                  <a:gd name="T60" fmla="*/ 2147483646 w 338"/>
                  <a:gd name="T61" fmla="*/ 2147483646 h 141"/>
                  <a:gd name="T62" fmla="*/ 2147483646 w 338"/>
                  <a:gd name="T63" fmla="*/ 2147483646 h 141"/>
                  <a:gd name="T64" fmla="*/ 2147483646 w 338"/>
                  <a:gd name="T65" fmla="*/ 2147483646 h 141"/>
                  <a:gd name="T66" fmla="*/ 2147483646 w 338"/>
                  <a:gd name="T67" fmla="*/ 2147483646 h 141"/>
                  <a:gd name="T68" fmla="*/ 2147483646 w 338"/>
                  <a:gd name="T69" fmla="*/ 2147483646 h 141"/>
                  <a:gd name="T70" fmla="*/ 2147483646 w 338"/>
                  <a:gd name="T71" fmla="*/ 2147483646 h 141"/>
                  <a:gd name="T72" fmla="*/ 2147483646 w 338"/>
                  <a:gd name="T73" fmla="*/ 2147483646 h 141"/>
                  <a:gd name="T74" fmla="*/ 2147483646 w 338"/>
                  <a:gd name="T75" fmla="*/ 2147483646 h 141"/>
                  <a:gd name="T76" fmla="*/ 2147483646 w 338"/>
                  <a:gd name="T77" fmla="*/ 2147483646 h 141"/>
                  <a:gd name="T78" fmla="*/ 2147483646 w 338"/>
                  <a:gd name="T79" fmla="*/ 0 h 141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338"/>
                  <a:gd name="T121" fmla="*/ 0 h 141"/>
                  <a:gd name="T122" fmla="*/ 338 w 338"/>
                  <a:gd name="T123" fmla="*/ 141 h 141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338" h="141">
                    <a:moveTo>
                      <a:pt x="312" y="0"/>
                    </a:moveTo>
                    <a:lnTo>
                      <a:pt x="186" y="0"/>
                    </a:lnTo>
                    <a:lnTo>
                      <a:pt x="168" y="8"/>
                    </a:lnTo>
                    <a:lnTo>
                      <a:pt x="144" y="21"/>
                    </a:lnTo>
                    <a:lnTo>
                      <a:pt x="132" y="27"/>
                    </a:lnTo>
                    <a:lnTo>
                      <a:pt x="119" y="32"/>
                    </a:lnTo>
                    <a:lnTo>
                      <a:pt x="112" y="34"/>
                    </a:lnTo>
                    <a:lnTo>
                      <a:pt x="105" y="35"/>
                    </a:lnTo>
                    <a:lnTo>
                      <a:pt x="99" y="36"/>
                    </a:lnTo>
                    <a:lnTo>
                      <a:pt x="93" y="37"/>
                    </a:lnTo>
                    <a:lnTo>
                      <a:pt x="88" y="36"/>
                    </a:lnTo>
                    <a:lnTo>
                      <a:pt x="84" y="35"/>
                    </a:lnTo>
                    <a:lnTo>
                      <a:pt x="78" y="32"/>
                    </a:lnTo>
                    <a:lnTo>
                      <a:pt x="74" y="30"/>
                    </a:lnTo>
                    <a:lnTo>
                      <a:pt x="66" y="24"/>
                    </a:lnTo>
                    <a:lnTo>
                      <a:pt x="59" y="18"/>
                    </a:lnTo>
                    <a:lnTo>
                      <a:pt x="49" y="34"/>
                    </a:lnTo>
                    <a:lnTo>
                      <a:pt x="37" y="51"/>
                    </a:lnTo>
                    <a:lnTo>
                      <a:pt x="30" y="60"/>
                    </a:lnTo>
                    <a:lnTo>
                      <a:pt x="21" y="68"/>
                    </a:lnTo>
                    <a:lnTo>
                      <a:pt x="11" y="75"/>
                    </a:lnTo>
                    <a:lnTo>
                      <a:pt x="0" y="80"/>
                    </a:lnTo>
                    <a:lnTo>
                      <a:pt x="12" y="90"/>
                    </a:lnTo>
                    <a:lnTo>
                      <a:pt x="23" y="100"/>
                    </a:lnTo>
                    <a:lnTo>
                      <a:pt x="33" y="108"/>
                    </a:lnTo>
                    <a:lnTo>
                      <a:pt x="44" y="116"/>
                    </a:lnTo>
                    <a:lnTo>
                      <a:pt x="55" y="122"/>
                    </a:lnTo>
                    <a:lnTo>
                      <a:pt x="66" y="129"/>
                    </a:lnTo>
                    <a:lnTo>
                      <a:pt x="79" y="135"/>
                    </a:lnTo>
                    <a:lnTo>
                      <a:pt x="93" y="141"/>
                    </a:lnTo>
                    <a:lnTo>
                      <a:pt x="259" y="141"/>
                    </a:lnTo>
                    <a:lnTo>
                      <a:pt x="269" y="124"/>
                    </a:lnTo>
                    <a:lnTo>
                      <a:pt x="281" y="107"/>
                    </a:lnTo>
                    <a:lnTo>
                      <a:pt x="292" y="92"/>
                    </a:lnTo>
                    <a:lnTo>
                      <a:pt x="304" y="78"/>
                    </a:lnTo>
                    <a:lnTo>
                      <a:pt x="315" y="64"/>
                    </a:lnTo>
                    <a:lnTo>
                      <a:pt x="324" y="48"/>
                    </a:lnTo>
                    <a:lnTo>
                      <a:pt x="333" y="34"/>
                    </a:lnTo>
                    <a:lnTo>
                      <a:pt x="338" y="18"/>
                    </a:lnTo>
                    <a:lnTo>
                      <a:pt x="312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22" name="Freeform 344">
                <a:extLst>
                  <a:ext uri="{FF2B5EF4-FFF2-40B4-BE49-F238E27FC236}">
                    <a16:creationId xmlns="" xmlns:a16="http://schemas.microsoft.com/office/drawing/2014/main" id="{BADF138C-8DC9-4C3C-8588-72746FEAAF5C}"/>
                  </a:ext>
                </a:extLst>
              </p:cNvPr>
              <p:cNvSpPr>
                <a:spLocks/>
              </p:cNvSpPr>
              <p:nvPr>
                <p:custDataLst>
                  <p:tags r:id="rId247"/>
                </p:custDataLst>
              </p:nvPr>
            </p:nvSpPr>
            <p:spPr bwMode="auto">
              <a:xfrm>
                <a:off x="4471988" y="1792288"/>
                <a:ext cx="111125" cy="65087"/>
              </a:xfrm>
              <a:custGeom>
                <a:avLst/>
                <a:gdLst>
                  <a:gd name="T0" fmla="*/ 2147483646 w 259"/>
                  <a:gd name="T1" fmla="*/ 2147483646 h 129"/>
                  <a:gd name="T2" fmla="*/ 2147483646 w 259"/>
                  <a:gd name="T3" fmla="*/ 2147483646 h 129"/>
                  <a:gd name="T4" fmla="*/ 2147483646 w 259"/>
                  <a:gd name="T5" fmla="*/ 2147483646 h 129"/>
                  <a:gd name="T6" fmla="*/ 2147483646 w 259"/>
                  <a:gd name="T7" fmla="*/ 2147483646 h 129"/>
                  <a:gd name="T8" fmla="*/ 2147483646 w 259"/>
                  <a:gd name="T9" fmla="*/ 2147483646 h 129"/>
                  <a:gd name="T10" fmla="*/ 2147483646 w 259"/>
                  <a:gd name="T11" fmla="*/ 2147483646 h 129"/>
                  <a:gd name="T12" fmla="*/ 2147483646 w 259"/>
                  <a:gd name="T13" fmla="*/ 2147483646 h 129"/>
                  <a:gd name="T14" fmla="*/ 2147483646 w 259"/>
                  <a:gd name="T15" fmla="*/ 2147483646 h 129"/>
                  <a:gd name="T16" fmla="*/ 2147483646 w 259"/>
                  <a:gd name="T17" fmla="*/ 2147483646 h 129"/>
                  <a:gd name="T18" fmla="*/ 2147483646 w 259"/>
                  <a:gd name="T19" fmla="*/ 2147483646 h 129"/>
                  <a:gd name="T20" fmla="*/ 2147483646 w 259"/>
                  <a:gd name="T21" fmla="*/ 2147483646 h 129"/>
                  <a:gd name="T22" fmla="*/ 2147483646 w 259"/>
                  <a:gd name="T23" fmla="*/ 2147483646 h 129"/>
                  <a:gd name="T24" fmla="*/ 2147483646 w 259"/>
                  <a:gd name="T25" fmla="*/ 2147483646 h 129"/>
                  <a:gd name="T26" fmla="*/ 2147483646 w 259"/>
                  <a:gd name="T27" fmla="*/ 2147483646 h 129"/>
                  <a:gd name="T28" fmla="*/ 2147483646 w 259"/>
                  <a:gd name="T29" fmla="*/ 2147483646 h 129"/>
                  <a:gd name="T30" fmla="*/ 2147483646 w 259"/>
                  <a:gd name="T31" fmla="*/ 2147483646 h 129"/>
                  <a:gd name="T32" fmla="*/ 2147483646 w 259"/>
                  <a:gd name="T33" fmla="*/ 2147483646 h 129"/>
                  <a:gd name="T34" fmla="*/ 2147483646 w 259"/>
                  <a:gd name="T35" fmla="*/ 2147483646 h 129"/>
                  <a:gd name="T36" fmla="*/ 2147483646 w 259"/>
                  <a:gd name="T37" fmla="*/ 2147483646 h 129"/>
                  <a:gd name="T38" fmla="*/ 2147483646 w 259"/>
                  <a:gd name="T39" fmla="*/ 2147483646 h 129"/>
                  <a:gd name="T40" fmla="*/ 2147483646 w 259"/>
                  <a:gd name="T41" fmla="*/ 2147483646 h 129"/>
                  <a:gd name="T42" fmla="*/ 2147483646 w 259"/>
                  <a:gd name="T43" fmla="*/ 2147483646 h 129"/>
                  <a:gd name="T44" fmla="*/ 2147483646 w 259"/>
                  <a:gd name="T45" fmla="*/ 0 h 129"/>
                  <a:gd name="T46" fmla="*/ 2147483646 w 259"/>
                  <a:gd name="T47" fmla="*/ 0 h 129"/>
                  <a:gd name="T48" fmla="*/ 2147483646 w 259"/>
                  <a:gd name="T49" fmla="*/ 0 h 129"/>
                  <a:gd name="T50" fmla="*/ 2147483646 w 259"/>
                  <a:gd name="T51" fmla="*/ 0 h 129"/>
                  <a:gd name="T52" fmla="*/ 2147483646 w 259"/>
                  <a:gd name="T53" fmla="*/ 2147483646 h 129"/>
                  <a:gd name="T54" fmla="*/ 2147483646 w 259"/>
                  <a:gd name="T55" fmla="*/ 2147483646 h 129"/>
                  <a:gd name="T56" fmla="*/ 2147483646 w 259"/>
                  <a:gd name="T57" fmla="*/ 2147483646 h 129"/>
                  <a:gd name="T58" fmla="*/ 2147483646 w 259"/>
                  <a:gd name="T59" fmla="*/ 2147483646 h 129"/>
                  <a:gd name="T60" fmla="*/ 2147483646 w 259"/>
                  <a:gd name="T61" fmla="*/ 2147483646 h 129"/>
                  <a:gd name="T62" fmla="*/ 2147483646 w 259"/>
                  <a:gd name="T63" fmla="*/ 2147483646 h 129"/>
                  <a:gd name="T64" fmla="*/ 2147483646 w 259"/>
                  <a:gd name="T65" fmla="*/ 2147483646 h 129"/>
                  <a:gd name="T66" fmla="*/ 0 w 259"/>
                  <a:gd name="T67" fmla="*/ 2147483646 h 129"/>
                  <a:gd name="T68" fmla="*/ 0 w 259"/>
                  <a:gd name="T69" fmla="*/ 2147483646 h 129"/>
                  <a:gd name="T70" fmla="*/ 0 w 259"/>
                  <a:gd name="T71" fmla="*/ 2147483646 h 129"/>
                  <a:gd name="T72" fmla="*/ 2147483646 w 259"/>
                  <a:gd name="T73" fmla="*/ 2147483646 h 129"/>
                  <a:gd name="T74" fmla="*/ 2147483646 w 259"/>
                  <a:gd name="T75" fmla="*/ 2147483646 h 129"/>
                  <a:gd name="T76" fmla="*/ 2147483646 w 259"/>
                  <a:gd name="T77" fmla="*/ 2147483646 h 129"/>
                  <a:gd name="T78" fmla="*/ 2147483646 w 259"/>
                  <a:gd name="T79" fmla="*/ 2147483646 h 129"/>
                  <a:gd name="T80" fmla="*/ 2147483646 w 259"/>
                  <a:gd name="T81" fmla="*/ 2147483646 h 129"/>
                  <a:gd name="T82" fmla="*/ 2147483646 w 259"/>
                  <a:gd name="T83" fmla="*/ 2147483646 h 129"/>
                  <a:gd name="T84" fmla="*/ 2147483646 w 259"/>
                  <a:gd name="T85" fmla="*/ 2147483646 h 129"/>
                  <a:gd name="T86" fmla="*/ 2147483646 w 259"/>
                  <a:gd name="T87" fmla="*/ 2147483646 h 129"/>
                  <a:gd name="T88" fmla="*/ 2147483646 w 259"/>
                  <a:gd name="T89" fmla="*/ 2147483646 h 129"/>
                  <a:gd name="T90" fmla="*/ 2147483646 w 259"/>
                  <a:gd name="T91" fmla="*/ 2147483646 h 129"/>
                  <a:gd name="T92" fmla="*/ 2147483646 w 259"/>
                  <a:gd name="T93" fmla="*/ 2147483646 h 129"/>
                  <a:gd name="T94" fmla="*/ 2147483646 w 259"/>
                  <a:gd name="T95" fmla="*/ 2147483646 h 129"/>
                  <a:gd name="T96" fmla="*/ 2147483646 w 259"/>
                  <a:gd name="T97" fmla="*/ 2147483646 h 129"/>
                  <a:gd name="T98" fmla="*/ 2147483646 w 259"/>
                  <a:gd name="T99" fmla="*/ 2147483646 h 129"/>
                  <a:gd name="T100" fmla="*/ 2147483646 w 259"/>
                  <a:gd name="T101" fmla="*/ 2147483646 h 129"/>
                  <a:gd name="T102" fmla="*/ 2147483646 w 259"/>
                  <a:gd name="T103" fmla="*/ 2147483646 h 129"/>
                  <a:gd name="T104" fmla="*/ 2147483646 w 259"/>
                  <a:gd name="T105" fmla="*/ 2147483646 h 129"/>
                  <a:gd name="T106" fmla="*/ 2147483646 w 259"/>
                  <a:gd name="T107" fmla="*/ 2147483646 h 129"/>
                  <a:gd name="T108" fmla="*/ 2147483646 w 259"/>
                  <a:gd name="T109" fmla="*/ 2147483646 h 129"/>
                  <a:gd name="T110" fmla="*/ 2147483646 w 259"/>
                  <a:gd name="T111" fmla="*/ 2147483646 h 129"/>
                  <a:gd name="T112" fmla="*/ 2147483646 w 259"/>
                  <a:gd name="T113" fmla="*/ 2147483646 h 129"/>
                  <a:gd name="T114" fmla="*/ 2147483646 w 259"/>
                  <a:gd name="T115" fmla="*/ 2147483646 h 129"/>
                  <a:gd name="T116" fmla="*/ 2147483646 w 259"/>
                  <a:gd name="T117" fmla="*/ 2147483646 h 129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59"/>
                  <a:gd name="T178" fmla="*/ 0 h 129"/>
                  <a:gd name="T179" fmla="*/ 259 w 259"/>
                  <a:gd name="T180" fmla="*/ 129 h 129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59" h="129">
                    <a:moveTo>
                      <a:pt x="259" y="129"/>
                    </a:moveTo>
                    <a:lnTo>
                      <a:pt x="255" y="102"/>
                    </a:lnTo>
                    <a:lnTo>
                      <a:pt x="252" y="80"/>
                    </a:lnTo>
                    <a:lnTo>
                      <a:pt x="252" y="63"/>
                    </a:lnTo>
                    <a:lnTo>
                      <a:pt x="253" y="50"/>
                    </a:lnTo>
                    <a:lnTo>
                      <a:pt x="257" y="29"/>
                    </a:lnTo>
                    <a:lnTo>
                      <a:pt x="259" y="12"/>
                    </a:lnTo>
                    <a:lnTo>
                      <a:pt x="258" y="14"/>
                    </a:lnTo>
                    <a:lnTo>
                      <a:pt x="256" y="16"/>
                    </a:lnTo>
                    <a:lnTo>
                      <a:pt x="253" y="17"/>
                    </a:lnTo>
                    <a:lnTo>
                      <a:pt x="249" y="18"/>
                    </a:lnTo>
                    <a:lnTo>
                      <a:pt x="239" y="19"/>
                    </a:lnTo>
                    <a:lnTo>
                      <a:pt x="228" y="19"/>
                    </a:lnTo>
                    <a:lnTo>
                      <a:pt x="205" y="19"/>
                    </a:lnTo>
                    <a:lnTo>
                      <a:pt x="192" y="18"/>
                    </a:lnTo>
                    <a:lnTo>
                      <a:pt x="181" y="17"/>
                    </a:lnTo>
                    <a:lnTo>
                      <a:pt x="172" y="15"/>
                    </a:lnTo>
                    <a:lnTo>
                      <a:pt x="163" y="12"/>
                    </a:lnTo>
                    <a:lnTo>
                      <a:pt x="156" y="9"/>
                    </a:lnTo>
                    <a:lnTo>
                      <a:pt x="146" y="6"/>
                    </a:lnTo>
                    <a:lnTo>
                      <a:pt x="134" y="3"/>
                    </a:lnTo>
                    <a:lnTo>
                      <a:pt x="118" y="1"/>
                    </a:lnTo>
                    <a:lnTo>
                      <a:pt x="99" y="0"/>
                    </a:lnTo>
                    <a:lnTo>
                      <a:pt x="83" y="0"/>
                    </a:lnTo>
                    <a:lnTo>
                      <a:pt x="67" y="0"/>
                    </a:lnTo>
                    <a:lnTo>
                      <a:pt x="50" y="0"/>
                    </a:lnTo>
                    <a:lnTo>
                      <a:pt x="34" y="2"/>
                    </a:lnTo>
                    <a:lnTo>
                      <a:pt x="27" y="4"/>
                    </a:lnTo>
                    <a:lnTo>
                      <a:pt x="21" y="6"/>
                    </a:lnTo>
                    <a:lnTo>
                      <a:pt x="14" y="9"/>
                    </a:lnTo>
                    <a:lnTo>
                      <a:pt x="10" y="13"/>
                    </a:lnTo>
                    <a:lnTo>
                      <a:pt x="5" y="17"/>
                    </a:lnTo>
                    <a:lnTo>
                      <a:pt x="2" y="22"/>
                    </a:lnTo>
                    <a:lnTo>
                      <a:pt x="0" y="29"/>
                    </a:lnTo>
                    <a:lnTo>
                      <a:pt x="0" y="36"/>
                    </a:lnTo>
                    <a:lnTo>
                      <a:pt x="0" y="48"/>
                    </a:lnTo>
                    <a:lnTo>
                      <a:pt x="3" y="58"/>
                    </a:lnTo>
                    <a:lnTo>
                      <a:pt x="6" y="65"/>
                    </a:lnTo>
                    <a:lnTo>
                      <a:pt x="12" y="71"/>
                    </a:lnTo>
                    <a:lnTo>
                      <a:pt x="17" y="76"/>
                    </a:lnTo>
                    <a:lnTo>
                      <a:pt x="24" y="80"/>
                    </a:lnTo>
                    <a:lnTo>
                      <a:pt x="31" y="83"/>
                    </a:lnTo>
                    <a:lnTo>
                      <a:pt x="37" y="85"/>
                    </a:lnTo>
                    <a:lnTo>
                      <a:pt x="50" y="88"/>
                    </a:lnTo>
                    <a:lnTo>
                      <a:pt x="61" y="92"/>
                    </a:lnTo>
                    <a:lnTo>
                      <a:pt x="65" y="95"/>
                    </a:lnTo>
                    <a:lnTo>
                      <a:pt x="67" y="99"/>
                    </a:lnTo>
                    <a:lnTo>
                      <a:pt x="67" y="105"/>
                    </a:lnTo>
                    <a:lnTo>
                      <a:pt x="66" y="111"/>
                    </a:lnTo>
                    <a:lnTo>
                      <a:pt x="81" y="110"/>
                    </a:lnTo>
                    <a:lnTo>
                      <a:pt x="91" y="108"/>
                    </a:lnTo>
                    <a:lnTo>
                      <a:pt x="98" y="106"/>
                    </a:lnTo>
                    <a:lnTo>
                      <a:pt x="105" y="105"/>
                    </a:lnTo>
                    <a:lnTo>
                      <a:pt x="120" y="106"/>
                    </a:lnTo>
                    <a:lnTo>
                      <a:pt x="140" y="108"/>
                    </a:lnTo>
                    <a:lnTo>
                      <a:pt x="166" y="112"/>
                    </a:lnTo>
                    <a:lnTo>
                      <a:pt x="192" y="117"/>
                    </a:lnTo>
                    <a:lnTo>
                      <a:pt x="238" y="125"/>
                    </a:lnTo>
                    <a:lnTo>
                      <a:pt x="259" y="129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23" name="Freeform 345">
                <a:extLst>
                  <a:ext uri="{FF2B5EF4-FFF2-40B4-BE49-F238E27FC236}">
                    <a16:creationId xmlns="" xmlns:a16="http://schemas.microsoft.com/office/drawing/2014/main" id="{D5800572-89D8-45D6-804D-C818E7C73ACE}"/>
                  </a:ext>
                </a:extLst>
              </p:cNvPr>
              <p:cNvSpPr>
                <a:spLocks/>
              </p:cNvSpPr>
              <p:nvPr>
                <p:custDataLst>
                  <p:tags r:id="rId248"/>
                </p:custDataLst>
              </p:nvPr>
            </p:nvSpPr>
            <p:spPr bwMode="auto">
              <a:xfrm>
                <a:off x="4484688" y="2139950"/>
                <a:ext cx="179387" cy="142875"/>
              </a:xfrm>
              <a:custGeom>
                <a:avLst/>
                <a:gdLst>
                  <a:gd name="T0" fmla="*/ 2147483646 w 425"/>
                  <a:gd name="T1" fmla="*/ 2147483646 h 272"/>
                  <a:gd name="T2" fmla="*/ 2147483646 w 425"/>
                  <a:gd name="T3" fmla="*/ 2147483646 h 272"/>
                  <a:gd name="T4" fmla="*/ 2147483646 w 425"/>
                  <a:gd name="T5" fmla="*/ 2147483646 h 272"/>
                  <a:gd name="T6" fmla="*/ 2147483646 w 425"/>
                  <a:gd name="T7" fmla="*/ 2147483646 h 272"/>
                  <a:gd name="T8" fmla="*/ 2147483646 w 425"/>
                  <a:gd name="T9" fmla="*/ 2147483646 h 272"/>
                  <a:gd name="T10" fmla="*/ 2147483646 w 425"/>
                  <a:gd name="T11" fmla="*/ 2147483646 h 272"/>
                  <a:gd name="T12" fmla="*/ 2147483646 w 425"/>
                  <a:gd name="T13" fmla="*/ 2147483646 h 272"/>
                  <a:gd name="T14" fmla="*/ 2147483646 w 425"/>
                  <a:gd name="T15" fmla="*/ 2147483646 h 272"/>
                  <a:gd name="T16" fmla="*/ 2147483646 w 425"/>
                  <a:gd name="T17" fmla="*/ 2147483646 h 272"/>
                  <a:gd name="T18" fmla="*/ 2147483646 w 425"/>
                  <a:gd name="T19" fmla="*/ 2147483646 h 272"/>
                  <a:gd name="T20" fmla="*/ 2147483646 w 425"/>
                  <a:gd name="T21" fmla="*/ 2147483646 h 272"/>
                  <a:gd name="T22" fmla="*/ 2147483646 w 425"/>
                  <a:gd name="T23" fmla="*/ 2147483646 h 272"/>
                  <a:gd name="T24" fmla="*/ 2147483646 w 425"/>
                  <a:gd name="T25" fmla="*/ 2147483646 h 272"/>
                  <a:gd name="T26" fmla="*/ 2147483646 w 425"/>
                  <a:gd name="T27" fmla="*/ 2147483646 h 272"/>
                  <a:gd name="T28" fmla="*/ 2147483646 w 425"/>
                  <a:gd name="T29" fmla="*/ 2147483646 h 272"/>
                  <a:gd name="T30" fmla="*/ 2147483646 w 425"/>
                  <a:gd name="T31" fmla="*/ 2147483646 h 272"/>
                  <a:gd name="T32" fmla="*/ 2147483646 w 425"/>
                  <a:gd name="T33" fmla="*/ 2147483646 h 272"/>
                  <a:gd name="T34" fmla="*/ 2147483646 w 425"/>
                  <a:gd name="T35" fmla="*/ 2147483646 h 272"/>
                  <a:gd name="T36" fmla="*/ 2147483646 w 425"/>
                  <a:gd name="T37" fmla="*/ 2147483646 h 272"/>
                  <a:gd name="T38" fmla="*/ 0 w 425"/>
                  <a:gd name="T39" fmla="*/ 2147483646 h 272"/>
                  <a:gd name="T40" fmla="*/ 2147483646 w 425"/>
                  <a:gd name="T41" fmla="*/ 2147483646 h 272"/>
                  <a:gd name="T42" fmla="*/ 2147483646 w 425"/>
                  <a:gd name="T43" fmla="*/ 2147483646 h 272"/>
                  <a:gd name="T44" fmla="*/ 2147483646 w 425"/>
                  <a:gd name="T45" fmla="*/ 2147483646 h 272"/>
                  <a:gd name="T46" fmla="*/ 2147483646 w 425"/>
                  <a:gd name="T47" fmla="*/ 2147483646 h 272"/>
                  <a:gd name="T48" fmla="*/ 2147483646 w 425"/>
                  <a:gd name="T49" fmla="*/ 2147483646 h 272"/>
                  <a:gd name="T50" fmla="*/ 2147483646 w 425"/>
                  <a:gd name="T51" fmla="*/ 2147483646 h 272"/>
                  <a:gd name="T52" fmla="*/ 2147483646 w 425"/>
                  <a:gd name="T53" fmla="*/ 2147483646 h 272"/>
                  <a:gd name="T54" fmla="*/ 2147483646 w 425"/>
                  <a:gd name="T55" fmla="*/ 2147483646 h 272"/>
                  <a:gd name="T56" fmla="*/ 2147483646 w 425"/>
                  <a:gd name="T57" fmla="*/ 2147483646 h 272"/>
                  <a:gd name="T58" fmla="*/ 2147483646 w 425"/>
                  <a:gd name="T59" fmla="*/ 2147483646 h 272"/>
                  <a:gd name="T60" fmla="*/ 2147483646 w 425"/>
                  <a:gd name="T61" fmla="*/ 2147483646 h 272"/>
                  <a:gd name="T62" fmla="*/ 2147483646 w 425"/>
                  <a:gd name="T63" fmla="*/ 2147483646 h 272"/>
                  <a:gd name="T64" fmla="*/ 2147483646 w 425"/>
                  <a:gd name="T65" fmla="*/ 2147483646 h 272"/>
                  <a:gd name="T66" fmla="*/ 2147483646 w 425"/>
                  <a:gd name="T67" fmla="*/ 0 h 272"/>
                  <a:gd name="T68" fmla="*/ 2147483646 w 425"/>
                  <a:gd name="T69" fmla="*/ 2147483646 h 272"/>
                  <a:gd name="T70" fmla="*/ 2147483646 w 425"/>
                  <a:gd name="T71" fmla="*/ 2147483646 h 272"/>
                  <a:gd name="T72" fmla="*/ 2147483646 w 425"/>
                  <a:gd name="T73" fmla="*/ 2147483646 h 272"/>
                  <a:gd name="T74" fmla="*/ 2147483646 w 425"/>
                  <a:gd name="T75" fmla="*/ 2147483646 h 272"/>
                  <a:gd name="T76" fmla="*/ 2147483646 w 425"/>
                  <a:gd name="T77" fmla="*/ 2147483646 h 272"/>
                  <a:gd name="T78" fmla="*/ 2147483646 w 425"/>
                  <a:gd name="T79" fmla="*/ 2147483646 h 272"/>
                  <a:gd name="T80" fmla="*/ 2147483646 w 425"/>
                  <a:gd name="T81" fmla="*/ 2147483646 h 272"/>
                  <a:gd name="T82" fmla="*/ 2147483646 w 425"/>
                  <a:gd name="T83" fmla="*/ 2147483646 h 272"/>
                  <a:gd name="T84" fmla="*/ 2147483646 w 425"/>
                  <a:gd name="T85" fmla="*/ 2147483646 h 272"/>
                  <a:gd name="T86" fmla="*/ 2147483646 w 425"/>
                  <a:gd name="T87" fmla="*/ 2147483646 h 272"/>
                  <a:gd name="T88" fmla="*/ 2147483646 w 425"/>
                  <a:gd name="T89" fmla="*/ 2147483646 h 272"/>
                  <a:gd name="T90" fmla="*/ 2147483646 w 425"/>
                  <a:gd name="T91" fmla="*/ 2147483646 h 272"/>
                  <a:gd name="T92" fmla="*/ 2147483646 w 425"/>
                  <a:gd name="T93" fmla="*/ 2147483646 h 27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425"/>
                  <a:gd name="T142" fmla="*/ 0 h 272"/>
                  <a:gd name="T143" fmla="*/ 425 w 425"/>
                  <a:gd name="T144" fmla="*/ 272 h 272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425" h="272">
                    <a:moveTo>
                      <a:pt x="425" y="161"/>
                    </a:moveTo>
                    <a:lnTo>
                      <a:pt x="418" y="170"/>
                    </a:lnTo>
                    <a:lnTo>
                      <a:pt x="409" y="179"/>
                    </a:lnTo>
                    <a:lnTo>
                      <a:pt x="398" y="188"/>
                    </a:lnTo>
                    <a:lnTo>
                      <a:pt x="385" y="197"/>
                    </a:lnTo>
                    <a:lnTo>
                      <a:pt x="383" y="206"/>
                    </a:lnTo>
                    <a:lnTo>
                      <a:pt x="383" y="214"/>
                    </a:lnTo>
                    <a:lnTo>
                      <a:pt x="384" y="221"/>
                    </a:lnTo>
                    <a:lnTo>
                      <a:pt x="385" y="227"/>
                    </a:lnTo>
                    <a:lnTo>
                      <a:pt x="389" y="237"/>
                    </a:lnTo>
                    <a:lnTo>
                      <a:pt x="392" y="246"/>
                    </a:lnTo>
                    <a:lnTo>
                      <a:pt x="375" y="244"/>
                    </a:lnTo>
                    <a:lnTo>
                      <a:pt x="356" y="240"/>
                    </a:lnTo>
                    <a:lnTo>
                      <a:pt x="347" y="238"/>
                    </a:lnTo>
                    <a:lnTo>
                      <a:pt x="336" y="236"/>
                    </a:lnTo>
                    <a:lnTo>
                      <a:pt x="324" y="235"/>
                    </a:lnTo>
                    <a:lnTo>
                      <a:pt x="311" y="234"/>
                    </a:lnTo>
                    <a:lnTo>
                      <a:pt x="295" y="235"/>
                    </a:lnTo>
                    <a:lnTo>
                      <a:pt x="278" y="238"/>
                    </a:lnTo>
                    <a:lnTo>
                      <a:pt x="263" y="243"/>
                    </a:lnTo>
                    <a:lnTo>
                      <a:pt x="248" y="248"/>
                    </a:lnTo>
                    <a:lnTo>
                      <a:pt x="232" y="254"/>
                    </a:lnTo>
                    <a:lnTo>
                      <a:pt x="215" y="260"/>
                    </a:lnTo>
                    <a:lnTo>
                      <a:pt x="197" y="267"/>
                    </a:lnTo>
                    <a:lnTo>
                      <a:pt x="179" y="272"/>
                    </a:lnTo>
                    <a:lnTo>
                      <a:pt x="100" y="240"/>
                    </a:lnTo>
                    <a:lnTo>
                      <a:pt x="92" y="233"/>
                    </a:lnTo>
                    <a:lnTo>
                      <a:pt x="85" y="226"/>
                    </a:lnTo>
                    <a:lnTo>
                      <a:pt x="78" y="220"/>
                    </a:lnTo>
                    <a:lnTo>
                      <a:pt x="70" y="214"/>
                    </a:lnTo>
                    <a:lnTo>
                      <a:pt x="52" y="202"/>
                    </a:lnTo>
                    <a:lnTo>
                      <a:pt x="37" y="192"/>
                    </a:lnTo>
                    <a:lnTo>
                      <a:pt x="29" y="186"/>
                    </a:lnTo>
                    <a:lnTo>
                      <a:pt x="22" y="180"/>
                    </a:lnTo>
                    <a:lnTo>
                      <a:pt x="16" y="174"/>
                    </a:lnTo>
                    <a:lnTo>
                      <a:pt x="11" y="167"/>
                    </a:lnTo>
                    <a:lnTo>
                      <a:pt x="6" y="159"/>
                    </a:lnTo>
                    <a:lnTo>
                      <a:pt x="2" y="150"/>
                    </a:lnTo>
                    <a:lnTo>
                      <a:pt x="0" y="140"/>
                    </a:lnTo>
                    <a:lnTo>
                      <a:pt x="0" y="129"/>
                    </a:lnTo>
                    <a:lnTo>
                      <a:pt x="25" y="95"/>
                    </a:lnTo>
                    <a:lnTo>
                      <a:pt x="50" y="66"/>
                    </a:lnTo>
                    <a:lnTo>
                      <a:pt x="61" y="52"/>
                    </a:lnTo>
                    <a:lnTo>
                      <a:pt x="71" y="36"/>
                    </a:lnTo>
                    <a:lnTo>
                      <a:pt x="75" y="29"/>
                    </a:lnTo>
                    <a:lnTo>
                      <a:pt x="80" y="22"/>
                    </a:lnTo>
                    <a:lnTo>
                      <a:pt x="83" y="14"/>
                    </a:lnTo>
                    <a:lnTo>
                      <a:pt x="85" y="6"/>
                    </a:lnTo>
                    <a:lnTo>
                      <a:pt x="105" y="7"/>
                    </a:lnTo>
                    <a:lnTo>
                      <a:pt x="123" y="10"/>
                    </a:lnTo>
                    <a:lnTo>
                      <a:pt x="138" y="14"/>
                    </a:lnTo>
                    <a:lnTo>
                      <a:pt x="153" y="18"/>
                    </a:lnTo>
                    <a:lnTo>
                      <a:pt x="166" y="23"/>
                    </a:lnTo>
                    <a:lnTo>
                      <a:pt x="180" y="27"/>
                    </a:lnTo>
                    <a:lnTo>
                      <a:pt x="193" y="30"/>
                    </a:lnTo>
                    <a:lnTo>
                      <a:pt x="205" y="31"/>
                    </a:lnTo>
                    <a:lnTo>
                      <a:pt x="210" y="30"/>
                    </a:lnTo>
                    <a:lnTo>
                      <a:pt x="214" y="29"/>
                    </a:lnTo>
                    <a:lnTo>
                      <a:pt x="218" y="28"/>
                    </a:lnTo>
                    <a:lnTo>
                      <a:pt x="221" y="26"/>
                    </a:lnTo>
                    <a:lnTo>
                      <a:pt x="227" y="21"/>
                    </a:lnTo>
                    <a:lnTo>
                      <a:pt x="232" y="15"/>
                    </a:lnTo>
                    <a:lnTo>
                      <a:pt x="237" y="10"/>
                    </a:lnTo>
                    <a:lnTo>
                      <a:pt x="242" y="5"/>
                    </a:lnTo>
                    <a:lnTo>
                      <a:pt x="246" y="3"/>
                    </a:lnTo>
                    <a:lnTo>
                      <a:pt x="250" y="2"/>
                    </a:lnTo>
                    <a:lnTo>
                      <a:pt x="253" y="1"/>
                    </a:lnTo>
                    <a:lnTo>
                      <a:pt x="259" y="0"/>
                    </a:lnTo>
                    <a:lnTo>
                      <a:pt x="268" y="1"/>
                    </a:lnTo>
                    <a:lnTo>
                      <a:pt x="275" y="2"/>
                    </a:lnTo>
                    <a:lnTo>
                      <a:pt x="283" y="4"/>
                    </a:lnTo>
                    <a:lnTo>
                      <a:pt x="289" y="7"/>
                    </a:lnTo>
                    <a:lnTo>
                      <a:pt x="296" y="11"/>
                    </a:lnTo>
                    <a:lnTo>
                      <a:pt x="302" y="15"/>
                    </a:lnTo>
                    <a:lnTo>
                      <a:pt x="306" y="20"/>
                    </a:lnTo>
                    <a:lnTo>
                      <a:pt x="310" y="26"/>
                    </a:lnTo>
                    <a:lnTo>
                      <a:pt x="318" y="38"/>
                    </a:lnTo>
                    <a:lnTo>
                      <a:pt x="325" y="53"/>
                    </a:lnTo>
                    <a:lnTo>
                      <a:pt x="331" y="67"/>
                    </a:lnTo>
                    <a:lnTo>
                      <a:pt x="337" y="82"/>
                    </a:lnTo>
                    <a:lnTo>
                      <a:pt x="342" y="98"/>
                    </a:lnTo>
                    <a:lnTo>
                      <a:pt x="349" y="113"/>
                    </a:lnTo>
                    <a:lnTo>
                      <a:pt x="352" y="119"/>
                    </a:lnTo>
                    <a:lnTo>
                      <a:pt x="356" y="126"/>
                    </a:lnTo>
                    <a:lnTo>
                      <a:pt x="360" y="132"/>
                    </a:lnTo>
                    <a:lnTo>
                      <a:pt x="365" y="138"/>
                    </a:lnTo>
                    <a:lnTo>
                      <a:pt x="370" y="143"/>
                    </a:lnTo>
                    <a:lnTo>
                      <a:pt x="376" y="147"/>
                    </a:lnTo>
                    <a:lnTo>
                      <a:pt x="382" y="151"/>
                    </a:lnTo>
                    <a:lnTo>
                      <a:pt x="389" y="156"/>
                    </a:lnTo>
                    <a:lnTo>
                      <a:pt x="397" y="158"/>
                    </a:lnTo>
                    <a:lnTo>
                      <a:pt x="405" y="160"/>
                    </a:lnTo>
                    <a:lnTo>
                      <a:pt x="415" y="161"/>
                    </a:lnTo>
                    <a:lnTo>
                      <a:pt x="425" y="161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24" name="Freeform 346">
                <a:extLst>
                  <a:ext uri="{FF2B5EF4-FFF2-40B4-BE49-F238E27FC236}">
                    <a16:creationId xmlns="" xmlns:a16="http://schemas.microsoft.com/office/drawing/2014/main" id="{44135F2F-B66B-42FC-B459-B09C6C5A1365}"/>
                  </a:ext>
                </a:extLst>
              </p:cNvPr>
              <p:cNvSpPr>
                <a:spLocks/>
              </p:cNvSpPr>
              <p:nvPr>
                <p:custDataLst>
                  <p:tags r:id="rId249"/>
                </p:custDataLst>
              </p:nvPr>
            </p:nvSpPr>
            <p:spPr bwMode="auto">
              <a:xfrm>
                <a:off x="2484438" y="3178175"/>
                <a:ext cx="14287" cy="55563"/>
              </a:xfrm>
              <a:custGeom>
                <a:avLst/>
                <a:gdLst>
                  <a:gd name="T0" fmla="*/ 2147483646 w 33"/>
                  <a:gd name="T1" fmla="*/ 2147483646 h 31"/>
                  <a:gd name="T2" fmla="*/ 0 w 33"/>
                  <a:gd name="T3" fmla="*/ 2147483646 h 31"/>
                  <a:gd name="T4" fmla="*/ 2147483646 w 33"/>
                  <a:gd name="T5" fmla="*/ 2147483646 h 31"/>
                  <a:gd name="T6" fmla="*/ 2147483646 w 33"/>
                  <a:gd name="T7" fmla="*/ 2147483646 h 31"/>
                  <a:gd name="T8" fmla="*/ 2147483646 w 33"/>
                  <a:gd name="T9" fmla="*/ 2147483646 h 31"/>
                  <a:gd name="T10" fmla="*/ 2147483646 w 33"/>
                  <a:gd name="T11" fmla="*/ 2147483646 h 31"/>
                  <a:gd name="T12" fmla="*/ 2147483646 w 33"/>
                  <a:gd name="T13" fmla="*/ 2147483646 h 31"/>
                  <a:gd name="T14" fmla="*/ 2147483646 w 33"/>
                  <a:gd name="T15" fmla="*/ 2147483646 h 31"/>
                  <a:gd name="T16" fmla="*/ 2147483646 w 33"/>
                  <a:gd name="T17" fmla="*/ 0 h 31"/>
                  <a:gd name="T18" fmla="*/ 2147483646 w 33"/>
                  <a:gd name="T19" fmla="*/ 0 h 31"/>
                  <a:gd name="T20" fmla="*/ 2147483646 w 33"/>
                  <a:gd name="T21" fmla="*/ 2147483646 h 3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3"/>
                  <a:gd name="T34" fmla="*/ 0 h 31"/>
                  <a:gd name="T35" fmla="*/ 33 w 33"/>
                  <a:gd name="T36" fmla="*/ 31 h 31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3" h="31">
                    <a:moveTo>
                      <a:pt x="13" y="6"/>
                    </a:moveTo>
                    <a:lnTo>
                      <a:pt x="0" y="19"/>
                    </a:lnTo>
                    <a:lnTo>
                      <a:pt x="5" y="21"/>
                    </a:lnTo>
                    <a:lnTo>
                      <a:pt x="14" y="25"/>
                    </a:lnTo>
                    <a:lnTo>
                      <a:pt x="19" y="27"/>
                    </a:lnTo>
                    <a:lnTo>
                      <a:pt x="23" y="29"/>
                    </a:lnTo>
                    <a:lnTo>
                      <a:pt x="27" y="30"/>
                    </a:lnTo>
                    <a:lnTo>
                      <a:pt x="33" y="31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25" name="Freeform 347">
                <a:extLst>
                  <a:ext uri="{FF2B5EF4-FFF2-40B4-BE49-F238E27FC236}">
                    <a16:creationId xmlns="" xmlns:a16="http://schemas.microsoft.com/office/drawing/2014/main" id="{37111EAC-E464-44D5-AFBD-5C96F26830E2}"/>
                  </a:ext>
                </a:extLst>
              </p:cNvPr>
              <p:cNvSpPr>
                <a:spLocks/>
              </p:cNvSpPr>
              <p:nvPr>
                <p:custDataLst>
                  <p:tags r:id="rId250"/>
                </p:custDataLst>
              </p:nvPr>
            </p:nvSpPr>
            <p:spPr bwMode="auto">
              <a:xfrm>
                <a:off x="4589463" y="2132013"/>
                <a:ext cx="85725" cy="79375"/>
              </a:xfrm>
              <a:custGeom>
                <a:avLst/>
                <a:gdLst>
                  <a:gd name="T0" fmla="*/ 2147483646 w 192"/>
                  <a:gd name="T1" fmla="*/ 2147483646 h 154"/>
                  <a:gd name="T2" fmla="*/ 2147483646 w 192"/>
                  <a:gd name="T3" fmla="*/ 0 h 154"/>
                  <a:gd name="T4" fmla="*/ 2147483646 w 192"/>
                  <a:gd name="T5" fmla="*/ 2147483646 h 154"/>
                  <a:gd name="T6" fmla="*/ 2147483646 w 192"/>
                  <a:gd name="T7" fmla="*/ 2147483646 h 154"/>
                  <a:gd name="T8" fmla="*/ 2147483646 w 192"/>
                  <a:gd name="T9" fmla="*/ 2147483646 h 154"/>
                  <a:gd name="T10" fmla="*/ 2147483646 w 192"/>
                  <a:gd name="T11" fmla="*/ 2147483646 h 154"/>
                  <a:gd name="T12" fmla="*/ 2147483646 w 192"/>
                  <a:gd name="T13" fmla="*/ 2147483646 h 154"/>
                  <a:gd name="T14" fmla="*/ 2147483646 w 192"/>
                  <a:gd name="T15" fmla="*/ 2147483646 h 154"/>
                  <a:gd name="T16" fmla="*/ 2147483646 w 192"/>
                  <a:gd name="T17" fmla="*/ 2147483646 h 154"/>
                  <a:gd name="T18" fmla="*/ 2147483646 w 192"/>
                  <a:gd name="T19" fmla="*/ 2147483646 h 154"/>
                  <a:gd name="T20" fmla="*/ 2147483646 w 192"/>
                  <a:gd name="T21" fmla="*/ 2147483646 h 154"/>
                  <a:gd name="T22" fmla="*/ 2147483646 w 192"/>
                  <a:gd name="T23" fmla="*/ 2147483646 h 154"/>
                  <a:gd name="T24" fmla="*/ 2147483646 w 192"/>
                  <a:gd name="T25" fmla="*/ 2147483646 h 154"/>
                  <a:gd name="T26" fmla="*/ 2147483646 w 192"/>
                  <a:gd name="T27" fmla="*/ 2147483646 h 154"/>
                  <a:gd name="T28" fmla="*/ 2147483646 w 192"/>
                  <a:gd name="T29" fmla="*/ 2147483646 h 154"/>
                  <a:gd name="T30" fmla="*/ 2147483646 w 192"/>
                  <a:gd name="T31" fmla="*/ 2147483646 h 154"/>
                  <a:gd name="T32" fmla="*/ 2147483646 w 192"/>
                  <a:gd name="T33" fmla="*/ 2147483646 h 154"/>
                  <a:gd name="T34" fmla="*/ 2147483646 w 192"/>
                  <a:gd name="T35" fmla="*/ 2147483646 h 154"/>
                  <a:gd name="T36" fmla="*/ 2147483646 w 192"/>
                  <a:gd name="T37" fmla="*/ 2147483646 h 154"/>
                  <a:gd name="T38" fmla="*/ 2147483646 w 192"/>
                  <a:gd name="T39" fmla="*/ 2147483646 h 154"/>
                  <a:gd name="T40" fmla="*/ 2147483646 w 192"/>
                  <a:gd name="T41" fmla="*/ 2147483646 h 154"/>
                  <a:gd name="T42" fmla="*/ 2147483646 w 192"/>
                  <a:gd name="T43" fmla="*/ 2147483646 h 154"/>
                  <a:gd name="T44" fmla="*/ 2147483646 w 192"/>
                  <a:gd name="T45" fmla="*/ 2147483646 h 154"/>
                  <a:gd name="T46" fmla="*/ 2147483646 w 192"/>
                  <a:gd name="T47" fmla="*/ 2147483646 h 154"/>
                  <a:gd name="T48" fmla="*/ 2147483646 w 192"/>
                  <a:gd name="T49" fmla="*/ 2147483646 h 154"/>
                  <a:gd name="T50" fmla="*/ 2147483646 w 192"/>
                  <a:gd name="T51" fmla="*/ 2147483646 h 154"/>
                  <a:gd name="T52" fmla="*/ 0 w 192"/>
                  <a:gd name="T53" fmla="*/ 2147483646 h 154"/>
                  <a:gd name="T54" fmla="*/ 2147483646 w 192"/>
                  <a:gd name="T55" fmla="*/ 2147483646 h 15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192"/>
                  <a:gd name="T85" fmla="*/ 0 h 154"/>
                  <a:gd name="T86" fmla="*/ 192 w 192"/>
                  <a:gd name="T87" fmla="*/ 154 h 154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192" h="154">
                    <a:moveTo>
                      <a:pt x="6" y="19"/>
                    </a:moveTo>
                    <a:lnTo>
                      <a:pt x="52" y="0"/>
                    </a:lnTo>
                    <a:lnTo>
                      <a:pt x="92" y="19"/>
                    </a:lnTo>
                    <a:lnTo>
                      <a:pt x="119" y="31"/>
                    </a:lnTo>
                    <a:lnTo>
                      <a:pt x="146" y="63"/>
                    </a:lnTo>
                    <a:lnTo>
                      <a:pt x="166" y="93"/>
                    </a:lnTo>
                    <a:lnTo>
                      <a:pt x="192" y="118"/>
                    </a:lnTo>
                    <a:lnTo>
                      <a:pt x="152" y="124"/>
                    </a:lnTo>
                    <a:lnTo>
                      <a:pt x="126" y="130"/>
                    </a:lnTo>
                    <a:lnTo>
                      <a:pt x="126" y="154"/>
                    </a:lnTo>
                    <a:lnTo>
                      <a:pt x="106" y="154"/>
                    </a:lnTo>
                    <a:lnTo>
                      <a:pt x="99" y="146"/>
                    </a:lnTo>
                    <a:lnTo>
                      <a:pt x="93" y="137"/>
                    </a:lnTo>
                    <a:lnTo>
                      <a:pt x="88" y="126"/>
                    </a:lnTo>
                    <a:lnTo>
                      <a:pt x="82" y="115"/>
                    </a:lnTo>
                    <a:lnTo>
                      <a:pt x="74" y="93"/>
                    </a:lnTo>
                    <a:lnTo>
                      <a:pt x="65" y="71"/>
                    </a:lnTo>
                    <a:lnTo>
                      <a:pt x="60" y="61"/>
                    </a:lnTo>
                    <a:lnTo>
                      <a:pt x="55" y="50"/>
                    </a:lnTo>
                    <a:lnTo>
                      <a:pt x="48" y="42"/>
                    </a:lnTo>
                    <a:lnTo>
                      <a:pt x="41" y="34"/>
                    </a:lnTo>
                    <a:lnTo>
                      <a:pt x="33" y="28"/>
                    </a:lnTo>
                    <a:lnTo>
                      <a:pt x="24" y="23"/>
                    </a:lnTo>
                    <a:lnTo>
                      <a:pt x="18" y="22"/>
                    </a:lnTo>
                    <a:lnTo>
                      <a:pt x="12" y="20"/>
                    </a:lnTo>
                    <a:lnTo>
                      <a:pt x="6" y="20"/>
                    </a:lnTo>
                    <a:lnTo>
                      <a:pt x="0" y="19"/>
                    </a:lnTo>
                    <a:lnTo>
                      <a:pt x="6" y="19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26" name="Freeform 348">
                <a:extLst>
                  <a:ext uri="{FF2B5EF4-FFF2-40B4-BE49-F238E27FC236}">
                    <a16:creationId xmlns="" xmlns:a16="http://schemas.microsoft.com/office/drawing/2014/main" id="{0F5A0DE0-3B1B-479F-AA07-7DA021707DC9}"/>
                  </a:ext>
                </a:extLst>
              </p:cNvPr>
              <p:cNvSpPr>
                <a:spLocks/>
              </p:cNvSpPr>
              <p:nvPr>
                <p:custDataLst>
                  <p:tags r:id="rId251"/>
                </p:custDataLst>
              </p:nvPr>
            </p:nvSpPr>
            <p:spPr bwMode="auto">
              <a:xfrm>
                <a:off x="4506913" y="2014538"/>
                <a:ext cx="381000" cy="247650"/>
              </a:xfrm>
              <a:custGeom>
                <a:avLst/>
                <a:gdLst>
                  <a:gd name="T0" fmla="*/ 2147483646 w 877"/>
                  <a:gd name="T1" fmla="*/ 2147483646 h 469"/>
                  <a:gd name="T2" fmla="*/ 2147483646 w 877"/>
                  <a:gd name="T3" fmla="*/ 2147483646 h 469"/>
                  <a:gd name="T4" fmla="*/ 2147483646 w 877"/>
                  <a:gd name="T5" fmla="*/ 2147483646 h 469"/>
                  <a:gd name="T6" fmla="*/ 2147483646 w 877"/>
                  <a:gd name="T7" fmla="*/ 2147483646 h 469"/>
                  <a:gd name="T8" fmla="*/ 2147483646 w 877"/>
                  <a:gd name="T9" fmla="*/ 2147483646 h 469"/>
                  <a:gd name="T10" fmla="*/ 2147483646 w 877"/>
                  <a:gd name="T11" fmla="*/ 2147483646 h 469"/>
                  <a:gd name="T12" fmla="*/ 2147483646 w 877"/>
                  <a:gd name="T13" fmla="*/ 2147483646 h 469"/>
                  <a:gd name="T14" fmla="*/ 2147483646 w 877"/>
                  <a:gd name="T15" fmla="*/ 2147483646 h 469"/>
                  <a:gd name="T16" fmla="*/ 2147483646 w 877"/>
                  <a:gd name="T17" fmla="*/ 2147483646 h 469"/>
                  <a:gd name="T18" fmla="*/ 2147483646 w 877"/>
                  <a:gd name="T19" fmla="*/ 2147483646 h 469"/>
                  <a:gd name="T20" fmla="*/ 2147483646 w 877"/>
                  <a:gd name="T21" fmla="*/ 2147483646 h 469"/>
                  <a:gd name="T22" fmla="*/ 2147483646 w 877"/>
                  <a:gd name="T23" fmla="*/ 2147483646 h 469"/>
                  <a:gd name="T24" fmla="*/ 2147483646 w 877"/>
                  <a:gd name="T25" fmla="*/ 2147483646 h 469"/>
                  <a:gd name="T26" fmla="*/ 2147483646 w 877"/>
                  <a:gd name="T27" fmla="*/ 2147483646 h 469"/>
                  <a:gd name="T28" fmla="*/ 2147483646 w 877"/>
                  <a:gd name="T29" fmla="*/ 2147483646 h 469"/>
                  <a:gd name="T30" fmla="*/ 2147483646 w 877"/>
                  <a:gd name="T31" fmla="*/ 2147483646 h 469"/>
                  <a:gd name="T32" fmla="*/ 2147483646 w 877"/>
                  <a:gd name="T33" fmla="*/ 2147483646 h 469"/>
                  <a:gd name="T34" fmla="*/ 2147483646 w 877"/>
                  <a:gd name="T35" fmla="*/ 2147483646 h 469"/>
                  <a:gd name="T36" fmla="*/ 2147483646 w 877"/>
                  <a:gd name="T37" fmla="*/ 2147483646 h 469"/>
                  <a:gd name="T38" fmla="*/ 2147483646 w 877"/>
                  <a:gd name="T39" fmla="*/ 2147483646 h 469"/>
                  <a:gd name="T40" fmla="*/ 2147483646 w 877"/>
                  <a:gd name="T41" fmla="*/ 0 h 469"/>
                  <a:gd name="T42" fmla="*/ 2147483646 w 877"/>
                  <a:gd name="T43" fmla="*/ 2147483646 h 469"/>
                  <a:gd name="T44" fmla="*/ 2147483646 w 877"/>
                  <a:gd name="T45" fmla="*/ 2147483646 h 469"/>
                  <a:gd name="T46" fmla="*/ 2147483646 w 877"/>
                  <a:gd name="T47" fmla="*/ 2147483646 h 469"/>
                  <a:gd name="T48" fmla="*/ 2147483646 w 877"/>
                  <a:gd name="T49" fmla="*/ 2147483646 h 469"/>
                  <a:gd name="T50" fmla="*/ 2147483646 w 877"/>
                  <a:gd name="T51" fmla="*/ 2147483646 h 469"/>
                  <a:gd name="T52" fmla="*/ 2147483646 w 877"/>
                  <a:gd name="T53" fmla="*/ 2147483646 h 469"/>
                  <a:gd name="T54" fmla="*/ 2147483646 w 877"/>
                  <a:gd name="T55" fmla="*/ 2147483646 h 469"/>
                  <a:gd name="T56" fmla="*/ 2147483646 w 877"/>
                  <a:gd name="T57" fmla="*/ 2147483646 h 469"/>
                  <a:gd name="T58" fmla="*/ 2147483646 w 877"/>
                  <a:gd name="T59" fmla="*/ 2147483646 h 469"/>
                  <a:gd name="T60" fmla="*/ 2147483646 w 877"/>
                  <a:gd name="T61" fmla="*/ 2147483646 h 469"/>
                  <a:gd name="T62" fmla="*/ 2147483646 w 877"/>
                  <a:gd name="T63" fmla="*/ 2147483646 h 469"/>
                  <a:gd name="T64" fmla="*/ 2147483646 w 877"/>
                  <a:gd name="T65" fmla="*/ 2147483646 h 469"/>
                  <a:gd name="T66" fmla="*/ 2147483646 w 877"/>
                  <a:gd name="T67" fmla="*/ 2147483646 h 469"/>
                  <a:gd name="T68" fmla="*/ 2147483646 w 877"/>
                  <a:gd name="T69" fmla="*/ 2147483646 h 469"/>
                  <a:gd name="T70" fmla="*/ 2147483646 w 877"/>
                  <a:gd name="T71" fmla="*/ 2147483646 h 469"/>
                  <a:gd name="T72" fmla="*/ 2147483646 w 877"/>
                  <a:gd name="T73" fmla="*/ 2147483646 h 469"/>
                  <a:gd name="T74" fmla="*/ 2147483646 w 877"/>
                  <a:gd name="T75" fmla="*/ 2147483646 h 469"/>
                  <a:gd name="T76" fmla="*/ 2147483646 w 877"/>
                  <a:gd name="T77" fmla="*/ 2147483646 h 469"/>
                  <a:gd name="T78" fmla="*/ 2147483646 w 877"/>
                  <a:gd name="T79" fmla="*/ 2147483646 h 469"/>
                  <a:gd name="T80" fmla="*/ 2147483646 w 877"/>
                  <a:gd name="T81" fmla="*/ 2147483646 h 469"/>
                  <a:gd name="T82" fmla="*/ 2147483646 w 877"/>
                  <a:gd name="T83" fmla="*/ 2147483646 h 469"/>
                  <a:gd name="T84" fmla="*/ 2147483646 w 877"/>
                  <a:gd name="T85" fmla="*/ 2147483646 h 469"/>
                  <a:gd name="T86" fmla="*/ 2147483646 w 877"/>
                  <a:gd name="T87" fmla="*/ 2147483646 h 469"/>
                  <a:gd name="T88" fmla="*/ 2147483646 w 877"/>
                  <a:gd name="T89" fmla="*/ 2147483646 h 469"/>
                  <a:gd name="T90" fmla="*/ 2147483646 w 877"/>
                  <a:gd name="T91" fmla="*/ 2147483646 h 469"/>
                  <a:gd name="T92" fmla="*/ 2147483646 w 877"/>
                  <a:gd name="T93" fmla="*/ 2147483646 h 469"/>
                  <a:gd name="T94" fmla="*/ 2147483646 w 877"/>
                  <a:gd name="T95" fmla="*/ 2147483646 h 469"/>
                  <a:gd name="T96" fmla="*/ 2147483646 w 877"/>
                  <a:gd name="T97" fmla="*/ 2147483646 h 469"/>
                  <a:gd name="T98" fmla="*/ 2147483646 w 877"/>
                  <a:gd name="T99" fmla="*/ 2147483646 h 469"/>
                  <a:gd name="T100" fmla="*/ 2147483646 w 877"/>
                  <a:gd name="T101" fmla="*/ 2147483646 h 469"/>
                  <a:gd name="T102" fmla="*/ 2147483646 w 877"/>
                  <a:gd name="T103" fmla="*/ 2147483646 h 469"/>
                  <a:gd name="T104" fmla="*/ 2147483646 w 877"/>
                  <a:gd name="T105" fmla="*/ 2147483646 h 469"/>
                  <a:gd name="T106" fmla="*/ 2147483646 w 877"/>
                  <a:gd name="T107" fmla="*/ 2147483646 h 469"/>
                  <a:gd name="T108" fmla="*/ 2147483646 w 877"/>
                  <a:gd name="T109" fmla="*/ 2147483646 h 469"/>
                  <a:gd name="T110" fmla="*/ 2147483646 w 877"/>
                  <a:gd name="T111" fmla="*/ 2147483646 h 469"/>
                  <a:gd name="T112" fmla="*/ 2147483646 w 877"/>
                  <a:gd name="T113" fmla="*/ 2147483646 h 469"/>
                  <a:gd name="T114" fmla="*/ 2147483646 w 877"/>
                  <a:gd name="T115" fmla="*/ 2147483646 h 469"/>
                  <a:gd name="T116" fmla="*/ 2147483646 w 877"/>
                  <a:gd name="T117" fmla="*/ 2147483646 h 469"/>
                  <a:gd name="T118" fmla="*/ 2147483646 w 877"/>
                  <a:gd name="T119" fmla="*/ 2147483646 h 469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877"/>
                  <a:gd name="T181" fmla="*/ 0 h 469"/>
                  <a:gd name="T182" fmla="*/ 877 w 877"/>
                  <a:gd name="T183" fmla="*/ 469 h 469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877" h="469">
                    <a:moveTo>
                      <a:pt x="326" y="352"/>
                    </a:moveTo>
                    <a:lnTo>
                      <a:pt x="352" y="346"/>
                    </a:lnTo>
                    <a:lnTo>
                      <a:pt x="392" y="340"/>
                    </a:lnTo>
                    <a:lnTo>
                      <a:pt x="366" y="315"/>
                    </a:lnTo>
                    <a:lnTo>
                      <a:pt x="346" y="285"/>
                    </a:lnTo>
                    <a:lnTo>
                      <a:pt x="319" y="253"/>
                    </a:lnTo>
                    <a:lnTo>
                      <a:pt x="292" y="241"/>
                    </a:lnTo>
                    <a:lnTo>
                      <a:pt x="252" y="222"/>
                    </a:lnTo>
                    <a:lnTo>
                      <a:pt x="206" y="241"/>
                    </a:lnTo>
                    <a:lnTo>
                      <a:pt x="200" y="241"/>
                    </a:lnTo>
                    <a:lnTo>
                      <a:pt x="194" y="242"/>
                    </a:lnTo>
                    <a:lnTo>
                      <a:pt x="191" y="243"/>
                    </a:lnTo>
                    <a:lnTo>
                      <a:pt x="187" y="244"/>
                    </a:lnTo>
                    <a:lnTo>
                      <a:pt x="183" y="246"/>
                    </a:lnTo>
                    <a:lnTo>
                      <a:pt x="178" y="251"/>
                    </a:lnTo>
                    <a:lnTo>
                      <a:pt x="173" y="256"/>
                    </a:lnTo>
                    <a:lnTo>
                      <a:pt x="168" y="262"/>
                    </a:lnTo>
                    <a:lnTo>
                      <a:pt x="162" y="267"/>
                    </a:lnTo>
                    <a:lnTo>
                      <a:pt x="159" y="269"/>
                    </a:lnTo>
                    <a:lnTo>
                      <a:pt x="155" y="270"/>
                    </a:lnTo>
                    <a:lnTo>
                      <a:pt x="151" y="271"/>
                    </a:lnTo>
                    <a:lnTo>
                      <a:pt x="146" y="272"/>
                    </a:lnTo>
                    <a:lnTo>
                      <a:pt x="134" y="271"/>
                    </a:lnTo>
                    <a:lnTo>
                      <a:pt x="121" y="268"/>
                    </a:lnTo>
                    <a:lnTo>
                      <a:pt x="107" y="264"/>
                    </a:lnTo>
                    <a:lnTo>
                      <a:pt x="94" y="259"/>
                    </a:lnTo>
                    <a:lnTo>
                      <a:pt x="79" y="255"/>
                    </a:lnTo>
                    <a:lnTo>
                      <a:pt x="64" y="251"/>
                    </a:lnTo>
                    <a:lnTo>
                      <a:pt x="46" y="248"/>
                    </a:lnTo>
                    <a:lnTo>
                      <a:pt x="26" y="247"/>
                    </a:lnTo>
                    <a:lnTo>
                      <a:pt x="0" y="222"/>
                    </a:lnTo>
                    <a:lnTo>
                      <a:pt x="4" y="217"/>
                    </a:lnTo>
                    <a:lnTo>
                      <a:pt x="8" y="212"/>
                    </a:lnTo>
                    <a:lnTo>
                      <a:pt x="10" y="206"/>
                    </a:lnTo>
                    <a:lnTo>
                      <a:pt x="12" y="200"/>
                    </a:lnTo>
                    <a:lnTo>
                      <a:pt x="13" y="187"/>
                    </a:lnTo>
                    <a:lnTo>
                      <a:pt x="13" y="174"/>
                    </a:lnTo>
                    <a:lnTo>
                      <a:pt x="6" y="174"/>
                    </a:lnTo>
                    <a:lnTo>
                      <a:pt x="13" y="180"/>
                    </a:lnTo>
                    <a:lnTo>
                      <a:pt x="14" y="167"/>
                    </a:lnTo>
                    <a:lnTo>
                      <a:pt x="17" y="155"/>
                    </a:lnTo>
                    <a:lnTo>
                      <a:pt x="23" y="144"/>
                    </a:lnTo>
                    <a:lnTo>
                      <a:pt x="30" y="133"/>
                    </a:lnTo>
                    <a:lnTo>
                      <a:pt x="36" y="122"/>
                    </a:lnTo>
                    <a:lnTo>
                      <a:pt x="44" y="112"/>
                    </a:lnTo>
                    <a:lnTo>
                      <a:pt x="53" y="105"/>
                    </a:lnTo>
                    <a:lnTo>
                      <a:pt x="60" y="99"/>
                    </a:lnTo>
                    <a:lnTo>
                      <a:pt x="54" y="92"/>
                    </a:lnTo>
                    <a:lnTo>
                      <a:pt x="46" y="82"/>
                    </a:lnTo>
                    <a:lnTo>
                      <a:pt x="36" y="68"/>
                    </a:lnTo>
                    <a:lnTo>
                      <a:pt x="26" y="50"/>
                    </a:lnTo>
                    <a:lnTo>
                      <a:pt x="60" y="38"/>
                    </a:lnTo>
                    <a:lnTo>
                      <a:pt x="113" y="26"/>
                    </a:lnTo>
                    <a:lnTo>
                      <a:pt x="173" y="26"/>
                    </a:lnTo>
                    <a:lnTo>
                      <a:pt x="239" y="44"/>
                    </a:lnTo>
                    <a:lnTo>
                      <a:pt x="285" y="38"/>
                    </a:lnTo>
                    <a:lnTo>
                      <a:pt x="339" y="50"/>
                    </a:lnTo>
                    <a:lnTo>
                      <a:pt x="385" y="63"/>
                    </a:lnTo>
                    <a:lnTo>
                      <a:pt x="385" y="38"/>
                    </a:lnTo>
                    <a:lnTo>
                      <a:pt x="392" y="13"/>
                    </a:lnTo>
                    <a:lnTo>
                      <a:pt x="433" y="13"/>
                    </a:lnTo>
                    <a:lnTo>
                      <a:pt x="465" y="13"/>
                    </a:lnTo>
                    <a:lnTo>
                      <a:pt x="485" y="0"/>
                    </a:lnTo>
                    <a:lnTo>
                      <a:pt x="531" y="0"/>
                    </a:lnTo>
                    <a:lnTo>
                      <a:pt x="551" y="13"/>
                    </a:lnTo>
                    <a:lnTo>
                      <a:pt x="579" y="38"/>
                    </a:lnTo>
                    <a:lnTo>
                      <a:pt x="565" y="63"/>
                    </a:lnTo>
                    <a:lnTo>
                      <a:pt x="618" y="63"/>
                    </a:lnTo>
                    <a:lnTo>
                      <a:pt x="638" y="111"/>
                    </a:lnTo>
                    <a:lnTo>
                      <a:pt x="664" y="105"/>
                    </a:lnTo>
                    <a:lnTo>
                      <a:pt x="692" y="124"/>
                    </a:lnTo>
                    <a:lnTo>
                      <a:pt x="725" y="111"/>
                    </a:lnTo>
                    <a:lnTo>
                      <a:pt x="758" y="136"/>
                    </a:lnTo>
                    <a:lnTo>
                      <a:pt x="797" y="136"/>
                    </a:lnTo>
                    <a:lnTo>
                      <a:pt x="838" y="155"/>
                    </a:lnTo>
                    <a:lnTo>
                      <a:pt x="877" y="167"/>
                    </a:lnTo>
                    <a:lnTo>
                      <a:pt x="871" y="198"/>
                    </a:lnTo>
                    <a:lnTo>
                      <a:pt x="864" y="235"/>
                    </a:lnTo>
                    <a:lnTo>
                      <a:pt x="877" y="259"/>
                    </a:lnTo>
                    <a:lnTo>
                      <a:pt x="844" y="259"/>
                    </a:lnTo>
                    <a:lnTo>
                      <a:pt x="804" y="272"/>
                    </a:lnTo>
                    <a:lnTo>
                      <a:pt x="797" y="303"/>
                    </a:lnTo>
                    <a:lnTo>
                      <a:pt x="777" y="309"/>
                    </a:lnTo>
                    <a:lnTo>
                      <a:pt x="754" y="313"/>
                    </a:lnTo>
                    <a:lnTo>
                      <a:pt x="731" y="318"/>
                    </a:lnTo>
                    <a:lnTo>
                      <a:pt x="709" y="324"/>
                    </a:lnTo>
                    <a:lnTo>
                      <a:pt x="688" y="330"/>
                    </a:lnTo>
                    <a:lnTo>
                      <a:pt x="680" y="334"/>
                    </a:lnTo>
                    <a:lnTo>
                      <a:pt x="671" y="337"/>
                    </a:lnTo>
                    <a:lnTo>
                      <a:pt x="663" y="343"/>
                    </a:lnTo>
                    <a:lnTo>
                      <a:pt x="656" y="347"/>
                    </a:lnTo>
                    <a:lnTo>
                      <a:pt x="652" y="352"/>
                    </a:lnTo>
                    <a:lnTo>
                      <a:pt x="648" y="358"/>
                    </a:lnTo>
                    <a:lnTo>
                      <a:pt x="646" y="364"/>
                    </a:lnTo>
                    <a:lnTo>
                      <a:pt x="644" y="370"/>
                    </a:lnTo>
                    <a:lnTo>
                      <a:pt x="646" y="375"/>
                    </a:lnTo>
                    <a:lnTo>
                      <a:pt x="647" y="380"/>
                    </a:lnTo>
                    <a:lnTo>
                      <a:pt x="650" y="385"/>
                    </a:lnTo>
                    <a:lnTo>
                      <a:pt x="653" y="390"/>
                    </a:lnTo>
                    <a:lnTo>
                      <a:pt x="656" y="395"/>
                    </a:lnTo>
                    <a:lnTo>
                      <a:pt x="661" y="399"/>
                    </a:lnTo>
                    <a:lnTo>
                      <a:pt x="666" y="401"/>
                    </a:lnTo>
                    <a:lnTo>
                      <a:pt x="671" y="402"/>
                    </a:lnTo>
                    <a:lnTo>
                      <a:pt x="692" y="400"/>
                    </a:lnTo>
                    <a:lnTo>
                      <a:pt x="711" y="396"/>
                    </a:lnTo>
                    <a:lnTo>
                      <a:pt x="721" y="395"/>
                    </a:lnTo>
                    <a:lnTo>
                      <a:pt x="731" y="394"/>
                    </a:lnTo>
                    <a:lnTo>
                      <a:pt x="741" y="394"/>
                    </a:lnTo>
                    <a:lnTo>
                      <a:pt x="751" y="396"/>
                    </a:lnTo>
                    <a:lnTo>
                      <a:pt x="742" y="399"/>
                    </a:lnTo>
                    <a:lnTo>
                      <a:pt x="734" y="403"/>
                    </a:lnTo>
                    <a:lnTo>
                      <a:pt x="728" y="408"/>
                    </a:lnTo>
                    <a:lnTo>
                      <a:pt x="721" y="414"/>
                    </a:lnTo>
                    <a:lnTo>
                      <a:pt x="716" y="421"/>
                    </a:lnTo>
                    <a:lnTo>
                      <a:pt x="710" y="427"/>
                    </a:lnTo>
                    <a:lnTo>
                      <a:pt x="705" y="433"/>
                    </a:lnTo>
                    <a:lnTo>
                      <a:pt x="698" y="438"/>
                    </a:lnTo>
                    <a:lnTo>
                      <a:pt x="695" y="430"/>
                    </a:lnTo>
                    <a:lnTo>
                      <a:pt x="693" y="424"/>
                    </a:lnTo>
                    <a:lnTo>
                      <a:pt x="689" y="419"/>
                    </a:lnTo>
                    <a:lnTo>
                      <a:pt x="687" y="416"/>
                    </a:lnTo>
                    <a:lnTo>
                      <a:pt x="680" y="412"/>
                    </a:lnTo>
                    <a:lnTo>
                      <a:pt x="671" y="408"/>
                    </a:lnTo>
                    <a:lnTo>
                      <a:pt x="671" y="413"/>
                    </a:lnTo>
                    <a:lnTo>
                      <a:pt x="669" y="418"/>
                    </a:lnTo>
                    <a:lnTo>
                      <a:pt x="666" y="423"/>
                    </a:lnTo>
                    <a:lnTo>
                      <a:pt x="663" y="427"/>
                    </a:lnTo>
                    <a:lnTo>
                      <a:pt x="654" y="435"/>
                    </a:lnTo>
                    <a:lnTo>
                      <a:pt x="643" y="442"/>
                    </a:lnTo>
                    <a:lnTo>
                      <a:pt x="633" y="450"/>
                    </a:lnTo>
                    <a:lnTo>
                      <a:pt x="624" y="456"/>
                    </a:lnTo>
                    <a:lnTo>
                      <a:pt x="619" y="460"/>
                    </a:lnTo>
                    <a:lnTo>
                      <a:pt x="616" y="463"/>
                    </a:lnTo>
                    <a:lnTo>
                      <a:pt x="613" y="466"/>
                    </a:lnTo>
                    <a:lnTo>
                      <a:pt x="611" y="469"/>
                    </a:lnTo>
                    <a:lnTo>
                      <a:pt x="605" y="468"/>
                    </a:lnTo>
                    <a:lnTo>
                      <a:pt x="600" y="466"/>
                    </a:lnTo>
                    <a:lnTo>
                      <a:pt x="595" y="464"/>
                    </a:lnTo>
                    <a:lnTo>
                      <a:pt x="591" y="461"/>
                    </a:lnTo>
                    <a:lnTo>
                      <a:pt x="587" y="459"/>
                    </a:lnTo>
                    <a:lnTo>
                      <a:pt x="584" y="455"/>
                    </a:lnTo>
                    <a:lnTo>
                      <a:pt x="582" y="452"/>
                    </a:lnTo>
                    <a:lnTo>
                      <a:pt x="579" y="447"/>
                    </a:lnTo>
                    <a:lnTo>
                      <a:pt x="575" y="439"/>
                    </a:lnTo>
                    <a:lnTo>
                      <a:pt x="573" y="429"/>
                    </a:lnTo>
                    <a:lnTo>
                      <a:pt x="572" y="419"/>
                    </a:lnTo>
                    <a:lnTo>
                      <a:pt x="572" y="408"/>
                    </a:lnTo>
                    <a:lnTo>
                      <a:pt x="563" y="407"/>
                    </a:lnTo>
                    <a:lnTo>
                      <a:pt x="555" y="406"/>
                    </a:lnTo>
                    <a:lnTo>
                      <a:pt x="548" y="404"/>
                    </a:lnTo>
                    <a:lnTo>
                      <a:pt x="540" y="401"/>
                    </a:lnTo>
                    <a:lnTo>
                      <a:pt x="527" y="395"/>
                    </a:lnTo>
                    <a:lnTo>
                      <a:pt x="518" y="389"/>
                    </a:lnTo>
                    <a:lnTo>
                      <a:pt x="532" y="385"/>
                    </a:lnTo>
                    <a:lnTo>
                      <a:pt x="547" y="381"/>
                    </a:lnTo>
                    <a:lnTo>
                      <a:pt x="559" y="379"/>
                    </a:lnTo>
                    <a:lnTo>
                      <a:pt x="572" y="377"/>
                    </a:lnTo>
                    <a:lnTo>
                      <a:pt x="597" y="374"/>
                    </a:lnTo>
                    <a:lnTo>
                      <a:pt x="625" y="370"/>
                    </a:lnTo>
                    <a:lnTo>
                      <a:pt x="512" y="370"/>
                    </a:lnTo>
                    <a:lnTo>
                      <a:pt x="503" y="362"/>
                    </a:lnTo>
                    <a:lnTo>
                      <a:pt x="493" y="354"/>
                    </a:lnTo>
                    <a:lnTo>
                      <a:pt x="481" y="348"/>
                    </a:lnTo>
                    <a:lnTo>
                      <a:pt x="469" y="342"/>
                    </a:lnTo>
                    <a:lnTo>
                      <a:pt x="445" y="333"/>
                    </a:lnTo>
                    <a:lnTo>
                      <a:pt x="425" y="327"/>
                    </a:lnTo>
                    <a:lnTo>
                      <a:pt x="412" y="350"/>
                    </a:lnTo>
                    <a:lnTo>
                      <a:pt x="398" y="369"/>
                    </a:lnTo>
                    <a:lnTo>
                      <a:pt x="393" y="378"/>
                    </a:lnTo>
                    <a:lnTo>
                      <a:pt x="386" y="386"/>
                    </a:lnTo>
                    <a:lnTo>
                      <a:pt x="380" y="395"/>
                    </a:lnTo>
                    <a:lnTo>
                      <a:pt x="372" y="402"/>
                    </a:lnTo>
                    <a:lnTo>
                      <a:pt x="362" y="401"/>
                    </a:lnTo>
                    <a:lnTo>
                      <a:pt x="353" y="400"/>
                    </a:lnTo>
                    <a:lnTo>
                      <a:pt x="345" y="399"/>
                    </a:lnTo>
                    <a:lnTo>
                      <a:pt x="337" y="396"/>
                    </a:lnTo>
                    <a:lnTo>
                      <a:pt x="328" y="392"/>
                    </a:lnTo>
                    <a:lnTo>
                      <a:pt x="321" y="388"/>
                    </a:lnTo>
                    <a:lnTo>
                      <a:pt x="313" y="383"/>
                    </a:lnTo>
                    <a:lnTo>
                      <a:pt x="306" y="376"/>
                    </a:lnTo>
                    <a:lnTo>
                      <a:pt x="326" y="352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27" name="Freeform 349">
                <a:extLst>
                  <a:ext uri="{FF2B5EF4-FFF2-40B4-BE49-F238E27FC236}">
                    <a16:creationId xmlns="" xmlns:a16="http://schemas.microsoft.com/office/drawing/2014/main" id="{82889221-B208-4E22-A3FB-947AA33AC69B}"/>
                  </a:ext>
                </a:extLst>
              </p:cNvPr>
              <p:cNvSpPr>
                <a:spLocks/>
              </p:cNvSpPr>
              <p:nvPr>
                <p:custDataLst>
                  <p:tags r:id="rId252"/>
                </p:custDataLst>
              </p:nvPr>
            </p:nvSpPr>
            <p:spPr bwMode="auto">
              <a:xfrm>
                <a:off x="5018088" y="2357438"/>
                <a:ext cx="47625" cy="63500"/>
              </a:xfrm>
              <a:custGeom>
                <a:avLst/>
                <a:gdLst>
                  <a:gd name="T0" fmla="*/ 2147483646 w 107"/>
                  <a:gd name="T1" fmla="*/ 0 h 123"/>
                  <a:gd name="T2" fmla="*/ 2147483646 w 107"/>
                  <a:gd name="T3" fmla="*/ 2147483646 h 123"/>
                  <a:gd name="T4" fmla="*/ 2147483646 w 107"/>
                  <a:gd name="T5" fmla="*/ 2147483646 h 123"/>
                  <a:gd name="T6" fmla="*/ 2147483646 w 107"/>
                  <a:gd name="T7" fmla="*/ 2147483646 h 123"/>
                  <a:gd name="T8" fmla="*/ 2147483646 w 107"/>
                  <a:gd name="T9" fmla="*/ 2147483646 h 123"/>
                  <a:gd name="T10" fmla="*/ 2147483646 w 107"/>
                  <a:gd name="T11" fmla="*/ 2147483646 h 123"/>
                  <a:gd name="T12" fmla="*/ 2147483646 w 107"/>
                  <a:gd name="T13" fmla="*/ 2147483646 h 123"/>
                  <a:gd name="T14" fmla="*/ 2147483646 w 107"/>
                  <a:gd name="T15" fmla="*/ 2147483646 h 123"/>
                  <a:gd name="T16" fmla="*/ 2147483646 w 107"/>
                  <a:gd name="T17" fmla="*/ 2147483646 h 123"/>
                  <a:gd name="T18" fmla="*/ 2147483646 w 107"/>
                  <a:gd name="T19" fmla="*/ 2147483646 h 123"/>
                  <a:gd name="T20" fmla="*/ 2147483646 w 107"/>
                  <a:gd name="T21" fmla="*/ 2147483646 h 123"/>
                  <a:gd name="T22" fmla="*/ 2147483646 w 107"/>
                  <a:gd name="T23" fmla="*/ 2147483646 h 123"/>
                  <a:gd name="T24" fmla="*/ 2147483646 w 107"/>
                  <a:gd name="T25" fmla="*/ 2147483646 h 123"/>
                  <a:gd name="T26" fmla="*/ 2147483646 w 107"/>
                  <a:gd name="T27" fmla="*/ 2147483646 h 123"/>
                  <a:gd name="T28" fmla="*/ 2147483646 w 107"/>
                  <a:gd name="T29" fmla="*/ 2147483646 h 123"/>
                  <a:gd name="T30" fmla="*/ 2147483646 w 107"/>
                  <a:gd name="T31" fmla="*/ 2147483646 h 123"/>
                  <a:gd name="T32" fmla="*/ 2147483646 w 107"/>
                  <a:gd name="T33" fmla="*/ 2147483646 h 123"/>
                  <a:gd name="T34" fmla="*/ 2147483646 w 107"/>
                  <a:gd name="T35" fmla="*/ 2147483646 h 123"/>
                  <a:gd name="T36" fmla="*/ 2147483646 w 107"/>
                  <a:gd name="T37" fmla="*/ 2147483646 h 123"/>
                  <a:gd name="T38" fmla="*/ 2147483646 w 107"/>
                  <a:gd name="T39" fmla="*/ 2147483646 h 123"/>
                  <a:gd name="T40" fmla="*/ 2147483646 w 107"/>
                  <a:gd name="T41" fmla="*/ 2147483646 h 123"/>
                  <a:gd name="T42" fmla="*/ 0 w 107"/>
                  <a:gd name="T43" fmla="*/ 2147483646 h 123"/>
                  <a:gd name="T44" fmla="*/ 2147483646 w 107"/>
                  <a:gd name="T45" fmla="*/ 0 h 123"/>
                  <a:gd name="T46" fmla="*/ 2147483646 w 107"/>
                  <a:gd name="T47" fmla="*/ 0 h 123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07"/>
                  <a:gd name="T73" fmla="*/ 0 h 123"/>
                  <a:gd name="T74" fmla="*/ 107 w 107"/>
                  <a:gd name="T75" fmla="*/ 123 h 123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07" h="123">
                    <a:moveTo>
                      <a:pt x="48" y="0"/>
                    </a:moveTo>
                    <a:lnTo>
                      <a:pt x="81" y="31"/>
                    </a:lnTo>
                    <a:lnTo>
                      <a:pt x="94" y="67"/>
                    </a:lnTo>
                    <a:lnTo>
                      <a:pt x="107" y="86"/>
                    </a:lnTo>
                    <a:lnTo>
                      <a:pt x="107" y="117"/>
                    </a:lnTo>
                    <a:lnTo>
                      <a:pt x="107" y="123"/>
                    </a:lnTo>
                    <a:lnTo>
                      <a:pt x="88" y="114"/>
                    </a:lnTo>
                    <a:lnTo>
                      <a:pt x="73" y="105"/>
                    </a:lnTo>
                    <a:lnTo>
                      <a:pt x="61" y="98"/>
                    </a:lnTo>
                    <a:lnTo>
                      <a:pt x="54" y="92"/>
                    </a:lnTo>
                    <a:lnTo>
                      <a:pt x="51" y="83"/>
                    </a:lnTo>
                    <a:lnTo>
                      <a:pt x="48" y="73"/>
                    </a:lnTo>
                    <a:lnTo>
                      <a:pt x="39" y="74"/>
                    </a:lnTo>
                    <a:lnTo>
                      <a:pt x="32" y="73"/>
                    </a:lnTo>
                    <a:lnTo>
                      <a:pt x="26" y="72"/>
                    </a:lnTo>
                    <a:lnTo>
                      <a:pt x="21" y="70"/>
                    </a:lnTo>
                    <a:lnTo>
                      <a:pt x="17" y="67"/>
                    </a:lnTo>
                    <a:lnTo>
                      <a:pt x="14" y="63"/>
                    </a:lnTo>
                    <a:lnTo>
                      <a:pt x="11" y="59"/>
                    </a:lnTo>
                    <a:lnTo>
                      <a:pt x="9" y="54"/>
                    </a:lnTo>
                    <a:lnTo>
                      <a:pt x="4" y="31"/>
                    </a:lnTo>
                    <a:lnTo>
                      <a:pt x="0" y="6"/>
                    </a:lnTo>
                    <a:lnTo>
                      <a:pt x="34" y="0"/>
                    </a:lnTo>
                    <a:lnTo>
                      <a:pt x="48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28" name="Freeform 350">
                <a:extLst>
                  <a:ext uri="{FF2B5EF4-FFF2-40B4-BE49-F238E27FC236}">
                    <a16:creationId xmlns="" xmlns:a16="http://schemas.microsoft.com/office/drawing/2014/main" id="{2C82C0ED-0847-4B65-BB39-59E186C5B93D}"/>
                  </a:ext>
                </a:extLst>
              </p:cNvPr>
              <p:cNvSpPr>
                <a:spLocks/>
              </p:cNvSpPr>
              <p:nvPr>
                <p:custDataLst>
                  <p:tags r:id="rId253"/>
                </p:custDataLst>
              </p:nvPr>
            </p:nvSpPr>
            <p:spPr bwMode="auto">
              <a:xfrm>
                <a:off x="5561013" y="2371725"/>
                <a:ext cx="207962" cy="122238"/>
              </a:xfrm>
              <a:custGeom>
                <a:avLst/>
                <a:gdLst>
                  <a:gd name="T0" fmla="*/ 2147483646 w 471"/>
                  <a:gd name="T1" fmla="*/ 2147483646 h 234"/>
                  <a:gd name="T2" fmla="*/ 2147483646 w 471"/>
                  <a:gd name="T3" fmla="*/ 2147483646 h 234"/>
                  <a:gd name="T4" fmla="*/ 2147483646 w 471"/>
                  <a:gd name="T5" fmla="*/ 2147483646 h 234"/>
                  <a:gd name="T6" fmla="*/ 2147483646 w 471"/>
                  <a:gd name="T7" fmla="*/ 2147483646 h 234"/>
                  <a:gd name="T8" fmla="*/ 2147483646 w 471"/>
                  <a:gd name="T9" fmla="*/ 2147483646 h 234"/>
                  <a:gd name="T10" fmla="*/ 2147483646 w 471"/>
                  <a:gd name="T11" fmla="*/ 2147483646 h 234"/>
                  <a:gd name="T12" fmla="*/ 2147483646 w 471"/>
                  <a:gd name="T13" fmla="*/ 2147483646 h 234"/>
                  <a:gd name="T14" fmla="*/ 2147483646 w 471"/>
                  <a:gd name="T15" fmla="*/ 2147483646 h 234"/>
                  <a:gd name="T16" fmla="*/ 2147483646 w 471"/>
                  <a:gd name="T17" fmla="*/ 2147483646 h 234"/>
                  <a:gd name="T18" fmla="*/ 2147483646 w 471"/>
                  <a:gd name="T19" fmla="*/ 2147483646 h 234"/>
                  <a:gd name="T20" fmla="*/ 2147483646 w 471"/>
                  <a:gd name="T21" fmla="*/ 2147483646 h 234"/>
                  <a:gd name="T22" fmla="*/ 2147483646 w 471"/>
                  <a:gd name="T23" fmla="*/ 2147483646 h 234"/>
                  <a:gd name="T24" fmla="*/ 2147483646 w 471"/>
                  <a:gd name="T25" fmla="*/ 2147483646 h 234"/>
                  <a:gd name="T26" fmla="*/ 2147483646 w 471"/>
                  <a:gd name="T27" fmla="*/ 2147483646 h 234"/>
                  <a:gd name="T28" fmla="*/ 2147483646 w 471"/>
                  <a:gd name="T29" fmla="*/ 2147483646 h 234"/>
                  <a:gd name="T30" fmla="*/ 2147483646 w 471"/>
                  <a:gd name="T31" fmla="*/ 2147483646 h 234"/>
                  <a:gd name="T32" fmla="*/ 2147483646 w 471"/>
                  <a:gd name="T33" fmla="*/ 2147483646 h 234"/>
                  <a:gd name="T34" fmla="*/ 2147483646 w 471"/>
                  <a:gd name="T35" fmla="*/ 2147483646 h 234"/>
                  <a:gd name="T36" fmla="*/ 2147483646 w 471"/>
                  <a:gd name="T37" fmla="*/ 2147483646 h 234"/>
                  <a:gd name="T38" fmla="*/ 2147483646 w 471"/>
                  <a:gd name="T39" fmla="*/ 2147483646 h 234"/>
                  <a:gd name="T40" fmla="*/ 2147483646 w 471"/>
                  <a:gd name="T41" fmla="*/ 2147483646 h 234"/>
                  <a:gd name="T42" fmla="*/ 2147483646 w 471"/>
                  <a:gd name="T43" fmla="*/ 2147483646 h 234"/>
                  <a:gd name="T44" fmla="*/ 2147483646 w 471"/>
                  <a:gd name="T45" fmla="*/ 2147483646 h 234"/>
                  <a:gd name="T46" fmla="*/ 2147483646 w 471"/>
                  <a:gd name="T47" fmla="*/ 2147483646 h 234"/>
                  <a:gd name="T48" fmla="*/ 2147483646 w 471"/>
                  <a:gd name="T49" fmla="*/ 2147483646 h 234"/>
                  <a:gd name="T50" fmla="*/ 2147483646 w 471"/>
                  <a:gd name="T51" fmla="*/ 2147483646 h 234"/>
                  <a:gd name="T52" fmla="*/ 2147483646 w 471"/>
                  <a:gd name="T53" fmla="*/ 2147483646 h 234"/>
                  <a:gd name="T54" fmla="*/ 2147483646 w 471"/>
                  <a:gd name="T55" fmla="*/ 2147483646 h 234"/>
                  <a:gd name="T56" fmla="*/ 2147483646 w 471"/>
                  <a:gd name="T57" fmla="*/ 2147483646 h 234"/>
                  <a:gd name="T58" fmla="*/ 2147483646 w 471"/>
                  <a:gd name="T59" fmla="*/ 2147483646 h 234"/>
                  <a:gd name="T60" fmla="*/ 2147483646 w 471"/>
                  <a:gd name="T61" fmla="*/ 2147483646 h 234"/>
                  <a:gd name="T62" fmla="*/ 2147483646 w 471"/>
                  <a:gd name="T63" fmla="*/ 2147483646 h 234"/>
                  <a:gd name="T64" fmla="*/ 2147483646 w 471"/>
                  <a:gd name="T65" fmla="*/ 2147483646 h 234"/>
                  <a:gd name="T66" fmla="*/ 2147483646 w 471"/>
                  <a:gd name="T67" fmla="*/ 2147483646 h 234"/>
                  <a:gd name="T68" fmla="*/ 2147483646 w 471"/>
                  <a:gd name="T69" fmla="*/ 2147483646 h 234"/>
                  <a:gd name="T70" fmla="*/ 2147483646 w 471"/>
                  <a:gd name="T71" fmla="*/ 2147483646 h 234"/>
                  <a:gd name="T72" fmla="*/ 2147483646 w 471"/>
                  <a:gd name="T73" fmla="*/ 2147483646 h 234"/>
                  <a:gd name="T74" fmla="*/ 2147483646 w 471"/>
                  <a:gd name="T75" fmla="*/ 2147483646 h 234"/>
                  <a:gd name="T76" fmla="*/ 2147483646 w 471"/>
                  <a:gd name="T77" fmla="*/ 2147483646 h 234"/>
                  <a:gd name="T78" fmla="*/ 0 w 471"/>
                  <a:gd name="T79" fmla="*/ 2147483646 h 234"/>
                  <a:gd name="T80" fmla="*/ 2147483646 w 471"/>
                  <a:gd name="T81" fmla="*/ 2147483646 h 234"/>
                  <a:gd name="T82" fmla="*/ 2147483646 w 471"/>
                  <a:gd name="T83" fmla="*/ 2147483646 h 234"/>
                  <a:gd name="T84" fmla="*/ 2147483646 w 471"/>
                  <a:gd name="T85" fmla="*/ 0 h 234"/>
                  <a:gd name="T86" fmla="*/ 2147483646 w 471"/>
                  <a:gd name="T87" fmla="*/ 2147483646 h 234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471"/>
                  <a:gd name="T133" fmla="*/ 0 h 234"/>
                  <a:gd name="T134" fmla="*/ 471 w 471"/>
                  <a:gd name="T135" fmla="*/ 234 h 234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471" h="234">
                    <a:moveTo>
                      <a:pt x="159" y="30"/>
                    </a:moveTo>
                    <a:lnTo>
                      <a:pt x="106" y="67"/>
                    </a:lnTo>
                    <a:lnTo>
                      <a:pt x="126" y="86"/>
                    </a:lnTo>
                    <a:lnTo>
                      <a:pt x="166" y="86"/>
                    </a:lnTo>
                    <a:lnTo>
                      <a:pt x="218" y="98"/>
                    </a:lnTo>
                    <a:lnTo>
                      <a:pt x="272" y="105"/>
                    </a:lnTo>
                    <a:lnTo>
                      <a:pt x="325" y="92"/>
                    </a:lnTo>
                    <a:lnTo>
                      <a:pt x="372" y="86"/>
                    </a:lnTo>
                    <a:lnTo>
                      <a:pt x="379" y="86"/>
                    </a:lnTo>
                    <a:lnTo>
                      <a:pt x="383" y="95"/>
                    </a:lnTo>
                    <a:lnTo>
                      <a:pt x="388" y="105"/>
                    </a:lnTo>
                    <a:lnTo>
                      <a:pt x="391" y="114"/>
                    </a:lnTo>
                    <a:lnTo>
                      <a:pt x="392" y="123"/>
                    </a:lnTo>
                    <a:lnTo>
                      <a:pt x="406" y="124"/>
                    </a:lnTo>
                    <a:lnTo>
                      <a:pt x="418" y="126"/>
                    </a:lnTo>
                    <a:lnTo>
                      <a:pt x="424" y="129"/>
                    </a:lnTo>
                    <a:lnTo>
                      <a:pt x="428" y="131"/>
                    </a:lnTo>
                    <a:lnTo>
                      <a:pt x="433" y="134"/>
                    </a:lnTo>
                    <a:lnTo>
                      <a:pt x="437" y="137"/>
                    </a:lnTo>
                    <a:lnTo>
                      <a:pt x="441" y="141"/>
                    </a:lnTo>
                    <a:lnTo>
                      <a:pt x="445" y="146"/>
                    </a:lnTo>
                    <a:lnTo>
                      <a:pt x="448" y="151"/>
                    </a:lnTo>
                    <a:lnTo>
                      <a:pt x="450" y="156"/>
                    </a:lnTo>
                    <a:lnTo>
                      <a:pt x="455" y="170"/>
                    </a:lnTo>
                    <a:lnTo>
                      <a:pt x="458" y="184"/>
                    </a:lnTo>
                    <a:lnTo>
                      <a:pt x="471" y="190"/>
                    </a:lnTo>
                    <a:lnTo>
                      <a:pt x="359" y="190"/>
                    </a:lnTo>
                    <a:lnTo>
                      <a:pt x="350" y="202"/>
                    </a:lnTo>
                    <a:lnTo>
                      <a:pt x="338" y="217"/>
                    </a:lnTo>
                    <a:lnTo>
                      <a:pt x="330" y="224"/>
                    </a:lnTo>
                    <a:lnTo>
                      <a:pt x="324" y="229"/>
                    </a:lnTo>
                    <a:lnTo>
                      <a:pt x="317" y="233"/>
                    </a:lnTo>
                    <a:lnTo>
                      <a:pt x="312" y="234"/>
                    </a:lnTo>
                    <a:lnTo>
                      <a:pt x="306" y="233"/>
                    </a:lnTo>
                    <a:lnTo>
                      <a:pt x="302" y="232"/>
                    </a:lnTo>
                    <a:lnTo>
                      <a:pt x="298" y="230"/>
                    </a:lnTo>
                    <a:lnTo>
                      <a:pt x="294" y="228"/>
                    </a:lnTo>
                    <a:lnTo>
                      <a:pt x="292" y="224"/>
                    </a:lnTo>
                    <a:lnTo>
                      <a:pt x="290" y="220"/>
                    </a:lnTo>
                    <a:lnTo>
                      <a:pt x="289" y="216"/>
                    </a:lnTo>
                    <a:lnTo>
                      <a:pt x="287" y="210"/>
                    </a:lnTo>
                    <a:lnTo>
                      <a:pt x="284" y="199"/>
                    </a:lnTo>
                    <a:lnTo>
                      <a:pt x="282" y="187"/>
                    </a:lnTo>
                    <a:lnTo>
                      <a:pt x="278" y="174"/>
                    </a:lnTo>
                    <a:lnTo>
                      <a:pt x="272" y="160"/>
                    </a:lnTo>
                    <a:lnTo>
                      <a:pt x="269" y="155"/>
                    </a:lnTo>
                    <a:lnTo>
                      <a:pt x="265" y="151"/>
                    </a:lnTo>
                    <a:lnTo>
                      <a:pt x="258" y="148"/>
                    </a:lnTo>
                    <a:lnTo>
                      <a:pt x="253" y="144"/>
                    </a:lnTo>
                    <a:lnTo>
                      <a:pt x="246" y="141"/>
                    </a:lnTo>
                    <a:lnTo>
                      <a:pt x="240" y="137"/>
                    </a:lnTo>
                    <a:lnTo>
                      <a:pt x="236" y="133"/>
                    </a:lnTo>
                    <a:lnTo>
                      <a:pt x="233" y="129"/>
                    </a:lnTo>
                    <a:lnTo>
                      <a:pt x="224" y="140"/>
                    </a:lnTo>
                    <a:lnTo>
                      <a:pt x="213" y="154"/>
                    </a:lnTo>
                    <a:lnTo>
                      <a:pt x="207" y="162"/>
                    </a:lnTo>
                    <a:lnTo>
                      <a:pt x="203" y="170"/>
                    </a:lnTo>
                    <a:lnTo>
                      <a:pt x="200" y="177"/>
                    </a:lnTo>
                    <a:lnTo>
                      <a:pt x="199" y="184"/>
                    </a:lnTo>
                    <a:lnTo>
                      <a:pt x="188" y="190"/>
                    </a:lnTo>
                    <a:lnTo>
                      <a:pt x="177" y="195"/>
                    </a:lnTo>
                    <a:lnTo>
                      <a:pt x="167" y="201"/>
                    </a:lnTo>
                    <a:lnTo>
                      <a:pt x="157" y="207"/>
                    </a:lnTo>
                    <a:lnTo>
                      <a:pt x="147" y="213"/>
                    </a:lnTo>
                    <a:lnTo>
                      <a:pt x="135" y="218"/>
                    </a:lnTo>
                    <a:lnTo>
                      <a:pt x="130" y="219"/>
                    </a:lnTo>
                    <a:lnTo>
                      <a:pt x="122" y="221"/>
                    </a:lnTo>
                    <a:lnTo>
                      <a:pt x="114" y="222"/>
                    </a:lnTo>
                    <a:lnTo>
                      <a:pt x="106" y="222"/>
                    </a:lnTo>
                    <a:lnTo>
                      <a:pt x="97" y="221"/>
                    </a:lnTo>
                    <a:lnTo>
                      <a:pt x="89" y="220"/>
                    </a:lnTo>
                    <a:lnTo>
                      <a:pt x="82" y="217"/>
                    </a:lnTo>
                    <a:lnTo>
                      <a:pt x="76" y="213"/>
                    </a:lnTo>
                    <a:lnTo>
                      <a:pt x="63" y="205"/>
                    </a:lnTo>
                    <a:lnTo>
                      <a:pt x="46" y="197"/>
                    </a:lnTo>
                    <a:lnTo>
                      <a:pt x="59" y="197"/>
                    </a:lnTo>
                    <a:lnTo>
                      <a:pt x="72" y="166"/>
                    </a:lnTo>
                    <a:lnTo>
                      <a:pt x="59" y="135"/>
                    </a:lnTo>
                    <a:lnTo>
                      <a:pt x="39" y="117"/>
                    </a:lnTo>
                    <a:lnTo>
                      <a:pt x="0" y="98"/>
                    </a:lnTo>
                    <a:lnTo>
                      <a:pt x="13" y="86"/>
                    </a:lnTo>
                    <a:lnTo>
                      <a:pt x="53" y="80"/>
                    </a:lnTo>
                    <a:lnTo>
                      <a:pt x="66" y="49"/>
                    </a:lnTo>
                    <a:lnTo>
                      <a:pt x="86" y="30"/>
                    </a:lnTo>
                    <a:lnTo>
                      <a:pt x="93" y="6"/>
                    </a:lnTo>
                    <a:lnTo>
                      <a:pt x="133" y="0"/>
                    </a:lnTo>
                    <a:lnTo>
                      <a:pt x="153" y="12"/>
                    </a:lnTo>
                    <a:lnTo>
                      <a:pt x="166" y="42"/>
                    </a:lnTo>
                    <a:lnTo>
                      <a:pt x="159" y="3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29" name="Freeform 351">
                <a:extLst>
                  <a:ext uri="{FF2B5EF4-FFF2-40B4-BE49-F238E27FC236}">
                    <a16:creationId xmlns="" xmlns:a16="http://schemas.microsoft.com/office/drawing/2014/main" id="{37B66731-E2E1-4B2B-AA64-50D9F3A30B69}"/>
                  </a:ext>
                </a:extLst>
              </p:cNvPr>
              <p:cNvSpPr>
                <a:spLocks/>
              </p:cNvSpPr>
              <p:nvPr>
                <p:custDataLst>
                  <p:tags r:id="rId254"/>
                </p:custDataLst>
              </p:nvPr>
            </p:nvSpPr>
            <p:spPr bwMode="auto">
              <a:xfrm>
                <a:off x="5610225" y="2300288"/>
                <a:ext cx="225425" cy="125412"/>
              </a:xfrm>
              <a:custGeom>
                <a:avLst/>
                <a:gdLst>
                  <a:gd name="T0" fmla="*/ 2147483646 w 525"/>
                  <a:gd name="T1" fmla="*/ 2147483646 h 241"/>
                  <a:gd name="T2" fmla="*/ 2147483646 w 525"/>
                  <a:gd name="T3" fmla="*/ 2147483646 h 241"/>
                  <a:gd name="T4" fmla="*/ 2147483646 w 525"/>
                  <a:gd name="T5" fmla="*/ 2147483646 h 241"/>
                  <a:gd name="T6" fmla="*/ 2147483646 w 525"/>
                  <a:gd name="T7" fmla="*/ 2147483646 h 241"/>
                  <a:gd name="T8" fmla="*/ 2147483646 w 525"/>
                  <a:gd name="T9" fmla="*/ 2147483646 h 241"/>
                  <a:gd name="T10" fmla="*/ 2147483646 w 525"/>
                  <a:gd name="T11" fmla="*/ 2147483646 h 241"/>
                  <a:gd name="T12" fmla="*/ 2147483646 w 525"/>
                  <a:gd name="T13" fmla="*/ 2147483646 h 241"/>
                  <a:gd name="T14" fmla="*/ 2147483646 w 525"/>
                  <a:gd name="T15" fmla="*/ 0 h 241"/>
                  <a:gd name="T16" fmla="*/ 2147483646 w 525"/>
                  <a:gd name="T17" fmla="*/ 2147483646 h 241"/>
                  <a:gd name="T18" fmla="*/ 2147483646 w 525"/>
                  <a:gd name="T19" fmla="*/ 2147483646 h 241"/>
                  <a:gd name="T20" fmla="*/ 2147483646 w 525"/>
                  <a:gd name="T21" fmla="*/ 2147483646 h 241"/>
                  <a:gd name="T22" fmla="*/ 2147483646 w 525"/>
                  <a:gd name="T23" fmla="*/ 2147483646 h 241"/>
                  <a:gd name="T24" fmla="*/ 2147483646 w 525"/>
                  <a:gd name="T25" fmla="*/ 2147483646 h 241"/>
                  <a:gd name="T26" fmla="*/ 2147483646 w 525"/>
                  <a:gd name="T27" fmla="*/ 2147483646 h 241"/>
                  <a:gd name="T28" fmla="*/ 2147483646 w 525"/>
                  <a:gd name="T29" fmla="*/ 2147483646 h 241"/>
                  <a:gd name="T30" fmla="*/ 2147483646 w 525"/>
                  <a:gd name="T31" fmla="*/ 2147483646 h 241"/>
                  <a:gd name="T32" fmla="*/ 2147483646 w 525"/>
                  <a:gd name="T33" fmla="*/ 2147483646 h 241"/>
                  <a:gd name="T34" fmla="*/ 2147483646 w 525"/>
                  <a:gd name="T35" fmla="*/ 2147483646 h 241"/>
                  <a:gd name="T36" fmla="*/ 2147483646 w 525"/>
                  <a:gd name="T37" fmla="*/ 2147483646 h 241"/>
                  <a:gd name="T38" fmla="*/ 2147483646 w 525"/>
                  <a:gd name="T39" fmla="*/ 2147483646 h 241"/>
                  <a:gd name="T40" fmla="*/ 2147483646 w 525"/>
                  <a:gd name="T41" fmla="*/ 2147483646 h 241"/>
                  <a:gd name="T42" fmla="*/ 2147483646 w 525"/>
                  <a:gd name="T43" fmla="*/ 2147483646 h 241"/>
                  <a:gd name="T44" fmla="*/ 2147483646 w 525"/>
                  <a:gd name="T45" fmla="*/ 2147483646 h 241"/>
                  <a:gd name="T46" fmla="*/ 2147483646 w 525"/>
                  <a:gd name="T47" fmla="*/ 2147483646 h 241"/>
                  <a:gd name="T48" fmla="*/ 2147483646 w 525"/>
                  <a:gd name="T49" fmla="*/ 2147483646 h 241"/>
                  <a:gd name="T50" fmla="*/ 2147483646 w 525"/>
                  <a:gd name="T51" fmla="*/ 2147483646 h 241"/>
                  <a:gd name="T52" fmla="*/ 2147483646 w 525"/>
                  <a:gd name="T53" fmla="*/ 2147483646 h 241"/>
                  <a:gd name="T54" fmla="*/ 2147483646 w 525"/>
                  <a:gd name="T55" fmla="*/ 2147483646 h 241"/>
                  <a:gd name="T56" fmla="*/ 2147483646 w 525"/>
                  <a:gd name="T57" fmla="*/ 2147483646 h 241"/>
                  <a:gd name="T58" fmla="*/ 2147483646 w 525"/>
                  <a:gd name="T59" fmla="*/ 2147483646 h 241"/>
                  <a:gd name="T60" fmla="*/ 2147483646 w 525"/>
                  <a:gd name="T61" fmla="*/ 2147483646 h 241"/>
                  <a:gd name="T62" fmla="*/ 2147483646 w 525"/>
                  <a:gd name="T63" fmla="*/ 2147483646 h 241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525"/>
                  <a:gd name="T97" fmla="*/ 0 h 241"/>
                  <a:gd name="T98" fmla="*/ 525 w 525"/>
                  <a:gd name="T99" fmla="*/ 241 h 241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525" h="241">
                    <a:moveTo>
                      <a:pt x="60" y="178"/>
                    </a:moveTo>
                    <a:lnTo>
                      <a:pt x="106" y="185"/>
                    </a:lnTo>
                    <a:lnTo>
                      <a:pt x="140" y="178"/>
                    </a:lnTo>
                    <a:lnTo>
                      <a:pt x="173" y="148"/>
                    </a:lnTo>
                    <a:lnTo>
                      <a:pt x="133" y="123"/>
                    </a:lnTo>
                    <a:lnTo>
                      <a:pt x="93" y="105"/>
                    </a:lnTo>
                    <a:lnTo>
                      <a:pt x="73" y="123"/>
                    </a:lnTo>
                    <a:lnTo>
                      <a:pt x="47" y="117"/>
                    </a:lnTo>
                    <a:lnTo>
                      <a:pt x="33" y="93"/>
                    </a:lnTo>
                    <a:lnTo>
                      <a:pt x="66" y="61"/>
                    </a:lnTo>
                    <a:lnTo>
                      <a:pt x="40" y="55"/>
                    </a:lnTo>
                    <a:lnTo>
                      <a:pt x="40" y="43"/>
                    </a:lnTo>
                    <a:lnTo>
                      <a:pt x="66" y="19"/>
                    </a:lnTo>
                    <a:lnTo>
                      <a:pt x="112" y="25"/>
                    </a:lnTo>
                    <a:lnTo>
                      <a:pt x="173" y="49"/>
                    </a:lnTo>
                    <a:lnTo>
                      <a:pt x="186" y="0"/>
                    </a:lnTo>
                    <a:lnTo>
                      <a:pt x="232" y="12"/>
                    </a:lnTo>
                    <a:lnTo>
                      <a:pt x="312" y="19"/>
                    </a:lnTo>
                    <a:lnTo>
                      <a:pt x="372" y="25"/>
                    </a:lnTo>
                    <a:lnTo>
                      <a:pt x="439" y="25"/>
                    </a:lnTo>
                    <a:lnTo>
                      <a:pt x="519" y="49"/>
                    </a:lnTo>
                    <a:lnTo>
                      <a:pt x="525" y="55"/>
                    </a:lnTo>
                    <a:lnTo>
                      <a:pt x="522" y="62"/>
                    </a:lnTo>
                    <a:lnTo>
                      <a:pt x="519" y="69"/>
                    </a:lnTo>
                    <a:lnTo>
                      <a:pt x="514" y="76"/>
                    </a:lnTo>
                    <a:lnTo>
                      <a:pt x="510" y="82"/>
                    </a:lnTo>
                    <a:lnTo>
                      <a:pt x="504" y="87"/>
                    </a:lnTo>
                    <a:lnTo>
                      <a:pt x="499" y="92"/>
                    </a:lnTo>
                    <a:lnTo>
                      <a:pt x="492" y="96"/>
                    </a:lnTo>
                    <a:lnTo>
                      <a:pt x="485" y="99"/>
                    </a:lnTo>
                    <a:lnTo>
                      <a:pt x="466" y="101"/>
                    </a:lnTo>
                    <a:lnTo>
                      <a:pt x="442" y="103"/>
                    </a:lnTo>
                    <a:lnTo>
                      <a:pt x="430" y="105"/>
                    </a:lnTo>
                    <a:lnTo>
                      <a:pt x="418" y="107"/>
                    </a:lnTo>
                    <a:lnTo>
                      <a:pt x="412" y="109"/>
                    </a:lnTo>
                    <a:lnTo>
                      <a:pt x="407" y="111"/>
                    </a:lnTo>
                    <a:lnTo>
                      <a:pt x="402" y="114"/>
                    </a:lnTo>
                    <a:lnTo>
                      <a:pt x="399" y="117"/>
                    </a:lnTo>
                    <a:lnTo>
                      <a:pt x="394" y="124"/>
                    </a:lnTo>
                    <a:lnTo>
                      <a:pt x="387" y="136"/>
                    </a:lnTo>
                    <a:lnTo>
                      <a:pt x="383" y="142"/>
                    </a:lnTo>
                    <a:lnTo>
                      <a:pt x="378" y="147"/>
                    </a:lnTo>
                    <a:lnTo>
                      <a:pt x="373" y="151"/>
                    </a:lnTo>
                    <a:lnTo>
                      <a:pt x="365" y="154"/>
                    </a:lnTo>
                    <a:lnTo>
                      <a:pt x="341" y="160"/>
                    </a:lnTo>
                    <a:lnTo>
                      <a:pt x="305" y="166"/>
                    </a:lnTo>
                    <a:lnTo>
                      <a:pt x="287" y="170"/>
                    </a:lnTo>
                    <a:lnTo>
                      <a:pt x="273" y="173"/>
                    </a:lnTo>
                    <a:lnTo>
                      <a:pt x="263" y="176"/>
                    </a:lnTo>
                    <a:lnTo>
                      <a:pt x="260" y="178"/>
                    </a:lnTo>
                    <a:lnTo>
                      <a:pt x="260" y="186"/>
                    </a:lnTo>
                    <a:lnTo>
                      <a:pt x="261" y="192"/>
                    </a:lnTo>
                    <a:lnTo>
                      <a:pt x="262" y="197"/>
                    </a:lnTo>
                    <a:lnTo>
                      <a:pt x="263" y="203"/>
                    </a:lnTo>
                    <a:lnTo>
                      <a:pt x="267" y="212"/>
                    </a:lnTo>
                    <a:lnTo>
                      <a:pt x="273" y="222"/>
                    </a:lnTo>
                    <a:lnTo>
                      <a:pt x="266" y="222"/>
                    </a:lnTo>
                    <a:lnTo>
                      <a:pt x="219" y="228"/>
                    </a:lnTo>
                    <a:lnTo>
                      <a:pt x="166" y="241"/>
                    </a:lnTo>
                    <a:lnTo>
                      <a:pt x="112" y="234"/>
                    </a:lnTo>
                    <a:lnTo>
                      <a:pt x="60" y="222"/>
                    </a:lnTo>
                    <a:lnTo>
                      <a:pt x="20" y="222"/>
                    </a:lnTo>
                    <a:lnTo>
                      <a:pt x="0" y="203"/>
                    </a:lnTo>
                    <a:lnTo>
                      <a:pt x="53" y="166"/>
                    </a:lnTo>
                    <a:lnTo>
                      <a:pt x="60" y="178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30" name="Freeform 352">
                <a:extLst>
                  <a:ext uri="{FF2B5EF4-FFF2-40B4-BE49-F238E27FC236}">
                    <a16:creationId xmlns="" xmlns:a16="http://schemas.microsoft.com/office/drawing/2014/main" id="{54781354-0750-4494-BF92-9F7ADB455F56}"/>
                  </a:ext>
                </a:extLst>
              </p:cNvPr>
              <p:cNvSpPr>
                <a:spLocks/>
              </p:cNvSpPr>
              <p:nvPr>
                <p:custDataLst>
                  <p:tags r:id="rId255"/>
                </p:custDataLst>
              </p:nvPr>
            </p:nvSpPr>
            <p:spPr bwMode="auto">
              <a:xfrm>
                <a:off x="5216525" y="2316163"/>
                <a:ext cx="342900" cy="227012"/>
              </a:xfrm>
              <a:custGeom>
                <a:avLst/>
                <a:gdLst>
                  <a:gd name="T0" fmla="*/ 2147483646 w 784"/>
                  <a:gd name="T1" fmla="*/ 2147483646 h 430"/>
                  <a:gd name="T2" fmla="*/ 2147483646 w 784"/>
                  <a:gd name="T3" fmla="*/ 2147483646 h 430"/>
                  <a:gd name="T4" fmla="*/ 2147483646 w 784"/>
                  <a:gd name="T5" fmla="*/ 2147483646 h 430"/>
                  <a:gd name="T6" fmla="*/ 2147483646 w 784"/>
                  <a:gd name="T7" fmla="*/ 2147483646 h 430"/>
                  <a:gd name="T8" fmla="*/ 2147483646 w 784"/>
                  <a:gd name="T9" fmla="*/ 2147483646 h 430"/>
                  <a:gd name="T10" fmla="*/ 2147483646 w 784"/>
                  <a:gd name="T11" fmla="*/ 2147483646 h 430"/>
                  <a:gd name="T12" fmla="*/ 2147483646 w 784"/>
                  <a:gd name="T13" fmla="*/ 2147483646 h 430"/>
                  <a:gd name="T14" fmla="*/ 2147483646 w 784"/>
                  <a:gd name="T15" fmla="*/ 2147483646 h 430"/>
                  <a:gd name="T16" fmla="*/ 2147483646 w 784"/>
                  <a:gd name="T17" fmla="*/ 2147483646 h 430"/>
                  <a:gd name="T18" fmla="*/ 2147483646 w 784"/>
                  <a:gd name="T19" fmla="*/ 2147483646 h 430"/>
                  <a:gd name="T20" fmla="*/ 2147483646 w 784"/>
                  <a:gd name="T21" fmla="*/ 2147483646 h 430"/>
                  <a:gd name="T22" fmla="*/ 2147483646 w 784"/>
                  <a:gd name="T23" fmla="*/ 2147483646 h 430"/>
                  <a:gd name="T24" fmla="*/ 2147483646 w 784"/>
                  <a:gd name="T25" fmla="*/ 2147483646 h 430"/>
                  <a:gd name="T26" fmla="*/ 2147483646 w 784"/>
                  <a:gd name="T27" fmla="*/ 2147483646 h 430"/>
                  <a:gd name="T28" fmla="*/ 2147483646 w 784"/>
                  <a:gd name="T29" fmla="*/ 2147483646 h 430"/>
                  <a:gd name="T30" fmla="*/ 2147483646 w 784"/>
                  <a:gd name="T31" fmla="*/ 2147483646 h 430"/>
                  <a:gd name="T32" fmla="*/ 2147483646 w 784"/>
                  <a:gd name="T33" fmla="*/ 2147483646 h 430"/>
                  <a:gd name="T34" fmla="*/ 2147483646 w 784"/>
                  <a:gd name="T35" fmla="*/ 2147483646 h 430"/>
                  <a:gd name="T36" fmla="*/ 2147483646 w 784"/>
                  <a:gd name="T37" fmla="*/ 2147483646 h 430"/>
                  <a:gd name="T38" fmla="*/ 2147483646 w 784"/>
                  <a:gd name="T39" fmla="*/ 2147483646 h 430"/>
                  <a:gd name="T40" fmla="*/ 2147483646 w 784"/>
                  <a:gd name="T41" fmla="*/ 2147483646 h 430"/>
                  <a:gd name="T42" fmla="*/ 2147483646 w 784"/>
                  <a:gd name="T43" fmla="*/ 2147483646 h 430"/>
                  <a:gd name="T44" fmla="*/ 2147483646 w 784"/>
                  <a:gd name="T45" fmla="*/ 2147483646 h 430"/>
                  <a:gd name="T46" fmla="*/ 2147483646 w 784"/>
                  <a:gd name="T47" fmla="*/ 2147483646 h 430"/>
                  <a:gd name="T48" fmla="*/ 2147483646 w 784"/>
                  <a:gd name="T49" fmla="*/ 2147483646 h 430"/>
                  <a:gd name="T50" fmla="*/ 2147483646 w 784"/>
                  <a:gd name="T51" fmla="*/ 2147483646 h 430"/>
                  <a:gd name="T52" fmla="*/ 2147483646 w 784"/>
                  <a:gd name="T53" fmla="*/ 2147483646 h 430"/>
                  <a:gd name="T54" fmla="*/ 2147483646 w 784"/>
                  <a:gd name="T55" fmla="*/ 2147483646 h 430"/>
                  <a:gd name="T56" fmla="*/ 2147483646 w 784"/>
                  <a:gd name="T57" fmla="*/ 2147483646 h 430"/>
                  <a:gd name="T58" fmla="*/ 2147483646 w 784"/>
                  <a:gd name="T59" fmla="*/ 2147483646 h 430"/>
                  <a:gd name="T60" fmla="*/ 2147483646 w 784"/>
                  <a:gd name="T61" fmla="*/ 2147483646 h 430"/>
                  <a:gd name="T62" fmla="*/ 2147483646 w 784"/>
                  <a:gd name="T63" fmla="*/ 2147483646 h 430"/>
                  <a:gd name="T64" fmla="*/ 2147483646 w 784"/>
                  <a:gd name="T65" fmla="*/ 2147483646 h 430"/>
                  <a:gd name="T66" fmla="*/ 2147483646 w 784"/>
                  <a:gd name="T67" fmla="*/ 2147483646 h 430"/>
                  <a:gd name="T68" fmla="*/ 0 w 784"/>
                  <a:gd name="T69" fmla="*/ 2147483646 h 430"/>
                  <a:gd name="T70" fmla="*/ 2147483646 w 784"/>
                  <a:gd name="T71" fmla="*/ 2147483646 h 430"/>
                  <a:gd name="T72" fmla="*/ 2147483646 w 784"/>
                  <a:gd name="T73" fmla="*/ 2147483646 h 430"/>
                  <a:gd name="T74" fmla="*/ 2147483646 w 784"/>
                  <a:gd name="T75" fmla="*/ 2147483646 h 430"/>
                  <a:gd name="T76" fmla="*/ 2147483646 w 784"/>
                  <a:gd name="T77" fmla="*/ 2147483646 h 430"/>
                  <a:gd name="T78" fmla="*/ 2147483646 w 784"/>
                  <a:gd name="T79" fmla="*/ 2147483646 h 430"/>
                  <a:gd name="T80" fmla="*/ 2147483646 w 784"/>
                  <a:gd name="T81" fmla="*/ 2147483646 h 430"/>
                  <a:gd name="T82" fmla="*/ 2147483646 w 784"/>
                  <a:gd name="T83" fmla="*/ 2147483646 h 430"/>
                  <a:gd name="T84" fmla="*/ 2147483646 w 784"/>
                  <a:gd name="T85" fmla="*/ 2147483646 h 430"/>
                  <a:gd name="T86" fmla="*/ 2147483646 w 784"/>
                  <a:gd name="T87" fmla="*/ 2147483646 h 430"/>
                  <a:gd name="T88" fmla="*/ 2147483646 w 784"/>
                  <a:gd name="T89" fmla="*/ 2147483646 h 430"/>
                  <a:gd name="T90" fmla="*/ 2147483646 w 784"/>
                  <a:gd name="T91" fmla="*/ 2147483646 h 430"/>
                  <a:gd name="T92" fmla="*/ 2147483646 w 784"/>
                  <a:gd name="T93" fmla="*/ 2147483646 h 430"/>
                  <a:gd name="T94" fmla="*/ 2147483646 w 784"/>
                  <a:gd name="T95" fmla="*/ 2147483646 h 430"/>
                  <a:gd name="T96" fmla="*/ 2147483646 w 784"/>
                  <a:gd name="T97" fmla="*/ 2147483646 h 430"/>
                  <a:gd name="T98" fmla="*/ 2147483646 w 784"/>
                  <a:gd name="T99" fmla="*/ 0 h 430"/>
                  <a:gd name="T100" fmla="*/ 2147483646 w 784"/>
                  <a:gd name="T101" fmla="*/ 2147483646 h 430"/>
                  <a:gd name="T102" fmla="*/ 2147483646 w 784"/>
                  <a:gd name="T103" fmla="*/ 2147483646 h 430"/>
                  <a:gd name="T104" fmla="*/ 2147483646 w 784"/>
                  <a:gd name="T105" fmla="*/ 2147483646 h 430"/>
                  <a:gd name="T106" fmla="*/ 2147483646 w 784"/>
                  <a:gd name="T107" fmla="*/ 2147483646 h 430"/>
                  <a:gd name="T108" fmla="*/ 2147483646 w 784"/>
                  <a:gd name="T109" fmla="*/ 2147483646 h 43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784"/>
                  <a:gd name="T166" fmla="*/ 0 h 430"/>
                  <a:gd name="T167" fmla="*/ 784 w 784"/>
                  <a:gd name="T168" fmla="*/ 430 h 430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784" h="430">
                    <a:moveTo>
                      <a:pt x="778" y="295"/>
                    </a:moveTo>
                    <a:lnTo>
                      <a:pt x="772" y="294"/>
                    </a:lnTo>
                    <a:lnTo>
                      <a:pt x="768" y="292"/>
                    </a:lnTo>
                    <a:lnTo>
                      <a:pt x="762" y="292"/>
                    </a:lnTo>
                    <a:lnTo>
                      <a:pt x="757" y="292"/>
                    </a:lnTo>
                    <a:lnTo>
                      <a:pt x="751" y="293"/>
                    </a:lnTo>
                    <a:lnTo>
                      <a:pt x="745" y="295"/>
                    </a:lnTo>
                    <a:lnTo>
                      <a:pt x="738" y="298"/>
                    </a:lnTo>
                    <a:lnTo>
                      <a:pt x="731" y="302"/>
                    </a:lnTo>
                    <a:lnTo>
                      <a:pt x="727" y="303"/>
                    </a:lnTo>
                    <a:lnTo>
                      <a:pt x="725" y="305"/>
                    </a:lnTo>
                    <a:lnTo>
                      <a:pt x="723" y="308"/>
                    </a:lnTo>
                    <a:lnTo>
                      <a:pt x="721" y="312"/>
                    </a:lnTo>
                    <a:lnTo>
                      <a:pt x="718" y="322"/>
                    </a:lnTo>
                    <a:lnTo>
                      <a:pt x="717" y="332"/>
                    </a:lnTo>
                    <a:lnTo>
                      <a:pt x="716" y="343"/>
                    </a:lnTo>
                    <a:lnTo>
                      <a:pt x="714" y="354"/>
                    </a:lnTo>
                    <a:lnTo>
                      <a:pt x="713" y="360"/>
                    </a:lnTo>
                    <a:lnTo>
                      <a:pt x="711" y="365"/>
                    </a:lnTo>
                    <a:lnTo>
                      <a:pt x="708" y="370"/>
                    </a:lnTo>
                    <a:lnTo>
                      <a:pt x="704" y="376"/>
                    </a:lnTo>
                    <a:lnTo>
                      <a:pt x="694" y="385"/>
                    </a:lnTo>
                    <a:lnTo>
                      <a:pt x="683" y="394"/>
                    </a:lnTo>
                    <a:lnTo>
                      <a:pt x="671" y="402"/>
                    </a:lnTo>
                    <a:lnTo>
                      <a:pt x="659" y="409"/>
                    </a:lnTo>
                    <a:lnTo>
                      <a:pt x="647" y="416"/>
                    </a:lnTo>
                    <a:lnTo>
                      <a:pt x="633" y="420"/>
                    </a:lnTo>
                    <a:lnTo>
                      <a:pt x="626" y="422"/>
                    </a:lnTo>
                    <a:lnTo>
                      <a:pt x="620" y="424"/>
                    </a:lnTo>
                    <a:lnTo>
                      <a:pt x="612" y="424"/>
                    </a:lnTo>
                    <a:lnTo>
                      <a:pt x="604" y="425"/>
                    </a:lnTo>
                    <a:lnTo>
                      <a:pt x="596" y="426"/>
                    </a:lnTo>
                    <a:lnTo>
                      <a:pt x="587" y="429"/>
                    </a:lnTo>
                    <a:lnTo>
                      <a:pt x="581" y="430"/>
                    </a:lnTo>
                    <a:lnTo>
                      <a:pt x="575" y="430"/>
                    </a:lnTo>
                    <a:lnTo>
                      <a:pt x="567" y="428"/>
                    </a:lnTo>
                    <a:lnTo>
                      <a:pt x="558" y="425"/>
                    </a:lnTo>
                    <a:lnTo>
                      <a:pt x="553" y="406"/>
                    </a:lnTo>
                    <a:lnTo>
                      <a:pt x="545" y="388"/>
                    </a:lnTo>
                    <a:lnTo>
                      <a:pt x="537" y="367"/>
                    </a:lnTo>
                    <a:lnTo>
                      <a:pt x="532" y="345"/>
                    </a:lnTo>
                    <a:lnTo>
                      <a:pt x="515" y="344"/>
                    </a:lnTo>
                    <a:lnTo>
                      <a:pt x="501" y="342"/>
                    </a:lnTo>
                    <a:lnTo>
                      <a:pt x="489" y="339"/>
                    </a:lnTo>
                    <a:lnTo>
                      <a:pt x="478" y="334"/>
                    </a:lnTo>
                    <a:lnTo>
                      <a:pt x="467" y="329"/>
                    </a:lnTo>
                    <a:lnTo>
                      <a:pt x="458" y="323"/>
                    </a:lnTo>
                    <a:lnTo>
                      <a:pt x="448" y="315"/>
                    </a:lnTo>
                    <a:lnTo>
                      <a:pt x="439" y="308"/>
                    </a:lnTo>
                    <a:lnTo>
                      <a:pt x="429" y="301"/>
                    </a:lnTo>
                    <a:lnTo>
                      <a:pt x="417" y="294"/>
                    </a:lnTo>
                    <a:lnTo>
                      <a:pt x="404" y="287"/>
                    </a:lnTo>
                    <a:lnTo>
                      <a:pt x="389" y="280"/>
                    </a:lnTo>
                    <a:lnTo>
                      <a:pt x="373" y="274"/>
                    </a:lnTo>
                    <a:lnTo>
                      <a:pt x="354" y="268"/>
                    </a:lnTo>
                    <a:lnTo>
                      <a:pt x="331" y="262"/>
                    </a:lnTo>
                    <a:lnTo>
                      <a:pt x="306" y="258"/>
                    </a:lnTo>
                    <a:lnTo>
                      <a:pt x="212" y="258"/>
                    </a:lnTo>
                    <a:lnTo>
                      <a:pt x="204" y="267"/>
                    </a:lnTo>
                    <a:lnTo>
                      <a:pt x="182" y="283"/>
                    </a:lnTo>
                    <a:lnTo>
                      <a:pt x="171" y="292"/>
                    </a:lnTo>
                    <a:lnTo>
                      <a:pt x="160" y="300"/>
                    </a:lnTo>
                    <a:lnTo>
                      <a:pt x="151" y="306"/>
                    </a:lnTo>
                    <a:lnTo>
                      <a:pt x="146" y="308"/>
                    </a:lnTo>
                    <a:lnTo>
                      <a:pt x="137" y="308"/>
                    </a:lnTo>
                    <a:lnTo>
                      <a:pt x="127" y="308"/>
                    </a:lnTo>
                    <a:lnTo>
                      <a:pt x="119" y="308"/>
                    </a:lnTo>
                    <a:lnTo>
                      <a:pt x="113" y="308"/>
                    </a:lnTo>
                    <a:lnTo>
                      <a:pt x="66" y="252"/>
                    </a:lnTo>
                    <a:lnTo>
                      <a:pt x="66" y="237"/>
                    </a:lnTo>
                    <a:lnTo>
                      <a:pt x="66" y="223"/>
                    </a:lnTo>
                    <a:lnTo>
                      <a:pt x="66" y="204"/>
                    </a:lnTo>
                    <a:lnTo>
                      <a:pt x="66" y="179"/>
                    </a:lnTo>
                    <a:lnTo>
                      <a:pt x="53" y="179"/>
                    </a:lnTo>
                    <a:lnTo>
                      <a:pt x="40" y="179"/>
                    </a:lnTo>
                    <a:lnTo>
                      <a:pt x="42" y="185"/>
                    </a:lnTo>
                    <a:lnTo>
                      <a:pt x="42" y="192"/>
                    </a:lnTo>
                    <a:lnTo>
                      <a:pt x="42" y="199"/>
                    </a:lnTo>
                    <a:lnTo>
                      <a:pt x="41" y="205"/>
                    </a:lnTo>
                    <a:lnTo>
                      <a:pt x="39" y="212"/>
                    </a:lnTo>
                    <a:lnTo>
                      <a:pt x="36" y="218"/>
                    </a:lnTo>
                    <a:lnTo>
                      <a:pt x="31" y="223"/>
                    </a:lnTo>
                    <a:lnTo>
                      <a:pt x="27" y="228"/>
                    </a:lnTo>
                    <a:lnTo>
                      <a:pt x="30" y="221"/>
                    </a:lnTo>
                    <a:lnTo>
                      <a:pt x="32" y="215"/>
                    </a:lnTo>
                    <a:lnTo>
                      <a:pt x="32" y="208"/>
                    </a:lnTo>
                    <a:lnTo>
                      <a:pt x="31" y="203"/>
                    </a:lnTo>
                    <a:lnTo>
                      <a:pt x="29" y="191"/>
                    </a:lnTo>
                    <a:lnTo>
                      <a:pt x="27" y="179"/>
                    </a:lnTo>
                    <a:lnTo>
                      <a:pt x="27" y="174"/>
                    </a:lnTo>
                    <a:lnTo>
                      <a:pt x="29" y="170"/>
                    </a:lnTo>
                    <a:lnTo>
                      <a:pt x="31" y="167"/>
                    </a:lnTo>
                    <a:lnTo>
                      <a:pt x="33" y="163"/>
                    </a:lnTo>
                    <a:lnTo>
                      <a:pt x="36" y="160"/>
                    </a:lnTo>
                    <a:lnTo>
                      <a:pt x="38" y="156"/>
                    </a:lnTo>
                    <a:lnTo>
                      <a:pt x="40" y="152"/>
                    </a:lnTo>
                    <a:lnTo>
                      <a:pt x="40" y="147"/>
                    </a:lnTo>
                    <a:lnTo>
                      <a:pt x="31" y="136"/>
                    </a:lnTo>
                    <a:lnTo>
                      <a:pt x="27" y="129"/>
                    </a:lnTo>
                    <a:lnTo>
                      <a:pt x="20" y="129"/>
                    </a:lnTo>
                    <a:lnTo>
                      <a:pt x="11" y="128"/>
                    </a:lnTo>
                    <a:lnTo>
                      <a:pt x="7" y="126"/>
                    </a:lnTo>
                    <a:lnTo>
                      <a:pt x="4" y="124"/>
                    </a:lnTo>
                    <a:lnTo>
                      <a:pt x="1" y="121"/>
                    </a:lnTo>
                    <a:lnTo>
                      <a:pt x="0" y="117"/>
                    </a:lnTo>
                    <a:lnTo>
                      <a:pt x="0" y="113"/>
                    </a:lnTo>
                    <a:lnTo>
                      <a:pt x="1" y="108"/>
                    </a:lnTo>
                    <a:lnTo>
                      <a:pt x="3" y="104"/>
                    </a:lnTo>
                    <a:lnTo>
                      <a:pt x="5" y="100"/>
                    </a:lnTo>
                    <a:lnTo>
                      <a:pt x="8" y="96"/>
                    </a:lnTo>
                    <a:lnTo>
                      <a:pt x="11" y="94"/>
                    </a:lnTo>
                    <a:lnTo>
                      <a:pt x="16" y="92"/>
                    </a:lnTo>
                    <a:lnTo>
                      <a:pt x="20" y="92"/>
                    </a:lnTo>
                    <a:lnTo>
                      <a:pt x="27" y="92"/>
                    </a:lnTo>
                    <a:lnTo>
                      <a:pt x="32" y="94"/>
                    </a:lnTo>
                    <a:lnTo>
                      <a:pt x="37" y="96"/>
                    </a:lnTo>
                    <a:lnTo>
                      <a:pt x="41" y="99"/>
                    </a:lnTo>
                    <a:lnTo>
                      <a:pt x="45" y="101"/>
                    </a:lnTo>
                    <a:lnTo>
                      <a:pt x="51" y="103"/>
                    </a:lnTo>
                    <a:lnTo>
                      <a:pt x="57" y="104"/>
                    </a:lnTo>
                    <a:lnTo>
                      <a:pt x="66" y="105"/>
                    </a:lnTo>
                    <a:lnTo>
                      <a:pt x="67" y="99"/>
                    </a:lnTo>
                    <a:lnTo>
                      <a:pt x="71" y="92"/>
                    </a:lnTo>
                    <a:lnTo>
                      <a:pt x="75" y="87"/>
                    </a:lnTo>
                    <a:lnTo>
                      <a:pt x="79" y="82"/>
                    </a:lnTo>
                    <a:lnTo>
                      <a:pt x="83" y="77"/>
                    </a:lnTo>
                    <a:lnTo>
                      <a:pt x="86" y="71"/>
                    </a:lnTo>
                    <a:lnTo>
                      <a:pt x="87" y="67"/>
                    </a:lnTo>
                    <a:lnTo>
                      <a:pt x="87" y="64"/>
                    </a:lnTo>
                    <a:lnTo>
                      <a:pt x="87" y="60"/>
                    </a:lnTo>
                    <a:lnTo>
                      <a:pt x="86" y="56"/>
                    </a:lnTo>
                    <a:lnTo>
                      <a:pt x="78" y="55"/>
                    </a:lnTo>
                    <a:lnTo>
                      <a:pt x="71" y="54"/>
                    </a:lnTo>
                    <a:lnTo>
                      <a:pt x="63" y="52"/>
                    </a:lnTo>
                    <a:lnTo>
                      <a:pt x="55" y="49"/>
                    </a:lnTo>
                    <a:lnTo>
                      <a:pt x="52" y="47"/>
                    </a:lnTo>
                    <a:lnTo>
                      <a:pt x="50" y="44"/>
                    </a:lnTo>
                    <a:lnTo>
                      <a:pt x="47" y="40"/>
                    </a:lnTo>
                    <a:lnTo>
                      <a:pt x="44" y="37"/>
                    </a:lnTo>
                    <a:lnTo>
                      <a:pt x="42" y="33"/>
                    </a:lnTo>
                    <a:lnTo>
                      <a:pt x="41" y="28"/>
                    </a:lnTo>
                    <a:lnTo>
                      <a:pt x="40" y="24"/>
                    </a:lnTo>
                    <a:lnTo>
                      <a:pt x="40" y="18"/>
                    </a:lnTo>
                    <a:lnTo>
                      <a:pt x="107" y="43"/>
                    </a:lnTo>
                    <a:lnTo>
                      <a:pt x="133" y="80"/>
                    </a:lnTo>
                    <a:lnTo>
                      <a:pt x="179" y="86"/>
                    </a:lnTo>
                    <a:lnTo>
                      <a:pt x="219" y="74"/>
                    </a:lnTo>
                    <a:lnTo>
                      <a:pt x="212" y="43"/>
                    </a:lnTo>
                    <a:lnTo>
                      <a:pt x="253" y="24"/>
                    </a:lnTo>
                    <a:lnTo>
                      <a:pt x="273" y="0"/>
                    </a:lnTo>
                    <a:lnTo>
                      <a:pt x="306" y="6"/>
                    </a:lnTo>
                    <a:lnTo>
                      <a:pt x="339" y="24"/>
                    </a:lnTo>
                    <a:lnTo>
                      <a:pt x="373" y="43"/>
                    </a:lnTo>
                    <a:lnTo>
                      <a:pt x="386" y="80"/>
                    </a:lnTo>
                    <a:lnTo>
                      <a:pt x="425" y="92"/>
                    </a:lnTo>
                    <a:lnTo>
                      <a:pt x="465" y="92"/>
                    </a:lnTo>
                    <a:lnTo>
                      <a:pt x="512" y="141"/>
                    </a:lnTo>
                    <a:lnTo>
                      <a:pt x="545" y="179"/>
                    </a:lnTo>
                    <a:lnTo>
                      <a:pt x="591" y="210"/>
                    </a:lnTo>
                    <a:lnTo>
                      <a:pt x="632" y="222"/>
                    </a:lnTo>
                    <a:lnTo>
                      <a:pt x="678" y="252"/>
                    </a:lnTo>
                    <a:lnTo>
                      <a:pt x="724" y="265"/>
                    </a:lnTo>
                    <a:lnTo>
                      <a:pt x="758" y="277"/>
                    </a:lnTo>
                    <a:lnTo>
                      <a:pt x="784" y="289"/>
                    </a:lnTo>
                    <a:lnTo>
                      <a:pt x="778" y="295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31" name="Freeform 353">
                <a:extLst>
                  <a:ext uri="{FF2B5EF4-FFF2-40B4-BE49-F238E27FC236}">
                    <a16:creationId xmlns="" xmlns:a16="http://schemas.microsoft.com/office/drawing/2014/main" id="{EA54F53C-5F41-4259-B989-8AD3D7A047B6}"/>
                  </a:ext>
                </a:extLst>
              </p:cNvPr>
              <p:cNvSpPr>
                <a:spLocks/>
              </p:cNvSpPr>
              <p:nvPr>
                <p:custDataLst>
                  <p:tags r:id="rId256"/>
                </p:custDataLst>
              </p:nvPr>
            </p:nvSpPr>
            <p:spPr bwMode="auto">
              <a:xfrm>
                <a:off x="4425950" y="2203450"/>
                <a:ext cx="107950" cy="149225"/>
              </a:xfrm>
              <a:custGeom>
                <a:avLst/>
                <a:gdLst>
                  <a:gd name="T0" fmla="*/ 2147483646 w 246"/>
                  <a:gd name="T1" fmla="*/ 2147483646 h 284"/>
                  <a:gd name="T2" fmla="*/ 2147483646 w 246"/>
                  <a:gd name="T3" fmla="*/ 2147483646 h 284"/>
                  <a:gd name="T4" fmla="*/ 2147483646 w 246"/>
                  <a:gd name="T5" fmla="*/ 2147483646 h 284"/>
                  <a:gd name="T6" fmla="*/ 2147483646 w 246"/>
                  <a:gd name="T7" fmla="*/ 2147483646 h 284"/>
                  <a:gd name="T8" fmla="*/ 2147483646 w 246"/>
                  <a:gd name="T9" fmla="*/ 2147483646 h 284"/>
                  <a:gd name="T10" fmla="*/ 2147483646 w 246"/>
                  <a:gd name="T11" fmla="*/ 2147483646 h 284"/>
                  <a:gd name="T12" fmla="*/ 2147483646 w 246"/>
                  <a:gd name="T13" fmla="*/ 2147483646 h 284"/>
                  <a:gd name="T14" fmla="*/ 2147483646 w 246"/>
                  <a:gd name="T15" fmla="*/ 2147483646 h 284"/>
                  <a:gd name="T16" fmla="*/ 2147483646 w 246"/>
                  <a:gd name="T17" fmla="*/ 2147483646 h 284"/>
                  <a:gd name="T18" fmla="*/ 2147483646 w 246"/>
                  <a:gd name="T19" fmla="*/ 2147483646 h 284"/>
                  <a:gd name="T20" fmla="*/ 2147483646 w 246"/>
                  <a:gd name="T21" fmla="*/ 2147483646 h 284"/>
                  <a:gd name="T22" fmla="*/ 2147483646 w 246"/>
                  <a:gd name="T23" fmla="*/ 2147483646 h 284"/>
                  <a:gd name="T24" fmla="*/ 2147483646 w 246"/>
                  <a:gd name="T25" fmla="*/ 2147483646 h 284"/>
                  <a:gd name="T26" fmla="*/ 2147483646 w 246"/>
                  <a:gd name="T27" fmla="*/ 2147483646 h 284"/>
                  <a:gd name="T28" fmla="*/ 2147483646 w 246"/>
                  <a:gd name="T29" fmla="*/ 2147483646 h 284"/>
                  <a:gd name="T30" fmla="*/ 2147483646 w 246"/>
                  <a:gd name="T31" fmla="*/ 2147483646 h 284"/>
                  <a:gd name="T32" fmla="*/ 2147483646 w 246"/>
                  <a:gd name="T33" fmla="*/ 2147483646 h 284"/>
                  <a:gd name="T34" fmla="*/ 2147483646 w 246"/>
                  <a:gd name="T35" fmla="*/ 2147483646 h 284"/>
                  <a:gd name="T36" fmla="*/ 2147483646 w 246"/>
                  <a:gd name="T37" fmla="*/ 2147483646 h 284"/>
                  <a:gd name="T38" fmla="*/ 2147483646 w 246"/>
                  <a:gd name="T39" fmla="*/ 2147483646 h 284"/>
                  <a:gd name="T40" fmla="*/ 2147483646 w 246"/>
                  <a:gd name="T41" fmla="*/ 2147483646 h 284"/>
                  <a:gd name="T42" fmla="*/ 2147483646 w 246"/>
                  <a:gd name="T43" fmla="*/ 2147483646 h 284"/>
                  <a:gd name="T44" fmla="*/ 2147483646 w 246"/>
                  <a:gd name="T45" fmla="*/ 2147483646 h 284"/>
                  <a:gd name="T46" fmla="*/ 2147483646 w 246"/>
                  <a:gd name="T47" fmla="*/ 2147483646 h 284"/>
                  <a:gd name="T48" fmla="*/ 2147483646 w 246"/>
                  <a:gd name="T49" fmla="*/ 2147483646 h 284"/>
                  <a:gd name="T50" fmla="*/ 2147483646 w 246"/>
                  <a:gd name="T51" fmla="*/ 2147483646 h 284"/>
                  <a:gd name="T52" fmla="*/ 2147483646 w 246"/>
                  <a:gd name="T53" fmla="*/ 2147483646 h 284"/>
                  <a:gd name="T54" fmla="*/ 2147483646 w 246"/>
                  <a:gd name="T55" fmla="*/ 2147483646 h 284"/>
                  <a:gd name="T56" fmla="*/ 2147483646 w 246"/>
                  <a:gd name="T57" fmla="*/ 2147483646 h 284"/>
                  <a:gd name="T58" fmla="*/ 2147483646 w 246"/>
                  <a:gd name="T59" fmla="*/ 2147483646 h 284"/>
                  <a:gd name="T60" fmla="*/ 2147483646 w 246"/>
                  <a:gd name="T61" fmla="*/ 2147483646 h 284"/>
                  <a:gd name="T62" fmla="*/ 2147483646 w 246"/>
                  <a:gd name="T63" fmla="*/ 2147483646 h 284"/>
                  <a:gd name="T64" fmla="*/ 2147483646 w 246"/>
                  <a:gd name="T65" fmla="*/ 2147483646 h 284"/>
                  <a:gd name="T66" fmla="*/ 2147483646 w 246"/>
                  <a:gd name="T67" fmla="*/ 2147483646 h 284"/>
                  <a:gd name="T68" fmla="*/ 2147483646 w 246"/>
                  <a:gd name="T69" fmla="*/ 2147483646 h 284"/>
                  <a:gd name="T70" fmla="*/ 2147483646 w 246"/>
                  <a:gd name="T71" fmla="*/ 2147483646 h 284"/>
                  <a:gd name="T72" fmla="*/ 2147483646 w 246"/>
                  <a:gd name="T73" fmla="*/ 2147483646 h 284"/>
                  <a:gd name="T74" fmla="*/ 2147483646 w 246"/>
                  <a:gd name="T75" fmla="*/ 2147483646 h 284"/>
                  <a:gd name="T76" fmla="*/ 2147483646 w 246"/>
                  <a:gd name="T77" fmla="*/ 2147483646 h 284"/>
                  <a:gd name="T78" fmla="*/ 2147483646 w 246"/>
                  <a:gd name="T79" fmla="*/ 2147483646 h 284"/>
                  <a:gd name="T80" fmla="*/ 0 w 246"/>
                  <a:gd name="T81" fmla="*/ 2147483646 h 284"/>
                  <a:gd name="T82" fmla="*/ 2147483646 w 246"/>
                  <a:gd name="T83" fmla="*/ 2147483646 h 284"/>
                  <a:gd name="T84" fmla="*/ 2147483646 w 246"/>
                  <a:gd name="T85" fmla="*/ 2147483646 h 284"/>
                  <a:gd name="T86" fmla="*/ 2147483646 w 246"/>
                  <a:gd name="T87" fmla="*/ 2147483646 h 284"/>
                  <a:gd name="T88" fmla="*/ 2147483646 w 246"/>
                  <a:gd name="T89" fmla="*/ 2147483646 h 284"/>
                  <a:gd name="T90" fmla="*/ 2147483646 w 246"/>
                  <a:gd name="T91" fmla="*/ 2147483646 h 284"/>
                  <a:gd name="T92" fmla="*/ 2147483646 w 246"/>
                  <a:gd name="T93" fmla="*/ 2147483646 h 284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246"/>
                  <a:gd name="T142" fmla="*/ 0 h 284"/>
                  <a:gd name="T143" fmla="*/ 246 w 246"/>
                  <a:gd name="T144" fmla="*/ 284 h 284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246" h="284">
                    <a:moveTo>
                      <a:pt x="33" y="44"/>
                    </a:moveTo>
                    <a:lnTo>
                      <a:pt x="30" y="27"/>
                    </a:lnTo>
                    <a:lnTo>
                      <a:pt x="28" y="24"/>
                    </a:lnTo>
                    <a:lnTo>
                      <a:pt x="26" y="22"/>
                    </a:lnTo>
                    <a:lnTo>
                      <a:pt x="24" y="17"/>
                    </a:lnTo>
                    <a:lnTo>
                      <a:pt x="20" y="6"/>
                    </a:lnTo>
                    <a:lnTo>
                      <a:pt x="35" y="5"/>
                    </a:lnTo>
                    <a:lnTo>
                      <a:pt x="50" y="3"/>
                    </a:lnTo>
                    <a:lnTo>
                      <a:pt x="67" y="1"/>
                    </a:lnTo>
                    <a:lnTo>
                      <a:pt x="87" y="0"/>
                    </a:lnTo>
                    <a:lnTo>
                      <a:pt x="126" y="12"/>
                    </a:lnTo>
                    <a:lnTo>
                      <a:pt x="127" y="22"/>
                    </a:lnTo>
                    <a:lnTo>
                      <a:pt x="131" y="30"/>
                    </a:lnTo>
                    <a:lnTo>
                      <a:pt x="135" y="39"/>
                    </a:lnTo>
                    <a:lnTo>
                      <a:pt x="139" y="46"/>
                    </a:lnTo>
                    <a:lnTo>
                      <a:pt x="145" y="52"/>
                    </a:lnTo>
                    <a:lnTo>
                      <a:pt x="151" y="57"/>
                    </a:lnTo>
                    <a:lnTo>
                      <a:pt x="157" y="62"/>
                    </a:lnTo>
                    <a:lnTo>
                      <a:pt x="165" y="67"/>
                    </a:lnTo>
                    <a:lnTo>
                      <a:pt x="178" y="77"/>
                    </a:lnTo>
                    <a:lnTo>
                      <a:pt x="191" y="87"/>
                    </a:lnTo>
                    <a:lnTo>
                      <a:pt x="198" y="94"/>
                    </a:lnTo>
                    <a:lnTo>
                      <a:pt x="203" y="101"/>
                    </a:lnTo>
                    <a:lnTo>
                      <a:pt x="209" y="109"/>
                    </a:lnTo>
                    <a:lnTo>
                      <a:pt x="212" y="117"/>
                    </a:lnTo>
                    <a:lnTo>
                      <a:pt x="220" y="117"/>
                    </a:lnTo>
                    <a:lnTo>
                      <a:pt x="226" y="117"/>
                    </a:lnTo>
                    <a:lnTo>
                      <a:pt x="223" y="121"/>
                    </a:lnTo>
                    <a:lnTo>
                      <a:pt x="221" y="124"/>
                    </a:lnTo>
                    <a:lnTo>
                      <a:pt x="220" y="126"/>
                    </a:lnTo>
                    <a:lnTo>
                      <a:pt x="221" y="129"/>
                    </a:lnTo>
                    <a:lnTo>
                      <a:pt x="223" y="135"/>
                    </a:lnTo>
                    <a:lnTo>
                      <a:pt x="228" y="140"/>
                    </a:lnTo>
                    <a:lnTo>
                      <a:pt x="234" y="146"/>
                    </a:lnTo>
                    <a:lnTo>
                      <a:pt x="239" y="154"/>
                    </a:lnTo>
                    <a:lnTo>
                      <a:pt x="241" y="158"/>
                    </a:lnTo>
                    <a:lnTo>
                      <a:pt x="244" y="162"/>
                    </a:lnTo>
                    <a:lnTo>
                      <a:pt x="245" y="167"/>
                    </a:lnTo>
                    <a:lnTo>
                      <a:pt x="246" y="173"/>
                    </a:lnTo>
                    <a:lnTo>
                      <a:pt x="245" y="179"/>
                    </a:lnTo>
                    <a:lnTo>
                      <a:pt x="241" y="184"/>
                    </a:lnTo>
                    <a:lnTo>
                      <a:pt x="237" y="189"/>
                    </a:lnTo>
                    <a:lnTo>
                      <a:pt x="233" y="192"/>
                    </a:lnTo>
                    <a:lnTo>
                      <a:pt x="227" y="196"/>
                    </a:lnTo>
                    <a:lnTo>
                      <a:pt x="223" y="198"/>
                    </a:lnTo>
                    <a:lnTo>
                      <a:pt x="221" y="201"/>
                    </a:lnTo>
                    <a:lnTo>
                      <a:pt x="220" y="204"/>
                    </a:lnTo>
                    <a:lnTo>
                      <a:pt x="203" y="209"/>
                    </a:lnTo>
                    <a:lnTo>
                      <a:pt x="189" y="215"/>
                    </a:lnTo>
                    <a:lnTo>
                      <a:pt x="176" y="222"/>
                    </a:lnTo>
                    <a:lnTo>
                      <a:pt x="164" y="230"/>
                    </a:lnTo>
                    <a:lnTo>
                      <a:pt x="139" y="246"/>
                    </a:lnTo>
                    <a:lnTo>
                      <a:pt x="113" y="265"/>
                    </a:lnTo>
                    <a:lnTo>
                      <a:pt x="99" y="247"/>
                    </a:lnTo>
                    <a:lnTo>
                      <a:pt x="88" y="231"/>
                    </a:lnTo>
                    <a:lnTo>
                      <a:pt x="83" y="225"/>
                    </a:lnTo>
                    <a:lnTo>
                      <a:pt x="79" y="220"/>
                    </a:lnTo>
                    <a:lnTo>
                      <a:pt x="76" y="217"/>
                    </a:lnTo>
                    <a:lnTo>
                      <a:pt x="72" y="216"/>
                    </a:lnTo>
                    <a:lnTo>
                      <a:pt x="66" y="216"/>
                    </a:lnTo>
                    <a:lnTo>
                      <a:pt x="60" y="217"/>
                    </a:lnTo>
                    <a:lnTo>
                      <a:pt x="57" y="219"/>
                    </a:lnTo>
                    <a:lnTo>
                      <a:pt x="54" y="221"/>
                    </a:lnTo>
                    <a:lnTo>
                      <a:pt x="52" y="224"/>
                    </a:lnTo>
                    <a:lnTo>
                      <a:pt x="49" y="228"/>
                    </a:lnTo>
                    <a:lnTo>
                      <a:pt x="48" y="231"/>
                    </a:lnTo>
                    <a:lnTo>
                      <a:pt x="48" y="236"/>
                    </a:lnTo>
                    <a:lnTo>
                      <a:pt x="47" y="246"/>
                    </a:lnTo>
                    <a:lnTo>
                      <a:pt x="45" y="257"/>
                    </a:lnTo>
                    <a:lnTo>
                      <a:pt x="43" y="264"/>
                    </a:lnTo>
                    <a:lnTo>
                      <a:pt x="41" y="270"/>
                    </a:lnTo>
                    <a:lnTo>
                      <a:pt x="37" y="277"/>
                    </a:lnTo>
                    <a:lnTo>
                      <a:pt x="33" y="284"/>
                    </a:lnTo>
                    <a:lnTo>
                      <a:pt x="30" y="262"/>
                    </a:lnTo>
                    <a:lnTo>
                      <a:pt x="26" y="243"/>
                    </a:lnTo>
                    <a:lnTo>
                      <a:pt x="23" y="234"/>
                    </a:lnTo>
                    <a:lnTo>
                      <a:pt x="17" y="227"/>
                    </a:lnTo>
                    <a:lnTo>
                      <a:pt x="14" y="224"/>
                    </a:lnTo>
                    <a:lnTo>
                      <a:pt x="11" y="221"/>
                    </a:lnTo>
                    <a:lnTo>
                      <a:pt x="5" y="218"/>
                    </a:lnTo>
                    <a:lnTo>
                      <a:pt x="0" y="216"/>
                    </a:lnTo>
                    <a:lnTo>
                      <a:pt x="0" y="210"/>
                    </a:lnTo>
                    <a:lnTo>
                      <a:pt x="1" y="204"/>
                    </a:lnTo>
                    <a:lnTo>
                      <a:pt x="2" y="197"/>
                    </a:lnTo>
                    <a:lnTo>
                      <a:pt x="4" y="193"/>
                    </a:lnTo>
                    <a:lnTo>
                      <a:pt x="9" y="184"/>
                    </a:lnTo>
                    <a:lnTo>
                      <a:pt x="15" y="176"/>
                    </a:lnTo>
                    <a:lnTo>
                      <a:pt x="23" y="169"/>
                    </a:lnTo>
                    <a:lnTo>
                      <a:pt x="31" y="161"/>
                    </a:lnTo>
                    <a:lnTo>
                      <a:pt x="38" y="153"/>
                    </a:lnTo>
                    <a:lnTo>
                      <a:pt x="46" y="141"/>
                    </a:lnTo>
                    <a:lnTo>
                      <a:pt x="0" y="62"/>
                    </a:lnTo>
                    <a:lnTo>
                      <a:pt x="33" y="44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32" name="Freeform 354">
                <a:extLst>
                  <a:ext uri="{FF2B5EF4-FFF2-40B4-BE49-F238E27FC236}">
                    <a16:creationId xmlns="" xmlns:a16="http://schemas.microsoft.com/office/drawing/2014/main" id="{342F88B6-4251-482A-B0D5-4A1A3D9EC8A0}"/>
                  </a:ext>
                </a:extLst>
              </p:cNvPr>
              <p:cNvSpPr>
                <a:spLocks/>
              </p:cNvSpPr>
              <p:nvPr>
                <p:custDataLst>
                  <p:tags r:id="rId257"/>
                </p:custDataLst>
              </p:nvPr>
            </p:nvSpPr>
            <p:spPr bwMode="auto">
              <a:xfrm>
                <a:off x="4473575" y="2311400"/>
                <a:ext cx="68263" cy="60325"/>
              </a:xfrm>
              <a:custGeom>
                <a:avLst/>
                <a:gdLst>
                  <a:gd name="T0" fmla="*/ 2147483646 w 160"/>
                  <a:gd name="T1" fmla="*/ 0 h 117"/>
                  <a:gd name="T2" fmla="*/ 2147483646 w 160"/>
                  <a:gd name="T3" fmla="*/ 2147483646 h 117"/>
                  <a:gd name="T4" fmla="*/ 2147483646 w 160"/>
                  <a:gd name="T5" fmla="*/ 2147483646 h 117"/>
                  <a:gd name="T6" fmla="*/ 2147483646 w 160"/>
                  <a:gd name="T7" fmla="*/ 2147483646 h 117"/>
                  <a:gd name="T8" fmla="*/ 2147483646 w 160"/>
                  <a:gd name="T9" fmla="*/ 2147483646 h 117"/>
                  <a:gd name="T10" fmla="*/ 2147483646 w 160"/>
                  <a:gd name="T11" fmla="*/ 2147483646 h 117"/>
                  <a:gd name="T12" fmla="*/ 2147483646 w 160"/>
                  <a:gd name="T13" fmla="*/ 2147483646 h 117"/>
                  <a:gd name="T14" fmla="*/ 2147483646 w 160"/>
                  <a:gd name="T15" fmla="*/ 2147483646 h 117"/>
                  <a:gd name="T16" fmla="*/ 2147483646 w 160"/>
                  <a:gd name="T17" fmla="*/ 2147483646 h 117"/>
                  <a:gd name="T18" fmla="*/ 2147483646 w 160"/>
                  <a:gd name="T19" fmla="*/ 2147483646 h 117"/>
                  <a:gd name="T20" fmla="*/ 2147483646 w 160"/>
                  <a:gd name="T21" fmla="*/ 2147483646 h 117"/>
                  <a:gd name="T22" fmla="*/ 2147483646 w 160"/>
                  <a:gd name="T23" fmla="*/ 2147483646 h 117"/>
                  <a:gd name="T24" fmla="*/ 2147483646 w 160"/>
                  <a:gd name="T25" fmla="*/ 2147483646 h 117"/>
                  <a:gd name="T26" fmla="*/ 2147483646 w 160"/>
                  <a:gd name="T27" fmla="*/ 2147483646 h 117"/>
                  <a:gd name="T28" fmla="*/ 2147483646 w 160"/>
                  <a:gd name="T29" fmla="*/ 2147483646 h 117"/>
                  <a:gd name="T30" fmla="*/ 2147483646 w 160"/>
                  <a:gd name="T31" fmla="*/ 2147483646 h 117"/>
                  <a:gd name="T32" fmla="*/ 2147483646 w 160"/>
                  <a:gd name="T33" fmla="*/ 2147483646 h 117"/>
                  <a:gd name="T34" fmla="*/ 2147483646 w 160"/>
                  <a:gd name="T35" fmla="*/ 2147483646 h 117"/>
                  <a:gd name="T36" fmla="*/ 2147483646 w 160"/>
                  <a:gd name="T37" fmla="*/ 2147483646 h 117"/>
                  <a:gd name="T38" fmla="*/ 2147483646 w 160"/>
                  <a:gd name="T39" fmla="*/ 2147483646 h 117"/>
                  <a:gd name="T40" fmla="*/ 2147483646 w 160"/>
                  <a:gd name="T41" fmla="*/ 2147483646 h 117"/>
                  <a:gd name="T42" fmla="*/ 2147483646 w 160"/>
                  <a:gd name="T43" fmla="*/ 2147483646 h 117"/>
                  <a:gd name="T44" fmla="*/ 2147483646 w 160"/>
                  <a:gd name="T45" fmla="*/ 2147483646 h 117"/>
                  <a:gd name="T46" fmla="*/ 2147483646 w 160"/>
                  <a:gd name="T47" fmla="*/ 2147483646 h 117"/>
                  <a:gd name="T48" fmla="*/ 2147483646 w 160"/>
                  <a:gd name="T49" fmla="*/ 2147483646 h 117"/>
                  <a:gd name="T50" fmla="*/ 2147483646 w 160"/>
                  <a:gd name="T51" fmla="*/ 2147483646 h 117"/>
                  <a:gd name="T52" fmla="*/ 0 w 160"/>
                  <a:gd name="T53" fmla="*/ 2147483646 h 117"/>
                  <a:gd name="T54" fmla="*/ 2147483646 w 160"/>
                  <a:gd name="T55" fmla="*/ 2147483646 h 117"/>
                  <a:gd name="T56" fmla="*/ 2147483646 w 160"/>
                  <a:gd name="T57" fmla="*/ 2147483646 h 117"/>
                  <a:gd name="T58" fmla="*/ 2147483646 w 160"/>
                  <a:gd name="T59" fmla="*/ 2147483646 h 117"/>
                  <a:gd name="T60" fmla="*/ 2147483646 w 160"/>
                  <a:gd name="T61" fmla="*/ 2147483646 h 117"/>
                  <a:gd name="T62" fmla="*/ 2147483646 w 160"/>
                  <a:gd name="T63" fmla="*/ 2147483646 h 117"/>
                  <a:gd name="T64" fmla="*/ 2147483646 w 160"/>
                  <a:gd name="T65" fmla="*/ 0 h 11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60"/>
                  <a:gd name="T100" fmla="*/ 0 h 117"/>
                  <a:gd name="T101" fmla="*/ 160 w 160"/>
                  <a:gd name="T102" fmla="*/ 117 h 117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60" h="117">
                    <a:moveTo>
                      <a:pt x="114" y="0"/>
                    </a:moveTo>
                    <a:lnTo>
                      <a:pt x="114" y="9"/>
                    </a:lnTo>
                    <a:lnTo>
                      <a:pt x="114" y="18"/>
                    </a:lnTo>
                    <a:lnTo>
                      <a:pt x="115" y="25"/>
                    </a:lnTo>
                    <a:lnTo>
                      <a:pt x="117" y="32"/>
                    </a:lnTo>
                    <a:lnTo>
                      <a:pt x="119" y="34"/>
                    </a:lnTo>
                    <a:lnTo>
                      <a:pt x="121" y="37"/>
                    </a:lnTo>
                    <a:lnTo>
                      <a:pt x="123" y="38"/>
                    </a:lnTo>
                    <a:lnTo>
                      <a:pt x="127" y="39"/>
                    </a:lnTo>
                    <a:lnTo>
                      <a:pt x="131" y="40"/>
                    </a:lnTo>
                    <a:lnTo>
                      <a:pt x="135" y="39"/>
                    </a:lnTo>
                    <a:lnTo>
                      <a:pt x="140" y="38"/>
                    </a:lnTo>
                    <a:lnTo>
                      <a:pt x="146" y="36"/>
                    </a:lnTo>
                    <a:lnTo>
                      <a:pt x="149" y="43"/>
                    </a:lnTo>
                    <a:lnTo>
                      <a:pt x="153" y="52"/>
                    </a:lnTo>
                    <a:lnTo>
                      <a:pt x="157" y="64"/>
                    </a:lnTo>
                    <a:lnTo>
                      <a:pt x="160" y="74"/>
                    </a:lnTo>
                    <a:lnTo>
                      <a:pt x="133" y="88"/>
                    </a:lnTo>
                    <a:lnTo>
                      <a:pt x="106" y="102"/>
                    </a:lnTo>
                    <a:lnTo>
                      <a:pt x="92" y="107"/>
                    </a:lnTo>
                    <a:lnTo>
                      <a:pt x="76" y="113"/>
                    </a:lnTo>
                    <a:lnTo>
                      <a:pt x="62" y="116"/>
                    </a:lnTo>
                    <a:lnTo>
                      <a:pt x="47" y="117"/>
                    </a:lnTo>
                    <a:lnTo>
                      <a:pt x="32" y="99"/>
                    </a:lnTo>
                    <a:lnTo>
                      <a:pt x="21" y="83"/>
                    </a:lnTo>
                    <a:lnTo>
                      <a:pt x="10" y="69"/>
                    </a:lnTo>
                    <a:lnTo>
                      <a:pt x="0" y="55"/>
                    </a:lnTo>
                    <a:lnTo>
                      <a:pt x="13" y="48"/>
                    </a:lnTo>
                    <a:lnTo>
                      <a:pt x="41" y="32"/>
                    </a:lnTo>
                    <a:lnTo>
                      <a:pt x="60" y="23"/>
                    </a:lnTo>
                    <a:lnTo>
                      <a:pt x="78" y="14"/>
                    </a:lnTo>
                    <a:lnTo>
                      <a:pt x="97" y="6"/>
                    </a:lnTo>
                    <a:lnTo>
                      <a:pt x="114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33" name="Freeform 355">
                <a:extLst>
                  <a:ext uri="{FF2B5EF4-FFF2-40B4-BE49-F238E27FC236}">
                    <a16:creationId xmlns="" xmlns:a16="http://schemas.microsoft.com/office/drawing/2014/main" id="{D8C8573D-BEA3-4EFF-AD7D-2E24B1D11A98}"/>
                  </a:ext>
                </a:extLst>
              </p:cNvPr>
              <p:cNvSpPr>
                <a:spLocks/>
              </p:cNvSpPr>
              <p:nvPr>
                <p:custDataLst>
                  <p:tags r:id="rId258"/>
                </p:custDataLst>
              </p:nvPr>
            </p:nvSpPr>
            <p:spPr bwMode="auto">
              <a:xfrm>
                <a:off x="4557713" y="2935288"/>
                <a:ext cx="411162" cy="611187"/>
              </a:xfrm>
              <a:custGeom>
                <a:avLst/>
                <a:gdLst>
                  <a:gd name="T0" fmla="*/ 2147483646 w 943"/>
                  <a:gd name="T1" fmla="*/ 2147483646 h 1172"/>
                  <a:gd name="T2" fmla="*/ 2147483646 w 943"/>
                  <a:gd name="T3" fmla="*/ 2147483646 h 1172"/>
                  <a:gd name="T4" fmla="*/ 2147483646 w 943"/>
                  <a:gd name="T5" fmla="*/ 2147483646 h 1172"/>
                  <a:gd name="T6" fmla="*/ 2147483646 w 943"/>
                  <a:gd name="T7" fmla="*/ 2147483646 h 1172"/>
                  <a:gd name="T8" fmla="*/ 2147483646 w 943"/>
                  <a:gd name="T9" fmla="*/ 2147483646 h 1172"/>
                  <a:gd name="T10" fmla="*/ 2147483646 w 943"/>
                  <a:gd name="T11" fmla="*/ 2147483646 h 1172"/>
                  <a:gd name="T12" fmla="*/ 2147483646 w 943"/>
                  <a:gd name="T13" fmla="*/ 2147483646 h 1172"/>
                  <a:gd name="T14" fmla="*/ 2147483646 w 943"/>
                  <a:gd name="T15" fmla="*/ 2147483646 h 1172"/>
                  <a:gd name="T16" fmla="*/ 2147483646 w 943"/>
                  <a:gd name="T17" fmla="*/ 2147483646 h 1172"/>
                  <a:gd name="T18" fmla="*/ 2147483646 w 943"/>
                  <a:gd name="T19" fmla="*/ 2147483646 h 1172"/>
                  <a:gd name="T20" fmla="*/ 2147483646 w 943"/>
                  <a:gd name="T21" fmla="*/ 2147483646 h 1172"/>
                  <a:gd name="T22" fmla="*/ 2147483646 w 943"/>
                  <a:gd name="T23" fmla="*/ 2147483646 h 1172"/>
                  <a:gd name="T24" fmla="*/ 2147483646 w 943"/>
                  <a:gd name="T25" fmla="*/ 2147483646 h 1172"/>
                  <a:gd name="T26" fmla="*/ 2147483646 w 943"/>
                  <a:gd name="T27" fmla="*/ 2147483646 h 1172"/>
                  <a:gd name="T28" fmla="*/ 2147483646 w 943"/>
                  <a:gd name="T29" fmla="*/ 2147483646 h 1172"/>
                  <a:gd name="T30" fmla="*/ 2147483646 w 943"/>
                  <a:gd name="T31" fmla="*/ 2147483646 h 1172"/>
                  <a:gd name="T32" fmla="*/ 2147483646 w 943"/>
                  <a:gd name="T33" fmla="*/ 2147483646 h 1172"/>
                  <a:gd name="T34" fmla="*/ 2147483646 w 943"/>
                  <a:gd name="T35" fmla="*/ 2147483646 h 1172"/>
                  <a:gd name="T36" fmla="*/ 2147483646 w 943"/>
                  <a:gd name="T37" fmla="*/ 2147483646 h 1172"/>
                  <a:gd name="T38" fmla="*/ 2147483646 w 943"/>
                  <a:gd name="T39" fmla="*/ 2147483646 h 1172"/>
                  <a:gd name="T40" fmla="*/ 2147483646 w 943"/>
                  <a:gd name="T41" fmla="*/ 2147483646 h 1172"/>
                  <a:gd name="T42" fmla="*/ 2147483646 w 943"/>
                  <a:gd name="T43" fmla="*/ 2147483646 h 1172"/>
                  <a:gd name="T44" fmla="*/ 2147483646 w 943"/>
                  <a:gd name="T45" fmla="*/ 2147483646 h 1172"/>
                  <a:gd name="T46" fmla="*/ 2147483646 w 943"/>
                  <a:gd name="T47" fmla="*/ 2147483646 h 1172"/>
                  <a:gd name="T48" fmla="*/ 2147483646 w 943"/>
                  <a:gd name="T49" fmla="*/ 2147483646 h 1172"/>
                  <a:gd name="T50" fmla="*/ 2147483646 w 943"/>
                  <a:gd name="T51" fmla="*/ 2147483646 h 1172"/>
                  <a:gd name="T52" fmla="*/ 2147483646 w 943"/>
                  <a:gd name="T53" fmla="*/ 2147483646 h 1172"/>
                  <a:gd name="T54" fmla="*/ 2147483646 w 943"/>
                  <a:gd name="T55" fmla="*/ 2147483646 h 1172"/>
                  <a:gd name="T56" fmla="*/ 2147483646 w 943"/>
                  <a:gd name="T57" fmla="*/ 2147483646 h 1172"/>
                  <a:gd name="T58" fmla="*/ 2147483646 w 943"/>
                  <a:gd name="T59" fmla="*/ 2147483646 h 1172"/>
                  <a:gd name="T60" fmla="*/ 2147483646 w 943"/>
                  <a:gd name="T61" fmla="*/ 2147483646 h 1172"/>
                  <a:gd name="T62" fmla="*/ 2147483646 w 943"/>
                  <a:gd name="T63" fmla="*/ 2147483646 h 1172"/>
                  <a:gd name="T64" fmla="*/ 2147483646 w 943"/>
                  <a:gd name="T65" fmla="*/ 2147483646 h 1172"/>
                  <a:gd name="T66" fmla="*/ 2147483646 w 943"/>
                  <a:gd name="T67" fmla="*/ 2147483646 h 1172"/>
                  <a:gd name="T68" fmla="*/ 2147483646 w 943"/>
                  <a:gd name="T69" fmla="*/ 2147483646 h 1172"/>
                  <a:gd name="T70" fmla="*/ 2147483646 w 943"/>
                  <a:gd name="T71" fmla="*/ 2147483646 h 1172"/>
                  <a:gd name="T72" fmla="*/ 2147483646 w 943"/>
                  <a:gd name="T73" fmla="*/ 2147483646 h 1172"/>
                  <a:gd name="T74" fmla="*/ 2147483646 w 943"/>
                  <a:gd name="T75" fmla="*/ 2147483646 h 1172"/>
                  <a:gd name="T76" fmla="*/ 2147483646 w 943"/>
                  <a:gd name="T77" fmla="*/ 2147483646 h 1172"/>
                  <a:gd name="T78" fmla="*/ 2147483646 w 943"/>
                  <a:gd name="T79" fmla="*/ 2147483646 h 1172"/>
                  <a:gd name="T80" fmla="*/ 2147483646 w 943"/>
                  <a:gd name="T81" fmla="*/ 2147483646 h 1172"/>
                  <a:gd name="T82" fmla="*/ 2147483646 w 943"/>
                  <a:gd name="T83" fmla="*/ 2147483646 h 1172"/>
                  <a:gd name="T84" fmla="*/ 2147483646 w 943"/>
                  <a:gd name="T85" fmla="*/ 2147483646 h 1172"/>
                  <a:gd name="T86" fmla="*/ 2147483646 w 943"/>
                  <a:gd name="T87" fmla="*/ 2147483646 h 1172"/>
                  <a:gd name="T88" fmla="*/ 2147483646 w 943"/>
                  <a:gd name="T89" fmla="*/ 2147483646 h 1172"/>
                  <a:gd name="T90" fmla="*/ 2147483646 w 943"/>
                  <a:gd name="T91" fmla="*/ 2147483646 h 1172"/>
                  <a:gd name="T92" fmla="*/ 2147483646 w 943"/>
                  <a:gd name="T93" fmla="*/ 2147483646 h 1172"/>
                  <a:gd name="T94" fmla="*/ 2147483646 w 943"/>
                  <a:gd name="T95" fmla="*/ 2147483646 h 1172"/>
                  <a:gd name="T96" fmla="*/ 2147483646 w 943"/>
                  <a:gd name="T97" fmla="*/ 2147483646 h 1172"/>
                  <a:gd name="T98" fmla="*/ 2147483646 w 943"/>
                  <a:gd name="T99" fmla="*/ 2147483646 h 1172"/>
                  <a:gd name="T100" fmla="*/ 2147483646 w 943"/>
                  <a:gd name="T101" fmla="*/ 2147483646 h 1172"/>
                  <a:gd name="T102" fmla="*/ 2147483646 w 943"/>
                  <a:gd name="T103" fmla="*/ 2147483646 h 117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943"/>
                  <a:gd name="T157" fmla="*/ 0 h 1172"/>
                  <a:gd name="T158" fmla="*/ 943 w 943"/>
                  <a:gd name="T159" fmla="*/ 1172 h 1172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943" h="1172">
                    <a:moveTo>
                      <a:pt x="711" y="30"/>
                    </a:moveTo>
                    <a:lnTo>
                      <a:pt x="715" y="25"/>
                    </a:lnTo>
                    <a:lnTo>
                      <a:pt x="728" y="15"/>
                    </a:lnTo>
                    <a:lnTo>
                      <a:pt x="735" y="9"/>
                    </a:lnTo>
                    <a:lnTo>
                      <a:pt x="742" y="5"/>
                    </a:lnTo>
                    <a:lnTo>
                      <a:pt x="747" y="1"/>
                    </a:lnTo>
                    <a:lnTo>
                      <a:pt x="751" y="0"/>
                    </a:lnTo>
                    <a:lnTo>
                      <a:pt x="755" y="10"/>
                    </a:lnTo>
                    <a:lnTo>
                      <a:pt x="759" y="17"/>
                    </a:lnTo>
                    <a:lnTo>
                      <a:pt x="765" y="23"/>
                    </a:lnTo>
                    <a:lnTo>
                      <a:pt x="769" y="26"/>
                    </a:lnTo>
                    <a:lnTo>
                      <a:pt x="776" y="28"/>
                    </a:lnTo>
                    <a:lnTo>
                      <a:pt x="784" y="30"/>
                    </a:lnTo>
                    <a:lnTo>
                      <a:pt x="792" y="30"/>
                    </a:lnTo>
                    <a:lnTo>
                      <a:pt x="803" y="30"/>
                    </a:lnTo>
                    <a:lnTo>
                      <a:pt x="804" y="40"/>
                    </a:lnTo>
                    <a:lnTo>
                      <a:pt x="808" y="48"/>
                    </a:lnTo>
                    <a:lnTo>
                      <a:pt x="810" y="51"/>
                    </a:lnTo>
                    <a:lnTo>
                      <a:pt x="812" y="53"/>
                    </a:lnTo>
                    <a:lnTo>
                      <a:pt x="814" y="55"/>
                    </a:lnTo>
                    <a:lnTo>
                      <a:pt x="816" y="55"/>
                    </a:lnTo>
                    <a:lnTo>
                      <a:pt x="823" y="76"/>
                    </a:lnTo>
                    <a:lnTo>
                      <a:pt x="830" y="94"/>
                    </a:lnTo>
                    <a:lnTo>
                      <a:pt x="832" y="102"/>
                    </a:lnTo>
                    <a:lnTo>
                      <a:pt x="835" y="109"/>
                    </a:lnTo>
                    <a:lnTo>
                      <a:pt x="836" y="116"/>
                    </a:lnTo>
                    <a:lnTo>
                      <a:pt x="837" y="123"/>
                    </a:lnTo>
                    <a:lnTo>
                      <a:pt x="836" y="150"/>
                    </a:lnTo>
                    <a:lnTo>
                      <a:pt x="836" y="175"/>
                    </a:lnTo>
                    <a:lnTo>
                      <a:pt x="837" y="187"/>
                    </a:lnTo>
                    <a:lnTo>
                      <a:pt x="838" y="200"/>
                    </a:lnTo>
                    <a:lnTo>
                      <a:pt x="842" y="211"/>
                    </a:lnTo>
                    <a:lnTo>
                      <a:pt x="845" y="222"/>
                    </a:lnTo>
                    <a:lnTo>
                      <a:pt x="851" y="232"/>
                    </a:lnTo>
                    <a:lnTo>
                      <a:pt x="857" y="243"/>
                    </a:lnTo>
                    <a:lnTo>
                      <a:pt x="866" y="253"/>
                    </a:lnTo>
                    <a:lnTo>
                      <a:pt x="876" y="264"/>
                    </a:lnTo>
                    <a:lnTo>
                      <a:pt x="889" y="273"/>
                    </a:lnTo>
                    <a:lnTo>
                      <a:pt x="904" y="283"/>
                    </a:lnTo>
                    <a:lnTo>
                      <a:pt x="922" y="292"/>
                    </a:lnTo>
                    <a:lnTo>
                      <a:pt x="943" y="301"/>
                    </a:lnTo>
                    <a:lnTo>
                      <a:pt x="928" y="314"/>
                    </a:lnTo>
                    <a:lnTo>
                      <a:pt x="913" y="328"/>
                    </a:lnTo>
                    <a:lnTo>
                      <a:pt x="896" y="344"/>
                    </a:lnTo>
                    <a:lnTo>
                      <a:pt x="879" y="361"/>
                    </a:lnTo>
                    <a:lnTo>
                      <a:pt x="871" y="370"/>
                    </a:lnTo>
                    <a:lnTo>
                      <a:pt x="865" y="380"/>
                    </a:lnTo>
                    <a:lnTo>
                      <a:pt x="859" y="389"/>
                    </a:lnTo>
                    <a:lnTo>
                      <a:pt x="854" y="399"/>
                    </a:lnTo>
                    <a:lnTo>
                      <a:pt x="851" y="410"/>
                    </a:lnTo>
                    <a:lnTo>
                      <a:pt x="849" y="420"/>
                    </a:lnTo>
                    <a:lnTo>
                      <a:pt x="848" y="432"/>
                    </a:lnTo>
                    <a:lnTo>
                      <a:pt x="851" y="443"/>
                    </a:lnTo>
                    <a:lnTo>
                      <a:pt x="830" y="616"/>
                    </a:lnTo>
                    <a:lnTo>
                      <a:pt x="809" y="635"/>
                    </a:lnTo>
                    <a:lnTo>
                      <a:pt x="787" y="652"/>
                    </a:lnTo>
                    <a:lnTo>
                      <a:pt x="782" y="658"/>
                    </a:lnTo>
                    <a:lnTo>
                      <a:pt x="778" y="663"/>
                    </a:lnTo>
                    <a:lnTo>
                      <a:pt x="774" y="670"/>
                    </a:lnTo>
                    <a:lnTo>
                      <a:pt x="770" y="677"/>
                    </a:lnTo>
                    <a:lnTo>
                      <a:pt x="767" y="686"/>
                    </a:lnTo>
                    <a:lnTo>
                      <a:pt x="766" y="696"/>
                    </a:lnTo>
                    <a:lnTo>
                      <a:pt x="764" y="708"/>
                    </a:lnTo>
                    <a:lnTo>
                      <a:pt x="764" y="721"/>
                    </a:lnTo>
                    <a:lnTo>
                      <a:pt x="763" y="721"/>
                    </a:lnTo>
                    <a:lnTo>
                      <a:pt x="758" y="721"/>
                    </a:lnTo>
                    <a:lnTo>
                      <a:pt x="755" y="723"/>
                    </a:lnTo>
                    <a:lnTo>
                      <a:pt x="752" y="726"/>
                    </a:lnTo>
                    <a:lnTo>
                      <a:pt x="748" y="730"/>
                    </a:lnTo>
                    <a:lnTo>
                      <a:pt x="745" y="735"/>
                    </a:lnTo>
                    <a:lnTo>
                      <a:pt x="741" y="743"/>
                    </a:lnTo>
                    <a:lnTo>
                      <a:pt x="736" y="752"/>
                    </a:lnTo>
                    <a:lnTo>
                      <a:pt x="732" y="766"/>
                    </a:lnTo>
                    <a:lnTo>
                      <a:pt x="728" y="780"/>
                    </a:lnTo>
                    <a:lnTo>
                      <a:pt x="723" y="798"/>
                    </a:lnTo>
                    <a:lnTo>
                      <a:pt x="719" y="821"/>
                    </a:lnTo>
                    <a:lnTo>
                      <a:pt x="714" y="845"/>
                    </a:lnTo>
                    <a:lnTo>
                      <a:pt x="711" y="875"/>
                    </a:lnTo>
                    <a:lnTo>
                      <a:pt x="701" y="875"/>
                    </a:lnTo>
                    <a:lnTo>
                      <a:pt x="692" y="877"/>
                    </a:lnTo>
                    <a:lnTo>
                      <a:pt x="684" y="880"/>
                    </a:lnTo>
                    <a:lnTo>
                      <a:pt x="677" y="884"/>
                    </a:lnTo>
                    <a:lnTo>
                      <a:pt x="670" y="890"/>
                    </a:lnTo>
                    <a:lnTo>
                      <a:pt x="665" y="896"/>
                    </a:lnTo>
                    <a:lnTo>
                      <a:pt x="662" y="903"/>
                    </a:lnTo>
                    <a:lnTo>
                      <a:pt x="659" y="910"/>
                    </a:lnTo>
                    <a:lnTo>
                      <a:pt x="658" y="917"/>
                    </a:lnTo>
                    <a:lnTo>
                      <a:pt x="658" y="924"/>
                    </a:lnTo>
                    <a:lnTo>
                      <a:pt x="661" y="929"/>
                    </a:lnTo>
                    <a:lnTo>
                      <a:pt x="664" y="934"/>
                    </a:lnTo>
                    <a:lnTo>
                      <a:pt x="666" y="936"/>
                    </a:lnTo>
                    <a:lnTo>
                      <a:pt x="669" y="937"/>
                    </a:lnTo>
                    <a:lnTo>
                      <a:pt x="673" y="938"/>
                    </a:lnTo>
                    <a:lnTo>
                      <a:pt x="677" y="939"/>
                    </a:lnTo>
                    <a:lnTo>
                      <a:pt x="686" y="939"/>
                    </a:lnTo>
                    <a:lnTo>
                      <a:pt x="697" y="936"/>
                    </a:lnTo>
                    <a:lnTo>
                      <a:pt x="700" y="941"/>
                    </a:lnTo>
                    <a:lnTo>
                      <a:pt x="702" y="944"/>
                    </a:lnTo>
                    <a:lnTo>
                      <a:pt x="706" y="947"/>
                    </a:lnTo>
                    <a:lnTo>
                      <a:pt x="709" y="950"/>
                    </a:lnTo>
                    <a:lnTo>
                      <a:pt x="717" y="955"/>
                    </a:lnTo>
                    <a:lnTo>
                      <a:pt x="724" y="958"/>
                    </a:lnTo>
                    <a:lnTo>
                      <a:pt x="731" y="963"/>
                    </a:lnTo>
                    <a:lnTo>
                      <a:pt x="739" y="968"/>
                    </a:lnTo>
                    <a:lnTo>
                      <a:pt x="742" y="971"/>
                    </a:lnTo>
                    <a:lnTo>
                      <a:pt x="745" y="975"/>
                    </a:lnTo>
                    <a:lnTo>
                      <a:pt x="747" y="981"/>
                    </a:lnTo>
                    <a:lnTo>
                      <a:pt x="751" y="986"/>
                    </a:lnTo>
                    <a:lnTo>
                      <a:pt x="753" y="996"/>
                    </a:lnTo>
                    <a:lnTo>
                      <a:pt x="756" y="1007"/>
                    </a:lnTo>
                    <a:lnTo>
                      <a:pt x="759" y="1018"/>
                    </a:lnTo>
                    <a:lnTo>
                      <a:pt x="765" y="1028"/>
                    </a:lnTo>
                    <a:lnTo>
                      <a:pt x="767" y="1033"/>
                    </a:lnTo>
                    <a:lnTo>
                      <a:pt x="771" y="1039"/>
                    </a:lnTo>
                    <a:lnTo>
                      <a:pt x="775" y="1043"/>
                    </a:lnTo>
                    <a:lnTo>
                      <a:pt x="779" y="1046"/>
                    </a:lnTo>
                    <a:lnTo>
                      <a:pt x="785" y="1049"/>
                    </a:lnTo>
                    <a:lnTo>
                      <a:pt x="790" y="1052"/>
                    </a:lnTo>
                    <a:lnTo>
                      <a:pt x="797" y="1053"/>
                    </a:lnTo>
                    <a:lnTo>
                      <a:pt x="803" y="1053"/>
                    </a:lnTo>
                    <a:lnTo>
                      <a:pt x="810" y="1063"/>
                    </a:lnTo>
                    <a:lnTo>
                      <a:pt x="814" y="1071"/>
                    </a:lnTo>
                    <a:lnTo>
                      <a:pt x="815" y="1076"/>
                    </a:lnTo>
                    <a:lnTo>
                      <a:pt x="815" y="1081"/>
                    </a:lnTo>
                    <a:lnTo>
                      <a:pt x="809" y="1094"/>
                    </a:lnTo>
                    <a:lnTo>
                      <a:pt x="797" y="1115"/>
                    </a:lnTo>
                    <a:lnTo>
                      <a:pt x="776" y="1115"/>
                    </a:lnTo>
                    <a:lnTo>
                      <a:pt x="755" y="1115"/>
                    </a:lnTo>
                    <a:lnTo>
                      <a:pt x="734" y="1115"/>
                    </a:lnTo>
                    <a:lnTo>
                      <a:pt x="718" y="1115"/>
                    </a:lnTo>
                    <a:lnTo>
                      <a:pt x="718" y="1127"/>
                    </a:lnTo>
                    <a:lnTo>
                      <a:pt x="718" y="1139"/>
                    </a:lnTo>
                    <a:lnTo>
                      <a:pt x="711" y="1143"/>
                    </a:lnTo>
                    <a:lnTo>
                      <a:pt x="697" y="1152"/>
                    </a:lnTo>
                    <a:lnTo>
                      <a:pt x="687" y="1157"/>
                    </a:lnTo>
                    <a:lnTo>
                      <a:pt x="675" y="1161"/>
                    </a:lnTo>
                    <a:lnTo>
                      <a:pt x="663" y="1163"/>
                    </a:lnTo>
                    <a:lnTo>
                      <a:pt x="651" y="1164"/>
                    </a:lnTo>
                    <a:lnTo>
                      <a:pt x="628" y="1166"/>
                    </a:lnTo>
                    <a:lnTo>
                      <a:pt x="598" y="1170"/>
                    </a:lnTo>
                    <a:lnTo>
                      <a:pt x="583" y="1171"/>
                    </a:lnTo>
                    <a:lnTo>
                      <a:pt x="566" y="1172"/>
                    </a:lnTo>
                    <a:lnTo>
                      <a:pt x="549" y="1172"/>
                    </a:lnTo>
                    <a:lnTo>
                      <a:pt x="531" y="1170"/>
                    </a:lnTo>
                    <a:lnTo>
                      <a:pt x="515" y="1158"/>
                    </a:lnTo>
                    <a:lnTo>
                      <a:pt x="496" y="1141"/>
                    </a:lnTo>
                    <a:lnTo>
                      <a:pt x="486" y="1133"/>
                    </a:lnTo>
                    <a:lnTo>
                      <a:pt x="475" y="1127"/>
                    </a:lnTo>
                    <a:lnTo>
                      <a:pt x="470" y="1124"/>
                    </a:lnTo>
                    <a:lnTo>
                      <a:pt x="464" y="1123"/>
                    </a:lnTo>
                    <a:lnTo>
                      <a:pt x="457" y="1121"/>
                    </a:lnTo>
                    <a:lnTo>
                      <a:pt x="452" y="1121"/>
                    </a:lnTo>
                    <a:lnTo>
                      <a:pt x="432" y="1122"/>
                    </a:lnTo>
                    <a:lnTo>
                      <a:pt x="405" y="1124"/>
                    </a:lnTo>
                    <a:lnTo>
                      <a:pt x="390" y="1125"/>
                    </a:lnTo>
                    <a:lnTo>
                      <a:pt x="375" y="1126"/>
                    </a:lnTo>
                    <a:lnTo>
                      <a:pt x="360" y="1126"/>
                    </a:lnTo>
                    <a:lnTo>
                      <a:pt x="345" y="1125"/>
                    </a:lnTo>
                    <a:lnTo>
                      <a:pt x="331" y="1123"/>
                    </a:lnTo>
                    <a:lnTo>
                      <a:pt x="319" y="1120"/>
                    </a:lnTo>
                    <a:lnTo>
                      <a:pt x="314" y="1117"/>
                    </a:lnTo>
                    <a:lnTo>
                      <a:pt x="308" y="1115"/>
                    </a:lnTo>
                    <a:lnTo>
                      <a:pt x="304" y="1112"/>
                    </a:lnTo>
                    <a:lnTo>
                      <a:pt x="300" y="1108"/>
                    </a:lnTo>
                    <a:lnTo>
                      <a:pt x="297" y="1104"/>
                    </a:lnTo>
                    <a:lnTo>
                      <a:pt x="295" y="1100"/>
                    </a:lnTo>
                    <a:lnTo>
                      <a:pt x="293" y="1095"/>
                    </a:lnTo>
                    <a:lnTo>
                      <a:pt x="292" y="1088"/>
                    </a:lnTo>
                    <a:lnTo>
                      <a:pt x="293" y="1082"/>
                    </a:lnTo>
                    <a:lnTo>
                      <a:pt x="294" y="1075"/>
                    </a:lnTo>
                    <a:lnTo>
                      <a:pt x="295" y="1068"/>
                    </a:lnTo>
                    <a:lnTo>
                      <a:pt x="298" y="1060"/>
                    </a:lnTo>
                    <a:lnTo>
                      <a:pt x="291" y="1049"/>
                    </a:lnTo>
                    <a:lnTo>
                      <a:pt x="283" y="1039"/>
                    </a:lnTo>
                    <a:lnTo>
                      <a:pt x="274" y="1029"/>
                    </a:lnTo>
                    <a:lnTo>
                      <a:pt x="265" y="1021"/>
                    </a:lnTo>
                    <a:lnTo>
                      <a:pt x="248" y="1005"/>
                    </a:lnTo>
                    <a:lnTo>
                      <a:pt x="230" y="990"/>
                    </a:lnTo>
                    <a:lnTo>
                      <a:pt x="222" y="983"/>
                    </a:lnTo>
                    <a:lnTo>
                      <a:pt x="216" y="974"/>
                    </a:lnTo>
                    <a:lnTo>
                      <a:pt x="209" y="966"/>
                    </a:lnTo>
                    <a:lnTo>
                      <a:pt x="204" y="957"/>
                    </a:lnTo>
                    <a:lnTo>
                      <a:pt x="198" y="947"/>
                    </a:lnTo>
                    <a:lnTo>
                      <a:pt x="195" y="937"/>
                    </a:lnTo>
                    <a:lnTo>
                      <a:pt x="193" y="925"/>
                    </a:lnTo>
                    <a:lnTo>
                      <a:pt x="193" y="911"/>
                    </a:lnTo>
                    <a:lnTo>
                      <a:pt x="180" y="911"/>
                    </a:lnTo>
                    <a:lnTo>
                      <a:pt x="169" y="909"/>
                    </a:lnTo>
                    <a:lnTo>
                      <a:pt x="160" y="907"/>
                    </a:lnTo>
                    <a:lnTo>
                      <a:pt x="152" y="903"/>
                    </a:lnTo>
                    <a:lnTo>
                      <a:pt x="146" y="898"/>
                    </a:lnTo>
                    <a:lnTo>
                      <a:pt x="140" y="893"/>
                    </a:lnTo>
                    <a:lnTo>
                      <a:pt x="136" y="887"/>
                    </a:lnTo>
                    <a:lnTo>
                      <a:pt x="131" y="880"/>
                    </a:lnTo>
                    <a:lnTo>
                      <a:pt x="120" y="846"/>
                    </a:lnTo>
                    <a:lnTo>
                      <a:pt x="106" y="806"/>
                    </a:lnTo>
                    <a:lnTo>
                      <a:pt x="105" y="801"/>
                    </a:lnTo>
                    <a:lnTo>
                      <a:pt x="103" y="796"/>
                    </a:lnTo>
                    <a:lnTo>
                      <a:pt x="99" y="792"/>
                    </a:lnTo>
                    <a:lnTo>
                      <a:pt x="97" y="788"/>
                    </a:lnTo>
                    <a:lnTo>
                      <a:pt x="90" y="780"/>
                    </a:lnTo>
                    <a:lnTo>
                      <a:pt x="83" y="774"/>
                    </a:lnTo>
                    <a:lnTo>
                      <a:pt x="75" y="768"/>
                    </a:lnTo>
                    <a:lnTo>
                      <a:pt x="69" y="761"/>
                    </a:lnTo>
                    <a:lnTo>
                      <a:pt x="65" y="758"/>
                    </a:lnTo>
                    <a:lnTo>
                      <a:pt x="63" y="753"/>
                    </a:lnTo>
                    <a:lnTo>
                      <a:pt x="61" y="749"/>
                    </a:lnTo>
                    <a:lnTo>
                      <a:pt x="60" y="745"/>
                    </a:lnTo>
                    <a:lnTo>
                      <a:pt x="46" y="711"/>
                    </a:lnTo>
                    <a:lnTo>
                      <a:pt x="33" y="676"/>
                    </a:lnTo>
                    <a:lnTo>
                      <a:pt x="25" y="659"/>
                    </a:lnTo>
                    <a:lnTo>
                      <a:pt x="17" y="643"/>
                    </a:lnTo>
                    <a:lnTo>
                      <a:pt x="9" y="628"/>
                    </a:lnTo>
                    <a:lnTo>
                      <a:pt x="0" y="616"/>
                    </a:lnTo>
                    <a:lnTo>
                      <a:pt x="4" y="611"/>
                    </a:lnTo>
                    <a:lnTo>
                      <a:pt x="8" y="607"/>
                    </a:lnTo>
                    <a:lnTo>
                      <a:pt x="11" y="602"/>
                    </a:lnTo>
                    <a:lnTo>
                      <a:pt x="13" y="598"/>
                    </a:lnTo>
                    <a:lnTo>
                      <a:pt x="16" y="587"/>
                    </a:lnTo>
                    <a:lnTo>
                      <a:pt x="18" y="577"/>
                    </a:lnTo>
                    <a:lnTo>
                      <a:pt x="19" y="567"/>
                    </a:lnTo>
                    <a:lnTo>
                      <a:pt x="20" y="555"/>
                    </a:lnTo>
                    <a:lnTo>
                      <a:pt x="23" y="543"/>
                    </a:lnTo>
                    <a:lnTo>
                      <a:pt x="26" y="529"/>
                    </a:lnTo>
                    <a:lnTo>
                      <a:pt x="29" y="521"/>
                    </a:lnTo>
                    <a:lnTo>
                      <a:pt x="33" y="514"/>
                    </a:lnTo>
                    <a:lnTo>
                      <a:pt x="37" y="507"/>
                    </a:lnTo>
                    <a:lnTo>
                      <a:pt x="41" y="500"/>
                    </a:lnTo>
                    <a:lnTo>
                      <a:pt x="52" y="487"/>
                    </a:lnTo>
                    <a:lnTo>
                      <a:pt x="64" y="474"/>
                    </a:lnTo>
                    <a:lnTo>
                      <a:pt x="78" y="464"/>
                    </a:lnTo>
                    <a:lnTo>
                      <a:pt x="90" y="456"/>
                    </a:lnTo>
                    <a:lnTo>
                      <a:pt x="102" y="449"/>
                    </a:lnTo>
                    <a:lnTo>
                      <a:pt x="113" y="443"/>
                    </a:lnTo>
                    <a:lnTo>
                      <a:pt x="113" y="222"/>
                    </a:lnTo>
                    <a:lnTo>
                      <a:pt x="113" y="212"/>
                    </a:lnTo>
                    <a:lnTo>
                      <a:pt x="113" y="200"/>
                    </a:lnTo>
                    <a:lnTo>
                      <a:pt x="113" y="188"/>
                    </a:lnTo>
                    <a:lnTo>
                      <a:pt x="113" y="178"/>
                    </a:lnTo>
                    <a:lnTo>
                      <a:pt x="123" y="179"/>
                    </a:lnTo>
                    <a:lnTo>
                      <a:pt x="131" y="179"/>
                    </a:lnTo>
                    <a:lnTo>
                      <a:pt x="139" y="178"/>
                    </a:lnTo>
                    <a:lnTo>
                      <a:pt x="146" y="176"/>
                    </a:lnTo>
                    <a:lnTo>
                      <a:pt x="150" y="174"/>
                    </a:lnTo>
                    <a:lnTo>
                      <a:pt x="153" y="171"/>
                    </a:lnTo>
                    <a:lnTo>
                      <a:pt x="157" y="167"/>
                    </a:lnTo>
                    <a:lnTo>
                      <a:pt x="159" y="162"/>
                    </a:lnTo>
                    <a:lnTo>
                      <a:pt x="160" y="152"/>
                    </a:lnTo>
                    <a:lnTo>
                      <a:pt x="160" y="137"/>
                    </a:lnTo>
                    <a:lnTo>
                      <a:pt x="160" y="122"/>
                    </a:lnTo>
                    <a:lnTo>
                      <a:pt x="159" y="105"/>
                    </a:lnTo>
                    <a:lnTo>
                      <a:pt x="159" y="93"/>
                    </a:lnTo>
                    <a:lnTo>
                      <a:pt x="159" y="83"/>
                    </a:lnTo>
                    <a:lnTo>
                      <a:pt x="159" y="76"/>
                    </a:lnTo>
                    <a:lnTo>
                      <a:pt x="159" y="67"/>
                    </a:lnTo>
                    <a:lnTo>
                      <a:pt x="664" y="73"/>
                    </a:lnTo>
                    <a:lnTo>
                      <a:pt x="668" y="74"/>
                    </a:lnTo>
                    <a:lnTo>
                      <a:pt x="672" y="73"/>
                    </a:lnTo>
                    <a:lnTo>
                      <a:pt x="676" y="72"/>
                    </a:lnTo>
                    <a:lnTo>
                      <a:pt x="679" y="69"/>
                    </a:lnTo>
                    <a:lnTo>
                      <a:pt x="688" y="63"/>
                    </a:lnTo>
                    <a:lnTo>
                      <a:pt x="695" y="54"/>
                    </a:lnTo>
                    <a:lnTo>
                      <a:pt x="707" y="38"/>
                    </a:lnTo>
                    <a:lnTo>
                      <a:pt x="711" y="3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34" name="Freeform 356">
                <a:extLst>
                  <a:ext uri="{FF2B5EF4-FFF2-40B4-BE49-F238E27FC236}">
                    <a16:creationId xmlns="" xmlns:a16="http://schemas.microsoft.com/office/drawing/2014/main" id="{FE13EEEA-840D-4A55-90C1-7DAE81F39F58}"/>
                  </a:ext>
                </a:extLst>
              </p:cNvPr>
              <p:cNvSpPr>
                <a:spLocks/>
              </p:cNvSpPr>
              <p:nvPr>
                <p:custDataLst>
                  <p:tags r:id="rId259"/>
                </p:custDataLst>
              </p:nvPr>
            </p:nvSpPr>
            <p:spPr bwMode="auto">
              <a:xfrm>
                <a:off x="5041900" y="3275013"/>
                <a:ext cx="244475" cy="431800"/>
              </a:xfrm>
              <a:custGeom>
                <a:avLst/>
                <a:gdLst>
                  <a:gd name="T0" fmla="*/ 2147483646 w 556"/>
                  <a:gd name="T1" fmla="*/ 2147483646 h 819"/>
                  <a:gd name="T2" fmla="*/ 2147483646 w 556"/>
                  <a:gd name="T3" fmla="*/ 2147483646 h 819"/>
                  <a:gd name="T4" fmla="*/ 2147483646 w 556"/>
                  <a:gd name="T5" fmla="*/ 2147483646 h 819"/>
                  <a:gd name="T6" fmla="*/ 2147483646 w 556"/>
                  <a:gd name="T7" fmla="*/ 2147483646 h 819"/>
                  <a:gd name="T8" fmla="*/ 2147483646 w 556"/>
                  <a:gd name="T9" fmla="*/ 2147483646 h 819"/>
                  <a:gd name="T10" fmla="*/ 2147483646 w 556"/>
                  <a:gd name="T11" fmla="*/ 2147483646 h 819"/>
                  <a:gd name="T12" fmla="*/ 2147483646 w 556"/>
                  <a:gd name="T13" fmla="*/ 2147483646 h 819"/>
                  <a:gd name="T14" fmla="*/ 2147483646 w 556"/>
                  <a:gd name="T15" fmla="*/ 2147483646 h 819"/>
                  <a:gd name="T16" fmla="*/ 2147483646 w 556"/>
                  <a:gd name="T17" fmla="*/ 2147483646 h 819"/>
                  <a:gd name="T18" fmla="*/ 2147483646 w 556"/>
                  <a:gd name="T19" fmla="*/ 2147483646 h 819"/>
                  <a:gd name="T20" fmla="*/ 2147483646 w 556"/>
                  <a:gd name="T21" fmla="*/ 2147483646 h 819"/>
                  <a:gd name="T22" fmla="*/ 2147483646 w 556"/>
                  <a:gd name="T23" fmla="*/ 2147483646 h 819"/>
                  <a:gd name="T24" fmla="*/ 2147483646 w 556"/>
                  <a:gd name="T25" fmla="*/ 2147483646 h 819"/>
                  <a:gd name="T26" fmla="*/ 2147483646 w 556"/>
                  <a:gd name="T27" fmla="*/ 2147483646 h 819"/>
                  <a:gd name="T28" fmla="*/ 2147483646 w 556"/>
                  <a:gd name="T29" fmla="*/ 2147483646 h 819"/>
                  <a:gd name="T30" fmla="*/ 2147483646 w 556"/>
                  <a:gd name="T31" fmla="*/ 2147483646 h 819"/>
                  <a:gd name="T32" fmla="*/ 2147483646 w 556"/>
                  <a:gd name="T33" fmla="*/ 2147483646 h 819"/>
                  <a:gd name="T34" fmla="*/ 2147483646 w 556"/>
                  <a:gd name="T35" fmla="*/ 2147483646 h 819"/>
                  <a:gd name="T36" fmla="*/ 2147483646 w 556"/>
                  <a:gd name="T37" fmla="*/ 2147483646 h 819"/>
                  <a:gd name="T38" fmla="*/ 2147483646 w 556"/>
                  <a:gd name="T39" fmla="*/ 2147483646 h 819"/>
                  <a:gd name="T40" fmla="*/ 2147483646 w 556"/>
                  <a:gd name="T41" fmla="*/ 2147483646 h 819"/>
                  <a:gd name="T42" fmla="*/ 2147483646 w 556"/>
                  <a:gd name="T43" fmla="*/ 2147483646 h 819"/>
                  <a:gd name="T44" fmla="*/ 2147483646 w 556"/>
                  <a:gd name="T45" fmla="*/ 2147483646 h 819"/>
                  <a:gd name="T46" fmla="*/ 2147483646 w 556"/>
                  <a:gd name="T47" fmla="*/ 2147483646 h 819"/>
                  <a:gd name="T48" fmla="*/ 2147483646 w 556"/>
                  <a:gd name="T49" fmla="*/ 2147483646 h 819"/>
                  <a:gd name="T50" fmla="*/ 2147483646 w 556"/>
                  <a:gd name="T51" fmla="*/ 2147483646 h 819"/>
                  <a:gd name="T52" fmla="*/ 2147483646 w 556"/>
                  <a:gd name="T53" fmla="*/ 2147483646 h 819"/>
                  <a:gd name="T54" fmla="*/ 2147483646 w 556"/>
                  <a:gd name="T55" fmla="*/ 2147483646 h 819"/>
                  <a:gd name="T56" fmla="*/ 2147483646 w 556"/>
                  <a:gd name="T57" fmla="*/ 2147483646 h 819"/>
                  <a:gd name="T58" fmla="*/ 2147483646 w 556"/>
                  <a:gd name="T59" fmla="*/ 2147483646 h 819"/>
                  <a:gd name="T60" fmla="*/ 2147483646 w 556"/>
                  <a:gd name="T61" fmla="*/ 2147483646 h 819"/>
                  <a:gd name="T62" fmla="*/ 2147483646 w 556"/>
                  <a:gd name="T63" fmla="*/ 2147483646 h 819"/>
                  <a:gd name="T64" fmla="*/ 2147483646 w 556"/>
                  <a:gd name="T65" fmla="*/ 2147483646 h 819"/>
                  <a:gd name="T66" fmla="*/ 2147483646 w 556"/>
                  <a:gd name="T67" fmla="*/ 2147483646 h 819"/>
                  <a:gd name="T68" fmla="*/ 2147483646 w 556"/>
                  <a:gd name="T69" fmla="*/ 2147483646 h 819"/>
                  <a:gd name="T70" fmla="*/ 2147483646 w 556"/>
                  <a:gd name="T71" fmla="*/ 2147483646 h 819"/>
                  <a:gd name="T72" fmla="*/ 2147483646 w 556"/>
                  <a:gd name="T73" fmla="*/ 2147483646 h 819"/>
                  <a:gd name="T74" fmla="*/ 2147483646 w 556"/>
                  <a:gd name="T75" fmla="*/ 2147483646 h 819"/>
                  <a:gd name="T76" fmla="*/ 2147483646 w 556"/>
                  <a:gd name="T77" fmla="*/ 2147483646 h 819"/>
                  <a:gd name="T78" fmla="*/ 2147483646 w 556"/>
                  <a:gd name="T79" fmla="*/ 2147483646 h 819"/>
                  <a:gd name="T80" fmla="*/ 2147483646 w 556"/>
                  <a:gd name="T81" fmla="*/ 2147483646 h 819"/>
                  <a:gd name="T82" fmla="*/ 2147483646 w 556"/>
                  <a:gd name="T83" fmla="*/ 2147483646 h 819"/>
                  <a:gd name="T84" fmla="*/ 2147483646 w 556"/>
                  <a:gd name="T85" fmla="*/ 2147483646 h 819"/>
                  <a:gd name="T86" fmla="*/ 2147483646 w 556"/>
                  <a:gd name="T87" fmla="*/ 2147483646 h 819"/>
                  <a:gd name="T88" fmla="*/ 2147483646 w 556"/>
                  <a:gd name="T89" fmla="*/ 2147483646 h 819"/>
                  <a:gd name="T90" fmla="*/ 2147483646 w 556"/>
                  <a:gd name="T91" fmla="*/ 2147483646 h 819"/>
                  <a:gd name="T92" fmla="*/ 2147483646 w 556"/>
                  <a:gd name="T93" fmla="*/ 2147483646 h 819"/>
                  <a:gd name="T94" fmla="*/ 2147483646 w 556"/>
                  <a:gd name="T95" fmla="*/ 2147483646 h 819"/>
                  <a:gd name="T96" fmla="*/ 2147483646 w 556"/>
                  <a:gd name="T97" fmla="*/ 2147483646 h 819"/>
                  <a:gd name="T98" fmla="*/ 2147483646 w 556"/>
                  <a:gd name="T99" fmla="*/ 2147483646 h 819"/>
                  <a:gd name="T100" fmla="*/ 2147483646 w 556"/>
                  <a:gd name="T101" fmla="*/ 2147483646 h 819"/>
                  <a:gd name="T102" fmla="*/ 2147483646 w 556"/>
                  <a:gd name="T103" fmla="*/ 2147483646 h 819"/>
                  <a:gd name="T104" fmla="*/ 2147483646 w 556"/>
                  <a:gd name="T105" fmla="*/ 2147483646 h 819"/>
                  <a:gd name="T106" fmla="*/ 2147483646 w 556"/>
                  <a:gd name="T107" fmla="*/ 2147483646 h 819"/>
                  <a:gd name="T108" fmla="*/ 2147483646 w 556"/>
                  <a:gd name="T109" fmla="*/ 2147483646 h 819"/>
                  <a:gd name="T110" fmla="*/ 2147483646 w 556"/>
                  <a:gd name="T111" fmla="*/ 2147483646 h 819"/>
                  <a:gd name="T112" fmla="*/ 2147483646 w 556"/>
                  <a:gd name="T113" fmla="*/ 2147483646 h 819"/>
                  <a:gd name="T114" fmla="*/ 2147483646 w 556"/>
                  <a:gd name="T115" fmla="*/ 2147483646 h 819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556"/>
                  <a:gd name="T175" fmla="*/ 0 h 819"/>
                  <a:gd name="T176" fmla="*/ 556 w 556"/>
                  <a:gd name="T177" fmla="*/ 819 h 819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556" h="819">
                    <a:moveTo>
                      <a:pt x="84" y="68"/>
                    </a:moveTo>
                    <a:lnTo>
                      <a:pt x="90" y="66"/>
                    </a:lnTo>
                    <a:lnTo>
                      <a:pt x="98" y="62"/>
                    </a:lnTo>
                    <a:lnTo>
                      <a:pt x="103" y="59"/>
                    </a:lnTo>
                    <a:lnTo>
                      <a:pt x="108" y="58"/>
                    </a:lnTo>
                    <a:lnTo>
                      <a:pt x="112" y="56"/>
                    </a:lnTo>
                    <a:lnTo>
                      <a:pt x="118" y="56"/>
                    </a:lnTo>
                    <a:lnTo>
                      <a:pt x="122" y="62"/>
                    </a:lnTo>
                    <a:lnTo>
                      <a:pt x="129" y="69"/>
                    </a:lnTo>
                    <a:lnTo>
                      <a:pt x="134" y="75"/>
                    </a:lnTo>
                    <a:lnTo>
                      <a:pt x="141" y="81"/>
                    </a:lnTo>
                    <a:lnTo>
                      <a:pt x="149" y="85"/>
                    </a:lnTo>
                    <a:lnTo>
                      <a:pt x="155" y="89"/>
                    </a:lnTo>
                    <a:lnTo>
                      <a:pt x="163" y="91"/>
                    </a:lnTo>
                    <a:lnTo>
                      <a:pt x="171" y="92"/>
                    </a:lnTo>
                    <a:lnTo>
                      <a:pt x="186" y="91"/>
                    </a:lnTo>
                    <a:lnTo>
                      <a:pt x="200" y="90"/>
                    </a:lnTo>
                    <a:lnTo>
                      <a:pt x="215" y="88"/>
                    </a:lnTo>
                    <a:lnTo>
                      <a:pt x="230" y="86"/>
                    </a:lnTo>
                    <a:lnTo>
                      <a:pt x="244" y="84"/>
                    </a:lnTo>
                    <a:lnTo>
                      <a:pt x="257" y="82"/>
                    </a:lnTo>
                    <a:lnTo>
                      <a:pt x="271" y="80"/>
                    </a:lnTo>
                    <a:lnTo>
                      <a:pt x="284" y="80"/>
                    </a:lnTo>
                    <a:lnTo>
                      <a:pt x="291" y="79"/>
                    </a:lnTo>
                    <a:lnTo>
                      <a:pt x="297" y="78"/>
                    </a:lnTo>
                    <a:lnTo>
                      <a:pt x="300" y="76"/>
                    </a:lnTo>
                    <a:lnTo>
                      <a:pt x="301" y="74"/>
                    </a:lnTo>
                    <a:lnTo>
                      <a:pt x="301" y="72"/>
                    </a:lnTo>
                    <a:lnTo>
                      <a:pt x="301" y="70"/>
                    </a:lnTo>
                    <a:lnTo>
                      <a:pt x="301" y="68"/>
                    </a:lnTo>
                    <a:lnTo>
                      <a:pt x="303" y="68"/>
                    </a:lnTo>
                    <a:lnTo>
                      <a:pt x="327" y="67"/>
                    </a:lnTo>
                    <a:lnTo>
                      <a:pt x="355" y="63"/>
                    </a:lnTo>
                    <a:lnTo>
                      <a:pt x="386" y="58"/>
                    </a:lnTo>
                    <a:lnTo>
                      <a:pt x="418" y="50"/>
                    </a:lnTo>
                    <a:lnTo>
                      <a:pt x="434" y="45"/>
                    </a:lnTo>
                    <a:lnTo>
                      <a:pt x="450" y="40"/>
                    </a:lnTo>
                    <a:lnTo>
                      <a:pt x="465" y="34"/>
                    </a:lnTo>
                    <a:lnTo>
                      <a:pt x="479" y="28"/>
                    </a:lnTo>
                    <a:lnTo>
                      <a:pt x="492" y="22"/>
                    </a:lnTo>
                    <a:lnTo>
                      <a:pt x="504" y="15"/>
                    </a:lnTo>
                    <a:lnTo>
                      <a:pt x="514" y="8"/>
                    </a:lnTo>
                    <a:lnTo>
                      <a:pt x="523" y="0"/>
                    </a:lnTo>
                    <a:lnTo>
                      <a:pt x="536" y="17"/>
                    </a:lnTo>
                    <a:lnTo>
                      <a:pt x="547" y="31"/>
                    </a:lnTo>
                    <a:lnTo>
                      <a:pt x="551" y="39"/>
                    </a:lnTo>
                    <a:lnTo>
                      <a:pt x="554" y="48"/>
                    </a:lnTo>
                    <a:lnTo>
                      <a:pt x="555" y="57"/>
                    </a:lnTo>
                    <a:lnTo>
                      <a:pt x="556" y="68"/>
                    </a:lnTo>
                    <a:lnTo>
                      <a:pt x="555" y="90"/>
                    </a:lnTo>
                    <a:lnTo>
                      <a:pt x="552" y="113"/>
                    </a:lnTo>
                    <a:lnTo>
                      <a:pt x="546" y="133"/>
                    </a:lnTo>
                    <a:lnTo>
                      <a:pt x="540" y="153"/>
                    </a:lnTo>
                    <a:lnTo>
                      <a:pt x="532" y="174"/>
                    </a:lnTo>
                    <a:lnTo>
                      <a:pt x="523" y="193"/>
                    </a:lnTo>
                    <a:lnTo>
                      <a:pt x="512" y="212"/>
                    </a:lnTo>
                    <a:lnTo>
                      <a:pt x="502" y="231"/>
                    </a:lnTo>
                    <a:lnTo>
                      <a:pt x="479" y="267"/>
                    </a:lnTo>
                    <a:lnTo>
                      <a:pt x="458" y="303"/>
                    </a:lnTo>
                    <a:lnTo>
                      <a:pt x="447" y="321"/>
                    </a:lnTo>
                    <a:lnTo>
                      <a:pt x="439" y="339"/>
                    </a:lnTo>
                    <a:lnTo>
                      <a:pt x="430" y="357"/>
                    </a:lnTo>
                    <a:lnTo>
                      <a:pt x="423" y="375"/>
                    </a:lnTo>
                    <a:lnTo>
                      <a:pt x="419" y="390"/>
                    </a:lnTo>
                    <a:lnTo>
                      <a:pt x="414" y="403"/>
                    </a:lnTo>
                    <a:lnTo>
                      <a:pt x="410" y="415"/>
                    </a:lnTo>
                    <a:lnTo>
                      <a:pt x="404" y="427"/>
                    </a:lnTo>
                    <a:lnTo>
                      <a:pt x="392" y="452"/>
                    </a:lnTo>
                    <a:lnTo>
                      <a:pt x="379" y="473"/>
                    </a:lnTo>
                    <a:lnTo>
                      <a:pt x="364" y="495"/>
                    </a:lnTo>
                    <a:lnTo>
                      <a:pt x="347" y="514"/>
                    </a:lnTo>
                    <a:lnTo>
                      <a:pt x="330" y="531"/>
                    </a:lnTo>
                    <a:lnTo>
                      <a:pt x="310" y="549"/>
                    </a:lnTo>
                    <a:lnTo>
                      <a:pt x="300" y="558"/>
                    </a:lnTo>
                    <a:lnTo>
                      <a:pt x="288" y="566"/>
                    </a:lnTo>
                    <a:lnTo>
                      <a:pt x="277" y="575"/>
                    </a:lnTo>
                    <a:lnTo>
                      <a:pt x="264" y="583"/>
                    </a:lnTo>
                    <a:lnTo>
                      <a:pt x="239" y="600"/>
                    </a:lnTo>
                    <a:lnTo>
                      <a:pt x="213" y="617"/>
                    </a:lnTo>
                    <a:lnTo>
                      <a:pt x="189" y="634"/>
                    </a:lnTo>
                    <a:lnTo>
                      <a:pt x="168" y="651"/>
                    </a:lnTo>
                    <a:lnTo>
                      <a:pt x="159" y="661"/>
                    </a:lnTo>
                    <a:lnTo>
                      <a:pt x="150" y="670"/>
                    </a:lnTo>
                    <a:lnTo>
                      <a:pt x="143" y="680"/>
                    </a:lnTo>
                    <a:lnTo>
                      <a:pt x="138" y="690"/>
                    </a:lnTo>
                    <a:lnTo>
                      <a:pt x="134" y="695"/>
                    </a:lnTo>
                    <a:lnTo>
                      <a:pt x="131" y="700"/>
                    </a:lnTo>
                    <a:lnTo>
                      <a:pt x="128" y="705"/>
                    </a:lnTo>
                    <a:lnTo>
                      <a:pt x="125" y="709"/>
                    </a:lnTo>
                    <a:lnTo>
                      <a:pt x="116" y="717"/>
                    </a:lnTo>
                    <a:lnTo>
                      <a:pt x="107" y="723"/>
                    </a:lnTo>
                    <a:lnTo>
                      <a:pt x="88" y="733"/>
                    </a:lnTo>
                    <a:lnTo>
                      <a:pt x="71" y="745"/>
                    </a:lnTo>
                    <a:lnTo>
                      <a:pt x="52" y="763"/>
                    </a:lnTo>
                    <a:lnTo>
                      <a:pt x="36" y="783"/>
                    </a:lnTo>
                    <a:lnTo>
                      <a:pt x="19" y="801"/>
                    </a:lnTo>
                    <a:lnTo>
                      <a:pt x="5" y="819"/>
                    </a:lnTo>
                    <a:lnTo>
                      <a:pt x="5" y="567"/>
                    </a:lnTo>
                    <a:lnTo>
                      <a:pt x="2" y="564"/>
                    </a:lnTo>
                    <a:lnTo>
                      <a:pt x="0" y="560"/>
                    </a:lnTo>
                    <a:lnTo>
                      <a:pt x="0" y="557"/>
                    </a:lnTo>
                    <a:lnTo>
                      <a:pt x="3" y="554"/>
                    </a:lnTo>
                    <a:lnTo>
                      <a:pt x="8" y="547"/>
                    </a:lnTo>
                    <a:lnTo>
                      <a:pt x="17" y="540"/>
                    </a:lnTo>
                    <a:lnTo>
                      <a:pt x="27" y="533"/>
                    </a:lnTo>
                    <a:lnTo>
                      <a:pt x="36" y="525"/>
                    </a:lnTo>
                    <a:lnTo>
                      <a:pt x="39" y="521"/>
                    </a:lnTo>
                    <a:lnTo>
                      <a:pt x="42" y="516"/>
                    </a:lnTo>
                    <a:lnTo>
                      <a:pt x="43" y="511"/>
                    </a:lnTo>
                    <a:lnTo>
                      <a:pt x="44" y="505"/>
                    </a:lnTo>
                    <a:lnTo>
                      <a:pt x="60" y="497"/>
                    </a:lnTo>
                    <a:lnTo>
                      <a:pt x="75" y="490"/>
                    </a:lnTo>
                    <a:lnTo>
                      <a:pt x="92" y="485"/>
                    </a:lnTo>
                    <a:lnTo>
                      <a:pt x="111" y="480"/>
                    </a:lnTo>
                    <a:lnTo>
                      <a:pt x="114" y="479"/>
                    </a:lnTo>
                    <a:lnTo>
                      <a:pt x="116" y="475"/>
                    </a:lnTo>
                    <a:lnTo>
                      <a:pt x="119" y="470"/>
                    </a:lnTo>
                    <a:lnTo>
                      <a:pt x="121" y="464"/>
                    </a:lnTo>
                    <a:lnTo>
                      <a:pt x="125" y="458"/>
                    </a:lnTo>
                    <a:lnTo>
                      <a:pt x="129" y="452"/>
                    </a:lnTo>
                    <a:lnTo>
                      <a:pt x="132" y="447"/>
                    </a:lnTo>
                    <a:lnTo>
                      <a:pt x="138" y="444"/>
                    </a:lnTo>
                    <a:lnTo>
                      <a:pt x="152" y="440"/>
                    </a:lnTo>
                    <a:lnTo>
                      <a:pt x="162" y="439"/>
                    </a:lnTo>
                    <a:lnTo>
                      <a:pt x="168" y="438"/>
                    </a:lnTo>
                    <a:lnTo>
                      <a:pt x="174" y="439"/>
                    </a:lnTo>
                    <a:lnTo>
                      <a:pt x="179" y="439"/>
                    </a:lnTo>
                    <a:lnTo>
                      <a:pt x="186" y="440"/>
                    </a:lnTo>
                    <a:lnTo>
                      <a:pt x="196" y="439"/>
                    </a:lnTo>
                    <a:lnTo>
                      <a:pt x="210" y="438"/>
                    </a:lnTo>
                    <a:lnTo>
                      <a:pt x="220" y="434"/>
                    </a:lnTo>
                    <a:lnTo>
                      <a:pt x="228" y="429"/>
                    </a:lnTo>
                    <a:lnTo>
                      <a:pt x="235" y="424"/>
                    </a:lnTo>
                    <a:lnTo>
                      <a:pt x="241" y="418"/>
                    </a:lnTo>
                    <a:lnTo>
                      <a:pt x="251" y="405"/>
                    </a:lnTo>
                    <a:lnTo>
                      <a:pt x="257" y="394"/>
                    </a:lnTo>
                    <a:lnTo>
                      <a:pt x="261" y="387"/>
                    </a:lnTo>
                    <a:lnTo>
                      <a:pt x="265" y="379"/>
                    </a:lnTo>
                    <a:lnTo>
                      <a:pt x="272" y="371"/>
                    </a:lnTo>
                    <a:lnTo>
                      <a:pt x="278" y="363"/>
                    </a:lnTo>
                    <a:lnTo>
                      <a:pt x="296" y="347"/>
                    </a:lnTo>
                    <a:lnTo>
                      <a:pt x="316" y="329"/>
                    </a:lnTo>
                    <a:lnTo>
                      <a:pt x="335" y="310"/>
                    </a:lnTo>
                    <a:lnTo>
                      <a:pt x="354" y="293"/>
                    </a:lnTo>
                    <a:lnTo>
                      <a:pt x="363" y="284"/>
                    </a:lnTo>
                    <a:lnTo>
                      <a:pt x="370" y="276"/>
                    </a:lnTo>
                    <a:lnTo>
                      <a:pt x="377" y="266"/>
                    </a:lnTo>
                    <a:lnTo>
                      <a:pt x="384" y="258"/>
                    </a:lnTo>
                    <a:lnTo>
                      <a:pt x="351" y="252"/>
                    </a:lnTo>
                    <a:lnTo>
                      <a:pt x="324" y="246"/>
                    </a:lnTo>
                    <a:lnTo>
                      <a:pt x="300" y="240"/>
                    </a:lnTo>
                    <a:lnTo>
                      <a:pt x="278" y="234"/>
                    </a:lnTo>
                    <a:lnTo>
                      <a:pt x="257" y="228"/>
                    </a:lnTo>
                    <a:lnTo>
                      <a:pt x="235" y="223"/>
                    </a:lnTo>
                    <a:lnTo>
                      <a:pt x="211" y="216"/>
                    </a:lnTo>
                    <a:lnTo>
                      <a:pt x="184" y="209"/>
                    </a:lnTo>
                    <a:lnTo>
                      <a:pt x="177" y="205"/>
                    </a:lnTo>
                    <a:lnTo>
                      <a:pt x="165" y="198"/>
                    </a:lnTo>
                    <a:lnTo>
                      <a:pt x="149" y="187"/>
                    </a:lnTo>
                    <a:lnTo>
                      <a:pt x="131" y="173"/>
                    </a:lnTo>
                    <a:lnTo>
                      <a:pt x="121" y="164"/>
                    </a:lnTo>
                    <a:lnTo>
                      <a:pt x="112" y="154"/>
                    </a:lnTo>
                    <a:lnTo>
                      <a:pt x="104" y="144"/>
                    </a:lnTo>
                    <a:lnTo>
                      <a:pt x="96" y="133"/>
                    </a:lnTo>
                    <a:lnTo>
                      <a:pt x="89" y="121"/>
                    </a:lnTo>
                    <a:lnTo>
                      <a:pt x="84" y="109"/>
                    </a:lnTo>
                    <a:lnTo>
                      <a:pt x="79" y="94"/>
                    </a:lnTo>
                    <a:lnTo>
                      <a:pt x="77" y="80"/>
                    </a:lnTo>
                    <a:lnTo>
                      <a:pt x="69" y="86"/>
                    </a:lnTo>
                    <a:lnTo>
                      <a:pt x="64" y="88"/>
                    </a:lnTo>
                    <a:lnTo>
                      <a:pt x="65" y="87"/>
                    </a:lnTo>
                    <a:lnTo>
                      <a:pt x="69" y="83"/>
                    </a:lnTo>
                    <a:lnTo>
                      <a:pt x="78" y="73"/>
                    </a:lnTo>
                    <a:lnTo>
                      <a:pt x="84" y="68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35" name="Freeform 357">
                <a:extLst>
                  <a:ext uri="{FF2B5EF4-FFF2-40B4-BE49-F238E27FC236}">
                    <a16:creationId xmlns="" xmlns:a16="http://schemas.microsoft.com/office/drawing/2014/main" id="{A80E31C4-A03E-43B4-AA9C-C569DE4FBCB1}"/>
                  </a:ext>
                </a:extLst>
              </p:cNvPr>
              <p:cNvSpPr>
                <a:spLocks/>
              </p:cNvSpPr>
              <p:nvPr>
                <p:custDataLst>
                  <p:tags r:id="rId260"/>
                </p:custDataLst>
              </p:nvPr>
            </p:nvSpPr>
            <p:spPr bwMode="auto">
              <a:xfrm>
                <a:off x="5049838" y="3262313"/>
                <a:ext cx="38100" cy="58737"/>
              </a:xfrm>
              <a:custGeom>
                <a:avLst/>
                <a:gdLst>
                  <a:gd name="T0" fmla="*/ 2147483646 w 86"/>
                  <a:gd name="T1" fmla="*/ 0 h 97"/>
                  <a:gd name="T2" fmla="*/ 2147483646 w 86"/>
                  <a:gd name="T3" fmla="*/ 2147483646 h 97"/>
                  <a:gd name="T4" fmla="*/ 2147483646 w 86"/>
                  <a:gd name="T5" fmla="*/ 2147483646 h 97"/>
                  <a:gd name="T6" fmla="*/ 2147483646 w 86"/>
                  <a:gd name="T7" fmla="*/ 2147483646 h 97"/>
                  <a:gd name="T8" fmla="*/ 2147483646 w 86"/>
                  <a:gd name="T9" fmla="*/ 2147483646 h 97"/>
                  <a:gd name="T10" fmla="*/ 2147483646 w 86"/>
                  <a:gd name="T11" fmla="*/ 2147483646 h 97"/>
                  <a:gd name="T12" fmla="*/ 2147483646 w 86"/>
                  <a:gd name="T13" fmla="*/ 2147483646 h 97"/>
                  <a:gd name="T14" fmla="*/ 2147483646 w 86"/>
                  <a:gd name="T15" fmla="*/ 2147483646 h 97"/>
                  <a:gd name="T16" fmla="*/ 2147483646 w 86"/>
                  <a:gd name="T17" fmla="*/ 2147483646 h 97"/>
                  <a:gd name="T18" fmla="*/ 2147483646 w 86"/>
                  <a:gd name="T19" fmla="*/ 2147483646 h 97"/>
                  <a:gd name="T20" fmla="*/ 2147483646 w 86"/>
                  <a:gd name="T21" fmla="*/ 2147483646 h 97"/>
                  <a:gd name="T22" fmla="*/ 2147483646 w 86"/>
                  <a:gd name="T23" fmla="*/ 2147483646 h 97"/>
                  <a:gd name="T24" fmla="*/ 2147483646 w 86"/>
                  <a:gd name="T25" fmla="*/ 2147483646 h 97"/>
                  <a:gd name="T26" fmla="*/ 2147483646 w 86"/>
                  <a:gd name="T27" fmla="*/ 2147483646 h 97"/>
                  <a:gd name="T28" fmla="*/ 2147483646 w 86"/>
                  <a:gd name="T29" fmla="*/ 2147483646 h 97"/>
                  <a:gd name="T30" fmla="*/ 0 w 86"/>
                  <a:gd name="T31" fmla="*/ 2147483646 h 97"/>
                  <a:gd name="T32" fmla="*/ 0 w 86"/>
                  <a:gd name="T33" fmla="*/ 2147483646 h 97"/>
                  <a:gd name="T34" fmla="*/ 0 w 86"/>
                  <a:gd name="T35" fmla="*/ 2147483646 h 97"/>
                  <a:gd name="T36" fmla="*/ 2147483646 w 86"/>
                  <a:gd name="T37" fmla="*/ 2147483646 h 97"/>
                  <a:gd name="T38" fmla="*/ 2147483646 w 86"/>
                  <a:gd name="T39" fmla="*/ 2147483646 h 97"/>
                  <a:gd name="T40" fmla="*/ 2147483646 w 86"/>
                  <a:gd name="T41" fmla="*/ 2147483646 h 97"/>
                  <a:gd name="T42" fmla="*/ 2147483646 w 86"/>
                  <a:gd name="T43" fmla="*/ 2147483646 h 97"/>
                  <a:gd name="T44" fmla="*/ 2147483646 w 86"/>
                  <a:gd name="T45" fmla="*/ 2147483646 h 97"/>
                  <a:gd name="T46" fmla="*/ 2147483646 w 86"/>
                  <a:gd name="T47" fmla="*/ 2147483646 h 97"/>
                  <a:gd name="T48" fmla="*/ 2147483646 w 86"/>
                  <a:gd name="T49" fmla="*/ 2147483646 h 97"/>
                  <a:gd name="T50" fmla="*/ 2147483646 w 86"/>
                  <a:gd name="T51" fmla="*/ 2147483646 h 97"/>
                  <a:gd name="T52" fmla="*/ 2147483646 w 86"/>
                  <a:gd name="T53" fmla="*/ 2147483646 h 97"/>
                  <a:gd name="T54" fmla="*/ 2147483646 w 86"/>
                  <a:gd name="T55" fmla="*/ 2147483646 h 97"/>
                  <a:gd name="T56" fmla="*/ 2147483646 w 86"/>
                  <a:gd name="T57" fmla="*/ 0 h 97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86"/>
                  <a:gd name="T88" fmla="*/ 0 h 97"/>
                  <a:gd name="T89" fmla="*/ 86 w 86"/>
                  <a:gd name="T90" fmla="*/ 97 h 97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86" h="97">
                    <a:moveTo>
                      <a:pt x="59" y="0"/>
                    </a:moveTo>
                    <a:lnTo>
                      <a:pt x="56" y="2"/>
                    </a:lnTo>
                    <a:lnTo>
                      <a:pt x="52" y="3"/>
                    </a:lnTo>
                    <a:lnTo>
                      <a:pt x="46" y="3"/>
                    </a:lnTo>
                    <a:lnTo>
                      <a:pt x="40" y="3"/>
                    </a:lnTo>
                    <a:lnTo>
                      <a:pt x="33" y="3"/>
                    </a:lnTo>
                    <a:lnTo>
                      <a:pt x="27" y="3"/>
                    </a:lnTo>
                    <a:lnTo>
                      <a:pt x="23" y="4"/>
                    </a:lnTo>
                    <a:lnTo>
                      <a:pt x="20" y="6"/>
                    </a:lnTo>
                    <a:lnTo>
                      <a:pt x="16" y="9"/>
                    </a:lnTo>
                    <a:lnTo>
                      <a:pt x="13" y="12"/>
                    </a:lnTo>
                    <a:lnTo>
                      <a:pt x="11" y="15"/>
                    </a:lnTo>
                    <a:lnTo>
                      <a:pt x="8" y="20"/>
                    </a:lnTo>
                    <a:lnTo>
                      <a:pt x="4" y="29"/>
                    </a:lnTo>
                    <a:lnTo>
                      <a:pt x="2" y="38"/>
                    </a:lnTo>
                    <a:lnTo>
                      <a:pt x="0" y="57"/>
                    </a:lnTo>
                    <a:lnTo>
                      <a:pt x="0" y="75"/>
                    </a:lnTo>
                    <a:lnTo>
                      <a:pt x="0" y="81"/>
                    </a:lnTo>
                    <a:lnTo>
                      <a:pt x="1" y="86"/>
                    </a:lnTo>
                    <a:lnTo>
                      <a:pt x="3" y="90"/>
                    </a:lnTo>
                    <a:lnTo>
                      <a:pt x="7" y="93"/>
                    </a:lnTo>
                    <a:lnTo>
                      <a:pt x="10" y="95"/>
                    </a:lnTo>
                    <a:lnTo>
                      <a:pt x="13" y="96"/>
                    </a:lnTo>
                    <a:lnTo>
                      <a:pt x="18" y="97"/>
                    </a:lnTo>
                    <a:lnTo>
                      <a:pt x="21" y="97"/>
                    </a:lnTo>
                    <a:lnTo>
                      <a:pt x="40" y="95"/>
                    </a:lnTo>
                    <a:lnTo>
                      <a:pt x="53" y="93"/>
                    </a:lnTo>
                    <a:lnTo>
                      <a:pt x="86" y="68"/>
                    </a:lnTo>
                    <a:lnTo>
                      <a:pt x="59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36" name="Freeform 358">
                <a:extLst>
                  <a:ext uri="{FF2B5EF4-FFF2-40B4-BE49-F238E27FC236}">
                    <a16:creationId xmlns="" xmlns:a16="http://schemas.microsoft.com/office/drawing/2014/main" id="{52D9188C-F92B-4FF3-81C4-46AA1A24CF99}"/>
                  </a:ext>
                </a:extLst>
              </p:cNvPr>
              <p:cNvSpPr>
                <a:spLocks/>
              </p:cNvSpPr>
              <p:nvPr>
                <p:custDataLst>
                  <p:tags r:id="rId261"/>
                </p:custDataLst>
              </p:nvPr>
            </p:nvSpPr>
            <p:spPr bwMode="auto">
              <a:xfrm>
                <a:off x="4848225" y="3173413"/>
                <a:ext cx="363538" cy="376237"/>
              </a:xfrm>
              <a:custGeom>
                <a:avLst/>
                <a:gdLst>
                  <a:gd name="T0" fmla="*/ 2147483646 w 845"/>
                  <a:gd name="T1" fmla="*/ 2147483646 h 720"/>
                  <a:gd name="T2" fmla="*/ 2147483646 w 845"/>
                  <a:gd name="T3" fmla="*/ 2147483646 h 720"/>
                  <a:gd name="T4" fmla="*/ 2147483646 w 845"/>
                  <a:gd name="T5" fmla="*/ 0 h 720"/>
                  <a:gd name="T6" fmla="*/ 2147483646 w 845"/>
                  <a:gd name="T7" fmla="*/ 2147483646 h 720"/>
                  <a:gd name="T8" fmla="*/ 2147483646 w 845"/>
                  <a:gd name="T9" fmla="*/ 2147483646 h 720"/>
                  <a:gd name="T10" fmla="*/ 2147483646 w 845"/>
                  <a:gd name="T11" fmla="*/ 2147483646 h 720"/>
                  <a:gd name="T12" fmla="*/ 2147483646 w 845"/>
                  <a:gd name="T13" fmla="*/ 2147483646 h 720"/>
                  <a:gd name="T14" fmla="*/ 2147483646 w 845"/>
                  <a:gd name="T15" fmla="*/ 2147483646 h 720"/>
                  <a:gd name="T16" fmla="*/ 2147483646 w 845"/>
                  <a:gd name="T17" fmla="*/ 2147483646 h 720"/>
                  <a:gd name="T18" fmla="*/ 2147483646 w 845"/>
                  <a:gd name="T19" fmla="*/ 2147483646 h 720"/>
                  <a:gd name="T20" fmla="*/ 2147483646 w 845"/>
                  <a:gd name="T21" fmla="*/ 2147483646 h 720"/>
                  <a:gd name="T22" fmla="*/ 2147483646 w 845"/>
                  <a:gd name="T23" fmla="*/ 2147483646 h 720"/>
                  <a:gd name="T24" fmla="*/ 2147483646 w 845"/>
                  <a:gd name="T25" fmla="*/ 2147483646 h 720"/>
                  <a:gd name="T26" fmla="*/ 2147483646 w 845"/>
                  <a:gd name="T27" fmla="*/ 2147483646 h 720"/>
                  <a:gd name="T28" fmla="*/ 2147483646 w 845"/>
                  <a:gd name="T29" fmla="*/ 2147483646 h 720"/>
                  <a:gd name="T30" fmla="*/ 2147483646 w 845"/>
                  <a:gd name="T31" fmla="*/ 2147483646 h 720"/>
                  <a:gd name="T32" fmla="*/ 2147483646 w 845"/>
                  <a:gd name="T33" fmla="*/ 2147483646 h 720"/>
                  <a:gd name="T34" fmla="*/ 2147483646 w 845"/>
                  <a:gd name="T35" fmla="*/ 2147483646 h 720"/>
                  <a:gd name="T36" fmla="*/ 2147483646 w 845"/>
                  <a:gd name="T37" fmla="*/ 2147483646 h 720"/>
                  <a:gd name="T38" fmla="*/ 2147483646 w 845"/>
                  <a:gd name="T39" fmla="*/ 2147483646 h 720"/>
                  <a:gd name="T40" fmla="*/ 2147483646 w 845"/>
                  <a:gd name="T41" fmla="*/ 2147483646 h 720"/>
                  <a:gd name="T42" fmla="*/ 2147483646 w 845"/>
                  <a:gd name="T43" fmla="*/ 2147483646 h 720"/>
                  <a:gd name="T44" fmla="*/ 2147483646 w 845"/>
                  <a:gd name="T45" fmla="*/ 2147483646 h 720"/>
                  <a:gd name="T46" fmla="*/ 2147483646 w 845"/>
                  <a:gd name="T47" fmla="*/ 2147483646 h 720"/>
                  <a:gd name="T48" fmla="*/ 2147483646 w 845"/>
                  <a:gd name="T49" fmla="*/ 2147483646 h 720"/>
                  <a:gd name="T50" fmla="*/ 2147483646 w 845"/>
                  <a:gd name="T51" fmla="*/ 2147483646 h 720"/>
                  <a:gd name="T52" fmla="*/ 2147483646 w 845"/>
                  <a:gd name="T53" fmla="*/ 2147483646 h 720"/>
                  <a:gd name="T54" fmla="*/ 2147483646 w 845"/>
                  <a:gd name="T55" fmla="*/ 2147483646 h 720"/>
                  <a:gd name="T56" fmla="*/ 2147483646 w 845"/>
                  <a:gd name="T57" fmla="*/ 2147483646 h 720"/>
                  <a:gd name="T58" fmla="*/ 2147483646 w 845"/>
                  <a:gd name="T59" fmla="*/ 2147483646 h 720"/>
                  <a:gd name="T60" fmla="*/ 2147483646 w 845"/>
                  <a:gd name="T61" fmla="*/ 2147483646 h 720"/>
                  <a:gd name="T62" fmla="*/ 2147483646 w 845"/>
                  <a:gd name="T63" fmla="*/ 2147483646 h 720"/>
                  <a:gd name="T64" fmla="*/ 2147483646 w 845"/>
                  <a:gd name="T65" fmla="*/ 2147483646 h 720"/>
                  <a:gd name="T66" fmla="*/ 2147483646 w 845"/>
                  <a:gd name="T67" fmla="*/ 2147483646 h 720"/>
                  <a:gd name="T68" fmla="*/ 2147483646 w 845"/>
                  <a:gd name="T69" fmla="*/ 2147483646 h 720"/>
                  <a:gd name="T70" fmla="*/ 2147483646 w 845"/>
                  <a:gd name="T71" fmla="*/ 2147483646 h 720"/>
                  <a:gd name="T72" fmla="*/ 2147483646 w 845"/>
                  <a:gd name="T73" fmla="*/ 2147483646 h 720"/>
                  <a:gd name="T74" fmla="*/ 2147483646 w 845"/>
                  <a:gd name="T75" fmla="*/ 2147483646 h 720"/>
                  <a:gd name="T76" fmla="*/ 2147483646 w 845"/>
                  <a:gd name="T77" fmla="*/ 2147483646 h 720"/>
                  <a:gd name="T78" fmla="*/ 2147483646 w 845"/>
                  <a:gd name="T79" fmla="*/ 2147483646 h 720"/>
                  <a:gd name="T80" fmla="*/ 2147483646 w 845"/>
                  <a:gd name="T81" fmla="*/ 2147483646 h 720"/>
                  <a:gd name="T82" fmla="*/ 2147483646 w 845"/>
                  <a:gd name="T83" fmla="*/ 2147483646 h 720"/>
                  <a:gd name="T84" fmla="*/ 2147483646 w 845"/>
                  <a:gd name="T85" fmla="*/ 2147483646 h 720"/>
                  <a:gd name="T86" fmla="*/ 2147483646 w 845"/>
                  <a:gd name="T87" fmla="*/ 2147483646 h 720"/>
                  <a:gd name="T88" fmla="*/ 2147483646 w 845"/>
                  <a:gd name="T89" fmla="*/ 2147483646 h 720"/>
                  <a:gd name="T90" fmla="*/ 2147483646 w 845"/>
                  <a:gd name="T91" fmla="*/ 2147483646 h 720"/>
                  <a:gd name="T92" fmla="*/ 2147483646 w 845"/>
                  <a:gd name="T93" fmla="*/ 2147483646 h 720"/>
                  <a:gd name="T94" fmla="*/ 2147483646 w 845"/>
                  <a:gd name="T95" fmla="*/ 2147483646 h 720"/>
                  <a:gd name="T96" fmla="*/ 2147483646 w 845"/>
                  <a:gd name="T97" fmla="*/ 2147483646 h 720"/>
                  <a:gd name="T98" fmla="*/ 2147483646 w 845"/>
                  <a:gd name="T99" fmla="*/ 2147483646 h 720"/>
                  <a:gd name="T100" fmla="*/ 2147483646 w 845"/>
                  <a:gd name="T101" fmla="*/ 2147483646 h 720"/>
                  <a:gd name="T102" fmla="*/ 2147483646 w 845"/>
                  <a:gd name="T103" fmla="*/ 2147483646 h 720"/>
                  <a:gd name="T104" fmla="*/ 2147483646 w 845"/>
                  <a:gd name="T105" fmla="*/ 2147483646 h 720"/>
                  <a:gd name="T106" fmla="*/ 2147483646 w 845"/>
                  <a:gd name="T107" fmla="*/ 2147483646 h 720"/>
                  <a:gd name="T108" fmla="*/ 2147483646 w 845"/>
                  <a:gd name="T109" fmla="*/ 2147483646 h 720"/>
                  <a:gd name="T110" fmla="*/ 2147483646 w 845"/>
                  <a:gd name="T111" fmla="*/ 2147483646 h 720"/>
                  <a:gd name="T112" fmla="*/ 2147483646 w 845"/>
                  <a:gd name="T113" fmla="*/ 2147483646 h 720"/>
                  <a:gd name="T114" fmla="*/ 2147483646 w 845"/>
                  <a:gd name="T115" fmla="*/ 2147483646 h 720"/>
                  <a:gd name="T116" fmla="*/ 2147483646 w 845"/>
                  <a:gd name="T117" fmla="*/ 2147483646 h 72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845"/>
                  <a:gd name="T178" fmla="*/ 0 h 720"/>
                  <a:gd name="T179" fmla="*/ 845 w 845"/>
                  <a:gd name="T180" fmla="*/ 720 h 720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845" h="720">
                    <a:moveTo>
                      <a:pt x="174" y="25"/>
                    </a:moveTo>
                    <a:lnTo>
                      <a:pt x="175" y="27"/>
                    </a:lnTo>
                    <a:lnTo>
                      <a:pt x="179" y="33"/>
                    </a:lnTo>
                    <a:lnTo>
                      <a:pt x="182" y="36"/>
                    </a:lnTo>
                    <a:lnTo>
                      <a:pt x="185" y="38"/>
                    </a:lnTo>
                    <a:lnTo>
                      <a:pt x="189" y="38"/>
                    </a:lnTo>
                    <a:lnTo>
                      <a:pt x="194" y="37"/>
                    </a:lnTo>
                    <a:lnTo>
                      <a:pt x="205" y="28"/>
                    </a:lnTo>
                    <a:lnTo>
                      <a:pt x="218" y="19"/>
                    </a:lnTo>
                    <a:lnTo>
                      <a:pt x="229" y="14"/>
                    </a:lnTo>
                    <a:lnTo>
                      <a:pt x="234" y="12"/>
                    </a:lnTo>
                    <a:lnTo>
                      <a:pt x="247" y="0"/>
                    </a:lnTo>
                    <a:lnTo>
                      <a:pt x="250" y="1"/>
                    </a:lnTo>
                    <a:lnTo>
                      <a:pt x="258" y="6"/>
                    </a:lnTo>
                    <a:lnTo>
                      <a:pt x="267" y="10"/>
                    </a:lnTo>
                    <a:lnTo>
                      <a:pt x="273" y="12"/>
                    </a:lnTo>
                    <a:lnTo>
                      <a:pt x="284" y="15"/>
                    </a:lnTo>
                    <a:lnTo>
                      <a:pt x="300" y="21"/>
                    </a:lnTo>
                    <a:lnTo>
                      <a:pt x="316" y="31"/>
                    </a:lnTo>
                    <a:lnTo>
                      <a:pt x="327" y="37"/>
                    </a:lnTo>
                    <a:lnTo>
                      <a:pt x="337" y="41"/>
                    </a:lnTo>
                    <a:lnTo>
                      <a:pt x="353" y="50"/>
                    </a:lnTo>
                    <a:lnTo>
                      <a:pt x="370" y="60"/>
                    </a:lnTo>
                    <a:lnTo>
                      <a:pt x="380" y="67"/>
                    </a:lnTo>
                    <a:lnTo>
                      <a:pt x="393" y="76"/>
                    </a:lnTo>
                    <a:lnTo>
                      <a:pt x="406" y="86"/>
                    </a:lnTo>
                    <a:lnTo>
                      <a:pt x="419" y="95"/>
                    </a:lnTo>
                    <a:lnTo>
                      <a:pt x="426" y="98"/>
                    </a:lnTo>
                    <a:lnTo>
                      <a:pt x="430" y="105"/>
                    </a:lnTo>
                    <a:lnTo>
                      <a:pt x="440" y="116"/>
                    </a:lnTo>
                    <a:lnTo>
                      <a:pt x="441" y="121"/>
                    </a:lnTo>
                    <a:lnTo>
                      <a:pt x="442" y="125"/>
                    </a:lnTo>
                    <a:lnTo>
                      <a:pt x="443" y="130"/>
                    </a:lnTo>
                    <a:lnTo>
                      <a:pt x="443" y="134"/>
                    </a:lnTo>
                    <a:lnTo>
                      <a:pt x="443" y="137"/>
                    </a:lnTo>
                    <a:lnTo>
                      <a:pt x="443" y="140"/>
                    </a:lnTo>
                    <a:lnTo>
                      <a:pt x="444" y="141"/>
                    </a:lnTo>
                    <a:lnTo>
                      <a:pt x="447" y="142"/>
                    </a:lnTo>
                    <a:lnTo>
                      <a:pt x="450" y="143"/>
                    </a:lnTo>
                    <a:lnTo>
                      <a:pt x="458" y="147"/>
                    </a:lnTo>
                    <a:lnTo>
                      <a:pt x="466" y="153"/>
                    </a:lnTo>
                    <a:lnTo>
                      <a:pt x="475" y="160"/>
                    </a:lnTo>
                    <a:lnTo>
                      <a:pt x="492" y="172"/>
                    </a:lnTo>
                    <a:lnTo>
                      <a:pt x="499" y="178"/>
                    </a:lnTo>
                    <a:lnTo>
                      <a:pt x="500" y="175"/>
                    </a:lnTo>
                    <a:lnTo>
                      <a:pt x="503" y="173"/>
                    </a:lnTo>
                    <a:lnTo>
                      <a:pt x="505" y="172"/>
                    </a:lnTo>
                    <a:lnTo>
                      <a:pt x="506" y="172"/>
                    </a:lnTo>
                    <a:lnTo>
                      <a:pt x="500" y="174"/>
                    </a:lnTo>
                    <a:lnTo>
                      <a:pt x="495" y="177"/>
                    </a:lnTo>
                    <a:lnTo>
                      <a:pt x="492" y="181"/>
                    </a:lnTo>
                    <a:lnTo>
                      <a:pt x="488" y="184"/>
                    </a:lnTo>
                    <a:lnTo>
                      <a:pt x="485" y="189"/>
                    </a:lnTo>
                    <a:lnTo>
                      <a:pt x="483" y="193"/>
                    </a:lnTo>
                    <a:lnTo>
                      <a:pt x="482" y="197"/>
                    </a:lnTo>
                    <a:lnTo>
                      <a:pt x="481" y="202"/>
                    </a:lnTo>
                    <a:lnTo>
                      <a:pt x="478" y="221"/>
                    </a:lnTo>
                    <a:lnTo>
                      <a:pt x="480" y="240"/>
                    </a:lnTo>
                    <a:lnTo>
                      <a:pt x="480" y="247"/>
                    </a:lnTo>
                    <a:lnTo>
                      <a:pt x="481" y="252"/>
                    </a:lnTo>
                    <a:lnTo>
                      <a:pt x="483" y="256"/>
                    </a:lnTo>
                    <a:lnTo>
                      <a:pt x="486" y="260"/>
                    </a:lnTo>
                    <a:lnTo>
                      <a:pt x="488" y="262"/>
                    </a:lnTo>
                    <a:lnTo>
                      <a:pt x="493" y="264"/>
                    </a:lnTo>
                    <a:lnTo>
                      <a:pt x="496" y="265"/>
                    </a:lnTo>
                    <a:lnTo>
                      <a:pt x="500" y="266"/>
                    </a:lnTo>
                    <a:lnTo>
                      <a:pt x="516" y="266"/>
                    </a:lnTo>
                    <a:lnTo>
                      <a:pt x="526" y="265"/>
                    </a:lnTo>
                    <a:lnTo>
                      <a:pt x="528" y="279"/>
                    </a:lnTo>
                    <a:lnTo>
                      <a:pt x="532" y="293"/>
                    </a:lnTo>
                    <a:lnTo>
                      <a:pt x="538" y="307"/>
                    </a:lnTo>
                    <a:lnTo>
                      <a:pt x="545" y="319"/>
                    </a:lnTo>
                    <a:lnTo>
                      <a:pt x="554" y="330"/>
                    </a:lnTo>
                    <a:lnTo>
                      <a:pt x="563" y="341"/>
                    </a:lnTo>
                    <a:lnTo>
                      <a:pt x="573" y="351"/>
                    </a:lnTo>
                    <a:lnTo>
                      <a:pt x="583" y="361"/>
                    </a:lnTo>
                    <a:lnTo>
                      <a:pt x="604" y="376"/>
                    </a:lnTo>
                    <a:lnTo>
                      <a:pt x="622" y="388"/>
                    </a:lnTo>
                    <a:lnTo>
                      <a:pt x="637" y="396"/>
                    </a:lnTo>
                    <a:lnTo>
                      <a:pt x="645" y="400"/>
                    </a:lnTo>
                    <a:lnTo>
                      <a:pt x="673" y="408"/>
                    </a:lnTo>
                    <a:lnTo>
                      <a:pt x="696" y="417"/>
                    </a:lnTo>
                    <a:lnTo>
                      <a:pt x="718" y="424"/>
                    </a:lnTo>
                    <a:lnTo>
                      <a:pt x="738" y="430"/>
                    </a:lnTo>
                    <a:lnTo>
                      <a:pt x="758" y="435"/>
                    </a:lnTo>
                    <a:lnTo>
                      <a:pt x="783" y="440"/>
                    </a:lnTo>
                    <a:lnTo>
                      <a:pt x="811" y="445"/>
                    </a:lnTo>
                    <a:lnTo>
                      <a:pt x="845" y="449"/>
                    </a:lnTo>
                    <a:lnTo>
                      <a:pt x="838" y="457"/>
                    </a:lnTo>
                    <a:lnTo>
                      <a:pt x="830" y="465"/>
                    </a:lnTo>
                    <a:lnTo>
                      <a:pt x="821" y="474"/>
                    </a:lnTo>
                    <a:lnTo>
                      <a:pt x="811" y="482"/>
                    </a:lnTo>
                    <a:lnTo>
                      <a:pt x="790" y="498"/>
                    </a:lnTo>
                    <a:lnTo>
                      <a:pt x="768" y="514"/>
                    </a:lnTo>
                    <a:lnTo>
                      <a:pt x="749" y="531"/>
                    </a:lnTo>
                    <a:lnTo>
                      <a:pt x="731" y="547"/>
                    </a:lnTo>
                    <a:lnTo>
                      <a:pt x="723" y="555"/>
                    </a:lnTo>
                    <a:lnTo>
                      <a:pt x="718" y="562"/>
                    </a:lnTo>
                    <a:lnTo>
                      <a:pt x="715" y="570"/>
                    </a:lnTo>
                    <a:lnTo>
                      <a:pt x="712" y="579"/>
                    </a:lnTo>
                    <a:lnTo>
                      <a:pt x="709" y="592"/>
                    </a:lnTo>
                    <a:lnTo>
                      <a:pt x="706" y="602"/>
                    </a:lnTo>
                    <a:lnTo>
                      <a:pt x="701" y="610"/>
                    </a:lnTo>
                    <a:lnTo>
                      <a:pt x="697" y="617"/>
                    </a:lnTo>
                    <a:lnTo>
                      <a:pt x="693" y="622"/>
                    </a:lnTo>
                    <a:lnTo>
                      <a:pt x="686" y="625"/>
                    </a:lnTo>
                    <a:lnTo>
                      <a:pt x="681" y="628"/>
                    </a:lnTo>
                    <a:lnTo>
                      <a:pt x="674" y="629"/>
                    </a:lnTo>
                    <a:lnTo>
                      <a:pt x="643" y="630"/>
                    </a:lnTo>
                    <a:lnTo>
                      <a:pt x="606" y="635"/>
                    </a:lnTo>
                    <a:lnTo>
                      <a:pt x="594" y="643"/>
                    </a:lnTo>
                    <a:lnTo>
                      <a:pt x="580" y="655"/>
                    </a:lnTo>
                    <a:lnTo>
                      <a:pt x="573" y="661"/>
                    </a:lnTo>
                    <a:lnTo>
                      <a:pt x="567" y="666"/>
                    </a:lnTo>
                    <a:lnTo>
                      <a:pt x="563" y="670"/>
                    </a:lnTo>
                    <a:lnTo>
                      <a:pt x="559" y="671"/>
                    </a:lnTo>
                    <a:lnTo>
                      <a:pt x="548" y="673"/>
                    </a:lnTo>
                    <a:lnTo>
                      <a:pt x="539" y="676"/>
                    </a:lnTo>
                    <a:lnTo>
                      <a:pt x="531" y="678"/>
                    </a:lnTo>
                    <a:lnTo>
                      <a:pt x="525" y="681"/>
                    </a:lnTo>
                    <a:lnTo>
                      <a:pt x="513" y="687"/>
                    </a:lnTo>
                    <a:lnTo>
                      <a:pt x="499" y="696"/>
                    </a:lnTo>
                    <a:lnTo>
                      <a:pt x="488" y="696"/>
                    </a:lnTo>
                    <a:lnTo>
                      <a:pt x="482" y="693"/>
                    </a:lnTo>
                    <a:lnTo>
                      <a:pt x="476" y="691"/>
                    </a:lnTo>
                    <a:lnTo>
                      <a:pt x="472" y="686"/>
                    </a:lnTo>
                    <a:lnTo>
                      <a:pt x="468" y="683"/>
                    </a:lnTo>
                    <a:lnTo>
                      <a:pt x="461" y="680"/>
                    </a:lnTo>
                    <a:lnTo>
                      <a:pt x="452" y="678"/>
                    </a:lnTo>
                    <a:lnTo>
                      <a:pt x="440" y="677"/>
                    </a:lnTo>
                    <a:lnTo>
                      <a:pt x="432" y="678"/>
                    </a:lnTo>
                    <a:lnTo>
                      <a:pt x="427" y="679"/>
                    </a:lnTo>
                    <a:lnTo>
                      <a:pt x="421" y="681"/>
                    </a:lnTo>
                    <a:lnTo>
                      <a:pt x="418" y="684"/>
                    </a:lnTo>
                    <a:lnTo>
                      <a:pt x="410" y="692"/>
                    </a:lnTo>
                    <a:lnTo>
                      <a:pt x="405" y="699"/>
                    </a:lnTo>
                    <a:lnTo>
                      <a:pt x="402" y="703"/>
                    </a:lnTo>
                    <a:lnTo>
                      <a:pt x="398" y="707"/>
                    </a:lnTo>
                    <a:lnTo>
                      <a:pt x="394" y="711"/>
                    </a:lnTo>
                    <a:lnTo>
                      <a:pt x="390" y="714"/>
                    </a:lnTo>
                    <a:lnTo>
                      <a:pt x="383" y="717"/>
                    </a:lnTo>
                    <a:lnTo>
                      <a:pt x="376" y="719"/>
                    </a:lnTo>
                    <a:lnTo>
                      <a:pt x="369" y="720"/>
                    </a:lnTo>
                    <a:lnTo>
                      <a:pt x="360" y="720"/>
                    </a:lnTo>
                    <a:lnTo>
                      <a:pt x="348" y="720"/>
                    </a:lnTo>
                    <a:lnTo>
                      <a:pt x="337" y="719"/>
                    </a:lnTo>
                    <a:lnTo>
                      <a:pt x="327" y="717"/>
                    </a:lnTo>
                    <a:lnTo>
                      <a:pt x="318" y="714"/>
                    </a:lnTo>
                    <a:lnTo>
                      <a:pt x="310" y="710"/>
                    </a:lnTo>
                    <a:lnTo>
                      <a:pt x="303" y="706"/>
                    </a:lnTo>
                    <a:lnTo>
                      <a:pt x="295" y="702"/>
                    </a:lnTo>
                    <a:lnTo>
                      <a:pt x="289" y="698"/>
                    </a:lnTo>
                    <a:lnTo>
                      <a:pt x="275" y="688"/>
                    </a:lnTo>
                    <a:lnTo>
                      <a:pt x="261" y="679"/>
                    </a:lnTo>
                    <a:lnTo>
                      <a:pt x="253" y="675"/>
                    </a:lnTo>
                    <a:lnTo>
                      <a:pt x="246" y="671"/>
                    </a:lnTo>
                    <a:lnTo>
                      <a:pt x="237" y="668"/>
                    </a:lnTo>
                    <a:lnTo>
                      <a:pt x="227" y="665"/>
                    </a:lnTo>
                    <a:lnTo>
                      <a:pt x="205" y="662"/>
                    </a:lnTo>
                    <a:lnTo>
                      <a:pt x="181" y="661"/>
                    </a:lnTo>
                    <a:lnTo>
                      <a:pt x="170" y="660"/>
                    </a:lnTo>
                    <a:lnTo>
                      <a:pt x="159" y="659"/>
                    </a:lnTo>
                    <a:lnTo>
                      <a:pt x="149" y="657"/>
                    </a:lnTo>
                    <a:lnTo>
                      <a:pt x="140" y="653"/>
                    </a:lnTo>
                    <a:lnTo>
                      <a:pt x="149" y="632"/>
                    </a:lnTo>
                    <a:lnTo>
                      <a:pt x="153" y="622"/>
                    </a:lnTo>
                    <a:lnTo>
                      <a:pt x="152" y="618"/>
                    </a:lnTo>
                    <a:lnTo>
                      <a:pt x="151" y="614"/>
                    </a:lnTo>
                    <a:lnTo>
                      <a:pt x="147" y="607"/>
                    </a:lnTo>
                    <a:lnTo>
                      <a:pt x="140" y="597"/>
                    </a:lnTo>
                    <a:lnTo>
                      <a:pt x="134" y="597"/>
                    </a:lnTo>
                    <a:lnTo>
                      <a:pt x="127" y="596"/>
                    </a:lnTo>
                    <a:lnTo>
                      <a:pt x="122" y="593"/>
                    </a:lnTo>
                    <a:lnTo>
                      <a:pt x="116" y="590"/>
                    </a:lnTo>
                    <a:lnTo>
                      <a:pt x="112" y="587"/>
                    </a:lnTo>
                    <a:lnTo>
                      <a:pt x="108" y="583"/>
                    </a:lnTo>
                    <a:lnTo>
                      <a:pt x="104" y="577"/>
                    </a:lnTo>
                    <a:lnTo>
                      <a:pt x="102" y="572"/>
                    </a:lnTo>
                    <a:lnTo>
                      <a:pt x="96" y="562"/>
                    </a:lnTo>
                    <a:lnTo>
                      <a:pt x="93" y="551"/>
                    </a:lnTo>
                    <a:lnTo>
                      <a:pt x="90" y="540"/>
                    </a:lnTo>
                    <a:lnTo>
                      <a:pt x="88" y="530"/>
                    </a:lnTo>
                    <a:lnTo>
                      <a:pt x="82" y="519"/>
                    </a:lnTo>
                    <a:lnTo>
                      <a:pt x="77" y="511"/>
                    </a:lnTo>
                    <a:lnTo>
                      <a:pt x="70" y="505"/>
                    </a:lnTo>
                    <a:lnTo>
                      <a:pt x="63" y="499"/>
                    </a:lnTo>
                    <a:lnTo>
                      <a:pt x="57" y="494"/>
                    </a:lnTo>
                    <a:lnTo>
                      <a:pt x="49" y="489"/>
                    </a:lnTo>
                    <a:lnTo>
                      <a:pt x="41" y="483"/>
                    </a:lnTo>
                    <a:lnTo>
                      <a:pt x="34" y="474"/>
                    </a:lnTo>
                    <a:lnTo>
                      <a:pt x="24" y="477"/>
                    </a:lnTo>
                    <a:lnTo>
                      <a:pt x="16" y="477"/>
                    </a:lnTo>
                    <a:lnTo>
                      <a:pt x="12" y="476"/>
                    </a:lnTo>
                    <a:lnTo>
                      <a:pt x="10" y="475"/>
                    </a:lnTo>
                    <a:lnTo>
                      <a:pt x="6" y="474"/>
                    </a:lnTo>
                    <a:lnTo>
                      <a:pt x="5" y="472"/>
                    </a:lnTo>
                    <a:lnTo>
                      <a:pt x="2" y="467"/>
                    </a:lnTo>
                    <a:lnTo>
                      <a:pt x="0" y="461"/>
                    </a:lnTo>
                    <a:lnTo>
                      <a:pt x="1" y="454"/>
                    </a:lnTo>
                    <a:lnTo>
                      <a:pt x="2" y="448"/>
                    </a:lnTo>
                    <a:lnTo>
                      <a:pt x="5" y="441"/>
                    </a:lnTo>
                    <a:lnTo>
                      <a:pt x="9" y="434"/>
                    </a:lnTo>
                    <a:lnTo>
                      <a:pt x="14" y="428"/>
                    </a:lnTo>
                    <a:lnTo>
                      <a:pt x="21" y="422"/>
                    </a:lnTo>
                    <a:lnTo>
                      <a:pt x="27" y="418"/>
                    </a:lnTo>
                    <a:lnTo>
                      <a:pt x="36" y="415"/>
                    </a:lnTo>
                    <a:lnTo>
                      <a:pt x="45" y="413"/>
                    </a:lnTo>
                    <a:lnTo>
                      <a:pt x="55" y="413"/>
                    </a:lnTo>
                    <a:lnTo>
                      <a:pt x="57" y="384"/>
                    </a:lnTo>
                    <a:lnTo>
                      <a:pt x="60" y="360"/>
                    </a:lnTo>
                    <a:lnTo>
                      <a:pt x="63" y="339"/>
                    </a:lnTo>
                    <a:lnTo>
                      <a:pt x="67" y="321"/>
                    </a:lnTo>
                    <a:lnTo>
                      <a:pt x="71" y="306"/>
                    </a:lnTo>
                    <a:lnTo>
                      <a:pt x="74" y="293"/>
                    </a:lnTo>
                    <a:lnTo>
                      <a:pt x="79" y="283"/>
                    </a:lnTo>
                    <a:lnTo>
                      <a:pt x="82" y="275"/>
                    </a:lnTo>
                    <a:lnTo>
                      <a:pt x="87" y="269"/>
                    </a:lnTo>
                    <a:lnTo>
                      <a:pt x="90" y="265"/>
                    </a:lnTo>
                    <a:lnTo>
                      <a:pt x="93" y="262"/>
                    </a:lnTo>
                    <a:lnTo>
                      <a:pt x="95" y="260"/>
                    </a:lnTo>
                    <a:lnTo>
                      <a:pt x="100" y="259"/>
                    </a:lnTo>
                    <a:lnTo>
                      <a:pt x="101" y="259"/>
                    </a:lnTo>
                    <a:lnTo>
                      <a:pt x="101" y="247"/>
                    </a:lnTo>
                    <a:lnTo>
                      <a:pt x="103" y="236"/>
                    </a:lnTo>
                    <a:lnTo>
                      <a:pt x="105" y="227"/>
                    </a:lnTo>
                    <a:lnTo>
                      <a:pt x="108" y="219"/>
                    </a:lnTo>
                    <a:lnTo>
                      <a:pt x="112" y="212"/>
                    </a:lnTo>
                    <a:lnTo>
                      <a:pt x="116" y="206"/>
                    </a:lnTo>
                    <a:lnTo>
                      <a:pt x="122" y="200"/>
                    </a:lnTo>
                    <a:lnTo>
                      <a:pt x="126" y="196"/>
                    </a:lnTo>
                    <a:lnTo>
                      <a:pt x="137" y="186"/>
                    </a:lnTo>
                    <a:lnTo>
                      <a:pt x="148" y="178"/>
                    </a:lnTo>
                    <a:lnTo>
                      <a:pt x="153" y="174"/>
                    </a:lnTo>
                    <a:lnTo>
                      <a:pt x="159" y="170"/>
                    </a:lnTo>
                    <a:lnTo>
                      <a:pt x="163" y="165"/>
                    </a:lnTo>
                    <a:lnTo>
                      <a:pt x="167" y="160"/>
                    </a:lnTo>
                    <a:lnTo>
                      <a:pt x="174" y="25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37" name="Line 359">
                <a:extLst>
                  <a:ext uri="{FF2B5EF4-FFF2-40B4-BE49-F238E27FC236}">
                    <a16:creationId xmlns="" xmlns:a16="http://schemas.microsoft.com/office/drawing/2014/main" id="{5E2FCEA0-0199-423F-90EF-D50B33F5D9DD}"/>
                  </a:ext>
                </a:extLst>
              </p:cNvPr>
              <p:cNvSpPr>
                <a:spLocks noChangeShapeType="1"/>
              </p:cNvSpPr>
              <p:nvPr>
                <p:custDataLst>
                  <p:tags r:id="rId262"/>
                </p:custDataLst>
              </p:nvPr>
            </p:nvSpPr>
            <p:spPr bwMode="auto">
              <a:xfrm flipH="1">
                <a:off x="1708150" y="3692525"/>
                <a:ext cx="4763" cy="7938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s-ES" sz="1800" kern="1200"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38" name="Freeform 360">
                <a:extLst>
                  <a:ext uri="{FF2B5EF4-FFF2-40B4-BE49-F238E27FC236}">
                    <a16:creationId xmlns="" xmlns:a16="http://schemas.microsoft.com/office/drawing/2014/main" id="{FEA41891-70C9-4E54-90DB-118EB7F8205D}"/>
                  </a:ext>
                </a:extLst>
              </p:cNvPr>
              <p:cNvSpPr>
                <a:spLocks/>
              </p:cNvSpPr>
              <p:nvPr>
                <p:custDataLst>
                  <p:tags r:id="rId263"/>
                </p:custDataLst>
              </p:nvPr>
            </p:nvSpPr>
            <p:spPr bwMode="auto">
              <a:xfrm>
                <a:off x="1708150" y="3700463"/>
                <a:ext cx="12700" cy="58737"/>
              </a:xfrm>
              <a:custGeom>
                <a:avLst/>
                <a:gdLst>
                  <a:gd name="T0" fmla="*/ 0 w 33"/>
                  <a:gd name="T1" fmla="*/ 0 h 6"/>
                  <a:gd name="T2" fmla="*/ 2147483646 w 33"/>
                  <a:gd name="T3" fmla="*/ 2147483646 h 6"/>
                  <a:gd name="T4" fmla="*/ 2147483646 w 33"/>
                  <a:gd name="T5" fmla="*/ 2147483646 h 6"/>
                  <a:gd name="T6" fmla="*/ 2147483646 w 33"/>
                  <a:gd name="T7" fmla="*/ 2147483646 h 6"/>
                  <a:gd name="T8" fmla="*/ 2147483646 w 33"/>
                  <a:gd name="T9" fmla="*/ 2147483646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3"/>
                  <a:gd name="T16" fmla="*/ 0 h 6"/>
                  <a:gd name="T17" fmla="*/ 33 w 33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3" h="6">
                    <a:moveTo>
                      <a:pt x="0" y="0"/>
                    </a:moveTo>
                    <a:lnTo>
                      <a:pt x="7" y="1"/>
                    </a:lnTo>
                    <a:lnTo>
                      <a:pt x="15" y="3"/>
                    </a:lnTo>
                    <a:lnTo>
                      <a:pt x="23" y="5"/>
                    </a:lnTo>
                    <a:lnTo>
                      <a:pt x="33" y="6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39" name="Freeform 361">
                <a:extLst>
                  <a:ext uri="{FF2B5EF4-FFF2-40B4-BE49-F238E27FC236}">
                    <a16:creationId xmlns="" xmlns:a16="http://schemas.microsoft.com/office/drawing/2014/main" id="{33F91E21-897C-4283-9FA8-0A370A803551}"/>
                  </a:ext>
                </a:extLst>
              </p:cNvPr>
              <p:cNvSpPr>
                <a:spLocks/>
              </p:cNvSpPr>
              <p:nvPr>
                <p:custDataLst>
                  <p:tags r:id="rId264"/>
                </p:custDataLst>
              </p:nvPr>
            </p:nvSpPr>
            <p:spPr bwMode="auto">
              <a:xfrm>
                <a:off x="1716088" y="3687763"/>
                <a:ext cx="4762" cy="57150"/>
              </a:xfrm>
              <a:custGeom>
                <a:avLst/>
                <a:gdLst>
                  <a:gd name="T0" fmla="*/ 2147483646 w 13"/>
                  <a:gd name="T1" fmla="*/ 2147483646 h 30"/>
                  <a:gd name="T2" fmla="*/ 2147483646 w 13"/>
                  <a:gd name="T3" fmla="*/ 0 h 30"/>
                  <a:gd name="T4" fmla="*/ 0 w 13"/>
                  <a:gd name="T5" fmla="*/ 0 h 30"/>
                  <a:gd name="T6" fmla="*/ 0 60000 65536"/>
                  <a:gd name="T7" fmla="*/ 0 60000 65536"/>
                  <a:gd name="T8" fmla="*/ 0 60000 65536"/>
                  <a:gd name="T9" fmla="*/ 0 w 13"/>
                  <a:gd name="T10" fmla="*/ 0 h 30"/>
                  <a:gd name="T11" fmla="*/ 13 w 13"/>
                  <a:gd name="T12" fmla="*/ 30 h 3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" h="30">
                    <a:moveTo>
                      <a:pt x="13" y="30"/>
                    </a:moveTo>
                    <a:lnTo>
                      <a:pt x="13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2040" name="Group 362">
                <a:extLst>
                  <a:ext uri="{FF2B5EF4-FFF2-40B4-BE49-F238E27FC236}">
                    <a16:creationId xmlns="" xmlns:a16="http://schemas.microsoft.com/office/drawing/2014/main" id="{D1FB0841-A269-45D0-B80D-BD32CF40F304}"/>
                  </a:ext>
                </a:extLst>
              </p:cNvPr>
              <p:cNvGrpSpPr>
                <a:grpSpLocks/>
              </p:cNvGrpSpPr>
              <p:nvPr>
                <p:custDataLst>
                  <p:tags r:id="rId265"/>
                </p:custDataLst>
              </p:nvPr>
            </p:nvGrpSpPr>
            <p:grpSpPr bwMode="auto">
              <a:xfrm>
                <a:off x="1708150" y="3622675"/>
                <a:ext cx="417513" cy="201613"/>
                <a:chOff x="912" y="2626"/>
                <a:chExt cx="311" cy="127"/>
              </a:xfrm>
              <a:solidFill>
                <a:srgbClr val="FFFFFF">
                  <a:lumMod val="75000"/>
                </a:srgbClr>
              </a:solidFill>
            </p:grpSpPr>
            <p:sp>
              <p:nvSpPr>
                <p:cNvPr id="2041" name="Freeform 363">
                  <a:extLst>
                    <a:ext uri="{FF2B5EF4-FFF2-40B4-BE49-F238E27FC236}">
                      <a16:creationId xmlns="" xmlns:a16="http://schemas.microsoft.com/office/drawing/2014/main" id="{91E9364F-4241-41EF-ACB3-2F9205482C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10" y="2626"/>
                  <a:ext cx="113" cy="127"/>
                </a:xfrm>
                <a:custGeom>
                  <a:avLst/>
                  <a:gdLst>
                    <a:gd name="T0" fmla="*/ 1 w 352"/>
                    <a:gd name="T1" fmla="*/ 0 h 387"/>
                    <a:gd name="T2" fmla="*/ 1 w 352"/>
                    <a:gd name="T3" fmla="*/ 0 h 387"/>
                    <a:gd name="T4" fmla="*/ 1 w 352"/>
                    <a:gd name="T5" fmla="*/ 0 h 387"/>
                    <a:gd name="T6" fmla="*/ 1 w 352"/>
                    <a:gd name="T7" fmla="*/ 0 h 387"/>
                    <a:gd name="T8" fmla="*/ 1 w 352"/>
                    <a:gd name="T9" fmla="*/ 0 h 387"/>
                    <a:gd name="T10" fmla="*/ 1 w 352"/>
                    <a:gd name="T11" fmla="*/ 0 h 387"/>
                    <a:gd name="T12" fmla="*/ 0 w 352"/>
                    <a:gd name="T13" fmla="*/ 0 h 387"/>
                    <a:gd name="T14" fmla="*/ 0 w 352"/>
                    <a:gd name="T15" fmla="*/ 0 h 387"/>
                    <a:gd name="T16" fmla="*/ 0 w 352"/>
                    <a:gd name="T17" fmla="*/ 0 h 387"/>
                    <a:gd name="T18" fmla="*/ 0 w 352"/>
                    <a:gd name="T19" fmla="*/ 0 h 387"/>
                    <a:gd name="T20" fmla="*/ 0 w 352"/>
                    <a:gd name="T21" fmla="*/ 0 h 387"/>
                    <a:gd name="T22" fmla="*/ 0 w 352"/>
                    <a:gd name="T23" fmla="*/ 0 h 387"/>
                    <a:gd name="T24" fmla="*/ 0 w 352"/>
                    <a:gd name="T25" fmla="*/ 1 h 387"/>
                    <a:gd name="T26" fmla="*/ 0 w 352"/>
                    <a:gd name="T27" fmla="*/ 1 h 387"/>
                    <a:gd name="T28" fmla="*/ 0 w 352"/>
                    <a:gd name="T29" fmla="*/ 1 h 387"/>
                    <a:gd name="T30" fmla="*/ 0 w 352"/>
                    <a:gd name="T31" fmla="*/ 1 h 387"/>
                    <a:gd name="T32" fmla="*/ 0 w 352"/>
                    <a:gd name="T33" fmla="*/ 1 h 387"/>
                    <a:gd name="T34" fmla="*/ 0 w 352"/>
                    <a:gd name="T35" fmla="*/ 1 h 387"/>
                    <a:gd name="T36" fmla="*/ 0 w 352"/>
                    <a:gd name="T37" fmla="*/ 1 h 387"/>
                    <a:gd name="T38" fmla="*/ 0 w 352"/>
                    <a:gd name="T39" fmla="*/ 1 h 387"/>
                    <a:gd name="T40" fmla="*/ 0 w 352"/>
                    <a:gd name="T41" fmla="*/ 1 h 387"/>
                    <a:gd name="T42" fmla="*/ 0 w 352"/>
                    <a:gd name="T43" fmla="*/ 1 h 387"/>
                    <a:gd name="T44" fmla="*/ 0 w 352"/>
                    <a:gd name="T45" fmla="*/ 1 h 387"/>
                    <a:gd name="T46" fmla="*/ 0 w 352"/>
                    <a:gd name="T47" fmla="*/ 1 h 387"/>
                    <a:gd name="T48" fmla="*/ 0 w 352"/>
                    <a:gd name="T49" fmla="*/ 1 h 387"/>
                    <a:gd name="T50" fmla="*/ 0 w 352"/>
                    <a:gd name="T51" fmla="*/ 1 h 387"/>
                    <a:gd name="T52" fmla="*/ 0 w 352"/>
                    <a:gd name="T53" fmla="*/ 1 h 387"/>
                    <a:gd name="T54" fmla="*/ 0 w 352"/>
                    <a:gd name="T55" fmla="*/ 1 h 387"/>
                    <a:gd name="T56" fmla="*/ 0 w 352"/>
                    <a:gd name="T57" fmla="*/ 1 h 387"/>
                    <a:gd name="T58" fmla="*/ 0 w 352"/>
                    <a:gd name="T59" fmla="*/ 1 h 387"/>
                    <a:gd name="T60" fmla="*/ 0 w 352"/>
                    <a:gd name="T61" fmla="*/ 1 h 387"/>
                    <a:gd name="T62" fmla="*/ 0 w 352"/>
                    <a:gd name="T63" fmla="*/ 1 h 387"/>
                    <a:gd name="T64" fmla="*/ 0 w 352"/>
                    <a:gd name="T65" fmla="*/ 1 h 387"/>
                    <a:gd name="T66" fmla="*/ 1 w 352"/>
                    <a:gd name="T67" fmla="*/ 1 h 387"/>
                    <a:gd name="T68" fmla="*/ 1 w 352"/>
                    <a:gd name="T69" fmla="*/ 2 h 387"/>
                    <a:gd name="T70" fmla="*/ 1 w 352"/>
                    <a:gd name="T71" fmla="*/ 1 h 387"/>
                    <a:gd name="T72" fmla="*/ 1 w 352"/>
                    <a:gd name="T73" fmla="*/ 1 h 387"/>
                    <a:gd name="T74" fmla="*/ 1 w 352"/>
                    <a:gd name="T75" fmla="*/ 1 h 387"/>
                    <a:gd name="T76" fmla="*/ 1 w 352"/>
                    <a:gd name="T77" fmla="*/ 1 h 387"/>
                    <a:gd name="T78" fmla="*/ 1 w 352"/>
                    <a:gd name="T79" fmla="*/ 1 h 387"/>
                    <a:gd name="T80" fmla="*/ 1 w 352"/>
                    <a:gd name="T81" fmla="*/ 1 h 387"/>
                    <a:gd name="T82" fmla="*/ 1 w 352"/>
                    <a:gd name="T83" fmla="*/ 1 h 387"/>
                    <a:gd name="T84" fmla="*/ 1 w 352"/>
                    <a:gd name="T85" fmla="*/ 1 h 387"/>
                    <a:gd name="T86" fmla="*/ 1 w 352"/>
                    <a:gd name="T87" fmla="*/ 1 h 387"/>
                    <a:gd name="T88" fmla="*/ 1 w 352"/>
                    <a:gd name="T89" fmla="*/ 1 h 387"/>
                    <a:gd name="T90" fmla="*/ 1 w 352"/>
                    <a:gd name="T91" fmla="*/ 1 h 387"/>
                    <a:gd name="T92" fmla="*/ 1 w 352"/>
                    <a:gd name="T93" fmla="*/ 1 h 387"/>
                    <a:gd name="T94" fmla="*/ 1 w 352"/>
                    <a:gd name="T95" fmla="*/ 1 h 387"/>
                    <a:gd name="T96" fmla="*/ 1 w 352"/>
                    <a:gd name="T97" fmla="*/ 1 h 387"/>
                    <a:gd name="T98" fmla="*/ 1 w 352"/>
                    <a:gd name="T99" fmla="*/ 1 h 387"/>
                    <a:gd name="T100" fmla="*/ 1 w 352"/>
                    <a:gd name="T101" fmla="*/ 0 h 387"/>
                    <a:gd name="T102" fmla="*/ 1 w 352"/>
                    <a:gd name="T103" fmla="*/ 0 h 387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352"/>
                    <a:gd name="T157" fmla="*/ 0 h 387"/>
                    <a:gd name="T158" fmla="*/ 352 w 352"/>
                    <a:gd name="T159" fmla="*/ 387 h 387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352" h="387">
                      <a:moveTo>
                        <a:pt x="325" y="79"/>
                      </a:moveTo>
                      <a:lnTo>
                        <a:pt x="312" y="79"/>
                      </a:lnTo>
                      <a:lnTo>
                        <a:pt x="299" y="79"/>
                      </a:lnTo>
                      <a:lnTo>
                        <a:pt x="286" y="79"/>
                      </a:lnTo>
                      <a:lnTo>
                        <a:pt x="273" y="79"/>
                      </a:lnTo>
                      <a:lnTo>
                        <a:pt x="265" y="79"/>
                      </a:lnTo>
                      <a:lnTo>
                        <a:pt x="256" y="77"/>
                      </a:lnTo>
                      <a:lnTo>
                        <a:pt x="249" y="74"/>
                      </a:lnTo>
                      <a:lnTo>
                        <a:pt x="240" y="70"/>
                      </a:lnTo>
                      <a:lnTo>
                        <a:pt x="222" y="59"/>
                      </a:lnTo>
                      <a:lnTo>
                        <a:pt x="204" y="46"/>
                      </a:lnTo>
                      <a:lnTo>
                        <a:pt x="168" y="20"/>
                      </a:lnTo>
                      <a:lnTo>
                        <a:pt x="140" y="0"/>
                      </a:lnTo>
                      <a:lnTo>
                        <a:pt x="137" y="6"/>
                      </a:lnTo>
                      <a:lnTo>
                        <a:pt x="133" y="13"/>
                      </a:lnTo>
                      <a:lnTo>
                        <a:pt x="129" y="19"/>
                      </a:lnTo>
                      <a:lnTo>
                        <a:pt x="125" y="25"/>
                      </a:lnTo>
                      <a:lnTo>
                        <a:pt x="119" y="29"/>
                      </a:lnTo>
                      <a:lnTo>
                        <a:pt x="114" y="33"/>
                      </a:lnTo>
                      <a:lnTo>
                        <a:pt x="107" y="35"/>
                      </a:lnTo>
                      <a:lnTo>
                        <a:pt x="100" y="36"/>
                      </a:lnTo>
                      <a:lnTo>
                        <a:pt x="86" y="56"/>
                      </a:lnTo>
                      <a:lnTo>
                        <a:pt x="71" y="76"/>
                      </a:lnTo>
                      <a:lnTo>
                        <a:pt x="53" y="97"/>
                      </a:lnTo>
                      <a:lnTo>
                        <a:pt x="38" y="120"/>
                      </a:lnTo>
                      <a:lnTo>
                        <a:pt x="30" y="131"/>
                      </a:lnTo>
                      <a:lnTo>
                        <a:pt x="22" y="143"/>
                      </a:lnTo>
                      <a:lnTo>
                        <a:pt x="17" y="154"/>
                      </a:lnTo>
                      <a:lnTo>
                        <a:pt x="11" y="165"/>
                      </a:lnTo>
                      <a:lnTo>
                        <a:pt x="7" y="177"/>
                      </a:lnTo>
                      <a:lnTo>
                        <a:pt x="3" y="187"/>
                      </a:lnTo>
                      <a:lnTo>
                        <a:pt x="0" y="198"/>
                      </a:lnTo>
                      <a:lnTo>
                        <a:pt x="0" y="208"/>
                      </a:lnTo>
                      <a:lnTo>
                        <a:pt x="0" y="213"/>
                      </a:lnTo>
                      <a:lnTo>
                        <a:pt x="2" y="217"/>
                      </a:lnTo>
                      <a:lnTo>
                        <a:pt x="3" y="222"/>
                      </a:lnTo>
                      <a:lnTo>
                        <a:pt x="5" y="225"/>
                      </a:lnTo>
                      <a:lnTo>
                        <a:pt x="9" y="231"/>
                      </a:lnTo>
                      <a:lnTo>
                        <a:pt x="16" y="237"/>
                      </a:lnTo>
                      <a:lnTo>
                        <a:pt x="24" y="241"/>
                      </a:lnTo>
                      <a:lnTo>
                        <a:pt x="31" y="243"/>
                      </a:lnTo>
                      <a:lnTo>
                        <a:pt x="39" y="245"/>
                      </a:lnTo>
                      <a:lnTo>
                        <a:pt x="47" y="246"/>
                      </a:lnTo>
                      <a:lnTo>
                        <a:pt x="52" y="245"/>
                      </a:lnTo>
                      <a:lnTo>
                        <a:pt x="58" y="243"/>
                      </a:lnTo>
                      <a:lnTo>
                        <a:pt x="63" y="241"/>
                      </a:lnTo>
                      <a:lnTo>
                        <a:pt x="69" y="238"/>
                      </a:lnTo>
                      <a:lnTo>
                        <a:pt x="73" y="236"/>
                      </a:lnTo>
                      <a:lnTo>
                        <a:pt x="76" y="235"/>
                      </a:lnTo>
                      <a:lnTo>
                        <a:pt x="78" y="236"/>
                      </a:lnTo>
                      <a:lnTo>
                        <a:pt x="80" y="236"/>
                      </a:lnTo>
                      <a:lnTo>
                        <a:pt x="80" y="238"/>
                      </a:lnTo>
                      <a:lnTo>
                        <a:pt x="80" y="240"/>
                      </a:lnTo>
                      <a:lnTo>
                        <a:pt x="80" y="257"/>
                      </a:lnTo>
                      <a:lnTo>
                        <a:pt x="78" y="271"/>
                      </a:lnTo>
                      <a:lnTo>
                        <a:pt x="76" y="279"/>
                      </a:lnTo>
                      <a:lnTo>
                        <a:pt x="74" y="285"/>
                      </a:lnTo>
                      <a:lnTo>
                        <a:pt x="71" y="290"/>
                      </a:lnTo>
                      <a:lnTo>
                        <a:pt x="66" y="295"/>
                      </a:lnTo>
                      <a:lnTo>
                        <a:pt x="73" y="307"/>
                      </a:lnTo>
                      <a:lnTo>
                        <a:pt x="80" y="319"/>
                      </a:lnTo>
                      <a:lnTo>
                        <a:pt x="80" y="331"/>
                      </a:lnTo>
                      <a:lnTo>
                        <a:pt x="80" y="344"/>
                      </a:lnTo>
                      <a:lnTo>
                        <a:pt x="89" y="351"/>
                      </a:lnTo>
                      <a:lnTo>
                        <a:pt x="110" y="366"/>
                      </a:lnTo>
                      <a:lnTo>
                        <a:pt x="122" y="373"/>
                      </a:lnTo>
                      <a:lnTo>
                        <a:pt x="133" y="380"/>
                      </a:lnTo>
                      <a:lnTo>
                        <a:pt x="142" y="385"/>
                      </a:lnTo>
                      <a:lnTo>
                        <a:pt x="147" y="387"/>
                      </a:lnTo>
                      <a:lnTo>
                        <a:pt x="152" y="386"/>
                      </a:lnTo>
                      <a:lnTo>
                        <a:pt x="158" y="382"/>
                      </a:lnTo>
                      <a:lnTo>
                        <a:pt x="163" y="377"/>
                      </a:lnTo>
                      <a:lnTo>
                        <a:pt x="168" y="370"/>
                      </a:lnTo>
                      <a:lnTo>
                        <a:pt x="173" y="363"/>
                      </a:lnTo>
                      <a:lnTo>
                        <a:pt x="176" y="356"/>
                      </a:lnTo>
                      <a:lnTo>
                        <a:pt x="178" y="350"/>
                      </a:lnTo>
                      <a:lnTo>
                        <a:pt x="179" y="344"/>
                      </a:lnTo>
                      <a:lnTo>
                        <a:pt x="181" y="338"/>
                      </a:lnTo>
                      <a:lnTo>
                        <a:pt x="182" y="330"/>
                      </a:lnTo>
                      <a:lnTo>
                        <a:pt x="184" y="323"/>
                      </a:lnTo>
                      <a:lnTo>
                        <a:pt x="187" y="317"/>
                      </a:lnTo>
                      <a:lnTo>
                        <a:pt x="195" y="304"/>
                      </a:lnTo>
                      <a:lnTo>
                        <a:pt x="206" y="292"/>
                      </a:lnTo>
                      <a:lnTo>
                        <a:pt x="216" y="281"/>
                      </a:lnTo>
                      <a:lnTo>
                        <a:pt x="228" y="271"/>
                      </a:lnTo>
                      <a:lnTo>
                        <a:pt x="238" y="263"/>
                      </a:lnTo>
                      <a:lnTo>
                        <a:pt x="246" y="258"/>
                      </a:lnTo>
                      <a:lnTo>
                        <a:pt x="264" y="249"/>
                      </a:lnTo>
                      <a:lnTo>
                        <a:pt x="283" y="239"/>
                      </a:lnTo>
                      <a:lnTo>
                        <a:pt x="300" y="229"/>
                      </a:lnTo>
                      <a:lnTo>
                        <a:pt x="317" y="217"/>
                      </a:lnTo>
                      <a:lnTo>
                        <a:pt x="324" y="212"/>
                      </a:lnTo>
                      <a:lnTo>
                        <a:pt x="331" y="205"/>
                      </a:lnTo>
                      <a:lnTo>
                        <a:pt x="338" y="199"/>
                      </a:lnTo>
                      <a:lnTo>
                        <a:pt x="342" y="192"/>
                      </a:lnTo>
                      <a:lnTo>
                        <a:pt x="346" y="185"/>
                      </a:lnTo>
                      <a:lnTo>
                        <a:pt x="350" y="177"/>
                      </a:lnTo>
                      <a:lnTo>
                        <a:pt x="352" y="169"/>
                      </a:lnTo>
                      <a:lnTo>
                        <a:pt x="352" y="159"/>
                      </a:lnTo>
                      <a:lnTo>
                        <a:pt x="351" y="149"/>
                      </a:lnTo>
                      <a:lnTo>
                        <a:pt x="349" y="137"/>
                      </a:lnTo>
                      <a:lnTo>
                        <a:pt x="344" y="125"/>
                      </a:lnTo>
                      <a:lnTo>
                        <a:pt x="339" y="113"/>
                      </a:lnTo>
                      <a:lnTo>
                        <a:pt x="330" y="91"/>
                      </a:lnTo>
                      <a:lnTo>
                        <a:pt x="325" y="79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42" name="Freeform 364">
                  <a:extLst>
                    <a:ext uri="{FF2B5EF4-FFF2-40B4-BE49-F238E27FC236}">
                      <a16:creationId xmlns="" xmlns:a16="http://schemas.microsoft.com/office/drawing/2014/main" id="{215A08AC-1383-4584-B80D-8F3DE651DF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3" y="2662"/>
                  <a:ext cx="17" cy="26"/>
                </a:xfrm>
                <a:custGeom>
                  <a:avLst/>
                  <a:gdLst>
                    <a:gd name="T0" fmla="*/ 0 w 52"/>
                    <a:gd name="T1" fmla="*/ 0 h 78"/>
                    <a:gd name="T2" fmla="*/ 0 w 52"/>
                    <a:gd name="T3" fmla="*/ 0 h 78"/>
                    <a:gd name="T4" fmla="*/ 0 w 52"/>
                    <a:gd name="T5" fmla="*/ 0 h 78"/>
                    <a:gd name="T6" fmla="*/ 0 w 52"/>
                    <a:gd name="T7" fmla="*/ 0 h 78"/>
                    <a:gd name="T8" fmla="*/ 0 w 52"/>
                    <a:gd name="T9" fmla="*/ 0 h 78"/>
                    <a:gd name="T10" fmla="*/ 0 w 52"/>
                    <a:gd name="T11" fmla="*/ 0 h 78"/>
                    <a:gd name="T12" fmla="*/ 0 w 52"/>
                    <a:gd name="T13" fmla="*/ 0 h 78"/>
                    <a:gd name="T14" fmla="*/ 0 w 52"/>
                    <a:gd name="T15" fmla="*/ 0 h 78"/>
                    <a:gd name="T16" fmla="*/ 0 w 52"/>
                    <a:gd name="T17" fmla="*/ 0 h 78"/>
                    <a:gd name="T18" fmla="*/ 0 w 52"/>
                    <a:gd name="T19" fmla="*/ 0 h 78"/>
                    <a:gd name="T20" fmla="*/ 0 w 52"/>
                    <a:gd name="T21" fmla="*/ 0 h 78"/>
                    <a:gd name="T22" fmla="*/ 0 w 52"/>
                    <a:gd name="T23" fmla="*/ 0 h 78"/>
                    <a:gd name="T24" fmla="*/ 0 w 52"/>
                    <a:gd name="T25" fmla="*/ 0 h 78"/>
                    <a:gd name="T26" fmla="*/ 0 w 52"/>
                    <a:gd name="T27" fmla="*/ 0 h 78"/>
                    <a:gd name="T28" fmla="*/ 0 w 52"/>
                    <a:gd name="T29" fmla="*/ 0 h 78"/>
                    <a:gd name="T30" fmla="*/ 0 w 52"/>
                    <a:gd name="T31" fmla="*/ 0 h 78"/>
                    <a:gd name="T32" fmla="*/ 0 w 52"/>
                    <a:gd name="T33" fmla="*/ 0 h 78"/>
                    <a:gd name="T34" fmla="*/ 0 w 52"/>
                    <a:gd name="T35" fmla="*/ 0 h 78"/>
                    <a:gd name="T36" fmla="*/ 0 w 52"/>
                    <a:gd name="T37" fmla="*/ 0 h 78"/>
                    <a:gd name="T38" fmla="*/ 0 w 52"/>
                    <a:gd name="T39" fmla="*/ 0 h 78"/>
                    <a:gd name="T40" fmla="*/ 0 w 52"/>
                    <a:gd name="T41" fmla="*/ 0 h 78"/>
                    <a:gd name="T42" fmla="*/ 0 w 52"/>
                    <a:gd name="T43" fmla="*/ 0 h 78"/>
                    <a:gd name="T44" fmla="*/ 0 w 52"/>
                    <a:gd name="T45" fmla="*/ 0 h 78"/>
                    <a:gd name="T46" fmla="*/ 0 w 52"/>
                    <a:gd name="T47" fmla="*/ 0 h 78"/>
                    <a:gd name="T48" fmla="*/ 0 w 52"/>
                    <a:gd name="T49" fmla="*/ 0 h 78"/>
                    <a:gd name="T50" fmla="*/ 0 w 52"/>
                    <a:gd name="T51" fmla="*/ 0 h 78"/>
                    <a:gd name="T52" fmla="*/ 0 w 52"/>
                    <a:gd name="T53" fmla="*/ 0 h 78"/>
                    <a:gd name="T54" fmla="*/ 0 w 52"/>
                    <a:gd name="T55" fmla="*/ 0 h 78"/>
                    <a:gd name="T56" fmla="*/ 0 w 52"/>
                    <a:gd name="T57" fmla="*/ 0 h 78"/>
                    <a:gd name="T58" fmla="*/ 0 w 52"/>
                    <a:gd name="T59" fmla="*/ 0 h 78"/>
                    <a:gd name="T60" fmla="*/ 0 w 52"/>
                    <a:gd name="T61" fmla="*/ 0 h 78"/>
                    <a:gd name="T62" fmla="*/ 0 w 52"/>
                    <a:gd name="T63" fmla="*/ 0 h 78"/>
                    <a:gd name="T64" fmla="*/ 0 w 52"/>
                    <a:gd name="T65" fmla="*/ 0 h 78"/>
                    <a:gd name="T66" fmla="*/ 0 w 52"/>
                    <a:gd name="T67" fmla="*/ 0 h 78"/>
                    <a:gd name="T68" fmla="*/ 0 w 52"/>
                    <a:gd name="T69" fmla="*/ 0 h 78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52"/>
                    <a:gd name="T106" fmla="*/ 0 h 78"/>
                    <a:gd name="T107" fmla="*/ 52 w 52"/>
                    <a:gd name="T108" fmla="*/ 78 h 78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52" h="78">
                      <a:moveTo>
                        <a:pt x="14" y="0"/>
                      </a:moveTo>
                      <a:lnTo>
                        <a:pt x="20" y="0"/>
                      </a:lnTo>
                      <a:lnTo>
                        <a:pt x="25" y="2"/>
                      </a:lnTo>
                      <a:lnTo>
                        <a:pt x="30" y="6"/>
                      </a:lnTo>
                      <a:lnTo>
                        <a:pt x="36" y="9"/>
                      </a:lnTo>
                      <a:lnTo>
                        <a:pt x="40" y="13"/>
                      </a:lnTo>
                      <a:lnTo>
                        <a:pt x="45" y="17"/>
                      </a:lnTo>
                      <a:lnTo>
                        <a:pt x="47" y="21"/>
                      </a:lnTo>
                      <a:lnTo>
                        <a:pt x="48" y="24"/>
                      </a:lnTo>
                      <a:lnTo>
                        <a:pt x="51" y="34"/>
                      </a:lnTo>
                      <a:lnTo>
                        <a:pt x="52" y="41"/>
                      </a:lnTo>
                      <a:lnTo>
                        <a:pt x="51" y="46"/>
                      </a:lnTo>
                      <a:lnTo>
                        <a:pt x="49" y="50"/>
                      </a:lnTo>
                      <a:lnTo>
                        <a:pt x="47" y="54"/>
                      </a:lnTo>
                      <a:lnTo>
                        <a:pt x="44" y="60"/>
                      </a:lnTo>
                      <a:lnTo>
                        <a:pt x="41" y="65"/>
                      </a:lnTo>
                      <a:lnTo>
                        <a:pt x="41" y="73"/>
                      </a:lnTo>
                      <a:lnTo>
                        <a:pt x="29" y="75"/>
                      </a:lnTo>
                      <a:lnTo>
                        <a:pt x="16" y="78"/>
                      </a:lnTo>
                      <a:lnTo>
                        <a:pt x="11" y="78"/>
                      </a:lnTo>
                      <a:lnTo>
                        <a:pt x="5" y="78"/>
                      </a:lnTo>
                      <a:lnTo>
                        <a:pt x="4" y="78"/>
                      </a:lnTo>
                      <a:lnTo>
                        <a:pt x="2" y="77"/>
                      </a:lnTo>
                      <a:lnTo>
                        <a:pt x="2" y="75"/>
                      </a:lnTo>
                      <a:lnTo>
                        <a:pt x="1" y="73"/>
                      </a:lnTo>
                      <a:lnTo>
                        <a:pt x="0" y="69"/>
                      </a:lnTo>
                      <a:lnTo>
                        <a:pt x="1" y="64"/>
                      </a:lnTo>
                      <a:lnTo>
                        <a:pt x="3" y="60"/>
                      </a:lnTo>
                      <a:lnTo>
                        <a:pt x="7" y="56"/>
                      </a:lnTo>
                      <a:lnTo>
                        <a:pt x="17" y="47"/>
                      </a:lnTo>
                      <a:lnTo>
                        <a:pt x="28" y="42"/>
                      </a:lnTo>
                      <a:lnTo>
                        <a:pt x="24" y="32"/>
                      </a:lnTo>
                      <a:lnTo>
                        <a:pt x="21" y="21"/>
                      </a:lnTo>
                      <a:lnTo>
                        <a:pt x="18" y="10"/>
                      </a:lnTo>
                      <a:lnTo>
                        <a:pt x="14" y="0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43" name="Freeform 365">
                  <a:extLst>
                    <a:ext uri="{FF2B5EF4-FFF2-40B4-BE49-F238E27FC236}">
                      <a16:creationId xmlns="" xmlns:a16="http://schemas.microsoft.com/office/drawing/2014/main" id="{8F6E24EF-37E0-4105-9818-370E9138F2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2" y="2666"/>
                  <a:ext cx="9" cy="10"/>
                </a:xfrm>
                <a:custGeom>
                  <a:avLst/>
                  <a:gdLst>
                    <a:gd name="T0" fmla="*/ 0 w 33"/>
                    <a:gd name="T1" fmla="*/ 0 h 30"/>
                    <a:gd name="T2" fmla="*/ 0 w 33"/>
                    <a:gd name="T3" fmla="*/ 0 h 30"/>
                    <a:gd name="T4" fmla="*/ 0 w 33"/>
                    <a:gd name="T5" fmla="*/ 0 h 30"/>
                    <a:gd name="T6" fmla="*/ 0 w 33"/>
                    <a:gd name="T7" fmla="*/ 0 h 30"/>
                    <a:gd name="T8" fmla="*/ 0 w 33"/>
                    <a:gd name="T9" fmla="*/ 0 h 30"/>
                    <a:gd name="T10" fmla="*/ 0 w 33"/>
                    <a:gd name="T11" fmla="*/ 0 h 30"/>
                    <a:gd name="T12" fmla="*/ 0 w 33"/>
                    <a:gd name="T13" fmla="*/ 0 h 30"/>
                    <a:gd name="T14" fmla="*/ 0 w 33"/>
                    <a:gd name="T15" fmla="*/ 0 h 30"/>
                    <a:gd name="T16" fmla="*/ 0 w 33"/>
                    <a:gd name="T17" fmla="*/ 0 h 3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33"/>
                    <a:gd name="T28" fmla="*/ 0 h 30"/>
                    <a:gd name="T29" fmla="*/ 33 w 33"/>
                    <a:gd name="T30" fmla="*/ 30 h 30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33" h="30">
                      <a:moveTo>
                        <a:pt x="13" y="6"/>
                      </a:moveTo>
                      <a:lnTo>
                        <a:pt x="0" y="24"/>
                      </a:lnTo>
                      <a:lnTo>
                        <a:pt x="7" y="25"/>
                      </a:lnTo>
                      <a:lnTo>
                        <a:pt x="15" y="27"/>
                      </a:lnTo>
                      <a:lnTo>
                        <a:pt x="23" y="29"/>
                      </a:lnTo>
                      <a:lnTo>
                        <a:pt x="33" y="30"/>
                      </a:lnTo>
                      <a:lnTo>
                        <a:pt x="33" y="0"/>
                      </a:lnTo>
                      <a:lnTo>
                        <a:pt x="20" y="0"/>
                      </a:lnTo>
                      <a:lnTo>
                        <a:pt x="13" y="6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044" name="Freeform 366">
                <a:extLst>
                  <a:ext uri="{FF2B5EF4-FFF2-40B4-BE49-F238E27FC236}">
                    <a16:creationId xmlns="" xmlns:a16="http://schemas.microsoft.com/office/drawing/2014/main" id="{0D727F50-505F-42BF-8D76-9983EAB9BA71}"/>
                  </a:ext>
                </a:extLst>
              </p:cNvPr>
              <p:cNvSpPr>
                <a:spLocks/>
              </p:cNvSpPr>
              <p:nvPr>
                <p:custDataLst>
                  <p:tags r:id="rId266"/>
                </p:custDataLst>
              </p:nvPr>
            </p:nvSpPr>
            <p:spPr bwMode="auto">
              <a:xfrm>
                <a:off x="5356225" y="4340225"/>
                <a:ext cx="19050" cy="58738"/>
              </a:xfrm>
              <a:custGeom>
                <a:avLst/>
                <a:gdLst>
                  <a:gd name="T0" fmla="*/ 2147483646 w 47"/>
                  <a:gd name="T1" fmla="*/ 0 h 28"/>
                  <a:gd name="T2" fmla="*/ 2147483646 w 47"/>
                  <a:gd name="T3" fmla="*/ 0 h 28"/>
                  <a:gd name="T4" fmla="*/ 2147483646 w 47"/>
                  <a:gd name="T5" fmla="*/ 2147483646 h 28"/>
                  <a:gd name="T6" fmla="*/ 2147483646 w 47"/>
                  <a:gd name="T7" fmla="*/ 2147483646 h 28"/>
                  <a:gd name="T8" fmla="*/ 2147483646 w 47"/>
                  <a:gd name="T9" fmla="*/ 2147483646 h 28"/>
                  <a:gd name="T10" fmla="*/ 2147483646 w 47"/>
                  <a:gd name="T11" fmla="*/ 2147483646 h 28"/>
                  <a:gd name="T12" fmla="*/ 2147483646 w 47"/>
                  <a:gd name="T13" fmla="*/ 2147483646 h 28"/>
                  <a:gd name="T14" fmla="*/ 2147483646 w 47"/>
                  <a:gd name="T15" fmla="*/ 2147483646 h 28"/>
                  <a:gd name="T16" fmla="*/ 2147483646 w 47"/>
                  <a:gd name="T17" fmla="*/ 2147483646 h 28"/>
                  <a:gd name="T18" fmla="*/ 2147483646 w 47"/>
                  <a:gd name="T19" fmla="*/ 2147483646 h 28"/>
                  <a:gd name="T20" fmla="*/ 2147483646 w 47"/>
                  <a:gd name="T21" fmla="*/ 2147483646 h 28"/>
                  <a:gd name="T22" fmla="*/ 2147483646 w 47"/>
                  <a:gd name="T23" fmla="*/ 2147483646 h 28"/>
                  <a:gd name="T24" fmla="*/ 2147483646 w 47"/>
                  <a:gd name="T25" fmla="*/ 2147483646 h 28"/>
                  <a:gd name="T26" fmla="*/ 2147483646 w 47"/>
                  <a:gd name="T27" fmla="*/ 2147483646 h 28"/>
                  <a:gd name="T28" fmla="*/ 0 w 47"/>
                  <a:gd name="T29" fmla="*/ 2147483646 h 28"/>
                  <a:gd name="T30" fmla="*/ 2147483646 w 47"/>
                  <a:gd name="T31" fmla="*/ 2147483646 h 28"/>
                  <a:gd name="T32" fmla="*/ 2147483646 w 47"/>
                  <a:gd name="T33" fmla="*/ 2147483646 h 28"/>
                  <a:gd name="T34" fmla="*/ 2147483646 w 47"/>
                  <a:gd name="T35" fmla="*/ 2147483646 h 28"/>
                  <a:gd name="T36" fmla="*/ 2147483646 w 47"/>
                  <a:gd name="T37" fmla="*/ 2147483646 h 28"/>
                  <a:gd name="T38" fmla="*/ 2147483646 w 47"/>
                  <a:gd name="T39" fmla="*/ 2147483646 h 28"/>
                  <a:gd name="T40" fmla="*/ 2147483646 w 47"/>
                  <a:gd name="T41" fmla="*/ 2147483646 h 28"/>
                  <a:gd name="T42" fmla="*/ 2147483646 w 47"/>
                  <a:gd name="T43" fmla="*/ 2147483646 h 28"/>
                  <a:gd name="T44" fmla="*/ 2147483646 w 47"/>
                  <a:gd name="T45" fmla="*/ 0 h 2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47"/>
                  <a:gd name="T70" fmla="*/ 0 h 28"/>
                  <a:gd name="T71" fmla="*/ 47 w 47"/>
                  <a:gd name="T72" fmla="*/ 28 h 28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47" h="28">
                    <a:moveTo>
                      <a:pt x="13" y="0"/>
                    </a:moveTo>
                    <a:lnTo>
                      <a:pt x="25" y="0"/>
                    </a:lnTo>
                    <a:lnTo>
                      <a:pt x="31" y="2"/>
                    </a:lnTo>
                    <a:lnTo>
                      <a:pt x="33" y="4"/>
                    </a:lnTo>
                    <a:lnTo>
                      <a:pt x="33" y="6"/>
                    </a:lnTo>
                    <a:lnTo>
                      <a:pt x="32" y="8"/>
                    </a:lnTo>
                    <a:lnTo>
                      <a:pt x="33" y="10"/>
                    </a:lnTo>
                    <a:lnTo>
                      <a:pt x="37" y="12"/>
                    </a:lnTo>
                    <a:lnTo>
                      <a:pt x="47" y="12"/>
                    </a:lnTo>
                    <a:lnTo>
                      <a:pt x="42" y="19"/>
                    </a:lnTo>
                    <a:lnTo>
                      <a:pt x="37" y="25"/>
                    </a:lnTo>
                    <a:lnTo>
                      <a:pt x="33" y="27"/>
                    </a:lnTo>
                    <a:lnTo>
                      <a:pt x="28" y="28"/>
                    </a:lnTo>
                    <a:lnTo>
                      <a:pt x="16" y="27"/>
                    </a:lnTo>
                    <a:lnTo>
                      <a:pt x="0" y="25"/>
                    </a:lnTo>
                    <a:lnTo>
                      <a:pt x="1" y="19"/>
                    </a:lnTo>
                    <a:lnTo>
                      <a:pt x="2" y="15"/>
                    </a:lnTo>
                    <a:lnTo>
                      <a:pt x="4" y="13"/>
                    </a:lnTo>
                    <a:lnTo>
                      <a:pt x="6" y="12"/>
                    </a:lnTo>
                    <a:lnTo>
                      <a:pt x="9" y="11"/>
                    </a:lnTo>
                    <a:lnTo>
                      <a:pt x="11" y="9"/>
                    </a:lnTo>
                    <a:lnTo>
                      <a:pt x="13" y="5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45" name="Freeform 367">
                <a:extLst>
                  <a:ext uri="{FF2B5EF4-FFF2-40B4-BE49-F238E27FC236}">
                    <a16:creationId xmlns="" xmlns:a16="http://schemas.microsoft.com/office/drawing/2014/main" id="{E345ADD5-7D42-4E66-AFCB-893382B94991}"/>
                  </a:ext>
                </a:extLst>
              </p:cNvPr>
              <p:cNvSpPr>
                <a:spLocks/>
              </p:cNvSpPr>
              <p:nvPr>
                <p:custDataLst>
                  <p:tags r:id="rId267"/>
                </p:custDataLst>
              </p:nvPr>
            </p:nvSpPr>
            <p:spPr bwMode="auto">
              <a:xfrm>
                <a:off x="5327650" y="4367213"/>
                <a:ext cx="23813" cy="57150"/>
              </a:xfrm>
              <a:custGeom>
                <a:avLst/>
                <a:gdLst>
                  <a:gd name="T0" fmla="*/ 2147483646 w 53"/>
                  <a:gd name="T1" fmla="*/ 0 h 33"/>
                  <a:gd name="T2" fmla="*/ 2147483646 w 53"/>
                  <a:gd name="T3" fmla="*/ 2147483646 h 33"/>
                  <a:gd name="T4" fmla="*/ 2147483646 w 53"/>
                  <a:gd name="T5" fmla="*/ 2147483646 h 33"/>
                  <a:gd name="T6" fmla="*/ 2147483646 w 53"/>
                  <a:gd name="T7" fmla="*/ 2147483646 h 33"/>
                  <a:gd name="T8" fmla="*/ 2147483646 w 53"/>
                  <a:gd name="T9" fmla="*/ 2147483646 h 33"/>
                  <a:gd name="T10" fmla="*/ 2147483646 w 53"/>
                  <a:gd name="T11" fmla="*/ 2147483646 h 33"/>
                  <a:gd name="T12" fmla="*/ 2147483646 w 53"/>
                  <a:gd name="T13" fmla="*/ 2147483646 h 33"/>
                  <a:gd name="T14" fmla="*/ 2147483646 w 53"/>
                  <a:gd name="T15" fmla="*/ 2147483646 h 33"/>
                  <a:gd name="T16" fmla="*/ 2147483646 w 53"/>
                  <a:gd name="T17" fmla="*/ 2147483646 h 33"/>
                  <a:gd name="T18" fmla="*/ 2147483646 w 53"/>
                  <a:gd name="T19" fmla="*/ 2147483646 h 33"/>
                  <a:gd name="T20" fmla="*/ 2147483646 w 53"/>
                  <a:gd name="T21" fmla="*/ 2147483646 h 33"/>
                  <a:gd name="T22" fmla="*/ 2147483646 w 53"/>
                  <a:gd name="T23" fmla="*/ 2147483646 h 33"/>
                  <a:gd name="T24" fmla="*/ 2147483646 w 53"/>
                  <a:gd name="T25" fmla="*/ 2147483646 h 33"/>
                  <a:gd name="T26" fmla="*/ 2147483646 w 53"/>
                  <a:gd name="T27" fmla="*/ 2147483646 h 33"/>
                  <a:gd name="T28" fmla="*/ 2147483646 w 53"/>
                  <a:gd name="T29" fmla="*/ 2147483646 h 33"/>
                  <a:gd name="T30" fmla="*/ 2147483646 w 53"/>
                  <a:gd name="T31" fmla="*/ 2147483646 h 33"/>
                  <a:gd name="T32" fmla="*/ 0 w 53"/>
                  <a:gd name="T33" fmla="*/ 2147483646 h 33"/>
                  <a:gd name="T34" fmla="*/ 0 w 53"/>
                  <a:gd name="T35" fmla="*/ 2147483646 h 33"/>
                  <a:gd name="T36" fmla="*/ 2147483646 w 53"/>
                  <a:gd name="T37" fmla="*/ 2147483646 h 33"/>
                  <a:gd name="T38" fmla="*/ 2147483646 w 53"/>
                  <a:gd name="T39" fmla="*/ 2147483646 h 33"/>
                  <a:gd name="T40" fmla="*/ 2147483646 w 53"/>
                  <a:gd name="T41" fmla="*/ 2147483646 h 33"/>
                  <a:gd name="T42" fmla="*/ 2147483646 w 53"/>
                  <a:gd name="T43" fmla="*/ 2147483646 h 33"/>
                  <a:gd name="T44" fmla="*/ 2147483646 w 53"/>
                  <a:gd name="T45" fmla="*/ 2147483646 h 33"/>
                  <a:gd name="T46" fmla="*/ 2147483646 w 53"/>
                  <a:gd name="T47" fmla="*/ 2147483646 h 33"/>
                  <a:gd name="T48" fmla="*/ 2147483646 w 53"/>
                  <a:gd name="T49" fmla="*/ 0 h 33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53"/>
                  <a:gd name="T76" fmla="*/ 0 h 33"/>
                  <a:gd name="T77" fmla="*/ 53 w 53"/>
                  <a:gd name="T78" fmla="*/ 33 h 33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53" h="33">
                    <a:moveTo>
                      <a:pt x="13" y="0"/>
                    </a:moveTo>
                    <a:lnTo>
                      <a:pt x="26" y="1"/>
                    </a:lnTo>
                    <a:lnTo>
                      <a:pt x="34" y="1"/>
                    </a:lnTo>
                    <a:lnTo>
                      <a:pt x="37" y="3"/>
                    </a:lnTo>
                    <a:lnTo>
                      <a:pt x="37" y="4"/>
                    </a:lnTo>
                    <a:lnTo>
                      <a:pt x="37" y="6"/>
                    </a:lnTo>
                    <a:lnTo>
                      <a:pt x="39" y="8"/>
                    </a:lnTo>
                    <a:lnTo>
                      <a:pt x="44" y="10"/>
                    </a:lnTo>
                    <a:lnTo>
                      <a:pt x="53" y="12"/>
                    </a:lnTo>
                    <a:lnTo>
                      <a:pt x="48" y="22"/>
                    </a:lnTo>
                    <a:lnTo>
                      <a:pt x="44" y="28"/>
                    </a:lnTo>
                    <a:lnTo>
                      <a:pt x="42" y="31"/>
                    </a:lnTo>
                    <a:lnTo>
                      <a:pt x="38" y="32"/>
                    </a:lnTo>
                    <a:lnTo>
                      <a:pt x="36" y="33"/>
                    </a:lnTo>
                    <a:lnTo>
                      <a:pt x="34" y="33"/>
                    </a:lnTo>
                    <a:lnTo>
                      <a:pt x="20" y="30"/>
                    </a:lnTo>
                    <a:lnTo>
                      <a:pt x="0" y="24"/>
                    </a:lnTo>
                    <a:lnTo>
                      <a:pt x="0" y="19"/>
                    </a:lnTo>
                    <a:lnTo>
                      <a:pt x="2" y="16"/>
                    </a:lnTo>
                    <a:lnTo>
                      <a:pt x="4" y="14"/>
                    </a:lnTo>
                    <a:lnTo>
                      <a:pt x="7" y="12"/>
                    </a:lnTo>
                    <a:lnTo>
                      <a:pt x="9" y="11"/>
                    </a:lnTo>
                    <a:lnTo>
                      <a:pt x="11" y="9"/>
                    </a:lnTo>
                    <a:lnTo>
                      <a:pt x="12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2046" name="Group 368">
                <a:extLst>
                  <a:ext uri="{FF2B5EF4-FFF2-40B4-BE49-F238E27FC236}">
                    <a16:creationId xmlns="" xmlns:a16="http://schemas.microsoft.com/office/drawing/2014/main" id="{1EADEFA7-0BC2-4751-911F-594B2841C173}"/>
                  </a:ext>
                </a:extLst>
              </p:cNvPr>
              <p:cNvGrpSpPr>
                <a:grpSpLocks/>
              </p:cNvGrpSpPr>
              <p:nvPr>
                <p:custDataLst>
                  <p:tags r:id="rId268"/>
                </p:custDataLst>
              </p:nvPr>
            </p:nvGrpSpPr>
            <p:grpSpPr bwMode="auto">
              <a:xfrm>
                <a:off x="5168900" y="3859213"/>
                <a:ext cx="168275" cy="103187"/>
                <a:chOff x="3481" y="2773"/>
                <a:chExt cx="125" cy="65"/>
              </a:xfrm>
              <a:solidFill>
                <a:srgbClr val="FFFFFF">
                  <a:lumMod val="75000"/>
                </a:srgbClr>
              </a:solidFill>
            </p:grpSpPr>
            <p:sp>
              <p:nvSpPr>
                <p:cNvPr id="2047" name="Freeform 369">
                  <a:extLst>
                    <a:ext uri="{FF2B5EF4-FFF2-40B4-BE49-F238E27FC236}">
                      <a16:creationId xmlns="" xmlns:a16="http://schemas.microsoft.com/office/drawing/2014/main" id="{2403A8A9-23D8-401B-BE3F-EE6D25EFE0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83" y="2798"/>
                  <a:ext cx="5" cy="6"/>
                </a:xfrm>
                <a:custGeom>
                  <a:avLst/>
                  <a:gdLst>
                    <a:gd name="T0" fmla="*/ 0 w 13"/>
                    <a:gd name="T1" fmla="*/ 0 h 18"/>
                    <a:gd name="T2" fmla="*/ 0 w 13"/>
                    <a:gd name="T3" fmla="*/ 0 h 18"/>
                    <a:gd name="T4" fmla="*/ 0 w 13"/>
                    <a:gd name="T5" fmla="*/ 0 h 18"/>
                    <a:gd name="T6" fmla="*/ 0 w 13"/>
                    <a:gd name="T7" fmla="*/ 0 h 18"/>
                    <a:gd name="T8" fmla="*/ 0 w 13"/>
                    <a:gd name="T9" fmla="*/ 0 h 18"/>
                    <a:gd name="T10" fmla="*/ 0 w 13"/>
                    <a:gd name="T11" fmla="*/ 0 h 18"/>
                    <a:gd name="T12" fmla="*/ 0 w 13"/>
                    <a:gd name="T13" fmla="*/ 0 h 1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3"/>
                    <a:gd name="T22" fmla="*/ 0 h 18"/>
                    <a:gd name="T23" fmla="*/ 13 w 13"/>
                    <a:gd name="T24" fmla="*/ 18 h 1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3" h="18">
                      <a:moveTo>
                        <a:pt x="13" y="0"/>
                      </a:moveTo>
                      <a:lnTo>
                        <a:pt x="10" y="9"/>
                      </a:lnTo>
                      <a:lnTo>
                        <a:pt x="6" y="18"/>
                      </a:lnTo>
                      <a:lnTo>
                        <a:pt x="5" y="17"/>
                      </a:lnTo>
                      <a:lnTo>
                        <a:pt x="3" y="14"/>
                      </a:lnTo>
                      <a:lnTo>
                        <a:pt x="1" y="10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48" name="Line 370">
                  <a:extLst>
                    <a:ext uri="{FF2B5EF4-FFF2-40B4-BE49-F238E27FC236}">
                      <a16:creationId xmlns="" xmlns:a16="http://schemas.microsoft.com/office/drawing/2014/main" id="{ABBA79BF-069B-4114-B6ED-47A79835E2E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583" y="2800"/>
                  <a:ext cx="2" cy="1"/>
                </a:xfrm>
                <a:prstGeom prst="line">
                  <a:avLst/>
                </a:pr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49" name="Freeform 371">
                  <a:extLst>
                    <a:ext uri="{FF2B5EF4-FFF2-40B4-BE49-F238E27FC236}">
                      <a16:creationId xmlns="" xmlns:a16="http://schemas.microsoft.com/office/drawing/2014/main" id="{8309AE65-4A1B-4A44-AA68-685E723A42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4" y="2819"/>
                  <a:ext cx="5" cy="6"/>
                </a:xfrm>
                <a:custGeom>
                  <a:avLst/>
                  <a:gdLst>
                    <a:gd name="T0" fmla="*/ 0 w 14"/>
                    <a:gd name="T1" fmla="*/ 0 h 19"/>
                    <a:gd name="T2" fmla="*/ 0 w 14"/>
                    <a:gd name="T3" fmla="*/ 0 h 19"/>
                    <a:gd name="T4" fmla="*/ 0 w 14"/>
                    <a:gd name="T5" fmla="*/ 0 h 19"/>
                    <a:gd name="T6" fmla="*/ 0 60000 65536"/>
                    <a:gd name="T7" fmla="*/ 0 60000 65536"/>
                    <a:gd name="T8" fmla="*/ 0 60000 65536"/>
                    <a:gd name="T9" fmla="*/ 0 w 14"/>
                    <a:gd name="T10" fmla="*/ 0 h 19"/>
                    <a:gd name="T11" fmla="*/ 14 w 14"/>
                    <a:gd name="T12" fmla="*/ 19 h 19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4" h="19">
                      <a:moveTo>
                        <a:pt x="14" y="19"/>
                      </a:moveTo>
                      <a:lnTo>
                        <a:pt x="0" y="0"/>
                      </a:lnTo>
                      <a:lnTo>
                        <a:pt x="14" y="19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50" name="Freeform 372">
                  <a:extLst>
                    <a:ext uri="{FF2B5EF4-FFF2-40B4-BE49-F238E27FC236}">
                      <a16:creationId xmlns="" xmlns:a16="http://schemas.microsoft.com/office/drawing/2014/main" id="{DD341221-1218-4916-9FB2-18719A169B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28" y="2832"/>
                  <a:ext cx="2" cy="6"/>
                </a:xfrm>
                <a:custGeom>
                  <a:avLst/>
                  <a:gdLst>
                    <a:gd name="T0" fmla="*/ 0 w 7"/>
                    <a:gd name="T1" fmla="*/ 0 h 18"/>
                    <a:gd name="T2" fmla="*/ 0 w 7"/>
                    <a:gd name="T3" fmla="*/ 0 h 18"/>
                    <a:gd name="T4" fmla="*/ 0 w 7"/>
                    <a:gd name="T5" fmla="*/ 0 h 18"/>
                    <a:gd name="T6" fmla="*/ 0 w 7"/>
                    <a:gd name="T7" fmla="*/ 0 h 18"/>
                    <a:gd name="T8" fmla="*/ 0 w 7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8"/>
                    <a:gd name="T17" fmla="*/ 7 w 7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8">
                      <a:moveTo>
                        <a:pt x="0" y="6"/>
                      </a:moveTo>
                      <a:lnTo>
                        <a:pt x="7" y="18"/>
                      </a:lnTo>
                      <a:lnTo>
                        <a:pt x="0" y="18"/>
                      </a:lnTo>
                      <a:lnTo>
                        <a:pt x="0" y="0"/>
                      </a:lnTo>
                      <a:lnTo>
                        <a:pt x="7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51" name="Freeform 373">
                  <a:extLst>
                    <a:ext uri="{FF2B5EF4-FFF2-40B4-BE49-F238E27FC236}">
                      <a16:creationId xmlns="" xmlns:a16="http://schemas.microsoft.com/office/drawing/2014/main" id="{FB952C99-9E92-4933-A259-F357290E63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99" y="2773"/>
                  <a:ext cx="7" cy="4"/>
                </a:xfrm>
                <a:custGeom>
                  <a:avLst/>
                  <a:gdLst>
                    <a:gd name="T0" fmla="*/ 0 w 20"/>
                    <a:gd name="T1" fmla="*/ 0 h 12"/>
                    <a:gd name="T2" fmla="*/ 0 w 20"/>
                    <a:gd name="T3" fmla="*/ 0 h 12"/>
                    <a:gd name="T4" fmla="*/ 0 w 20"/>
                    <a:gd name="T5" fmla="*/ 0 h 12"/>
                    <a:gd name="T6" fmla="*/ 0 w 20"/>
                    <a:gd name="T7" fmla="*/ 0 h 12"/>
                    <a:gd name="T8" fmla="*/ 0 w 20"/>
                    <a:gd name="T9" fmla="*/ 0 h 12"/>
                    <a:gd name="T10" fmla="*/ 0 w 20"/>
                    <a:gd name="T11" fmla="*/ 0 h 12"/>
                    <a:gd name="T12" fmla="*/ 0 w 20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0"/>
                    <a:gd name="T22" fmla="*/ 0 h 12"/>
                    <a:gd name="T23" fmla="*/ 20 w 20"/>
                    <a:gd name="T24" fmla="*/ 12 h 1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0" h="12">
                      <a:moveTo>
                        <a:pt x="20" y="12"/>
                      </a:moveTo>
                      <a:lnTo>
                        <a:pt x="10" y="9"/>
                      </a:lnTo>
                      <a:lnTo>
                        <a:pt x="0" y="6"/>
                      </a:lnTo>
                      <a:lnTo>
                        <a:pt x="1" y="5"/>
                      </a:lnTo>
                      <a:lnTo>
                        <a:pt x="3" y="3"/>
                      </a:lnTo>
                      <a:lnTo>
                        <a:pt x="8" y="1"/>
                      </a:lnTo>
                      <a:lnTo>
                        <a:pt x="13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52" name="Line 374">
                  <a:extLst>
                    <a:ext uri="{FF2B5EF4-FFF2-40B4-BE49-F238E27FC236}">
                      <a16:creationId xmlns="" xmlns:a16="http://schemas.microsoft.com/office/drawing/2014/main" id="{8454C3F1-66E3-4554-A1B6-4B44A72A6B0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603" y="2773"/>
                  <a:ext cx="1" cy="2"/>
                </a:xfrm>
                <a:prstGeom prst="line">
                  <a:avLst/>
                </a:prstGeom>
                <a:grp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53" name="Freeform 375">
                  <a:extLst>
                    <a:ext uri="{FF2B5EF4-FFF2-40B4-BE49-F238E27FC236}">
                      <a16:creationId xmlns="" xmlns:a16="http://schemas.microsoft.com/office/drawing/2014/main" id="{A2494249-8EAC-4137-BCAA-8DF9DDA583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81" y="2828"/>
                  <a:ext cx="7" cy="6"/>
                </a:xfrm>
                <a:custGeom>
                  <a:avLst/>
                  <a:gdLst>
                    <a:gd name="T0" fmla="*/ 0 w 20"/>
                    <a:gd name="T1" fmla="*/ 0 h 18"/>
                    <a:gd name="T2" fmla="*/ 0 w 20"/>
                    <a:gd name="T3" fmla="*/ 0 h 18"/>
                    <a:gd name="T4" fmla="*/ 0 w 20"/>
                    <a:gd name="T5" fmla="*/ 0 h 18"/>
                    <a:gd name="T6" fmla="*/ 0 60000 65536"/>
                    <a:gd name="T7" fmla="*/ 0 60000 65536"/>
                    <a:gd name="T8" fmla="*/ 0 60000 65536"/>
                    <a:gd name="T9" fmla="*/ 0 w 20"/>
                    <a:gd name="T10" fmla="*/ 0 h 18"/>
                    <a:gd name="T11" fmla="*/ 20 w 20"/>
                    <a:gd name="T12" fmla="*/ 18 h 18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0" h="18">
                      <a:moveTo>
                        <a:pt x="0" y="0"/>
                      </a:moveTo>
                      <a:lnTo>
                        <a:pt x="0" y="18"/>
                      </a:lnTo>
                      <a:lnTo>
                        <a:pt x="20" y="18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54" name="Freeform 376">
                  <a:extLst>
                    <a:ext uri="{FF2B5EF4-FFF2-40B4-BE49-F238E27FC236}">
                      <a16:creationId xmlns="" xmlns:a16="http://schemas.microsoft.com/office/drawing/2014/main" id="{14A4DE7E-3049-42AE-9E39-5839F2C4CB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85" y="2830"/>
                  <a:ext cx="3" cy="4"/>
                </a:xfrm>
                <a:custGeom>
                  <a:avLst/>
                  <a:gdLst>
                    <a:gd name="T0" fmla="*/ 0 w 7"/>
                    <a:gd name="T1" fmla="*/ 0 h 12"/>
                    <a:gd name="T2" fmla="*/ 0 w 7"/>
                    <a:gd name="T3" fmla="*/ 0 h 12"/>
                    <a:gd name="T4" fmla="*/ 0 w 7"/>
                    <a:gd name="T5" fmla="*/ 0 h 12"/>
                    <a:gd name="T6" fmla="*/ 0 60000 65536"/>
                    <a:gd name="T7" fmla="*/ 0 60000 65536"/>
                    <a:gd name="T8" fmla="*/ 0 60000 65536"/>
                    <a:gd name="T9" fmla="*/ 0 w 7"/>
                    <a:gd name="T10" fmla="*/ 0 h 12"/>
                    <a:gd name="T11" fmla="*/ 7 w 7"/>
                    <a:gd name="T12" fmla="*/ 12 h 12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7" h="12">
                      <a:moveTo>
                        <a:pt x="7" y="12"/>
                      </a:moveTo>
                      <a:lnTo>
                        <a:pt x="4" y="6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55" name="Freeform 377">
                  <a:extLst>
                    <a:ext uri="{FF2B5EF4-FFF2-40B4-BE49-F238E27FC236}">
                      <a16:creationId xmlns="" xmlns:a16="http://schemas.microsoft.com/office/drawing/2014/main" id="{C5A8D40F-6DA3-49B0-B880-595789FE9A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81" y="2828"/>
                  <a:ext cx="7" cy="6"/>
                </a:xfrm>
                <a:custGeom>
                  <a:avLst/>
                  <a:gdLst>
                    <a:gd name="T0" fmla="*/ 0 w 20"/>
                    <a:gd name="T1" fmla="*/ 0 h 18"/>
                    <a:gd name="T2" fmla="*/ 0 w 20"/>
                    <a:gd name="T3" fmla="*/ 0 h 18"/>
                    <a:gd name="T4" fmla="*/ 0 w 20"/>
                    <a:gd name="T5" fmla="*/ 0 h 18"/>
                    <a:gd name="T6" fmla="*/ 0 w 20"/>
                    <a:gd name="T7" fmla="*/ 0 h 18"/>
                    <a:gd name="T8" fmla="*/ 0 w 20"/>
                    <a:gd name="T9" fmla="*/ 0 h 18"/>
                    <a:gd name="T10" fmla="*/ 0 w 20"/>
                    <a:gd name="T11" fmla="*/ 0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0"/>
                    <a:gd name="T19" fmla="*/ 0 h 18"/>
                    <a:gd name="T20" fmla="*/ 20 w 20"/>
                    <a:gd name="T21" fmla="*/ 18 h 1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0" h="18">
                      <a:moveTo>
                        <a:pt x="0" y="0"/>
                      </a:moveTo>
                      <a:lnTo>
                        <a:pt x="0" y="18"/>
                      </a:lnTo>
                      <a:lnTo>
                        <a:pt x="20" y="18"/>
                      </a:lnTo>
                      <a:lnTo>
                        <a:pt x="17" y="12"/>
                      </a:lnTo>
                      <a:lnTo>
                        <a:pt x="13" y="6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56" name="Freeform 378">
                  <a:extLst>
                    <a:ext uri="{FF2B5EF4-FFF2-40B4-BE49-F238E27FC236}">
                      <a16:creationId xmlns="" xmlns:a16="http://schemas.microsoft.com/office/drawing/2014/main" id="{1925FC59-8F40-4334-9D1D-21712C226D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28" y="2832"/>
                  <a:ext cx="2" cy="6"/>
                </a:xfrm>
                <a:custGeom>
                  <a:avLst/>
                  <a:gdLst>
                    <a:gd name="T0" fmla="*/ 0 w 7"/>
                    <a:gd name="T1" fmla="*/ 0 h 18"/>
                    <a:gd name="T2" fmla="*/ 0 w 7"/>
                    <a:gd name="T3" fmla="*/ 0 h 18"/>
                    <a:gd name="T4" fmla="*/ 0 w 7"/>
                    <a:gd name="T5" fmla="*/ 0 h 18"/>
                    <a:gd name="T6" fmla="*/ 0 w 7"/>
                    <a:gd name="T7" fmla="*/ 0 h 18"/>
                    <a:gd name="T8" fmla="*/ 0 w 7"/>
                    <a:gd name="T9" fmla="*/ 0 h 18"/>
                    <a:gd name="T10" fmla="*/ 0 w 7"/>
                    <a:gd name="T11" fmla="*/ 0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7"/>
                    <a:gd name="T19" fmla="*/ 0 h 18"/>
                    <a:gd name="T20" fmla="*/ 7 w 7"/>
                    <a:gd name="T21" fmla="*/ 18 h 1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7" h="18">
                      <a:moveTo>
                        <a:pt x="0" y="6"/>
                      </a:moveTo>
                      <a:lnTo>
                        <a:pt x="7" y="18"/>
                      </a:lnTo>
                      <a:lnTo>
                        <a:pt x="0" y="18"/>
                      </a:lnTo>
                      <a:lnTo>
                        <a:pt x="0" y="0"/>
                      </a:lnTo>
                      <a:lnTo>
                        <a:pt x="7" y="0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57" name="Freeform 379">
                  <a:extLst>
                    <a:ext uri="{FF2B5EF4-FFF2-40B4-BE49-F238E27FC236}">
                      <a16:creationId xmlns="" xmlns:a16="http://schemas.microsoft.com/office/drawing/2014/main" id="{2E5ADD73-5CB0-4270-929C-04DC6C9166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83" y="2798"/>
                  <a:ext cx="5" cy="6"/>
                </a:xfrm>
                <a:custGeom>
                  <a:avLst/>
                  <a:gdLst>
                    <a:gd name="T0" fmla="*/ 0 w 13"/>
                    <a:gd name="T1" fmla="*/ 0 h 18"/>
                    <a:gd name="T2" fmla="*/ 0 w 13"/>
                    <a:gd name="T3" fmla="*/ 0 h 18"/>
                    <a:gd name="T4" fmla="*/ 0 w 13"/>
                    <a:gd name="T5" fmla="*/ 0 h 18"/>
                    <a:gd name="T6" fmla="*/ 0 w 13"/>
                    <a:gd name="T7" fmla="*/ 0 h 18"/>
                    <a:gd name="T8" fmla="*/ 0 w 13"/>
                    <a:gd name="T9" fmla="*/ 0 h 18"/>
                    <a:gd name="T10" fmla="*/ 0 w 13"/>
                    <a:gd name="T11" fmla="*/ 0 h 18"/>
                    <a:gd name="T12" fmla="*/ 0 w 13"/>
                    <a:gd name="T13" fmla="*/ 0 h 18"/>
                    <a:gd name="T14" fmla="*/ 0 w 13"/>
                    <a:gd name="T15" fmla="*/ 0 h 18"/>
                    <a:gd name="T16" fmla="*/ 0 w 13"/>
                    <a:gd name="T17" fmla="*/ 0 h 18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3"/>
                    <a:gd name="T28" fmla="*/ 0 h 18"/>
                    <a:gd name="T29" fmla="*/ 13 w 13"/>
                    <a:gd name="T30" fmla="*/ 18 h 18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3" h="18">
                      <a:moveTo>
                        <a:pt x="13" y="0"/>
                      </a:moveTo>
                      <a:lnTo>
                        <a:pt x="10" y="9"/>
                      </a:lnTo>
                      <a:lnTo>
                        <a:pt x="6" y="18"/>
                      </a:lnTo>
                      <a:lnTo>
                        <a:pt x="5" y="17"/>
                      </a:lnTo>
                      <a:lnTo>
                        <a:pt x="3" y="14"/>
                      </a:lnTo>
                      <a:lnTo>
                        <a:pt x="1" y="10"/>
                      </a:lnTo>
                      <a:lnTo>
                        <a:pt x="0" y="6"/>
                      </a:lnTo>
                      <a:lnTo>
                        <a:pt x="6" y="6"/>
                      </a:lnTo>
                      <a:lnTo>
                        <a:pt x="13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058" name="Freeform 380">
                <a:extLst>
                  <a:ext uri="{FF2B5EF4-FFF2-40B4-BE49-F238E27FC236}">
                    <a16:creationId xmlns="" xmlns:a16="http://schemas.microsoft.com/office/drawing/2014/main" id="{BDF151DE-4C81-47BB-88C9-17C0E8388D77}"/>
                  </a:ext>
                </a:extLst>
              </p:cNvPr>
              <p:cNvSpPr>
                <a:spLocks/>
              </p:cNvSpPr>
              <p:nvPr>
                <p:custDataLst>
                  <p:tags r:id="rId269"/>
                </p:custDataLst>
              </p:nvPr>
            </p:nvSpPr>
            <p:spPr bwMode="auto">
              <a:xfrm>
                <a:off x="4297363" y="3851275"/>
                <a:ext cx="319087" cy="379413"/>
              </a:xfrm>
              <a:custGeom>
                <a:avLst/>
                <a:gdLst>
                  <a:gd name="T0" fmla="*/ 2147483646 w 736"/>
                  <a:gd name="T1" fmla="*/ 2147483646 h 721"/>
                  <a:gd name="T2" fmla="*/ 2147483646 w 736"/>
                  <a:gd name="T3" fmla="*/ 2147483646 h 721"/>
                  <a:gd name="T4" fmla="*/ 2147483646 w 736"/>
                  <a:gd name="T5" fmla="*/ 2147483646 h 721"/>
                  <a:gd name="T6" fmla="*/ 2147483646 w 736"/>
                  <a:gd name="T7" fmla="*/ 2147483646 h 721"/>
                  <a:gd name="T8" fmla="*/ 2147483646 w 736"/>
                  <a:gd name="T9" fmla="*/ 2147483646 h 721"/>
                  <a:gd name="T10" fmla="*/ 2147483646 w 736"/>
                  <a:gd name="T11" fmla="*/ 2147483646 h 721"/>
                  <a:gd name="T12" fmla="*/ 2147483646 w 736"/>
                  <a:gd name="T13" fmla="*/ 2147483646 h 721"/>
                  <a:gd name="T14" fmla="*/ 2147483646 w 736"/>
                  <a:gd name="T15" fmla="*/ 2147483646 h 721"/>
                  <a:gd name="T16" fmla="*/ 2147483646 w 736"/>
                  <a:gd name="T17" fmla="*/ 2147483646 h 721"/>
                  <a:gd name="T18" fmla="*/ 2147483646 w 736"/>
                  <a:gd name="T19" fmla="*/ 2147483646 h 721"/>
                  <a:gd name="T20" fmla="*/ 2147483646 w 736"/>
                  <a:gd name="T21" fmla="*/ 2147483646 h 721"/>
                  <a:gd name="T22" fmla="*/ 2147483646 w 736"/>
                  <a:gd name="T23" fmla="*/ 2147483646 h 721"/>
                  <a:gd name="T24" fmla="*/ 2147483646 w 736"/>
                  <a:gd name="T25" fmla="*/ 2147483646 h 721"/>
                  <a:gd name="T26" fmla="*/ 2147483646 w 736"/>
                  <a:gd name="T27" fmla="*/ 2147483646 h 721"/>
                  <a:gd name="T28" fmla="*/ 2147483646 w 736"/>
                  <a:gd name="T29" fmla="*/ 2147483646 h 721"/>
                  <a:gd name="T30" fmla="*/ 2147483646 w 736"/>
                  <a:gd name="T31" fmla="*/ 2147483646 h 721"/>
                  <a:gd name="T32" fmla="*/ 2147483646 w 736"/>
                  <a:gd name="T33" fmla="*/ 2147483646 h 721"/>
                  <a:gd name="T34" fmla="*/ 2147483646 w 736"/>
                  <a:gd name="T35" fmla="*/ 2147483646 h 721"/>
                  <a:gd name="T36" fmla="*/ 2147483646 w 736"/>
                  <a:gd name="T37" fmla="*/ 2147483646 h 721"/>
                  <a:gd name="T38" fmla="*/ 2147483646 w 736"/>
                  <a:gd name="T39" fmla="*/ 2147483646 h 721"/>
                  <a:gd name="T40" fmla="*/ 2147483646 w 736"/>
                  <a:gd name="T41" fmla="*/ 2147483646 h 721"/>
                  <a:gd name="T42" fmla="*/ 2147483646 w 736"/>
                  <a:gd name="T43" fmla="*/ 2147483646 h 721"/>
                  <a:gd name="T44" fmla="*/ 2147483646 w 736"/>
                  <a:gd name="T45" fmla="*/ 2147483646 h 721"/>
                  <a:gd name="T46" fmla="*/ 2147483646 w 736"/>
                  <a:gd name="T47" fmla="*/ 2147483646 h 721"/>
                  <a:gd name="T48" fmla="*/ 2147483646 w 736"/>
                  <a:gd name="T49" fmla="*/ 2147483646 h 721"/>
                  <a:gd name="T50" fmla="*/ 2147483646 w 736"/>
                  <a:gd name="T51" fmla="*/ 2147483646 h 721"/>
                  <a:gd name="T52" fmla="*/ 2147483646 w 736"/>
                  <a:gd name="T53" fmla="*/ 2147483646 h 721"/>
                  <a:gd name="T54" fmla="*/ 2147483646 w 736"/>
                  <a:gd name="T55" fmla="*/ 2147483646 h 721"/>
                  <a:gd name="T56" fmla="*/ 2147483646 w 736"/>
                  <a:gd name="T57" fmla="*/ 2147483646 h 721"/>
                  <a:gd name="T58" fmla="*/ 2147483646 w 736"/>
                  <a:gd name="T59" fmla="*/ 2147483646 h 721"/>
                  <a:gd name="T60" fmla="*/ 2147483646 w 736"/>
                  <a:gd name="T61" fmla="*/ 2147483646 h 721"/>
                  <a:gd name="T62" fmla="*/ 2147483646 w 736"/>
                  <a:gd name="T63" fmla="*/ 2147483646 h 721"/>
                  <a:gd name="T64" fmla="*/ 2147483646 w 736"/>
                  <a:gd name="T65" fmla="*/ 2147483646 h 721"/>
                  <a:gd name="T66" fmla="*/ 2147483646 w 736"/>
                  <a:gd name="T67" fmla="*/ 0 h 721"/>
                  <a:gd name="T68" fmla="*/ 2147483646 w 736"/>
                  <a:gd name="T69" fmla="*/ 2147483646 h 721"/>
                  <a:gd name="T70" fmla="*/ 2147483646 w 736"/>
                  <a:gd name="T71" fmla="*/ 2147483646 h 721"/>
                  <a:gd name="T72" fmla="*/ 2147483646 w 736"/>
                  <a:gd name="T73" fmla="*/ 2147483646 h 721"/>
                  <a:gd name="T74" fmla="*/ 2147483646 w 736"/>
                  <a:gd name="T75" fmla="*/ 2147483646 h 721"/>
                  <a:gd name="T76" fmla="*/ 2147483646 w 736"/>
                  <a:gd name="T77" fmla="*/ 2147483646 h 721"/>
                  <a:gd name="T78" fmla="*/ 2147483646 w 736"/>
                  <a:gd name="T79" fmla="*/ 2147483646 h 721"/>
                  <a:gd name="T80" fmla="*/ 2147483646 w 736"/>
                  <a:gd name="T81" fmla="*/ 2147483646 h 721"/>
                  <a:gd name="T82" fmla="*/ 2147483646 w 736"/>
                  <a:gd name="T83" fmla="*/ 2147483646 h 721"/>
                  <a:gd name="T84" fmla="*/ 2147483646 w 736"/>
                  <a:gd name="T85" fmla="*/ 2147483646 h 721"/>
                  <a:gd name="T86" fmla="*/ 2147483646 w 736"/>
                  <a:gd name="T87" fmla="*/ 2147483646 h 721"/>
                  <a:gd name="T88" fmla="*/ 2147483646 w 736"/>
                  <a:gd name="T89" fmla="*/ 2147483646 h 721"/>
                  <a:gd name="T90" fmla="*/ 2147483646 w 736"/>
                  <a:gd name="T91" fmla="*/ 2147483646 h 721"/>
                  <a:gd name="T92" fmla="*/ 2147483646 w 736"/>
                  <a:gd name="T93" fmla="*/ 2147483646 h 721"/>
                  <a:gd name="T94" fmla="*/ 2147483646 w 736"/>
                  <a:gd name="T95" fmla="*/ 2147483646 h 721"/>
                  <a:gd name="T96" fmla="*/ 2147483646 w 736"/>
                  <a:gd name="T97" fmla="*/ 2147483646 h 72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736"/>
                  <a:gd name="T148" fmla="*/ 0 h 721"/>
                  <a:gd name="T149" fmla="*/ 736 w 736"/>
                  <a:gd name="T150" fmla="*/ 721 h 721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736" h="721">
                    <a:moveTo>
                      <a:pt x="0" y="691"/>
                    </a:moveTo>
                    <a:lnTo>
                      <a:pt x="46" y="697"/>
                    </a:lnTo>
                    <a:lnTo>
                      <a:pt x="53" y="690"/>
                    </a:lnTo>
                    <a:lnTo>
                      <a:pt x="60" y="685"/>
                    </a:lnTo>
                    <a:lnTo>
                      <a:pt x="68" y="679"/>
                    </a:lnTo>
                    <a:lnTo>
                      <a:pt x="75" y="674"/>
                    </a:lnTo>
                    <a:lnTo>
                      <a:pt x="83" y="671"/>
                    </a:lnTo>
                    <a:lnTo>
                      <a:pt x="91" y="668"/>
                    </a:lnTo>
                    <a:lnTo>
                      <a:pt x="97" y="666"/>
                    </a:lnTo>
                    <a:lnTo>
                      <a:pt x="105" y="666"/>
                    </a:lnTo>
                    <a:lnTo>
                      <a:pt x="116" y="666"/>
                    </a:lnTo>
                    <a:lnTo>
                      <a:pt x="126" y="668"/>
                    </a:lnTo>
                    <a:lnTo>
                      <a:pt x="137" y="671"/>
                    </a:lnTo>
                    <a:lnTo>
                      <a:pt x="149" y="674"/>
                    </a:lnTo>
                    <a:lnTo>
                      <a:pt x="172" y="683"/>
                    </a:lnTo>
                    <a:lnTo>
                      <a:pt x="196" y="692"/>
                    </a:lnTo>
                    <a:lnTo>
                      <a:pt x="208" y="696"/>
                    </a:lnTo>
                    <a:lnTo>
                      <a:pt x="220" y="700"/>
                    </a:lnTo>
                    <a:lnTo>
                      <a:pt x="232" y="703"/>
                    </a:lnTo>
                    <a:lnTo>
                      <a:pt x="245" y="705"/>
                    </a:lnTo>
                    <a:lnTo>
                      <a:pt x="257" y="706"/>
                    </a:lnTo>
                    <a:lnTo>
                      <a:pt x="269" y="707"/>
                    </a:lnTo>
                    <a:lnTo>
                      <a:pt x="280" y="706"/>
                    </a:lnTo>
                    <a:lnTo>
                      <a:pt x="292" y="703"/>
                    </a:lnTo>
                    <a:lnTo>
                      <a:pt x="411" y="703"/>
                    </a:lnTo>
                    <a:lnTo>
                      <a:pt x="411" y="721"/>
                    </a:lnTo>
                    <a:lnTo>
                      <a:pt x="604" y="721"/>
                    </a:lnTo>
                    <a:lnTo>
                      <a:pt x="611" y="717"/>
                    </a:lnTo>
                    <a:lnTo>
                      <a:pt x="619" y="714"/>
                    </a:lnTo>
                    <a:lnTo>
                      <a:pt x="627" y="712"/>
                    </a:lnTo>
                    <a:lnTo>
                      <a:pt x="634" y="710"/>
                    </a:lnTo>
                    <a:lnTo>
                      <a:pt x="651" y="707"/>
                    </a:lnTo>
                    <a:lnTo>
                      <a:pt x="671" y="703"/>
                    </a:lnTo>
                    <a:lnTo>
                      <a:pt x="658" y="691"/>
                    </a:lnTo>
                    <a:lnTo>
                      <a:pt x="643" y="674"/>
                    </a:lnTo>
                    <a:lnTo>
                      <a:pt x="627" y="657"/>
                    </a:lnTo>
                    <a:lnTo>
                      <a:pt x="610" y="641"/>
                    </a:lnTo>
                    <a:lnTo>
                      <a:pt x="610" y="432"/>
                    </a:lnTo>
                    <a:lnTo>
                      <a:pt x="631" y="433"/>
                    </a:lnTo>
                    <a:lnTo>
                      <a:pt x="664" y="433"/>
                    </a:lnTo>
                    <a:lnTo>
                      <a:pt x="680" y="433"/>
                    </a:lnTo>
                    <a:lnTo>
                      <a:pt x="696" y="432"/>
                    </a:lnTo>
                    <a:lnTo>
                      <a:pt x="703" y="431"/>
                    </a:lnTo>
                    <a:lnTo>
                      <a:pt x="709" y="429"/>
                    </a:lnTo>
                    <a:lnTo>
                      <a:pt x="713" y="428"/>
                    </a:lnTo>
                    <a:lnTo>
                      <a:pt x="717" y="426"/>
                    </a:lnTo>
                    <a:lnTo>
                      <a:pt x="720" y="421"/>
                    </a:lnTo>
                    <a:lnTo>
                      <a:pt x="723" y="416"/>
                    </a:lnTo>
                    <a:lnTo>
                      <a:pt x="725" y="408"/>
                    </a:lnTo>
                    <a:lnTo>
                      <a:pt x="728" y="400"/>
                    </a:lnTo>
                    <a:lnTo>
                      <a:pt x="732" y="380"/>
                    </a:lnTo>
                    <a:lnTo>
                      <a:pt x="734" y="360"/>
                    </a:lnTo>
                    <a:lnTo>
                      <a:pt x="736" y="324"/>
                    </a:lnTo>
                    <a:lnTo>
                      <a:pt x="736" y="309"/>
                    </a:lnTo>
                    <a:lnTo>
                      <a:pt x="728" y="304"/>
                    </a:lnTo>
                    <a:lnTo>
                      <a:pt x="722" y="302"/>
                    </a:lnTo>
                    <a:lnTo>
                      <a:pt x="718" y="302"/>
                    </a:lnTo>
                    <a:lnTo>
                      <a:pt x="714" y="303"/>
                    </a:lnTo>
                    <a:lnTo>
                      <a:pt x="711" y="304"/>
                    </a:lnTo>
                    <a:lnTo>
                      <a:pt x="708" y="304"/>
                    </a:lnTo>
                    <a:lnTo>
                      <a:pt x="703" y="302"/>
                    </a:lnTo>
                    <a:lnTo>
                      <a:pt x="697" y="297"/>
                    </a:lnTo>
                    <a:lnTo>
                      <a:pt x="685" y="298"/>
                    </a:lnTo>
                    <a:lnTo>
                      <a:pt x="676" y="300"/>
                    </a:lnTo>
                    <a:lnTo>
                      <a:pt x="666" y="302"/>
                    </a:lnTo>
                    <a:lnTo>
                      <a:pt x="650" y="303"/>
                    </a:lnTo>
                    <a:lnTo>
                      <a:pt x="641" y="302"/>
                    </a:lnTo>
                    <a:lnTo>
                      <a:pt x="634" y="299"/>
                    </a:lnTo>
                    <a:lnTo>
                      <a:pt x="631" y="298"/>
                    </a:lnTo>
                    <a:lnTo>
                      <a:pt x="628" y="295"/>
                    </a:lnTo>
                    <a:lnTo>
                      <a:pt x="626" y="293"/>
                    </a:lnTo>
                    <a:lnTo>
                      <a:pt x="623" y="290"/>
                    </a:lnTo>
                    <a:lnTo>
                      <a:pt x="620" y="282"/>
                    </a:lnTo>
                    <a:lnTo>
                      <a:pt x="619" y="274"/>
                    </a:lnTo>
                    <a:lnTo>
                      <a:pt x="618" y="264"/>
                    </a:lnTo>
                    <a:lnTo>
                      <a:pt x="617" y="253"/>
                    </a:lnTo>
                    <a:lnTo>
                      <a:pt x="616" y="244"/>
                    </a:lnTo>
                    <a:lnTo>
                      <a:pt x="613" y="236"/>
                    </a:lnTo>
                    <a:lnTo>
                      <a:pt x="610" y="227"/>
                    </a:lnTo>
                    <a:lnTo>
                      <a:pt x="607" y="219"/>
                    </a:lnTo>
                    <a:lnTo>
                      <a:pt x="604" y="211"/>
                    </a:lnTo>
                    <a:lnTo>
                      <a:pt x="600" y="203"/>
                    </a:lnTo>
                    <a:lnTo>
                      <a:pt x="598" y="195"/>
                    </a:lnTo>
                    <a:lnTo>
                      <a:pt x="597" y="186"/>
                    </a:lnTo>
                    <a:lnTo>
                      <a:pt x="598" y="181"/>
                    </a:lnTo>
                    <a:lnTo>
                      <a:pt x="600" y="177"/>
                    </a:lnTo>
                    <a:lnTo>
                      <a:pt x="604" y="171"/>
                    </a:lnTo>
                    <a:lnTo>
                      <a:pt x="607" y="167"/>
                    </a:lnTo>
                    <a:lnTo>
                      <a:pt x="610" y="162"/>
                    </a:lnTo>
                    <a:lnTo>
                      <a:pt x="613" y="157"/>
                    </a:lnTo>
                    <a:lnTo>
                      <a:pt x="616" y="153"/>
                    </a:lnTo>
                    <a:lnTo>
                      <a:pt x="617" y="148"/>
                    </a:lnTo>
                    <a:lnTo>
                      <a:pt x="616" y="136"/>
                    </a:lnTo>
                    <a:lnTo>
                      <a:pt x="612" y="120"/>
                    </a:lnTo>
                    <a:lnTo>
                      <a:pt x="611" y="109"/>
                    </a:lnTo>
                    <a:lnTo>
                      <a:pt x="611" y="100"/>
                    </a:lnTo>
                    <a:lnTo>
                      <a:pt x="613" y="90"/>
                    </a:lnTo>
                    <a:lnTo>
                      <a:pt x="617" y="81"/>
                    </a:lnTo>
                    <a:lnTo>
                      <a:pt x="594" y="77"/>
                    </a:lnTo>
                    <a:lnTo>
                      <a:pt x="544" y="70"/>
                    </a:lnTo>
                    <a:lnTo>
                      <a:pt x="517" y="67"/>
                    </a:lnTo>
                    <a:lnTo>
                      <a:pt x="494" y="66"/>
                    </a:lnTo>
                    <a:lnTo>
                      <a:pt x="484" y="65"/>
                    </a:lnTo>
                    <a:lnTo>
                      <a:pt x="477" y="66"/>
                    </a:lnTo>
                    <a:lnTo>
                      <a:pt x="473" y="67"/>
                    </a:lnTo>
                    <a:lnTo>
                      <a:pt x="471" y="69"/>
                    </a:lnTo>
                    <a:lnTo>
                      <a:pt x="471" y="73"/>
                    </a:lnTo>
                    <a:lnTo>
                      <a:pt x="471" y="81"/>
                    </a:lnTo>
                    <a:lnTo>
                      <a:pt x="470" y="86"/>
                    </a:lnTo>
                    <a:lnTo>
                      <a:pt x="469" y="91"/>
                    </a:lnTo>
                    <a:lnTo>
                      <a:pt x="466" y="96"/>
                    </a:lnTo>
                    <a:lnTo>
                      <a:pt x="463" y="101"/>
                    </a:lnTo>
                    <a:lnTo>
                      <a:pt x="460" y="107"/>
                    </a:lnTo>
                    <a:lnTo>
                      <a:pt x="454" y="112"/>
                    </a:lnTo>
                    <a:lnTo>
                      <a:pt x="448" y="117"/>
                    </a:lnTo>
                    <a:lnTo>
                      <a:pt x="440" y="122"/>
                    </a:lnTo>
                    <a:lnTo>
                      <a:pt x="430" y="125"/>
                    </a:lnTo>
                    <a:lnTo>
                      <a:pt x="419" y="128"/>
                    </a:lnTo>
                    <a:lnTo>
                      <a:pt x="406" y="130"/>
                    </a:lnTo>
                    <a:lnTo>
                      <a:pt x="392" y="130"/>
                    </a:lnTo>
                    <a:lnTo>
                      <a:pt x="385" y="129"/>
                    </a:lnTo>
                    <a:lnTo>
                      <a:pt x="378" y="127"/>
                    </a:lnTo>
                    <a:lnTo>
                      <a:pt x="372" y="122"/>
                    </a:lnTo>
                    <a:lnTo>
                      <a:pt x="364" y="115"/>
                    </a:lnTo>
                    <a:lnTo>
                      <a:pt x="358" y="108"/>
                    </a:lnTo>
                    <a:lnTo>
                      <a:pt x="351" y="100"/>
                    </a:lnTo>
                    <a:lnTo>
                      <a:pt x="344" y="91"/>
                    </a:lnTo>
                    <a:lnTo>
                      <a:pt x="339" y="82"/>
                    </a:lnTo>
                    <a:lnTo>
                      <a:pt x="333" y="72"/>
                    </a:lnTo>
                    <a:lnTo>
                      <a:pt x="328" y="60"/>
                    </a:lnTo>
                    <a:lnTo>
                      <a:pt x="324" y="50"/>
                    </a:lnTo>
                    <a:lnTo>
                      <a:pt x="319" y="39"/>
                    </a:lnTo>
                    <a:lnTo>
                      <a:pt x="316" y="29"/>
                    </a:lnTo>
                    <a:lnTo>
                      <a:pt x="314" y="19"/>
                    </a:lnTo>
                    <a:lnTo>
                      <a:pt x="312" y="10"/>
                    </a:lnTo>
                    <a:lnTo>
                      <a:pt x="312" y="0"/>
                    </a:lnTo>
                    <a:lnTo>
                      <a:pt x="26" y="0"/>
                    </a:lnTo>
                    <a:lnTo>
                      <a:pt x="26" y="5"/>
                    </a:lnTo>
                    <a:lnTo>
                      <a:pt x="28" y="10"/>
                    </a:lnTo>
                    <a:lnTo>
                      <a:pt x="30" y="15"/>
                    </a:lnTo>
                    <a:lnTo>
                      <a:pt x="34" y="19"/>
                    </a:lnTo>
                    <a:lnTo>
                      <a:pt x="38" y="22"/>
                    </a:lnTo>
                    <a:lnTo>
                      <a:pt x="42" y="26"/>
                    </a:lnTo>
                    <a:lnTo>
                      <a:pt x="47" y="29"/>
                    </a:lnTo>
                    <a:lnTo>
                      <a:pt x="52" y="31"/>
                    </a:lnTo>
                    <a:lnTo>
                      <a:pt x="58" y="47"/>
                    </a:lnTo>
                    <a:lnTo>
                      <a:pt x="67" y="61"/>
                    </a:lnTo>
                    <a:lnTo>
                      <a:pt x="75" y="75"/>
                    </a:lnTo>
                    <a:lnTo>
                      <a:pt x="84" y="89"/>
                    </a:lnTo>
                    <a:lnTo>
                      <a:pt x="92" y="104"/>
                    </a:lnTo>
                    <a:lnTo>
                      <a:pt x="98" y="121"/>
                    </a:lnTo>
                    <a:lnTo>
                      <a:pt x="102" y="130"/>
                    </a:lnTo>
                    <a:lnTo>
                      <a:pt x="104" y="139"/>
                    </a:lnTo>
                    <a:lnTo>
                      <a:pt x="105" y="150"/>
                    </a:lnTo>
                    <a:lnTo>
                      <a:pt x="105" y="161"/>
                    </a:lnTo>
                    <a:lnTo>
                      <a:pt x="103" y="171"/>
                    </a:lnTo>
                    <a:lnTo>
                      <a:pt x="98" y="183"/>
                    </a:lnTo>
                    <a:lnTo>
                      <a:pt x="96" y="190"/>
                    </a:lnTo>
                    <a:lnTo>
                      <a:pt x="94" y="196"/>
                    </a:lnTo>
                    <a:lnTo>
                      <a:pt x="93" y="203"/>
                    </a:lnTo>
                    <a:lnTo>
                      <a:pt x="92" y="210"/>
                    </a:lnTo>
                    <a:lnTo>
                      <a:pt x="93" y="217"/>
                    </a:lnTo>
                    <a:lnTo>
                      <a:pt x="94" y="223"/>
                    </a:lnTo>
                    <a:lnTo>
                      <a:pt x="96" y="229"/>
                    </a:lnTo>
                    <a:lnTo>
                      <a:pt x="98" y="236"/>
                    </a:lnTo>
                    <a:lnTo>
                      <a:pt x="105" y="248"/>
                    </a:lnTo>
                    <a:lnTo>
                      <a:pt x="112" y="260"/>
                    </a:lnTo>
                    <a:lnTo>
                      <a:pt x="119" y="272"/>
                    </a:lnTo>
                    <a:lnTo>
                      <a:pt x="126" y="285"/>
                    </a:lnTo>
                    <a:lnTo>
                      <a:pt x="128" y="293"/>
                    </a:lnTo>
                    <a:lnTo>
                      <a:pt x="130" y="300"/>
                    </a:lnTo>
                    <a:lnTo>
                      <a:pt x="131" y="307"/>
                    </a:lnTo>
                    <a:lnTo>
                      <a:pt x="133" y="315"/>
                    </a:lnTo>
                    <a:lnTo>
                      <a:pt x="131" y="326"/>
                    </a:lnTo>
                    <a:lnTo>
                      <a:pt x="129" y="338"/>
                    </a:lnTo>
                    <a:lnTo>
                      <a:pt x="127" y="352"/>
                    </a:lnTo>
                    <a:lnTo>
                      <a:pt x="123" y="364"/>
                    </a:lnTo>
                    <a:lnTo>
                      <a:pt x="118" y="377"/>
                    </a:lnTo>
                    <a:lnTo>
                      <a:pt x="113" y="389"/>
                    </a:lnTo>
                    <a:lnTo>
                      <a:pt x="106" y="403"/>
                    </a:lnTo>
                    <a:lnTo>
                      <a:pt x="100" y="414"/>
                    </a:lnTo>
                    <a:lnTo>
                      <a:pt x="92" y="426"/>
                    </a:lnTo>
                    <a:lnTo>
                      <a:pt x="84" y="436"/>
                    </a:lnTo>
                    <a:lnTo>
                      <a:pt x="77" y="446"/>
                    </a:lnTo>
                    <a:lnTo>
                      <a:pt x="68" y="457"/>
                    </a:lnTo>
                    <a:lnTo>
                      <a:pt x="59" y="465"/>
                    </a:lnTo>
                    <a:lnTo>
                      <a:pt x="50" y="471"/>
                    </a:lnTo>
                    <a:lnTo>
                      <a:pt x="41" y="477"/>
                    </a:lnTo>
                    <a:lnTo>
                      <a:pt x="33" y="481"/>
                    </a:lnTo>
                    <a:lnTo>
                      <a:pt x="33" y="586"/>
                    </a:lnTo>
                    <a:lnTo>
                      <a:pt x="28" y="588"/>
                    </a:lnTo>
                    <a:lnTo>
                      <a:pt x="25" y="591"/>
                    </a:lnTo>
                    <a:lnTo>
                      <a:pt x="23" y="595"/>
                    </a:lnTo>
                    <a:lnTo>
                      <a:pt x="19" y="600"/>
                    </a:lnTo>
                    <a:lnTo>
                      <a:pt x="15" y="612"/>
                    </a:lnTo>
                    <a:lnTo>
                      <a:pt x="11" y="627"/>
                    </a:lnTo>
                    <a:lnTo>
                      <a:pt x="4" y="659"/>
                    </a:lnTo>
                    <a:lnTo>
                      <a:pt x="0" y="691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59" name="Freeform 381">
                <a:extLst>
                  <a:ext uri="{FF2B5EF4-FFF2-40B4-BE49-F238E27FC236}">
                    <a16:creationId xmlns="" xmlns:a16="http://schemas.microsoft.com/office/drawing/2014/main" id="{FB511E6B-8890-4393-BC84-D1EB04426C1C}"/>
                  </a:ext>
                </a:extLst>
              </p:cNvPr>
              <p:cNvSpPr>
                <a:spLocks/>
              </p:cNvSpPr>
              <p:nvPr>
                <p:custDataLst>
                  <p:tags r:id="rId270"/>
                </p:custDataLst>
              </p:nvPr>
            </p:nvSpPr>
            <p:spPr bwMode="auto">
              <a:xfrm>
                <a:off x="4308475" y="3824288"/>
                <a:ext cx="15875" cy="60325"/>
              </a:xfrm>
              <a:custGeom>
                <a:avLst/>
                <a:gdLst>
                  <a:gd name="T0" fmla="*/ 0 w 39"/>
                  <a:gd name="T1" fmla="*/ 2147483646 h 31"/>
                  <a:gd name="T2" fmla="*/ 2147483646 w 39"/>
                  <a:gd name="T3" fmla="*/ 2147483646 h 31"/>
                  <a:gd name="T4" fmla="*/ 2147483646 w 39"/>
                  <a:gd name="T5" fmla="*/ 2147483646 h 31"/>
                  <a:gd name="T6" fmla="*/ 2147483646 w 39"/>
                  <a:gd name="T7" fmla="*/ 2147483646 h 31"/>
                  <a:gd name="T8" fmla="*/ 2147483646 w 39"/>
                  <a:gd name="T9" fmla="*/ 2147483646 h 31"/>
                  <a:gd name="T10" fmla="*/ 2147483646 w 39"/>
                  <a:gd name="T11" fmla="*/ 2147483646 h 31"/>
                  <a:gd name="T12" fmla="*/ 2147483646 w 39"/>
                  <a:gd name="T13" fmla="*/ 2147483646 h 31"/>
                  <a:gd name="T14" fmla="*/ 2147483646 w 39"/>
                  <a:gd name="T15" fmla="*/ 0 h 31"/>
                  <a:gd name="T16" fmla="*/ 2147483646 w 39"/>
                  <a:gd name="T17" fmla="*/ 0 h 31"/>
                  <a:gd name="T18" fmla="*/ 2147483646 w 39"/>
                  <a:gd name="T19" fmla="*/ 0 h 31"/>
                  <a:gd name="T20" fmla="*/ 2147483646 w 39"/>
                  <a:gd name="T21" fmla="*/ 0 h 31"/>
                  <a:gd name="T22" fmla="*/ 0 w 39"/>
                  <a:gd name="T23" fmla="*/ 0 h 31"/>
                  <a:gd name="T24" fmla="*/ 0 w 39"/>
                  <a:gd name="T25" fmla="*/ 2147483646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9"/>
                  <a:gd name="T40" fmla="*/ 0 h 31"/>
                  <a:gd name="T41" fmla="*/ 39 w 39"/>
                  <a:gd name="T42" fmla="*/ 31 h 31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9" h="31">
                    <a:moveTo>
                      <a:pt x="0" y="31"/>
                    </a:moveTo>
                    <a:lnTo>
                      <a:pt x="12" y="28"/>
                    </a:lnTo>
                    <a:lnTo>
                      <a:pt x="22" y="28"/>
                    </a:lnTo>
                    <a:lnTo>
                      <a:pt x="26" y="28"/>
                    </a:lnTo>
                    <a:lnTo>
                      <a:pt x="30" y="28"/>
                    </a:lnTo>
                    <a:lnTo>
                      <a:pt x="35" y="27"/>
                    </a:lnTo>
                    <a:lnTo>
                      <a:pt x="39" y="25"/>
                    </a:lnTo>
                    <a:lnTo>
                      <a:pt x="39" y="0"/>
                    </a:lnTo>
                    <a:lnTo>
                      <a:pt x="26" y="0"/>
                    </a:lnTo>
                    <a:lnTo>
                      <a:pt x="17" y="0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60" name="Freeform 382">
                <a:extLst>
                  <a:ext uri="{FF2B5EF4-FFF2-40B4-BE49-F238E27FC236}">
                    <a16:creationId xmlns="" xmlns:a16="http://schemas.microsoft.com/office/drawing/2014/main" id="{2898F872-9558-4158-A496-75D2432803B2}"/>
                  </a:ext>
                </a:extLst>
              </p:cNvPr>
              <p:cNvSpPr>
                <a:spLocks/>
              </p:cNvSpPr>
              <p:nvPr>
                <p:custDataLst>
                  <p:tags r:id="rId271"/>
                </p:custDataLst>
              </p:nvPr>
            </p:nvSpPr>
            <p:spPr bwMode="auto">
              <a:xfrm>
                <a:off x="4410075" y="4367213"/>
                <a:ext cx="396875" cy="398462"/>
              </a:xfrm>
              <a:custGeom>
                <a:avLst/>
                <a:gdLst>
                  <a:gd name="T0" fmla="*/ 2147483646 w 903"/>
                  <a:gd name="T1" fmla="*/ 2147483646 h 759"/>
                  <a:gd name="T2" fmla="*/ 2147483646 w 903"/>
                  <a:gd name="T3" fmla="*/ 2147483646 h 759"/>
                  <a:gd name="T4" fmla="*/ 2147483646 w 903"/>
                  <a:gd name="T5" fmla="*/ 2147483646 h 759"/>
                  <a:gd name="T6" fmla="*/ 2147483646 w 903"/>
                  <a:gd name="T7" fmla="*/ 2147483646 h 759"/>
                  <a:gd name="T8" fmla="*/ 2147483646 w 903"/>
                  <a:gd name="T9" fmla="*/ 2147483646 h 759"/>
                  <a:gd name="T10" fmla="*/ 2147483646 w 903"/>
                  <a:gd name="T11" fmla="*/ 2147483646 h 759"/>
                  <a:gd name="T12" fmla="*/ 2147483646 w 903"/>
                  <a:gd name="T13" fmla="*/ 2147483646 h 759"/>
                  <a:gd name="T14" fmla="*/ 2147483646 w 903"/>
                  <a:gd name="T15" fmla="*/ 2147483646 h 759"/>
                  <a:gd name="T16" fmla="*/ 2147483646 w 903"/>
                  <a:gd name="T17" fmla="*/ 2147483646 h 759"/>
                  <a:gd name="T18" fmla="*/ 2147483646 w 903"/>
                  <a:gd name="T19" fmla="*/ 2147483646 h 759"/>
                  <a:gd name="T20" fmla="*/ 2147483646 w 903"/>
                  <a:gd name="T21" fmla="*/ 2147483646 h 759"/>
                  <a:gd name="T22" fmla="*/ 2147483646 w 903"/>
                  <a:gd name="T23" fmla="*/ 2147483646 h 759"/>
                  <a:gd name="T24" fmla="*/ 2147483646 w 903"/>
                  <a:gd name="T25" fmla="*/ 2147483646 h 759"/>
                  <a:gd name="T26" fmla="*/ 2147483646 w 903"/>
                  <a:gd name="T27" fmla="*/ 2147483646 h 759"/>
                  <a:gd name="T28" fmla="*/ 2147483646 w 903"/>
                  <a:gd name="T29" fmla="*/ 2147483646 h 759"/>
                  <a:gd name="T30" fmla="*/ 2147483646 w 903"/>
                  <a:gd name="T31" fmla="*/ 2147483646 h 759"/>
                  <a:gd name="T32" fmla="*/ 2147483646 w 903"/>
                  <a:gd name="T33" fmla="*/ 2147483646 h 759"/>
                  <a:gd name="T34" fmla="*/ 2147483646 w 903"/>
                  <a:gd name="T35" fmla="*/ 2147483646 h 759"/>
                  <a:gd name="T36" fmla="*/ 2147483646 w 903"/>
                  <a:gd name="T37" fmla="*/ 2147483646 h 759"/>
                  <a:gd name="T38" fmla="*/ 2147483646 w 903"/>
                  <a:gd name="T39" fmla="*/ 2147483646 h 759"/>
                  <a:gd name="T40" fmla="*/ 2147483646 w 903"/>
                  <a:gd name="T41" fmla="*/ 2147483646 h 759"/>
                  <a:gd name="T42" fmla="*/ 2147483646 w 903"/>
                  <a:gd name="T43" fmla="*/ 2147483646 h 759"/>
                  <a:gd name="T44" fmla="*/ 2147483646 w 903"/>
                  <a:gd name="T45" fmla="*/ 2147483646 h 759"/>
                  <a:gd name="T46" fmla="*/ 2147483646 w 903"/>
                  <a:gd name="T47" fmla="*/ 2147483646 h 759"/>
                  <a:gd name="T48" fmla="*/ 2147483646 w 903"/>
                  <a:gd name="T49" fmla="*/ 2147483646 h 759"/>
                  <a:gd name="T50" fmla="*/ 2147483646 w 903"/>
                  <a:gd name="T51" fmla="*/ 2147483646 h 759"/>
                  <a:gd name="T52" fmla="*/ 2147483646 w 903"/>
                  <a:gd name="T53" fmla="*/ 2147483646 h 759"/>
                  <a:gd name="T54" fmla="*/ 0 w 903"/>
                  <a:gd name="T55" fmla="*/ 2147483646 h 759"/>
                  <a:gd name="T56" fmla="*/ 2147483646 w 903"/>
                  <a:gd name="T57" fmla="*/ 2147483646 h 759"/>
                  <a:gd name="T58" fmla="*/ 2147483646 w 903"/>
                  <a:gd name="T59" fmla="*/ 2147483646 h 759"/>
                  <a:gd name="T60" fmla="*/ 2147483646 w 903"/>
                  <a:gd name="T61" fmla="*/ 2147483646 h 759"/>
                  <a:gd name="T62" fmla="*/ 2147483646 w 903"/>
                  <a:gd name="T63" fmla="*/ 2147483646 h 759"/>
                  <a:gd name="T64" fmla="*/ 2147483646 w 903"/>
                  <a:gd name="T65" fmla="*/ 2147483646 h 759"/>
                  <a:gd name="T66" fmla="*/ 2147483646 w 903"/>
                  <a:gd name="T67" fmla="*/ 2147483646 h 759"/>
                  <a:gd name="T68" fmla="*/ 2147483646 w 903"/>
                  <a:gd name="T69" fmla="*/ 2147483646 h 759"/>
                  <a:gd name="T70" fmla="*/ 2147483646 w 903"/>
                  <a:gd name="T71" fmla="*/ 2147483646 h 759"/>
                  <a:gd name="T72" fmla="*/ 2147483646 w 903"/>
                  <a:gd name="T73" fmla="*/ 2147483646 h 759"/>
                  <a:gd name="T74" fmla="*/ 2147483646 w 903"/>
                  <a:gd name="T75" fmla="*/ 2147483646 h 759"/>
                  <a:gd name="T76" fmla="*/ 2147483646 w 903"/>
                  <a:gd name="T77" fmla="*/ 2147483646 h 759"/>
                  <a:gd name="T78" fmla="*/ 2147483646 w 903"/>
                  <a:gd name="T79" fmla="*/ 2147483646 h 759"/>
                  <a:gd name="T80" fmla="*/ 2147483646 w 903"/>
                  <a:gd name="T81" fmla="*/ 2147483646 h 759"/>
                  <a:gd name="T82" fmla="*/ 2147483646 w 903"/>
                  <a:gd name="T83" fmla="*/ 2147483646 h 759"/>
                  <a:gd name="T84" fmla="*/ 2147483646 w 903"/>
                  <a:gd name="T85" fmla="*/ 2147483646 h 759"/>
                  <a:gd name="T86" fmla="*/ 2147483646 w 903"/>
                  <a:gd name="T87" fmla="*/ 2147483646 h 759"/>
                  <a:gd name="T88" fmla="*/ 2147483646 w 903"/>
                  <a:gd name="T89" fmla="*/ 2147483646 h 759"/>
                  <a:gd name="T90" fmla="*/ 2147483646 w 903"/>
                  <a:gd name="T91" fmla="*/ 2147483646 h 759"/>
                  <a:gd name="T92" fmla="*/ 2147483646 w 903"/>
                  <a:gd name="T93" fmla="*/ 2147483646 h 759"/>
                  <a:gd name="T94" fmla="*/ 2147483646 w 903"/>
                  <a:gd name="T95" fmla="*/ 2147483646 h 759"/>
                  <a:gd name="T96" fmla="*/ 2147483646 w 903"/>
                  <a:gd name="T97" fmla="*/ 2147483646 h 759"/>
                  <a:gd name="T98" fmla="*/ 2147483646 w 903"/>
                  <a:gd name="T99" fmla="*/ 2147483646 h 759"/>
                  <a:gd name="T100" fmla="*/ 2147483646 w 903"/>
                  <a:gd name="T101" fmla="*/ 2147483646 h 759"/>
                  <a:gd name="T102" fmla="*/ 2147483646 w 903"/>
                  <a:gd name="T103" fmla="*/ 2147483646 h 759"/>
                  <a:gd name="T104" fmla="*/ 2147483646 w 903"/>
                  <a:gd name="T105" fmla="*/ 2147483646 h 759"/>
                  <a:gd name="T106" fmla="*/ 2147483646 w 903"/>
                  <a:gd name="T107" fmla="*/ 2147483646 h 759"/>
                  <a:gd name="T108" fmla="*/ 2147483646 w 903"/>
                  <a:gd name="T109" fmla="*/ 2147483646 h 759"/>
                  <a:gd name="T110" fmla="*/ 2147483646 w 903"/>
                  <a:gd name="T111" fmla="*/ 2147483646 h 759"/>
                  <a:gd name="T112" fmla="*/ 2147483646 w 903"/>
                  <a:gd name="T113" fmla="*/ 2147483646 h 759"/>
                  <a:gd name="T114" fmla="*/ 2147483646 w 903"/>
                  <a:gd name="T115" fmla="*/ 2147483646 h 759"/>
                  <a:gd name="T116" fmla="*/ 2147483646 w 903"/>
                  <a:gd name="T117" fmla="*/ 2147483646 h 759"/>
                  <a:gd name="T118" fmla="*/ 2147483646 w 903"/>
                  <a:gd name="T119" fmla="*/ 2147483646 h 759"/>
                  <a:gd name="T120" fmla="*/ 2147483646 w 903"/>
                  <a:gd name="T121" fmla="*/ 2147483646 h 759"/>
                  <a:gd name="T122" fmla="*/ 2147483646 w 903"/>
                  <a:gd name="T123" fmla="*/ 2147483646 h 759"/>
                  <a:gd name="T124" fmla="*/ 2147483646 w 903"/>
                  <a:gd name="T125" fmla="*/ 2147483646 h 75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903"/>
                  <a:gd name="T190" fmla="*/ 0 h 759"/>
                  <a:gd name="T191" fmla="*/ 903 w 903"/>
                  <a:gd name="T192" fmla="*/ 759 h 75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903" h="759">
                    <a:moveTo>
                      <a:pt x="870" y="296"/>
                    </a:moveTo>
                    <a:lnTo>
                      <a:pt x="875" y="295"/>
                    </a:lnTo>
                    <a:lnTo>
                      <a:pt x="886" y="293"/>
                    </a:lnTo>
                    <a:lnTo>
                      <a:pt x="899" y="291"/>
                    </a:lnTo>
                    <a:lnTo>
                      <a:pt x="903" y="290"/>
                    </a:lnTo>
                    <a:lnTo>
                      <a:pt x="863" y="364"/>
                    </a:lnTo>
                    <a:lnTo>
                      <a:pt x="863" y="376"/>
                    </a:lnTo>
                    <a:lnTo>
                      <a:pt x="863" y="388"/>
                    </a:lnTo>
                    <a:lnTo>
                      <a:pt x="857" y="392"/>
                    </a:lnTo>
                    <a:lnTo>
                      <a:pt x="849" y="397"/>
                    </a:lnTo>
                    <a:lnTo>
                      <a:pt x="840" y="405"/>
                    </a:lnTo>
                    <a:lnTo>
                      <a:pt x="832" y="414"/>
                    </a:lnTo>
                    <a:lnTo>
                      <a:pt x="813" y="436"/>
                    </a:lnTo>
                    <a:lnTo>
                      <a:pt x="794" y="460"/>
                    </a:lnTo>
                    <a:lnTo>
                      <a:pt x="776" y="485"/>
                    </a:lnTo>
                    <a:lnTo>
                      <a:pt x="761" y="507"/>
                    </a:lnTo>
                    <a:lnTo>
                      <a:pt x="749" y="525"/>
                    </a:lnTo>
                    <a:lnTo>
                      <a:pt x="744" y="537"/>
                    </a:lnTo>
                    <a:lnTo>
                      <a:pt x="732" y="550"/>
                    </a:lnTo>
                    <a:lnTo>
                      <a:pt x="720" y="561"/>
                    </a:lnTo>
                    <a:lnTo>
                      <a:pt x="706" y="571"/>
                    </a:lnTo>
                    <a:lnTo>
                      <a:pt x="694" y="581"/>
                    </a:lnTo>
                    <a:lnTo>
                      <a:pt x="670" y="598"/>
                    </a:lnTo>
                    <a:lnTo>
                      <a:pt x="647" y="613"/>
                    </a:lnTo>
                    <a:lnTo>
                      <a:pt x="624" y="628"/>
                    </a:lnTo>
                    <a:lnTo>
                      <a:pt x="603" y="646"/>
                    </a:lnTo>
                    <a:lnTo>
                      <a:pt x="592" y="655"/>
                    </a:lnTo>
                    <a:lnTo>
                      <a:pt x="583" y="666"/>
                    </a:lnTo>
                    <a:lnTo>
                      <a:pt x="574" y="677"/>
                    </a:lnTo>
                    <a:lnTo>
                      <a:pt x="565" y="690"/>
                    </a:lnTo>
                    <a:lnTo>
                      <a:pt x="561" y="694"/>
                    </a:lnTo>
                    <a:lnTo>
                      <a:pt x="557" y="698"/>
                    </a:lnTo>
                    <a:lnTo>
                      <a:pt x="553" y="700"/>
                    </a:lnTo>
                    <a:lnTo>
                      <a:pt x="546" y="702"/>
                    </a:lnTo>
                    <a:lnTo>
                      <a:pt x="534" y="704"/>
                    </a:lnTo>
                    <a:lnTo>
                      <a:pt x="520" y="705"/>
                    </a:lnTo>
                    <a:lnTo>
                      <a:pt x="513" y="705"/>
                    </a:lnTo>
                    <a:lnTo>
                      <a:pt x="507" y="706"/>
                    </a:lnTo>
                    <a:lnTo>
                      <a:pt x="501" y="708"/>
                    </a:lnTo>
                    <a:lnTo>
                      <a:pt x="496" y="710"/>
                    </a:lnTo>
                    <a:lnTo>
                      <a:pt x="491" y="713"/>
                    </a:lnTo>
                    <a:lnTo>
                      <a:pt x="488" y="716"/>
                    </a:lnTo>
                    <a:lnTo>
                      <a:pt x="486" y="721"/>
                    </a:lnTo>
                    <a:lnTo>
                      <a:pt x="485" y="727"/>
                    </a:lnTo>
                    <a:lnTo>
                      <a:pt x="444" y="727"/>
                    </a:lnTo>
                    <a:lnTo>
                      <a:pt x="415" y="727"/>
                    </a:lnTo>
                    <a:lnTo>
                      <a:pt x="395" y="727"/>
                    </a:lnTo>
                    <a:lnTo>
                      <a:pt x="372" y="727"/>
                    </a:lnTo>
                    <a:lnTo>
                      <a:pt x="359" y="727"/>
                    </a:lnTo>
                    <a:lnTo>
                      <a:pt x="348" y="729"/>
                    </a:lnTo>
                    <a:lnTo>
                      <a:pt x="344" y="730"/>
                    </a:lnTo>
                    <a:lnTo>
                      <a:pt x="339" y="732"/>
                    </a:lnTo>
                    <a:lnTo>
                      <a:pt x="332" y="735"/>
                    </a:lnTo>
                    <a:lnTo>
                      <a:pt x="325" y="739"/>
                    </a:lnTo>
                    <a:lnTo>
                      <a:pt x="320" y="735"/>
                    </a:lnTo>
                    <a:lnTo>
                      <a:pt x="316" y="732"/>
                    </a:lnTo>
                    <a:lnTo>
                      <a:pt x="310" y="730"/>
                    </a:lnTo>
                    <a:lnTo>
                      <a:pt x="306" y="729"/>
                    </a:lnTo>
                    <a:lnTo>
                      <a:pt x="296" y="727"/>
                    </a:lnTo>
                    <a:lnTo>
                      <a:pt x="286" y="727"/>
                    </a:lnTo>
                    <a:lnTo>
                      <a:pt x="283" y="730"/>
                    </a:lnTo>
                    <a:lnTo>
                      <a:pt x="278" y="732"/>
                    </a:lnTo>
                    <a:lnTo>
                      <a:pt x="272" y="735"/>
                    </a:lnTo>
                    <a:lnTo>
                      <a:pt x="263" y="737"/>
                    </a:lnTo>
                    <a:lnTo>
                      <a:pt x="242" y="742"/>
                    </a:lnTo>
                    <a:lnTo>
                      <a:pt x="218" y="747"/>
                    </a:lnTo>
                    <a:lnTo>
                      <a:pt x="173" y="756"/>
                    </a:lnTo>
                    <a:lnTo>
                      <a:pt x="146" y="759"/>
                    </a:lnTo>
                    <a:lnTo>
                      <a:pt x="139" y="758"/>
                    </a:lnTo>
                    <a:lnTo>
                      <a:pt x="131" y="757"/>
                    </a:lnTo>
                    <a:lnTo>
                      <a:pt x="123" y="756"/>
                    </a:lnTo>
                    <a:lnTo>
                      <a:pt x="116" y="753"/>
                    </a:lnTo>
                    <a:lnTo>
                      <a:pt x="109" y="750"/>
                    </a:lnTo>
                    <a:lnTo>
                      <a:pt x="103" y="746"/>
                    </a:lnTo>
                    <a:lnTo>
                      <a:pt x="96" y="743"/>
                    </a:lnTo>
                    <a:lnTo>
                      <a:pt x="90" y="739"/>
                    </a:lnTo>
                    <a:lnTo>
                      <a:pt x="85" y="734"/>
                    </a:lnTo>
                    <a:lnTo>
                      <a:pt x="82" y="730"/>
                    </a:lnTo>
                    <a:lnTo>
                      <a:pt x="78" y="725"/>
                    </a:lnTo>
                    <a:lnTo>
                      <a:pt x="76" y="719"/>
                    </a:lnTo>
                    <a:lnTo>
                      <a:pt x="75" y="714"/>
                    </a:lnTo>
                    <a:lnTo>
                      <a:pt x="75" y="708"/>
                    </a:lnTo>
                    <a:lnTo>
                      <a:pt x="76" y="703"/>
                    </a:lnTo>
                    <a:lnTo>
                      <a:pt x="79" y="697"/>
                    </a:lnTo>
                    <a:lnTo>
                      <a:pt x="60" y="648"/>
                    </a:lnTo>
                    <a:lnTo>
                      <a:pt x="65" y="639"/>
                    </a:lnTo>
                    <a:lnTo>
                      <a:pt x="72" y="632"/>
                    </a:lnTo>
                    <a:lnTo>
                      <a:pt x="75" y="628"/>
                    </a:lnTo>
                    <a:lnTo>
                      <a:pt x="77" y="625"/>
                    </a:lnTo>
                    <a:lnTo>
                      <a:pt x="79" y="621"/>
                    </a:lnTo>
                    <a:lnTo>
                      <a:pt x="79" y="616"/>
                    </a:lnTo>
                    <a:lnTo>
                      <a:pt x="79" y="608"/>
                    </a:lnTo>
                    <a:lnTo>
                      <a:pt x="78" y="600"/>
                    </a:lnTo>
                    <a:lnTo>
                      <a:pt x="76" y="592"/>
                    </a:lnTo>
                    <a:lnTo>
                      <a:pt x="74" y="584"/>
                    </a:lnTo>
                    <a:lnTo>
                      <a:pt x="68" y="572"/>
                    </a:lnTo>
                    <a:lnTo>
                      <a:pt x="61" y="561"/>
                    </a:lnTo>
                    <a:lnTo>
                      <a:pt x="43" y="542"/>
                    </a:lnTo>
                    <a:lnTo>
                      <a:pt x="27" y="524"/>
                    </a:lnTo>
                    <a:lnTo>
                      <a:pt x="22" y="516"/>
                    </a:lnTo>
                    <a:lnTo>
                      <a:pt x="18" y="509"/>
                    </a:lnTo>
                    <a:lnTo>
                      <a:pt x="16" y="502"/>
                    </a:lnTo>
                    <a:lnTo>
                      <a:pt x="14" y="496"/>
                    </a:lnTo>
                    <a:lnTo>
                      <a:pt x="12" y="484"/>
                    </a:lnTo>
                    <a:lnTo>
                      <a:pt x="11" y="472"/>
                    </a:lnTo>
                    <a:lnTo>
                      <a:pt x="11" y="461"/>
                    </a:lnTo>
                    <a:lnTo>
                      <a:pt x="11" y="450"/>
                    </a:lnTo>
                    <a:lnTo>
                      <a:pt x="10" y="439"/>
                    </a:lnTo>
                    <a:lnTo>
                      <a:pt x="7" y="426"/>
                    </a:lnTo>
                    <a:lnTo>
                      <a:pt x="6" y="412"/>
                    </a:lnTo>
                    <a:lnTo>
                      <a:pt x="4" y="395"/>
                    </a:lnTo>
                    <a:lnTo>
                      <a:pt x="0" y="377"/>
                    </a:lnTo>
                    <a:lnTo>
                      <a:pt x="0" y="364"/>
                    </a:lnTo>
                    <a:lnTo>
                      <a:pt x="33" y="364"/>
                    </a:lnTo>
                    <a:lnTo>
                      <a:pt x="36" y="371"/>
                    </a:lnTo>
                    <a:lnTo>
                      <a:pt x="39" y="377"/>
                    </a:lnTo>
                    <a:lnTo>
                      <a:pt x="43" y="382"/>
                    </a:lnTo>
                    <a:lnTo>
                      <a:pt x="48" y="387"/>
                    </a:lnTo>
                    <a:lnTo>
                      <a:pt x="52" y="392"/>
                    </a:lnTo>
                    <a:lnTo>
                      <a:pt x="57" y="396"/>
                    </a:lnTo>
                    <a:lnTo>
                      <a:pt x="63" y="399"/>
                    </a:lnTo>
                    <a:lnTo>
                      <a:pt x="68" y="402"/>
                    </a:lnTo>
                    <a:lnTo>
                      <a:pt x="81" y="407"/>
                    </a:lnTo>
                    <a:lnTo>
                      <a:pt x="94" y="410"/>
                    </a:lnTo>
                    <a:lnTo>
                      <a:pt x="107" y="412"/>
                    </a:lnTo>
                    <a:lnTo>
                      <a:pt x="119" y="413"/>
                    </a:lnTo>
                    <a:lnTo>
                      <a:pt x="128" y="412"/>
                    </a:lnTo>
                    <a:lnTo>
                      <a:pt x="135" y="411"/>
                    </a:lnTo>
                    <a:lnTo>
                      <a:pt x="142" y="409"/>
                    </a:lnTo>
                    <a:lnTo>
                      <a:pt x="149" y="407"/>
                    </a:lnTo>
                    <a:lnTo>
                      <a:pt x="154" y="404"/>
                    </a:lnTo>
                    <a:lnTo>
                      <a:pt x="160" y="400"/>
                    </a:lnTo>
                    <a:lnTo>
                      <a:pt x="164" y="396"/>
                    </a:lnTo>
                    <a:lnTo>
                      <a:pt x="168" y="392"/>
                    </a:lnTo>
                    <a:lnTo>
                      <a:pt x="176" y="382"/>
                    </a:lnTo>
                    <a:lnTo>
                      <a:pt x="182" y="372"/>
                    </a:lnTo>
                    <a:lnTo>
                      <a:pt x="187" y="361"/>
                    </a:lnTo>
                    <a:lnTo>
                      <a:pt x="193" y="351"/>
                    </a:lnTo>
                    <a:lnTo>
                      <a:pt x="193" y="240"/>
                    </a:lnTo>
                    <a:lnTo>
                      <a:pt x="197" y="229"/>
                    </a:lnTo>
                    <a:lnTo>
                      <a:pt x="199" y="217"/>
                    </a:lnTo>
                    <a:lnTo>
                      <a:pt x="201" y="206"/>
                    </a:lnTo>
                    <a:lnTo>
                      <a:pt x="202" y="194"/>
                    </a:lnTo>
                    <a:lnTo>
                      <a:pt x="204" y="184"/>
                    </a:lnTo>
                    <a:lnTo>
                      <a:pt x="206" y="176"/>
                    </a:lnTo>
                    <a:lnTo>
                      <a:pt x="207" y="173"/>
                    </a:lnTo>
                    <a:lnTo>
                      <a:pt x="208" y="170"/>
                    </a:lnTo>
                    <a:lnTo>
                      <a:pt x="210" y="168"/>
                    </a:lnTo>
                    <a:lnTo>
                      <a:pt x="212" y="167"/>
                    </a:lnTo>
                    <a:lnTo>
                      <a:pt x="220" y="171"/>
                    </a:lnTo>
                    <a:lnTo>
                      <a:pt x="229" y="175"/>
                    </a:lnTo>
                    <a:lnTo>
                      <a:pt x="239" y="178"/>
                    </a:lnTo>
                    <a:lnTo>
                      <a:pt x="245" y="179"/>
                    </a:lnTo>
                    <a:lnTo>
                      <a:pt x="245" y="201"/>
                    </a:lnTo>
                    <a:lnTo>
                      <a:pt x="245" y="219"/>
                    </a:lnTo>
                    <a:lnTo>
                      <a:pt x="245" y="238"/>
                    </a:lnTo>
                    <a:lnTo>
                      <a:pt x="245" y="259"/>
                    </a:lnTo>
                    <a:lnTo>
                      <a:pt x="246" y="265"/>
                    </a:lnTo>
                    <a:lnTo>
                      <a:pt x="246" y="270"/>
                    </a:lnTo>
                    <a:lnTo>
                      <a:pt x="247" y="274"/>
                    </a:lnTo>
                    <a:lnTo>
                      <a:pt x="250" y="278"/>
                    </a:lnTo>
                    <a:lnTo>
                      <a:pt x="252" y="281"/>
                    </a:lnTo>
                    <a:lnTo>
                      <a:pt x="254" y="284"/>
                    </a:lnTo>
                    <a:lnTo>
                      <a:pt x="256" y="287"/>
                    </a:lnTo>
                    <a:lnTo>
                      <a:pt x="260" y="289"/>
                    </a:lnTo>
                    <a:lnTo>
                      <a:pt x="267" y="292"/>
                    </a:lnTo>
                    <a:lnTo>
                      <a:pt x="276" y="294"/>
                    </a:lnTo>
                    <a:lnTo>
                      <a:pt x="287" y="295"/>
                    </a:lnTo>
                    <a:lnTo>
                      <a:pt x="299" y="296"/>
                    </a:lnTo>
                    <a:lnTo>
                      <a:pt x="303" y="295"/>
                    </a:lnTo>
                    <a:lnTo>
                      <a:pt x="308" y="295"/>
                    </a:lnTo>
                    <a:lnTo>
                      <a:pt x="312" y="293"/>
                    </a:lnTo>
                    <a:lnTo>
                      <a:pt x="316" y="291"/>
                    </a:lnTo>
                    <a:lnTo>
                      <a:pt x="322" y="286"/>
                    </a:lnTo>
                    <a:lnTo>
                      <a:pt x="329" y="280"/>
                    </a:lnTo>
                    <a:lnTo>
                      <a:pt x="333" y="272"/>
                    </a:lnTo>
                    <a:lnTo>
                      <a:pt x="337" y="263"/>
                    </a:lnTo>
                    <a:lnTo>
                      <a:pt x="342" y="254"/>
                    </a:lnTo>
                    <a:lnTo>
                      <a:pt x="345" y="243"/>
                    </a:lnTo>
                    <a:lnTo>
                      <a:pt x="350" y="234"/>
                    </a:lnTo>
                    <a:lnTo>
                      <a:pt x="353" y="224"/>
                    </a:lnTo>
                    <a:lnTo>
                      <a:pt x="357" y="216"/>
                    </a:lnTo>
                    <a:lnTo>
                      <a:pt x="363" y="208"/>
                    </a:lnTo>
                    <a:lnTo>
                      <a:pt x="368" y="201"/>
                    </a:lnTo>
                    <a:lnTo>
                      <a:pt x="375" y="195"/>
                    </a:lnTo>
                    <a:lnTo>
                      <a:pt x="378" y="193"/>
                    </a:lnTo>
                    <a:lnTo>
                      <a:pt x="382" y="192"/>
                    </a:lnTo>
                    <a:lnTo>
                      <a:pt x="387" y="191"/>
                    </a:lnTo>
                    <a:lnTo>
                      <a:pt x="392" y="191"/>
                    </a:lnTo>
                    <a:lnTo>
                      <a:pt x="400" y="191"/>
                    </a:lnTo>
                    <a:lnTo>
                      <a:pt x="408" y="192"/>
                    </a:lnTo>
                    <a:lnTo>
                      <a:pt x="414" y="193"/>
                    </a:lnTo>
                    <a:lnTo>
                      <a:pt x="421" y="195"/>
                    </a:lnTo>
                    <a:lnTo>
                      <a:pt x="431" y="200"/>
                    </a:lnTo>
                    <a:lnTo>
                      <a:pt x="441" y="204"/>
                    </a:lnTo>
                    <a:lnTo>
                      <a:pt x="451" y="208"/>
                    </a:lnTo>
                    <a:lnTo>
                      <a:pt x="460" y="212"/>
                    </a:lnTo>
                    <a:lnTo>
                      <a:pt x="466" y="214"/>
                    </a:lnTo>
                    <a:lnTo>
                      <a:pt x="471" y="215"/>
                    </a:lnTo>
                    <a:lnTo>
                      <a:pt x="478" y="216"/>
                    </a:lnTo>
                    <a:lnTo>
                      <a:pt x="485" y="216"/>
                    </a:lnTo>
                    <a:lnTo>
                      <a:pt x="496" y="216"/>
                    </a:lnTo>
                    <a:lnTo>
                      <a:pt x="504" y="215"/>
                    </a:lnTo>
                    <a:lnTo>
                      <a:pt x="512" y="213"/>
                    </a:lnTo>
                    <a:lnTo>
                      <a:pt x="518" y="211"/>
                    </a:lnTo>
                    <a:lnTo>
                      <a:pt x="523" y="208"/>
                    </a:lnTo>
                    <a:lnTo>
                      <a:pt x="527" y="204"/>
                    </a:lnTo>
                    <a:lnTo>
                      <a:pt x="531" y="200"/>
                    </a:lnTo>
                    <a:lnTo>
                      <a:pt x="534" y="194"/>
                    </a:lnTo>
                    <a:lnTo>
                      <a:pt x="544" y="169"/>
                    </a:lnTo>
                    <a:lnTo>
                      <a:pt x="558" y="135"/>
                    </a:lnTo>
                    <a:lnTo>
                      <a:pt x="564" y="127"/>
                    </a:lnTo>
                    <a:lnTo>
                      <a:pt x="572" y="119"/>
                    </a:lnTo>
                    <a:lnTo>
                      <a:pt x="582" y="110"/>
                    </a:lnTo>
                    <a:lnTo>
                      <a:pt x="593" y="100"/>
                    </a:lnTo>
                    <a:lnTo>
                      <a:pt x="620" y="80"/>
                    </a:lnTo>
                    <a:lnTo>
                      <a:pt x="649" y="61"/>
                    </a:lnTo>
                    <a:lnTo>
                      <a:pt x="679" y="43"/>
                    </a:lnTo>
                    <a:lnTo>
                      <a:pt x="708" y="25"/>
                    </a:lnTo>
                    <a:lnTo>
                      <a:pt x="732" y="11"/>
                    </a:lnTo>
                    <a:lnTo>
                      <a:pt x="750" y="0"/>
                    </a:lnTo>
                    <a:lnTo>
                      <a:pt x="777" y="1"/>
                    </a:lnTo>
                    <a:lnTo>
                      <a:pt x="798" y="3"/>
                    </a:lnTo>
                    <a:lnTo>
                      <a:pt x="806" y="3"/>
                    </a:lnTo>
                    <a:lnTo>
                      <a:pt x="815" y="3"/>
                    </a:lnTo>
                    <a:lnTo>
                      <a:pt x="823" y="2"/>
                    </a:lnTo>
                    <a:lnTo>
                      <a:pt x="830" y="0"/>
                    </a:lnTo>
                    <a:lnTo>
                      <a:pt x="830" y="6"/>
                    </a:lnTo>
                    <a:lnTo>
                      <a:pt x="850" y="6"/>
                    </a:lnTo>
                    <a:lnTo>
                      <a:pt x="850" y="17"/>
                    </a:lnTo>
                    <a:lnTo>
                      <a:pt x="851" y="26"/>
                    </a:lnTo>
                    <a:lnTo>
                      <a:pt x="854" y="35"/>
                    </a:lnTo>
                    <a:lnTo>
                      <a:pt x="856" y="41"/>
                    </a:lnTo>
                    <a:lnTo>
                      <a:pt x="861" y="52"/>
                    </a:lnTo>
                    <a:lnTo>
                      <a:pt x="867" y="62"/>
                    </a:lnTo>
                    <a:lnTo>
                      <a:pt x="873" y="71"/>
                    </a:lnTo>
                    <a:lnTo>
                      <a:pt x="879" y="82"/>
                    </a:lnTo>
                    <a:lnTo>
                      <a:pt x="880" y="90"/>
                    </a:lnTo>
                    <a:lnTo>
                      <a:pt x="882" y="98"/>
                    </a:lnTo>
                    <a:lnTo>
                      <a:pt x="883" y="107"/>
                    </a:lnTo>
                    <a:lnTo>
                      <a:pt x="883" y="117"/>
                    </a:lnTo>
                    <a:lnTo>
                      <a:pt x="883" y="204"/>
                    </a:lnTo>
                    <a:lnTo>
                      <a:pt x="875" y="206"/>
                    </a:lnTo>
                    <a:lnTo>
                      <a:pt x="868" y="207"/>
                    </a:lnTo>
                    <a:lnTo>
                      <a:pt x="860" y="207"/>
                    </a:lnTo>
                    <a:lnTo>
                      <a:pt x="852" y="206"/>
                    </a:lnTo>
                    <a:lnTo>
                      <a:pt x="838" y="205"/>
                    </a:lnTo>
                    <a:lnTo>
                      <a:pt x="830" y="204"/>
                    </a:lnTo>
                    <a:lnTo>
                      <a:pt x="826" y="236"/>
                    </a:lnTo>
                    <a:lnTo>
                      <a:pt x="825" y="262"/>
                    </a:lnTo>
                    <a:lnTo>
                      <a:pt x="826" y="272"/>
                    </a:lnTo>
                    <a:lnTo>
                      <a:pt x="826" y="281"/>
                    </a:lnTo>
                    <a:lnTo>
                      <a:pt x="828" y="289"/>
                    </a:lnTo>
                    <a:lnTo>
                      <a:pt x="830" y="296"/>
                    </a:lnTo>
                    <a:lnTo>
                      <a:pt x="870" y="296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61" name="Freeform 383">
                <a:extLst>
                  <a:ext uri="{FF2B5EF4-FFF2-40B4-BE49-F238E27FC236}">
                    <a16:creationId xmlns="" xmlns:a16="http://schemas.microsoft.com/office/drawing/2014/main" id="{CE3B3754-3ADB-4406-9161-CD1F3F4934CB}"/>
                  </a:ext>
                </a:extLst>
              </p:cNvPr>
              <p:cNvSpPr>
                <a:spLocks/>
              </p:cNvSpPr>
              <p:nvPr>
                <p:custDataLst>
                  <p:tags r:id="rId272"/>
                </p:custDataLst>
              </p:nvPr>
            </p:nvSpPr>
            <p:spPr bwMode="auto">
              <a:xfrm>
                <a:off x="4557713" y="2935288"/>
                <a:ext cx="411162" cy="611187"/>
              </a:xfrm>
              <a:custGeom>
                <a:avLst/>
                <a:gdLst>
                  <a:gd name="T0" fmla="*/ 2147483646 w 943"/>
                  <a:gd name="T1" fmla="*/ 2147483646 h 1172"/>
                  <a:gd name="T2" fmla="*/ 2147483646 w 943"/>
                  <a:gd name="T3" fmla="*/ 2147483646 h 1172"/>
                  <a:gd name="T4" fmla="*/ 2147483646 w 943"/>
                  <a:gd name="T5" fmla="*/ 2147483646 h 1172"/>
                  <a:gd name="T6" fmla="*/ 2147483646 w 943"/>
                  <a:gd name="T7" fmla="*/ 2147483646 h 1172"/>
                  <a:gd name="T8" fmla="*/ 2147483646 w 943"/>
                  <a:gd name="T9" fmla="*/ 2147483646 h 1172"/>
                  <a:gd name="T10" fmla="*/ 2147483646 w 943"/>
                  <a:gd name="T11" fmla="*/ 2147483646 h 1172"/>
                  <a:gd name="T12" fmla="*/ 2147483646 w 943"/>
                  <a:gd name="T13" fmla="*/ 2147483646 h 1172"/>
                  <a:gd name="T14" fmla="*/ 2147483646 w 943"/>
                  <a:gd name="T15" fmla="*/ 2147483646 h 1172"/>
                  <a:gd name="T16" fmla="*/ 2147483646 w 943"/>
                  <a:gd name="T17" fmla="*/ 2147483646 h 1172"/>
                  <a:gd name="T18" fmla="*/ 2147483646 w 943"/>
                  <a:gd name="T19" fmla="*/ 2147483646 h 1172"/>
                  <a:gd name="T20" fmla="*/ 2147483646 w 943"/>
                  <a:gd name="T21" fmla="*/ 2147483646 h 1172"/>
                  <a:gd name="T22" fmla="*/ 2147483646 w 943"/>
                  <a:gd name="T23" fmla="*/ 2147483646 h 1172"/>
                  <a:gd name="T24" fmla="*/ 2147483646 w 943"/>
                  <a:gd name="T25" fmla="*/ 2147483646 h 1172"/>
                  <a:gd name="T26" fmla="*/ 2147483646 w 943"/>
                  <a:gd name="T27" fmla="*/ 2147483646 h 1172"/>
                  <a:gd name="T28" fmla="*/ 2147483646 w 943"/>
                  <a:gd name="T29" fmla="*/ 2147483646 h 1172"/>
                  <a:gd name="T30" fmla="*/ 2147483646 w 943"/>
                  <a:gd name="T31" fmla="*/ 2147483646 h 1172"/>
                  <a:gd name="T32" fmla="*/ 2147483646 w 943"/>
                  <a:gd name="T33" fmla="*/ 2147483646 h 1172"/>
                  <a:gd name="T34" fmla="*/ 2147483646 w 943"/>
                  <a:gd name="T35" fmla="*/ 2147483646 h 1172"/>
                  <a:gd name="T36" fmla="*/ 2147483646 w 943"/>
                  <a:gd name="T37" fmla="*/ 2147483646 h 1172"/>
                  <a:gd name="T38" fmla="*/ 2147483646 w 943"/>
                  <a:gd name="T39" fmla="*/ 2147483646 h 1172"/>
                  <a:gd name="T40" fmla="*/ 2147483646 w 943"/>
                  <a:gd name="T41" fmla="*/ 2147483646 h 1172"/>
                  <a:gd name="T42" fmla="*/ 2147483646 w 943"/>
                  <a:gd name="T43" fmla="*/ 2147483646 h 1172"/>
                  <a:gd name="T44" fmla="*/ 2147483646 w 943"/>
                  <a:gd name="T45" fmla="*/ 2147483646 h 1172"/>
                  <a:gd name="T46" fmla="*/ 2147483646 w 943"/>
                  <a:gd name="T47" fmla="*/ 2147483646 h 1172"/>
                  <a:gd name="T48" fmla="*/ 2147483646 w 943"/>
                  <a:gd name="T49" fmla="*/ 2147483646 h 1172"/>
                  <a:gd name="T50" fmla="*/ 2147483646 w 943"/>
                  <a:gd name="T51" fmla="*/ 2147483646 h 1172"/>
                  <a:gd name="T52" fmla="*/ 2147483646 w 943"/>
                  <a:gd name="T53" fmla="*/ 2147483646 h 1172"/>
                  <a:gd name="T54" fmla="*/ 2147483646 w 943"/>
                  <a:gd name="T55" fmla="*/ 2147483646 h 1172"/>
                  <a:gd name="T56" fmla="*/ 2147483646 w 943"/>
                  <a:gd name="T57" fmla="*/ 2147483646 h 1172"/>
                  <a:gd name="T58" fmla="*/ 2147483646 w 943"/>
                  <a:gd name="T59" fmla="*/ 2147483646 h 1172"/>
                  <a:gd name="T60" fmla="*/ 2147483646 w 943"/>
                  <a:gd name="T61" fmla="*/ 2147483646 h 1172"/>
                  <a:gd name="T62" fmla="*/ 2147483646 w 943"/>
                  <a:gd name="T63" fmla="*/ 2147483646 h 1172"/>
                  <a:gd name="T64" fmla="*/ 2147483646 w 943"/>
                  <a:gd name="T65" fmla="*/ 2147483646 h 1172"/>
                  <a:gd name="T66" fmla="*/ 2147483646 w 943"/>
                  <a:gd name="T67" fmla="*/ 2147483646 h 1172"/>
                  <a:gd name="T68" fmla="*/ 2147483646 w 943"/>
                  <a:gd name="T69" fmla="*/ 2147483646 h 1172"/>
                  <a:gd name="T70" fmla="*/ 2147483646 w 943"/>
                  <a:gd name="T71" fmla="*/ 2147483646 h 1172"/>
                  <a:gd name="T72" fmla="*/ 2147483646 w 943"/>
                  <a:gd name="T73" fmla="*/ 2147483646 h 1172"/>
                  <a:gd name="T74" fmla="*/ 2147483646 w 943"/>
                  <a:gd name="T75" fmla="*/ 2147483646 h 1172"/>
                  <a:gd name="T76" fmla="*/ 2147483646 w 943"/>
                  <a:gd name="T77" fmla="*/ 2147483646 h 1172"/>
                  <a:gd name="T78" fmla="*/ 2147483646 w 943"/>
                  <a:gd name="T79" fmla="*/ 2147483646 h 1172"/>
                  <a:gd name="T80" fmla="*/ 2147483646 w 943"/>
                  <a:gd name="T81" fmla="*/ 2147483646 h 1172"/>
                  <a:gd name="T82" fmla="*/ 2147483646 w 943"/>
                  <a:gd name="T83" fmla="*/ 2147483646 h 1172"/>
                  <a:gd name="T84" fmla="*/ 2147483646 w 943"/>
                  <a:gd name="T85" fmla="*/ 2147483646 h 1172"/>
                  <a:gd name="T86" fmla="*/ 2147483646 w 943"/>
                  <a:gd name="T87" fmla="*/ 2147483646 h 1172"/>
                  <a:gd name="T88" fmla="*/ 2147483646 w 943"/>
                  <a:gd name="T89" fmla="*/ 2147483646 h 1172"/>
                  <a:gd name="T90" fmla="*/ 2147483646 w 943"/>
                  <a:gd name="T91" fmla="*/ 2147483646 h 1172"/>
                  <a:gd name="T92" fmla="*/ 2147483646 w 943"/>
                  <a:gd name="T93" fmla="*/ 2147483646 h 1172"/>
                  <a:gd name="T94" fmla="*/ 2147483646 w 943"/>
                  <a:gd name="T95" fmla="*/ 2147483646 h 1172"/>
                  <a:gd name="T96" fmla="*/ 2147483646 w 943"/>
                  <a:gd name="T97" fmla="*/ 2147483646 h 1172"/>
                  <a:gd name="T98" fmla="*/ 2147483646 w 943"/>
                  <a:gd name="T99" fmla="*/ 2147483646 h 1172"/>
                  <a:gd name="T100" fmla="*/ 2147483646 w 943"/>
                  <a:gd name="T101" fmla="*/ 2147483646 h 1172"/>
                  <a:gd name="T102" fmla="*/ 2147483646 w 943"/>
                  <a:gd name="T103" fmla="*/ 2147483646 h 117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943"/>
                  <a:gd name="T157" fmla="*/ 0 h 1172"/>
                  <a:gd name="T158" fmla="*/ 943 w 943"/>
                  <a:gd name="T159" fmla="*/ 1172 h 1172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943" h="1172">
                    <a:moveTo>
                      <a:pt x="711" y="30"/>
                    </a:moveTo>
                    <a:lnTo>
                      <a:pt x="715" y="25"/>
                    </a:lnTo>
                    <a:lnTo>
                      <a:pt x="728" y="15"/>
                    </a:lnTo>
                    <a:lnTo>
                      <a:pt x="735" y="9"/>
                    </a:lnTo>
                    <a:lnTo>
                      <a:pt x="742" y="5"/>
                    </a:lnTo>
                    <a:lnTo>
                      <a:pt x="747" y="1"/>
                    </a:lnTo>
                    <a:lnTo>
                      <a:pt x="751" y="0"/>
                    </a:lnTo>
                    <a:lnTo>
                      <a:pt x="755" y="10"/>
                    </a:lnTo>
                    <a:lnTo>
                      <a:pt x="759" y="17"/>
                    </a:lnTo>
                    <a:lnTo>
                      <a:pt x="765" y="23"/>
                    </a:lnTo>
                    <a:lnTo>
                      <a:pt x="769" y="26"/>
                    </a:lnTo>
                    <a:lnTo>
                      <a:pt x="776" y="28"/>
                    </a:lnTo>
                    <a:lnTo>
                      <a:pt x="784" y="30"/>
                    </a:lnTo>
                    <a:lnTo>
                      <a:pt x="792" y="30"/>
                    </a:lnTo>
                    <a:lnTo>
                      <a:pt x="803" y="30"/>
                    </a:lnTo>
                    <a:lnTo>
                      <a:pt x="804" y="40"/>
                    </a:lnTo>
                    <a:lnTo>
                      <a:pt x="808" y="48"/>
                    </a:lnTo>
                    <a:lnTo>
                      <a:pt x="810" y="51"/>
                    </a:lnTo>
                    <a:lnTo>
                      <a:pt x="812" y="53"/>
                    </a:lnTo>
                    <a:lnTo>
                      <a:pt x="814" y="55"/>
                    </a:lnTo>
                    <a:lnTo>
                      <a:pt x="816" y="55"/>
                    </a:lnTo>
                    <a:lnTo>
                      <a:pt x="823" y="76"/>
                    </a:lnTo>
                    <a:lnTo>
                      <a:pt x="830" y="94"/>
                    </a:lnTo>
                    <a:lnTo>
                      <a:pt x="832" y="102"/>
                    </a:lnTo>
                    <a:lnTo>
                      <a:pt x="835" y="109"/>
                    </a:lnTo>
                    <a:lnTo>
                      <a:pt x="836" y="116"/>
                    </a:lnTo>
                    <a:lnTo>
                      <a:pt x="837" y="123"/>
                    </a:lnTo>
                    <a:lnTo>
                      <a:pt x="836" y="150"/>
                    </a:lnTo>
                    <a:lnTo>
                      <a:pt x="836" y="175"/>
                    </a:lnTo>
                    <a:lnTo>
                      <a:pt x="837" y="187"/>
                    </a:lnTo>
                    <a:lnTo>
                      <a:pt x="838" y="200"/>
                    </a:lnTo>
                    <a:lnTo>
                      <a:pt x="842" y="211"/>
                    </a:lnTo>
                    <a:lnTo>
                      <a:pt x="845" y="222"/>
                    </a:lnTo>
                    <a:lnTo>
                      <a:pt x="851" y="232"/>
                    </a:lnTo>
                    <a:lnTo>
                      <a:pt x="857" y="243"/>
                    </a:lnTo>
                    <a:lnTo>
                      <a:pt x="866" y="253"/>
                    </a:lnTo>
                    <a:lnTo>
                      <a:pt x="876" y="264"/>
                    </a:lnTo>
                    <a:lnTo>
                      <a:pt x="889" y="273"/>
                    </a:lnTo>
                    <a:lnTo>
                      <a:pt x="904" y="283"/>
                    </a:lnTo>
                    <a:lnTo>
                      <a:pt x="922" y="292"/>
                    </a:lnTo>
                    <a:lnTo>
                      <a:pt x="943" y="301"/>
                    </a:lnTo>
                    <a:lnTo>
                      <a:pt x="928" y="314"/>
                    </a:lnTo>
                    <a:lnTo>
                      <a:pt x="913" y="328"/>
                    </a:lnTo>
                    <a:lnTo>
                      <a:pt x="896" y="344"/>
                    </a:lnTo>
                    <a:lnTo>
                      <a:pt x="879" y="361"/>
                    </a:lnTo>
                    <a:lnTo>
                      <a:pt x="871" y="370"/>
                    </a:lnTo>
                    <a:lnTo>
                      <a:pt x="865" y="380"/>
                    </a:lnTo>
                    <a:lnTo>
                      <a:pt x="859" y="389"/>
                    </a:lnTo>
                    <a:lnTo>
                      <a:pt x="854" y="399"/>
                    </a:lnTo>
                    <a:lnTo>
                      <a:pt x="851" y="410"/>
                    </a:lnTo>
                    <a:lnTo>
                      <a:pt x="849" y="420"/>
                    </a:lnTo>
                    <a:lnTo>
                      <a:pt x="848" y="432"/>
                    </a:lnTo>
                    <a:lnTo>
                      <a:pt x="851" y="443"/>
                    </a:lnTo>
                    <a:lnTo>
                      <a:pt x="830" y="616"/>
                    </a:lnTo>
                    <a:lnTo>
                      <a:pt x="809" y="635"/>
                    </a:lnTo>
                    <a:lnTo>
                      <a:pt x="787" y="652"/>
                    </a:lnTo>
                    <a:lnTo>
                      <a:pt x="782" y="658"/>
                    </a:lnTo>
                    <a:lnTo>
                      <a:pt x="778" y="663"/>
                    </a:lnTo>
                    <a:lnTo>
                      <a:pt x="774" y="670"/>
                    </a:lnTo>
                    <a:lnTo>
                      <a:pt x="770" y="677"/>
                    </a:lnTo>
                    <a:lnTo>
                      <a:pt x="767" y="686"/>
                    </a:lnTo>
                    <a:lnTo>
                      <a:pt x="766" y="696"/>
                    </a:lnTo>
                    <a:lnTo>
                      <a:pt x="764" y="708"/>
                    </a:lnTo>
                    <a:lnTo>
                      <a:pt x="764" y="721"/>
                    </a:lnTo>
                    <a:lnTo>
                      <a:pt x="763" y="721"/>
                    </a:lnTo>
                    <a:lnTo>
                      <a:pt x="758" y="721"/>
                    </a:lnTo>
                    <a:lnTo>
                      <a:pt x="755" y="723"/>
                    </a:lnTo>
                    <a:lnTo>
                      <a:pt x="752" y="726"/>
                    </a:lnTo>
                    <a:lnTo>
                      <a:pt x="748" y="730"/>
                    </a:lnTo>
                    <a:lnTo>
                      <a:pt x="745" y="735"/>
                    </a:lnTo>
                    <a:lnTo>
                      <a:pt x="741" y="743"/>
                    </a:lnTo>
                    <a:lnTo>
                      <a:pt x="736" y="752"/>
                    </a:lnTo>
                    <a:lnTo>
                      <a:pt x="732" y="766"/>
                    </a:lnTo>
                    <a:lnTo>
                      <a:pt x="728" y="780"/>
                    </a:lnTo>
                    <a:lnTo>
                      <a:pt x="723" y="798"/>
                    </a:lnTo>
                    <a:lnTo>
                      <a:pt x="719" y="821"/>
                    </a:lnTo>
                    <a:lnTo>
                      <a:pt x="714" y="845"/>
                    </a:lnTo>
                    <a:lnTo>
                      <a:pt x="711" y="875"/>
                    </a:lnTo>
                    <a:lnTo>
                      <a:pt x="701" y="875"/>
                    </a:lnTo>
                    <a:lnTo>
                      <a:pt x="692" y="877"/>
                    </a:lnTo>
                    <a:lnTo>
                      <a:pt x="684" y="880"/>
                    </a:lnTo>
                    <a:lnTo>
                      <a:pt x="677" y="884"/>
                    </a:lnTo>
                    <a:lnTo>
                      <a:pt x="670" y="890"/>
                    </a:lnTo>
                    <a:lnTo>
                      <a:pt x="665" y="896"/>
                    </a:lnTo>
                    <a:lnTo>
                      <a:pt x="662" y="903"/>
                    </a:lnTo>
                    <a:lnTo>
                      <a:pt x="659" y="910"/>
                    </a:lnTo>
                    <a:lnTo>
                      <a:pt x="658" y="917"/>
                    </a:lnTo>
                    <a:lnTo>
                      <a:pt x="658" y="924"/>
                    </a:lnTo>
                    <a:lnTo>
                      <a:pt x="661" y="929"/>
                    </a:lnTo>
                    <a:lnTo>
                      <a:pt x="664" y="934"/>
                    </a:lnTo>
                    <a:lnTo>
                      <a:pt x="666" y="936"/>
                    </a:lnTo>
                    <a:lnTo>
                      <a:pt x="669" y="937"/>
                    </a:lnTo>
                    <a:lnTo>
                      <a:pt x="673" y="938"/>
                    </a:lnTo>
                    <a:lnTo>
                      <a:pt x="677" y="939"/>
                    </a:lnTo>
                    <a:lnTo>
                      <a:pt x="686" y="939"/>
                    </a:lnTo>
                    <a:lnTo>
                      <a:pt x="697" y="936"/>
                    </a:lnTo>
                    <a:lnTo>
                      <a:pt x="700" y="941"/>
                    </a:lnTo>
                    <a:lnTo>
                      <a:pt x="702" y="944"/>
                    </a:lnTo>
                    <a:lnTo>
                      <a:pt x="706" y="947"/>
                    </a:lnTo>
                    <a:lnTo>
                      <a:pt x="709" y="950"/>
                    </a:lnTo>
                    <a:lnTo>
                      <a:pt x="717" y="955"/>
                    </a:lnTo>
                    <a:lnTo>
                      <a:pt x="724" y="958"/>
                    </a:lnTo>
                    <a:lnTo>
                      <a:pt x="731" y="963"/>
                    </a:lnTo>
                    <a:lnTo>
                      <a:pt x="739" y="968"/>
                    </a:lnTo>
                    <a:lnTo>
                      <a:pt x="742" y="971"/>
                    </a:lnTo>
                    <a:lnTo>
                      <a:pt x="745" y="975"/>
                    </a:lnTo>
                    <a:lnTo>
                      <a:pt x="747" y="981"/>
                    </a:lnTo>
                    <a:lnTo>
                      <a:pt x="751" y="986"/>
                    </a:lnTo>
                    <a:lnTo>
                      <a:pt x="753" y="996"/>
                    </a:lnTo>
                    <a:lnTo>
                      <a:pt x="756" y="1007"/>
                    </a:lnTo>
                    <a:lnTo>
                      <a:pt x="759" y="1018"/>
                    </a:lnTo>
                    <a:lnTo>
                      <a:pt x="765" y="1028"/>
                    </a:lnTo>
                    <a:lnTo>
                      <a:pt x="767" y="1033"/>
                    </a:lnTo>
                    <a:lnTo>
                      <a:pt x="771" y="1039"/>
                    </a:lnTo>
                    <a:lnTo>
                      <a:pt x="775" y="1043"/>
                    </a:lnTo>
                    <a:lnTo>
                      <a:pt x="779" y="1046"/>
                    </a:lnTo>
                    <a:lnTo>
                      <a:pt x="785" y="1049"/>
                    </a:lnTo>
                    <a:lnTo>
                      <a:pt x="790" y="1052"/>
                    </a:lnTo>
                    <a:lnTo>
                      <a:pt x="797" y="1053"/>
                    </a:lnTo>
                    <a:lnTo>
                      <a:pt x="803" y="1053"/>
                    </a:lnTo>
                    <a:lnTo>
                      <a:pt x="810" y="1063"/>
                    </a:lnTo>
                    <a:lnTo>
                      <a:pt x="814" y="1071"/>
                    </a:lnTo>
                    <a:lnTo>
                      <a:pt x="815" y="1076"/>
                    </a:lnTo>
                    <a:lnTo>
                      <a:pt x="815" y="1081"/>
                    </a:lnTo>
                    <a:lnTo>
                      <a:pt x="809" y="1094"/>
                    </a:lnTo>
                    <a:lnTo>
                      <a:pt x="797" y="1115"/>
                    </a:lnTo>
                    <a:lnTo>
                      <a:pt x="776" y="1115"/>
                    </a:lnTo>
                    <a:lnTo>
                      <a:pt x="755" y="1115"/>
                    </a:lnTo>
                    <a:lnTo>
                      <a:pt x="734" y="1115"/>
                    </a:lnTo>
                    <a:lnTo>
                      <a:pt x="718" y="1115"/>
                    </a:lnTo>
                    <a:lnTo>
                      <a:pt x="718" y="1127"/>
                    </a:lnTo>
                    <a:lnTo>
                      <a:pt x="718" y="1139"/>
                    </a:lnTo>
                    <a:lnTo>
                      <a:pt x="711" y="1143"/>
                    </a:lnTo>
                    <a:lnTo>
                      <a:pt x="697" y="1152"/>
                    </a:lnTo>
                    <a:lnTo>
                      <a:pt x="687" y="1157"/>
                    </a:lnTo>
                    <a:lnTo>
                      <a:pt x="675" y="1161"/>
                    </a:lnTo>
                    <a:lnTo>
                      <a:pt x="663" y="1163"/>
                    </a:lnTo>
                    <a:lnTo>
                      <a:pt x="651" y="1164"/>
                    </a:lnTo>
                    <a:lnTo>
                      <a:pt x="628" y="1166"/>
                    </a:lnTo>
                    <a:lnTo>
                      <a:pt x="598" y="1170"/>
                    </a:lnTo>
                    <a:lnTo>
                      <a:pt x="583" y="1171"/>
                    </a:lnTo>
                    <a:lnTo>
                      <a:pt x="566" y="1172"/>
                    </a:lnTo>
                    <a:lnTo>
                      <a:pt x="549" y="1172"/>
                    </a:lnTo>
                    <a:lnTo>
                      <a:pt x="531" y="1170"/>
                    </a:lnTo>
                    <a:lnTo>
                      <a:pt x="515" y="1158"/>
                    </a:lnTo>
                    <a:lnTo>
                      <a:pt x="496" y="1141"/>
                    </a:lnTo>
                    <a:lnTo>
                      <a:pt x="486" y="1133"/>
                    </a:lnTo>
                    <a:lnTo>
                      <a:pt x="475" y="1127"/>
                    </a:lnTo>
                    <a:lnTo>
                      <a:pt x="470" y="1124"/>
                    </a:lnTo>
                    <a:lnTo>
                      <a:pt x="464" y="1123"/>
                    </a:lnTo>
                    <a:lnTo>
                      <a:pt x="457" y="1121"/>
                    </a:lnTo>
                    <a:lnTo>
                      <a:pt x="452" y="1121"/>
                    </a:lnTo>
                    <a:lnTo>
                      <a:pt x="432" y="1122"/>
                    </a:lnTo>
                    <a:lnTo>
                      <a:pt x="405" y="1124"/>
                    </a:lnTo>
                    <a:lnTo>
                      <a:pt x="390" y="1125"/>
                    </a:lnTo>
                    <a:lnTo>
                      <a:pt x="375" y="1126"/>
                    </a:lnTo>
                    <a:lnTo>
                      <a:pt x="360" y="1126"/>
                    </a:lnTo>
                    <a:lnTo>
                      <a:pt x="345" y="1125"/>
                    </a:lnTo>
                    <a:lnTo>
                      <a:pt x="331" y="1123"/>
                    </a:lnTo>
                    <a:lnTo>
                      <a:pt x="319" y="1120"/>
                    </a:lnTo>
                    <a:lnTo>
                      <a:pt x="314" y="1117"/>
                    </a:lnTo>
                    <a:lnTo>
                      <a:pt x="308" y="1115"/>
                    </a:lnTo>
                    <a:lnTo>
                      <a:pt x="304" y="1112"/>
                    </a:lnTo>
                    <a:lnTo>
                      <a:pt x="300" y="1108"/>
                    </a:lnTo>
                    <a:lnTo>
                      <a:pt x="297" y="1104"/>
                    </a:lnTo>
                    <a:lnTo>
                      <a:pt x="295" y="1100"/>
                    </a:lnTo>
                    <a:lnTo>
                      <a:pt x="293" y="1095"/>
                    </a:lnTo>
                    <a:lnTo>
                      <a:pt x="292" y="1088"/>
                    </a:lnTo>
                    <a:lnTo>
                      <a:pt x="293" y="1082"/>
                    </a:lnTo>
                    <a:lnTo>
                      <a:pt x="294" y="1075"/>
                    </a:lnTo>
                    <a:lnTo>
                      <a:pt x="295" y="1068"/>
                    </a:lnTo>
                    <a:lnTo>
                      <a:pt x="298" y="1060"/>
                    </a:lnTo>
                    <a:lnTo>
                      <a:pt x="291" y="1049"/>
                    </a:lnTo>
                    <a:lnTo>
                      <a:pt x="283" y="1039"/>
                    </a:lnTo>
                    <a:lnTo>
                      <a:pt x="274" y="1029"/>
                    </a:lnTo>
                    <a:lnTo>
                      <a:pt x="265" y="1021"/>
                    </a:lnTo>
                    <a:lnTo>
                      <a:pt x="248" y="1005"/>
                    </a:lnTo>
                    <a:lnTo>
                      <a:pt x="230" y="990"/>
                    </a:lnTo>
                    <a:lnTo>
                      <a:pt x="222" y="983"/>
                    </a:lnTo>
                    <a:lnTo>
                      <a:pt x="216" y="974"/>
                    </a:lnTo>
                    <a:lnTo>
                      <a:pt x="209" y="966"/>
                    </a:lnTo>
                    <a:lnTo>
                      <a:pt x="204" y="957"/>
                    </a:lnTo>
                    <a:lnTo>
                      <a:pt x="198" y="947"/>
                    </a:lnTo>
                    <a:lnTo>
                      <a:pt x="195" y="937"/>
                    </a:lnTo>
                    <a:lnTo>
                      <a:pt x="193" y="925"/>
                    </a:lnTo>
                    <a:lnTo>
                      <a:pt x="193" y="911"/>
                    </a:lnTo>
                    <a:lnTo>
                      <a:pt x="180" y="911"/>
                    </a:lnTo>
                    <a:lnTo>
                      <a:pt x="169" y="909"/>
                    </a:lnTo>
                    <a:lnTo>
                      <a:pt x="160" y="907"/>
                    </a:lnTo>
                    <a:lnTo>
                      <a:pt x="152" y="903"/>
                    </a:lnTo>
                    <a:lnTo>
                      <a:pt x="146" y="898"/>
                    </a:lnTo>
                    <a:lnTo>
                      <a:pt x="140" y="893"/>
                    </a:lnTo>
                    <a:lnTo>
                      <a:pt x="136" y="887"/>
                    </a:lnTo>
                    <a:lnTo>
                      <a:pt x="131" y="880"/>
                    </a:lnTo>
                    <a:lnTo>
                      <a:pt x="120" y="846"/>
                    </a:lnTo>
                    <a:lnTo>
                      <a:pt x="106" y="806"/>
                    </a:lnTo>
                    <a:lnTo>
                      <a:pt x="105" y="801"/>
                    </a:lnTo>
                    <a:lnTo>
                      <a:pt x="103" y="796"/>
                    </a:lnTo>
                    <a:lnTo>
                      <a:pt x="99" y="792"/>
                    </a:lnTo>
                    <a:lnTo>
                      <a:pt x="97" y="788"/>
                    </a:lnTo>
                    <a:lnTo>
                      <a:pt x="90" y="780"/>
                    </a:lnTo>
                    <a:lnTo>
                      <a:pt x="83" y="774"/>
                    </a:lnTo>
                    <a:lnTo>
                      <a:pt x="75" y="768"/>
                    </a:lnTo>
                    <a:lnTo>
                      <a:pt x="69" y="761"/>
                    </a:lnTo>
                    <a:lnTo>
                      <a:pt x="65" y="758"/>
                    </a:lnTo>
                    <a:lnTo>
                      <a:pt x="63" y="753"/>
                    </a:lnTo>
                    <a:lnTo>
                      <a:pt x="61" y="749"/>
                    </a:lnTo>
                    <a:lnTo>
                      <a:pt x="60" y="745"/>
                    </a:lnTo>
                    <a:lnTo>
                      <a:pt x="46" y="711"/>
                    </a:lnTo>
                    <a:lnTo>
                      <a:pt x="33" y="676"/>
                    </a:lnTo>
                    <a:lnTo>
                      <a:pt x="25" y="659"/>
                    </a:lnTo>
                    <a:lnTo>
                      <a:pt x="17" y="643"/>
                    </a:lnTo>
                    <a:lnTo>
                      <a:pt x="9" y="628"/>
                    </a:lnTo>
                    <a:lnTo>
                      <a:pt x="0" y="616"/>
                    </a:lnTo>
                    <a:lnTo>
                      <a:pt x="4" y="611"/>
                    </a:lnTo>
                    <a:lnTo>
                      <a:pt x="8" y="607"/>
                    </a:lnTo>
                    <a:lnTo>
                      <a:pt x="11" y="602"/>
                    </a:lnTo>
                    <a:lnTo>
                      <a:pt x="13" y="598"/>
                    </a:lnTo>
                    <a:lnTo>
                      <a:pt x="16" y="587"/>
                    </a:lnTo>
                    <a:lnTo>
                      <a:pt x="18" y="577"/>
                    </a:lnTo>
                    <a:lnTo>
                      <a:pt x="19" y="567"/>
                    </a:lnTo>
                    <a:lnTo>
                      <a:pt x="20" y="555"/>
                    </a:lnTo>
                    <a:lnTo>
                      <a:pt x="23" y="543"/>
                    </a:lnTo>
                    <a:lnTo>
                      <a:pt x="26" y="529"/>
                    </a:lnTo>
                    <a:lnTo>
                      <a:pt x="29" y="521"/>
                    </a:lnTo>
                    <a:lnTo>
                      <a:pt x="33" y="514"/>
                    </a:lnTo>
                    <a:lnTo>
                      <a:pt x="37" y="507"/>
                    </a:lnTo>
                    <a:lnTo>
                      <a:pt x="41" y="500"/>
                    </a:lnTo>
                    <a:lnTo>
                      <a:pt x="52" y="487"/>
                    </a:lnTo>
                    <a:lnTo>
                      <a:pt x="64" y="474"/>
                    </a:lnTo>
                    <a:lnTo>
                      <a:pt x="78" y="464"/>
                    </a:lnTo>
                    <a:lnTo>
                      <a:pt x="90" y="456"/>
                    </a:lnTo>
                    <a:lnTo>
                      <a:pt x="102" y="449"/>
                    </a:lnTo>
                    <a:lnTo>
                      <a:pt x="113" y="443"/>
                    </a:lnTo>
                    <a:lnTo>
                      <a:pt x="113" y="222"/>
                    </a:lnTo>
                    <a:lnTo>
                      <a:pt x="113" y="212"/>
                    </a:lnTo>
                    <a:lnTo>
                      <a:pt x="113" y="200"/>
                    </a:lnTo>
                    <a:lnTo>
                      <a:pt x="113" y="188"/>
                    </a:lnTo>
                    <a:lnTo>
                      <a:pt x="113" y="178"/>
                    </a:lnTo>
                    <a:lnTo>
                      <a:pt x="123" y="179"/>
                    </a:lnTo>
                    <a:lnTo>
                      <a:pt x="131" y="179"/>
                    </a:lnTo>
                    <a:lnTo>
                      <a:pt x="139" y="178"/>
                    </a:lnTo>
                    <a:lnTo>
                      <a:pt x="146" y="176"/>
                    </a:lnTo>
                    <a:lnTo>
                      <a:pt x="150" y="174"/>
                    </a:lnTo>
                    <a:lnTo>
                      <a:pt x="153" y="171"/>
                    </a:lnTo>
                    <a:lnTo>
                      <a:pt x="157" y="167"/>
                    </a:lnTo>
                    <a:lnTo>
                      <a:pt x="159" y="162"/>
                    </a:lnTo>
                    <a:lnTo>
                      <a:pt x="160" y="152"/>
                    </a:lnTo>
                    <a:lnTo>
                      <a:pt x="160" y="137"/>
                    </a:lnTo>
                    <a:lnTo>
                      <a:pt x="160" y="122"/>
                    </a:lnTo>
                    <a:lnTo>
                      <a:pt x="159" y="105"/>
                    </a:lnTo>
                    <a:lnTo>
                      <a:pt x="159" y="93"/>
                    </a:lnTo>
                    <a:lnTo>
                      <a:pt x="159" y="83"/>
                    </a:lnTo>
                    <a:lnTo>
                      <a:pt x="159" y="76"/>
                    </a:lnTo>
                    <a:lnTo>
                      <a:pt x="159" y="67"/>
                    </a:lnTo>
                    <a:lnTo>
                      <a:pt x="664" y="73"/>
                    </a:lnTo>
                    <a:lnTo>
                      <a:pt x="668" y="74"/>
                    </a:lnTo>
                    <a:lnTo>
                      <a:pt x="672" y="73"/>
                    </a:lnTo>
                    <a:lnTo>
                      <a:pt x="676" y="72"/>
                    </a:lnTo>
                    <a:lnTo>
                      <a:pt x="679" y="69"/>
                    </a:lnTo>
                    <a:lnTo>
                      <a:pt x="688" y="63"/>
                    </a:lnTo>
                    <a:lnTo>
                      <a:pt x="695" y="54"/>
                    </a:lnTo>
                    <a:lnTo>
                      <a:pt x="707" y="38"/>
                    </a:lnTo>
                    <a:lnTo>
                      <a:pt x="711" y="3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2062" name="Group 384">
                <a:extLst>
                  <a:ext uri="{FF2B5EF4-FFF2-40B4-BE49-F238E27FC236}">
                    <a16:creationId xmlns="" xmlns:a16="http://schemas.microsoft.com/office/drawing/2014/main" id="{DF0E68DD-471F-48B5-BD0D-C529A8EF5369}"/>
                  </a:ext>
                </a:extLst>
              </p:cNvPr>
              <p:cNvGrpSpPr>
                <a:grpSpLocks/>
              </p:cNvGrpSpPr>
              <p:nvPr>
                <p:custDataLst>
                  <p:tags r:id="rId273"/>
                </p:custDataLst>
              </p:nvPr>
            </p:nvGrpSpPr>
            <p:grpSpPr bwMode="auto">
              <a:xfrm>
                <a:off x="3341688" y="3136900"/>
                <a:ext cx="80962" cy="82550"/>
                <a:chOff x="2352" y="2343"/>
                <a:chExt cx="65" cy="53"/>
              </a:xfrm>
              <a:solidFill>
                <a:srgbClr val="FFFFFF">
                  <a:lumMod val="75000"/>
                </a:srgbClr>
              </a:solidFill>
            </p:grpSpPr>
            <p:sp>
              <p:nvSpPr>
                <p:cNvPr id="2063" name="Freeform 385">
                  <a:extLst>
                    <a:ext uri="{FF2B5EF4-FFF2-40B4-BE49-F238E27FC236}">
                      <a16:creationId xmlns="" xmlns:a16="http://schemas.microsoft.com/office/drawing/2014/main" id="{DA86F19C-8FA0-4AC3-909E-13F7AF9BEE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52" y="2343"/>
                  <a:ext cx="16" cy="11"/>
                </a:xfrm>
                <a:custGeom>
                  <a:avLst/>
                  <a:gdLst>
                    <a:gd name="T0" fmla="*/ 0 w 51"/>
                    <a:gd name="T1" fmla="*/ 0 h 33"/>
                    <a:gd name="T2" fmla="*/ 0 w 51"/>
                    <a:gd name="T3" fmla="*/ 0 h 33"/>
                    <a:gd name="T4" fmla="*/ 0 w 51"/>
                    <a:gd name="T5" fmla="*/ 0 h 33"/>
                    <a:gd name="T6" fmla="*/ 0 w 51"/>
                    <a:gd name="T7" fmla="*/ 0 h 33"/>
                    <a:gd name="T8" fmla="*/ 0 w 51"/>
                    <a:gd name="T9" fmla="*/ 0 h 33"/>
                    <a:gd name="T10" fmla="*/ 0 w 51"/>
                    <a:gd name="T11" fmla="*/ 0 h 33"/>
                    <a:gd name="T12" fmla="*/ 0 w 51"/>
                    <a:gd name="T13" fmla="*/ 0 h 33"/>
                    <a:gd name="T14" fmla="*/ 0 w 51"/>
                    <a:gd name="T15" fmla="*/ 0 h 3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1"/>
                    <a:gd name="T25" fmla="*/ 0 h 33"/>
                    <a:gd name="T26" fmla="*/ 51 w 51"/>
                    <a:gd name="T27" fmla="*/ 33 h 33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1" h="33">
                      <a:moveTo>
                        <a:pt x="46" y="0"/>
                      </a:moveTo>
                      <a:lnTo>
                        <a:pt x="0" y="5"/>
                      </a:lnTo>
                      <a:lnTo>
                        <a:pt x="4" y="28"/>
                      </a:lnTo>
                      <a:lnTo>
                        <a:pt x="10" y="33"/>
                      </a:lnTo>
                      <a:lnTo>
                        <a:pt x="35" y="25"/>
                      </a:lnTo>
                      <a:lnTo>
                        <a:pt x="48" y="15"/>
                      </a:lnTo>
                      <a:lnTo>
                        <a:pt x="51" y="8"/>
                      </a:lnTo>
                      <a:lnTo>
                        <a:pt x="46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64" name="Freeform 386">
                  <a:extLst>
                    <a:ext uri="{FF2B5EF4-FFF2-40B4-BE49-F238E27FC236}">
                      <a16:creationId xmlns="" xmlns:a16="http://schemas.microsoft.com/office/drawing/2014/main" id="{12A38986-10B6-43A7-9470-A32270BA47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2" y="2354"/>
                  <a:ext cx="20" cy="7"/>
                </a:xfrm>
                <a:custGeom>
                  <a:avLst/>
                  <a:gdLst>
                    <a:gd name="T0" fmla="*/ 0 w 61"/>
                    <a:gd name="T1" fmla="*/ 0 h 20"/>
                    <a:gd name="T2" fmla="*/ 0 w 61"/>
                    <a:gd name="T3" fmla="*/ 0 h 20"/>
                    <a:gd name="T4" fmla="*/ 0 w 61"/>
                    <a:gd name="T5" fmla="*/ 0 h 20"/>
                    <a:gd name="T6" fmla="*/ 0 w 61"/>
                    <a:gd name="T7" fmla="*/ 0 h 20"/>
                    <a:gd name="T8" fmla="*/ 0 w 61"/>
                    <a:gd name="T9" fmla="*/ 0 h 20"/>
                    <a:gd name="T10" fmla="*/ 0 w 61"/>
                    <a:gd name="T11" fmla="*/ 0 h 20"/>
                    <a:gd name="T12" fmla="*/ 0 w 61"/>
                    <a:gd name="T13" fmla="*/ 0 h 2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1"/>
                    <a:gd name="T22" fmla="*/ 0 h 20"/>
                    <a:gd name="T23" fmla="*/ 61 w 61"/>
                    <a:gd name="T24" fmla="*/ 20 h 2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1" h="20">
                      <a:moveTo>
                        <a:pt x="61" y="6"/>
                      </a:moveTo>
                      <a:lnTo>
                        <a:pt x="53" y="2"/>
                      </a:lnTo>
                      <a:lnTo>
                        <a:pt x="0" y="0"/>
                      </a:lnTo>
                      <a:lnTo>
                        <a:pt x="2" y="14"/>
                      </a:lnTo>
                      <a:lnTo>
                        <a:pt x="7" y="20"/>
                      </a:lnTo>
                      <a:lnTo>
                        <a:pt x="18" y="13"/>
                      </a:lnTo>
                      <a:lnTo>
                        <a:pt x="61" y="6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65" name="Freeform 387">
                  <a:extLst>
                    <a:ext uri="{FF2B5EF4-FFF2-40B4-BE49-F238E27FC236}">
                      <a16:creationId xmlns="" xmlns:a16="http://schemas.microsoft.com/office/drawing/2014/main" id="{BE3FF256-0B24-4301-8A2B-3DE39DDCBD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7" y="2346"/>
                  <a:ext cx="5" cy="12"/>
                </a:xfrm>
                <a:custGeom>
                  <a:avLst/>
                  <a:gdLst>
                    <a:gd name="T0" fmla="*/ 0 w 15"/>
                    <a:gd name="T1" fmla="*/ 0 h 36"/>
                    <a:gd name="T2" fmla="*/ 0 w 15"/>
                    <a:gd name="T3" fmla="*/ 0 h 36"/>
                    <a:gd name="T4" fmla="*/ 0 w 15"/>
                    <a:gd name="T5" fmla="*/ 0 h 36"/>
                    <a:gd name="T6" fmla="*/ 0 w 15"/>
                    <a:gd name="T7" fmla="*/ 0 h 36"/>
                    <a:gd name="T8" fmla="*/ 0 w 15"/>
                    <a:gd name="T9" fmla="*/ 0 h 36"/>
                    <a:gd name="T10" fmla="*/ 0 w 15"/>
                    <a:gd name="T11" fmla="*/ 0 h 3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5"/>
                    <a:gd name="T19" fmla="*/ 0 h 36"/>
                    <a:gd name="T20" fmla="*/ 15 w 15"/>
                    <a:gd name="T21" fmla="*/ 36 h 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5" h="36">
                      <a:moveTo>
                        <a:pt x="2" y="0"/>
                      </a:moveTo>
                      <a:lnTo>
                        <a:pt x="0" y="20"/>
                      </a:lnTo>
                      <a:lnTo>
                        <a:pt x="0" y="36"/>
                      </a:lnTo>
                      <a:lnTo>
                        <a:pt x="11" y="35"/>
                      </a:lnTo>
                      <a:lnTo>
                        <a:pt x="15" y="14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66" name="Freeform 388">
                  <a:extLst>
                    <a:ext uri="{FF2B5EF4-FFF2-40B4-BE49-F238E27FC236}">
                      <a16:creationId xmlns="" xmlns:a16="http://schemas.microsoft.com/office/drawing/2014/main" id="{D9A96872-6FFB-4FEF-AB9F-AE3A95850F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6" y="2361"/>
                  <a:ext cx="11" cy="11"/>
                </a:xfrm>
                <a:custGeom>
                  <a:avLst/>
                  <a:gdLst>
                    <a:gd name="T0" fmla="*/ 0 w 37"/>
                    <a:gd name="T1" fmla="*/ 0 h 33"/>
                    <a:gd name="T2" fmla="*/ 0 w 37"/>
                    <a:gd name="T3" fmla="*/ 0 h 33"/>
                    <a:gd name="T4" fmla="*/ 0 w 37"/>
                    <a:gd name="T5" fmla="*/ 0 h 33"/>
                    <a:gd name="T6" fmla="*/ 0 w 37"/>
                    <a:gd name="T7" fmla="*/ 0 h 33"/>
                    <a:gd name="T8" fmla="*/ 0 w 37"/>
                    <a:gd name="T9" fmla="*/ 0 h 33"/>
                    <a:gd name="T10" fmla="*/ 0 w 37"/>
                    <a:gd name="T11" fmla="*/ 0 h 33"/>
                    <a:gd name="T12" fmla="*/ 0 w 37"/>
                    <a:gd name="T13" fmla="*/ 0 h 33"/>
                    <a:gd name="T14" fmla="*/ 0 w 37"/>
                    <a:gd name="T15" fmla="*/ 0 h 33"/>
                    <a:gd name="T16" fmla="*/ 0 w 37"/>
                    <a:gd name="T17" fmla="*/ 0 h 3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37"/>
                    <a:gd name="T28" fmla="*/ 0 h 33"/>
                    <a:gd name="T29" fmla="*/ 37 w 37"/>
                    <a:gd name="T30" fmla="*/ 33 h 33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37" h="33">
                      <a:moveTo>
                        <a:pt x="4" y="4"/>
                      </a:moveTo>
                      <a:lnTo>
                        <a:pt x="22" y="0"/>
                      </a:lnTo>
                      <a:lnTo>
                        <a:pt x="35" y="6"/>
                      </a:lnTo>
                      <a:lnTo>
                        <a:pt x="37" y="22"/>
                      </a:lnTo>
                      <a:lnTo>
                        <a:pt x="24" y="33"/>
                      </a:lnTo>
                      <a:lnTo>
                        <a:pt x="11" y="33"/>
                      </a:lnTo>
                      <a:lnTo>
                        <a:pt x="2" y="24"/>
                      </a:lnTo>
                      <a:lnTo>
                        <a:pt x="0" y="16"/>
                      </a:lnTo>
                      <a:lnTo>
                        <a:pt x="4" y="4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67" name="Freeform 389">
                  <a:extLst>
                    <a:ext uri="{FF2B5EF4-FFF2-40B4-BE49-F238E27FC236}">
                      <a16:creationId xmlns="" xmlns:a16="http://schemas.microsoft.com/office/drawing/2014/main" id="{EC8B8FDD-912B-4C79-9D66-B694794968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88" y="2378"/>
                  <a:ext cx="16" cy="18"/>
                </a:xfrm>
                <a:custGeom>
                  <a:avLst/>
                  <a:gdLst>
                    <a:gd name="T0" fmla="*/ 0 w 49"/>
                    <a:gd name="T1" fmla="*/ 0 h 54"/>
                    <a:gd name="T2" fmla="*/ 0 w 49"/>
                    <a:gd name="T3" fmla="*/ 0 h 54"/>
                    <a:gd name="T4" fmla="*/ 0 w 49"/>
                    <a:gd name="T5" fmla="*/ 0 h 54"/>
                    <a:gd name="T6" fmla="*/ 0 w 49"/>
                    <a:gd name="T7" fmla="*/ 0 h 54"/>
                    <a:gd name="T8" fmla="*/ 0 w 49"/>
                    <a:gd name="T9" fmla="*/ 0 h 54"/>
                    <a:gd name="T10" fmla="*/ 0 w 49"/>
                    <a:gd name="T11" fmla="*/ 0 h 54"/>
                    <a:gd name="T12" fmla="*/ 0 w 49"/>
                    <a:gd name="T13" fmla="*/ 0 h 54"/>
                    <a:gd name="T14" fmla="*/ 0 w 49"/>
                    <a:gd name="T15" fmla="*/ 0 h 54"/>
                    <a:gd name="T16" fmla="*/ 0 w 49"/>
                    <a:gd name="T17" fmla="*/ 0 h 5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49"/>
                    <a:gd name="T28" fmla="*/ 0 h 54"/>
                    <a:gd name="T29" fmla="*/ 49 w 49"/>
                    <a:gd name="T30" fmla="*/ 54 h 54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49" h="54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2" y="50"/>
                      </a:lnTo>
                      <a:lnTo>
                        <a:pt x="18" y="54"/>
                      </a:lnTo>
                      <a:lnTo>
                        <a:pt x="44" y="45"/>
                      </a:lnTo>
                      <a:lnTo>
                        <a:pt x="49" y="31"/>
                      </a:lnTo>
                      <a:lnTo>
                        <a:pt x="40" y="21"/>
                      </a:lnTo>
                      <a:lnTo>
                        <a:pt x="19" y="8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68" name="Freeform 390">
                  <a:extLst>
                    <a:ext uri="{FF2B5EF4-FFF2-40B4-BE49-F238E27FC236}">
                      <a16:creationId xmlns="" xmlns:a16="http://schemas.microsoft.com/office/drawing/2014/main" id="{571B536E-DF11-43D9-B5A6-301FDF042A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4" y="2388"/>
                  <a:ext cx="9" cy="7"/>
                </a:xfrm>
                <a:custGeom>
                  <a:avLst/>
                  <a:gdLst>
                    <a:gd name="T0" fmla="*/ 0 w 26"/>
                    <a:gd name="T1" fmla="*/ 0 h 22"/>
                    <a:gd name="T2" fmla="*/ 0 w 26"/>
                    <a:gd name="T3" fmla="*/ 0 h 22"/>
                    <a:gd name="T4" fmla="*/ 0 w 26"/>
                    <a:gd name="T5" fmla="*/ 0 h 22"/>
                    <a:gd name="T6" fmla="*/ 0 w 26"/>
                    <a:gd name="T7" fmla="*/ 0 h 22"/>
                    <a:gd name="T8" fmla="*/ 0 w 26"/>
                    <a:gd name="T9" fmla="*/ 0 h 22"/>
                    <a:gd name="T10" fmla="*/ 0 w 26"/>
                    <a:gd name="T11" fmla="*/ 0 h 22"/>
                    <a:gd name="T12" fmla="*/ 0 w 26"/>
                    <a:gd name="T13" fmla="*/ 0 h 2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22"/>
                    <a:gd name="T23" fmla="*/ 26 w 26"/>
                    <a:gd name="T24" fmla="*/ 22 h 2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22">
                      <a:moveTo>
                        <a:pt x="18" y="0"/>
                      </a:moveTo>
                      <a:lnTo>
                        <a:pt x="3" y="2"/>
                      </a:lnTo>
                      <a:lnTo>
                        <a:pt x="0" y="15"/>
                      </a:lnTo>
                      <a:lnTo>
                        <a:pt x="6" y="21"/>
                      </a:lnTo>
                      <a:lnTo>
                        <a:pt x="19" y="22"/>
                      </a:lnTo>
                      <a:lnTo>
                        <a:pt x="26" y="11"/>
                      </a:lnTo>
                      <a:lnTo>
                        <a:pt x="18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069" name="Group 391">
                <a:extLst>
                  <a:ext uri="{FF2B5EF4-FFF2-40B4-BE49-F238E27FC236}">
                    <a16:creationId xmlns="" xmlns:a16="http://schemas.microsoft.com/office/drawing/2014/main" id="{2A1928C1-9D76-4390-B891-C8FDEA50936F}"/>
                  </a:ext>
                </a:extLst>
              </p:cNvPr>
              <p:cNvGrpSpPr>
                <a:grpSpLocks/>
              </p:cNvGrpSpPr>
              <p:nvPr>
                <p:custDataLst>
                  <p:tags r:id="rId274"/>
                </p:custDataLst>
              </p:nvPr>
            </p:nvGrpSpPr>
            <p:grpSpPr bwMode="auto">
              <a:xfrm>
                <a:off x="1187450" y="1196975"/>
                <a:ext cx="1897063" cy="1133475"/>
                <a:chOff x="527" y="1110"/>
                <a:chExt cx="1410" cy="709"/>
              </a:xfrm>
              <a:solidFill>
                <a:srgbClr val="FFFFFF">
                  <a:lumMod val="75000"/>
                </a:srgbClr>
              </a:solidFill>
            </p:grpSpPr>
            <p:sp>
              <p:nvSpPr>
                <p:cNvPr id="2070" name="Freeform 392">
                  <a:extLst>
                    <a:ext uri="{FF2B5EF4-FFF2-40B4-BE49-F238E27FC236}">
                      <a16:creationId xmlns="" xmlns:a16="http://schemas.microsoft.com/office/drawing/2014/main" id="{8A6B2935-A50A-4F91-924F-3E74036FEE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01" y="1427"/>
                  <a:ext cx="31" cy="17"/>
                </a:xfrm>
                <a:custGeom>
                  <a:avLst/>
                  <a:gdLst>
                    <a:gd name="T0" fmla="*/ 0 w 98"/>
                    <a:gd name="T1" fmla="*/ 0 h 54"/>
                    <a:gd name="T2" fmla="*/ 0 w 98"/>
                    <a:gd name="T3" fmla="*/ 0 h 54"/>
                    <a:gd name="T4" fmla="*/ 0 w 98"/>
                    <a:gd name="T5" fmla="*/ 0 h 54"/>
                    <a:gd name="T6" fmla="*/ 0 w 98"/>
                    <a:gd name="T7" fmla="*/ 0 h 54"/>
                    <a:gd name="T8" fmla="*/ 0 w 98"/>
                    <a:gd name="T9" fmla="*/ 0 h 54"/>
                    <a:gd name="T10" fmla="*/ 0 w 98"/>
                    <a:gd name="T11" fmla="*/ 0 h 54"/>
                    <a:gd name="T12" fmla="*/ 0 w 98"/>
                    <a:gd name="T13" fmla="*/ 0 h 54"/>
                    <a:gd name="T14" fmla="*/ 0 w 98"/>
                    <a:gd name="T15" fmla="*/ 0 h 54"/>
                    <a:gd name="T16" fmla="*/ 0 w 98"/>
                    <a:gd name="T17" fmla="*/ 0 h 54"/>
                    <a:gd name="T18" fmla="*/ 0 w 98"/>
                    <a:gd name="T19" fmla="*/ 0 h 54"/>
                    <a:gd name="T20" fmla="*/ 0 w 98"/>
                    <a:gd name="T21" fmla="*/ 0 h 54"/>
                    <a:gd name="T22" fmla="*/ 0 w 98"/>
                    <a:gd name="T23" fmla="*/ 0 h 54"/>
                    <a:gd name="T24" fmla="*/ 0 w 98"/>
                    <a:gd name="T25" fmla="*/ 0 h 54"/>
                    <a:gd name="T26" fmla="*/ 0 w 98"/>
                    <a:gd name="T27" fmla="*/ 0 h 54"/>
                    <a:gd name="T28" fmla="*/ 0 w 98"/>
                    <a:gd name="T29" fmla="*/ 0 h 54"/>
                    <a:gd name="T30" fmla="*/ 0 w 98"/>
                    <a:gd name="T31" fmla="*/ 0 h 54"/>
                    <a:gd name="T32" fmla="*/ 0 w 98"/>
                    <a:gd name="T33" fmla="*/ 0 h 54"/>
                    <a:gd name="T34" fmla="*/ 0 w 98"/>
                    <a:gd name="T35" fmla="*/ 0 h 54"/>
                    <a:gd name="T36" fmla="*/ 0 w 98"/>
                    <a:gd name="T37" fmla="*/ 0 h 54"/>
                    <a:gd name="T38" fmla="*/ 0 w 98"/>
                    <a:gd name="T39" fmla="*/ 0 h 54"/>
                    <a:gd name="T40" fmla="*/ 0 w 98"/>
                    <a:gd name="T41" fmla="*/ 0 h 54"/>
                    <a:gd name="T42" fmla="*/ 0 w 98"/>
                    <a:gd name="T43" fmla="*/ 0 h 54"/>
                    <a:gd name="T44" fmla="*/ 0 w 98"/>
                    <a:gd name="T45" fmla="*/ 0 h 54"/>
                    <a:gd name="T46" fmla="*/ 0 w 98"/>
                    <a:gd name="T47" fmla="*/ 0 h 54"/>
                    <a:gd name="T48" fmla="*/ 0 w 98"/>
                    <a:gd name="T49" fmla="*/ 0 h 54"/>
                    <a:gd name="T50" fmla="*/ 0 w 98"/>
                    <a:gd name="T51" fmla="*/ 0 h 54"/>
                    <a:gd name="T52" fmla="*/ 0 w 98"/>
                    <a:gd name="T53" fmla="*/ 0 h 54"/>
                    <a:gd name="T54" fmla="*/ 0 w 98"/>
                    <a:gd name="T55" fmla="*/ 0 h 54"/>
                    <a:gd name="T56" fmla="*/ 0 w 98"/>
                    <a:gd name="T57" fmla="*/ 0 h 54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98"/>
                    <a:gd name="T88" fmla="*/ 0 h 54"/>
                    <a:gd name="T89" fmla="*/ 98 w 98"/>
                    <a:gd name="T90" fmla="*/ 54 h 54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98" h="54">
                      <a:moveTo>
                        <a:pt x="0" y="41"/>
                      </a:moveTo>
                      <a:lnTo>
                        <a:pt x="5" y="46"/>
                      </a:lnTo>
                      <a:lnTo>
                        <a:pt x="13" y="50"/>
                      </a:lnTo>
                      <a:lnTo>
                        <a:pt x="23" y="53"/>
                      </a:lnTo>
                      <a:lnTo>
                        <a:pt x="32" y="54"/>
                      </a:lnTo>
                      <a:lnTo>
                        <a:pt x="38" y="54"/>
                      </a:lnTo>
                      <a:lnTo>
                        <a:pt x="45" y="53"/>
                      </a:lnTo>
                      <a:lnTo>
                        <a:pt x="50" y="51"/>
                      </a:lnTo>
                      <a:lnTo>
                        <a:pt x="56" y="49"/>
                      </a:lnTo>
                      <a:lnTo>
                        <a:pt x="67" y="42"/>
                      </a:lnTo>
                      <a:lnTo>
                        <a:pt x="75" y="35"/>
                      </a:lnTo>
                      <a:lnTo>
                        <a:pt x="84" y="28"/>
                      </a:lnTo>
                      <a:lnTo>
                        <a:pt x="91" y="20"/>
                      </a:lnTo>
                      <a:lnTo>
                        <a:pt x="95" y="12"/>
                      </a:lnTo>
                      <a:lnTo>
                        <a:pt x="98" y="4"/>
                      </a:lnTo>
                      <a:lnTo>
                        <a:pt x="91" y="2"/>
                      </a:lnTo>
                      <a:lnTo>
                        <a:pt x="83" y="0"/>
                      </a:lnTo>
                      <a:lnTo>
                        <a:pt x="75" y="0"/>
                      </a:lnTo>
                      <a:lnTo>
                        <a:pt x="68" y="0"/>
                      </a:lnTo>
                      <a:lnTo>
                        <a:pt x="59" y="1"/>
                      </a:lnTo>
                      <a:lnTo>
                        <a:pt x="51" y="3"/>
                      </a:lnTo>
                      <a:lnTo>
                        <a:pt x="43" y="6"/>
                      </a:lnTo>
                      <a:lnTo>
                        <a:pt x="37" y="9"/>
                      </a:lnTo>
                      <a:lnTo>
                        <a:pt x="23" y="17"/>
                      </a:lnTo>
                      <a:lnTo>
                        <a:pt x="12" y="25"/>
                      </a:lnTo>
                      <a:lnTo>
                        <a:pt x="7" y="29"/>
                      </a:lnTo>
                      <a:lnTo>
                        <a:pt x="4" y="33"/>
                      </a:lnTo>
                      <a:lnTo>
                        <a:pt x="1" y="37"/>
                      </a:lnTo>
                      <a:lnTo>
                        <a:pt x="0" y="41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71" name="Freeform 393">
                  <a:extLst>
                    <a:ext uri="{FF2B5EF4-FFF2-40B4-BE49-F238E27FC236}">
                      <a16:creationId xmlns="" xmlns:a16="http://schemas.microsoft.com/office/drawing/2014/main" id="{3FBF7080-9A17-4002-8DA9-664E76D463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87" y="1551"/>
                  <a:ext cx="21" cy="8"/>
                </a:xfrm>
                <a:custGeom>
                  <a:avLst/>
                  <a:gdLst>
                    <a:gd name="T0" fmla="*/ 0 w 67"/>
                    <a:gd name="T1" fmla="*/ 0 h 28"/>
                    <a:gd name="T2" fmla="*/ 0 w 67"/>
                    <a:gd name="T3" fmla="*/ 0 h 28"/>
                    <a:gd name="T4" fmla="*/ 0 w 67"/>
                    <a:gd name="T5" fmla="*/ 0 h 28"/>
                    <a:gd name="T6" fmla="*/ 0 w 67"/>
                    <a:gd name="T7" fmla="*/ 0 h 28"/>
                    <a:gd name="T8" fmla="*/ 0 w 67"/>
                    <a:gd name="T9" fmla="*/ 0 h 28"/>
                    <a:gd name="T10" fmla="*/ 0 w 67"/>
                    <a:gd name="T11" fmla="*/ 0 h 28"/>
                    <a:gd name="T12" fmla="*/ 0 w 67"/>
                    <a:gd name="T13" fmla="*/ 0 h 28"/>
                    <a:gd name="T14" fmla="*/ 0 w 67"/>
                    <a:gd name="T15" fmla="*/ 0 h 28"/>
                    <a:gd name="T16" fmla="*/ 0 w 67"/>
                    <a:gd name="T17" fmla="*/ 0 h 28"/>
                    <a:gd name="T18" fmla="*/ 0 w 67"/>
                    <a:gd name="T19" fmla="*/ 0 h 28"/>
                    <a:gd name="T20" fmla="*/ 0 w 67"/>
                    <a:gd name="T21" fmla="*/ 0 h 28"/>
                    <a:gd name="T22" fmla="*/ 0 w 67"/>
                    <a:gd name="T23" fmla="*/ 0 h 28"/>
                    <a:gd name="T24" fmla="*/ 0 w 67"/>
                    <a:gd name="T25" fmla="*/ 0 h 28"/>
                    <a:gd name="T26" fmla="*/ 0 w 67"/>
                    <a:gd name="T27" fmla="*/ 0 h 28"/>
                    <a:gd name="T28" fmla="*/ 0 w 67"/>
                    <a:gd name="T29" fmla="*/ 0 h 28"/>
                    <a:gd name="T30" fmla="*/ 0 w 67"/>
                    <a:gd name="T31" fmla="*/ 0 h 28"/>
                    <a:gd name="T32" fmla="*/ 0 w 67"/>
                    <a:gd name="T33" fmla="*/ 0 h 28"/>
                    <a:gd name="T34" fmla="*/ 0 w 67"/>
                    <a:gd name="T35" fmla="*/ 0 h 28"/>
                    <a:gd name="T36" fmla="*/ 0 w 67"/>
                    <a:gd name="T37" fmla="*/ 0 h 2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67"/>
                    <a:gd name="T58" fmla="*/ 0 h 28"/>
                    <a:gd name="T59" fmla="*/ 67 w 67"/>
                    <a:gd name="T60" fmla="*/ 28 h 2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67" h="28">
                      <a:moveTo>
                        <a:pt x="0" y="27"/>
                      </a:moveTo>
                      <a:lnTo>
                        <a:pt x="11" y="28"/>
                      </a:lnTo>
                      <a:lnTo>
                        <a:pt x="21" y="27"/>
                      </a:lnTo>
                      <a:lnTo>
                        <a:pt x="31" y="25"/>
                      </a:lnTo>
                      <a:lnTo>
                        <a:pt x="41" y="21"/>
                      </a:lnTo>
                      <a:lnTo>
                        <a:pt x="49" y="17"/>
                      </a:lnTo>
                      <a:lnTo>
                        <a:pt x="57" y="12"/>
                      </a:lnTo>
                      <a:lnTo>
                        <a:pt x="63" y="7"/>
                      </a:lnTo>
                      <a:lnTo>
                        <a:pt x="67" y="3"/>
                      </a:lnTo>
                      <a:lnTo>
                        <a:pt x="57" y="1"/>
                      </a:lnTo>
                      <a:lnTo>
                        <a:pt x="46" y="0"/>
                      </a:lnTo>
                      <a:lnTo>
                        <a:pt x="36" y="1"/>
                      </a:lnTo>
                      <a:lnTo>
                        <a:pt x="26" y="3"/>
                      </a:lnTo>
                      <a:lnTo>
                        <a:pt x="17" y="7"/>
                      </a:lnTo>
                      <a:lnTo>
                        <a:pt x="10" y="12"/>
                      </a:lnTo>
                      <a:lnTo>
                        <a:pt x="7" y="15"/>
                      </a:lnTo>
                      <a:lnTo>
                        <a:pt x="4" y="19"/>
                      </a:lnTo>
                      <a:lnTo>
                        <a:pt x="2" y="22"/>
                      </a:lnTo>
                      <a:lnTo>
                        <a:pt x="0" y="27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72" name="Freeform 394">
                  <a:extLst>
                    <a:ext uri="{FF2B5EF4-FFF2-40B4-BE49-F238E27FC236}">
                      <a16:creationId xmlns="" xmlns:a16="http://schemas.microsoft.com/office/drawing/2014/main" id="{6DDA2E1D-B769-46C4-8068-F383B8429A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32" y="1608"/>
                  <a:ext cx="11" cy="11"/>
                </a:xfrm>
                <a:custGeom>
                  <a:avLst/>
                  <a:gdLst>
                    <a:gd name="T0" fmla="*/ 0 w 32"/>
                    <a:gd name="T1" fmla="*/ 0 h 36"/>
                    <a:gd name="T2" fmla="*/ 0 w 32"/>
                    <a:gd name="T3" fmla="*/ 0 h 36"/>
                    <a:gd name="T4" fmla="*/ 0 w 32"/>
                    <a:gd name="T5" fmla="*/ 0 h 36"/>
                    <a:gd name="T6" fmla="*/ 0 w 32"/>
                    <a:gd name="T7" fmla="*/ 0 h 36"/>
                    <a:gd name="T8" fmla="*/ 0 w 32"/>
                    <a:gd name="T9" fmla="*/ 0 h 36"/>
                    <a:gd name="T10" fmla="*/ 0 w 32"/>
                    <a:gd name="T11" fmla="*/ 0 h 36"/>
                    <a:gd name="T12" fmla="*/ 0 w 32"/>
                    <a:gd name="T13" fmla="*/ 0 h 36"/>
                    <a:gd name="T14" fmla="*/ 0 w 32"/>
                    <a:gd name="T15" fmla="*/ 0 h 36"/>
                    <a:gd name="T16" fmla="*/ 0 w 32"/>
                    <a:gd name="T17" fmla="*/ 0 h 36"/>
                    <a:gd name="T18" fmla="*/ 0 w 32"/>
                    <a:gd name="T19" fmla="*/ 0 h 36"/>
                    <a:gd name="T20" fmla="*/ 0 w 32"/>
                    <a:gd name="T21" fmla="*/ 0 h 36"/>
                    <a:gd name="T22" fmla="*/ 0 w 32"/>
                    <a:gd name="T23" fmla="*/ 0 h 36"/>
                    <a:gd name="T24" fmla="*/ 0 w 32"/>
                    <a:gd name="T25" fmla="*/ 0 h 36"/>
                    <a:gd name="T26" fmla="*/ 0 w 32"/>
                    <a:gd name="T27" fmla="*/ 0 h 36"/>
                    <a:gd name="T28" fmla="*/ 0 w 32"/>
                    <a:gd name="T29" fmla="*/ 0 h 36"/>
                    <a:gd name="T30" fmla="*/ 0 w 32"/>
                    <a:gd name="T31" fmla="*/ 0 h 36"/>
                    <a:gd name="T32" fmla="*/ 0 w 32"/>
                    <a:gd name="T33" fmla="*/ 0 h 36"/>
                    <a:gd name="T34" fmla="*/ 0 w 32"/>
                    <a:gd name="T35" fmla="*/ 0 h 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32"/>
                    <a:gd name="T55" fmla="*/ 0 h 36"/>
                    <a:gd name="T56" fmla="*/ 32 w 32"/>
                    <a:gd name="T57" fmla="*/ 36 h 3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32" h="36">
                      <a:moveTo>
                        <a:pt x="0" y="18"/>
                      </a:moveTo>
                      <a:lnTo>
                        <a:pt x="1" y="24"/>
                      </a:lnTo>
                      <a:lnTo>
                        <a:pt x="4" y="29"/>
                      </a:lnTo>
                      <a:lnTo>
                        <a:pt x="6" y="32"/>
                      </a:lnTo>
                      <a:lnTo>
                        <a:pt x="8" y="34"/>
                      </a:lnTo>
                      <a:lnTo>
                        <a:pt x="11" y="36"/>
                      </a:lnTo>
                      <a:lnTo>
                        <a:pt x="13" y="36"/>
                      </a:lnTo>
                      <a:lnTo>
                        <a:pt x="32" y="36"/>
                      </a:lnTo>
                      <a:lnTo>
                        <a:pt x="32" y="22"/>
                      </a:lnTo>
                      <a:lnTo>
                        <a:pt x="31" y="14"/>
                      </a:lnTo>
                      <a:lnTo>
                        <a:pt x="30" y="7"/>
                      </a:lnTo>
                      <a:lnTo>
                        <a:pt x="26" y="0"/>
                      </a:lnTo>
                      <a:lnTo>
                        <a:pt x="19" y="2"/>
                      </a:lnTo>
                      <a:lnTo>
                        <a:pt x="11" y="7"/>
                      </a:lnTo>
                      <a:lnTo>
                        <a:pt x="6" y="10"/>
                      </a:lnTo>
                      <a:lnTo>
                        <a:pt x="3" y="13"/>
                      </a:lnTo>
                      <a:lnTo>
                        <a:pt x="1" y="16"/>
                      </a:lnTo>
                      <a:lnTo>
                        <a:pt x="0" y="18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73" name="Freeform 395">
                  <a:extLst>
                    <a:ext uri="{FF2B5EF4-FFF2-40B4-BE49-F238E27FC236}">
                      <a16:creationId xmlns="" xmlns:a16="http://schemas.microsoft.com/office/drawing/2014/main" id="{0454F908-5E62-468F-90E4-C86783B01AA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79" y="1314"/>
                  <a:ext cx="46" cy="17"/>
                </a:xfrm>
                <a:custGeom>
                  <a:avLst/>
                  <a:gdLst>
                    <a:gd name="T0" fmla="*/ 0 w 146"/>
                    <a:gd name="T1" fmla="*/ 0 h 52"/>
                    <a:gd name="T2" fmla="*/ 0 w 146"/>
                    <a:gd name="T3" fmla="*/ 0 h 52"/>
                    <a:gd name="T4" fmla="*/ 0 w 146"/>
                    <a:gd name="T5" fmla="*/ 0 h 52"/>
                    <a:gd name="T6" fmla="*/ 0 w 146"/>
                    <a:gd name="T7" fmla="*/ 0 h 52"/>
                    <a:gd name="T8" fmla="*/ 0 w 146"/>
                    <a:gd name="T9" fmla="*/ 0 h 52"/>
                    <a:gd name="T10" fmla="*/ 0 w 146"/>
                    <a:gd name="T11" fmla="*/ 0 h 52"/>
                    <a:gd name="T12" fmla="*/ 0 w 146"/>
                    <a:gd name="T13" fmla="*/ 0 h 52"/>
                    <a:gd name="T14" fmla="*/ 0 w 146"/>
                    <a:gd name="T15" fmla="*/ 0 h 52"/>
                    <a:gd name="T16" fmla="*/ 0 w 146"/>
                    <a:gd name="T17" fmla="*/ 0 h 52"/>
                    <a:gd name="T18" fmla="*/ 0 w 146"/>
                    <a:gd name="T19" fmla="*/ 0 h 52"/>
                    <a:gd name="T20" fmla="*/ 0 w 146"/>
                    <a:gd name="T21" fmla="*/ 0 h 52"/>
                    <a:gd name="T22" fmla="*/ 0 w 146"/>
                    <a:gd name="T23" fmla="*/ 0 h 52"/>
                    <a:gd name="T24" fmla="*/ 0 w 146"/>
                    <a:gd name="T25" fmla="*/ 0 h 52"/>
                    <a:gd name="T26" fmla="*/ 0 w 146"/>
                    <a:gd name="T27" fmla="*/ 0 h 52"/>
                    <a:gd name="T28" fmla="*/ 0 w 146"/>
                    <a:gd name="T29" fmla="*/ 0 h 52"/>
                    <a:gd name="T30" fmla="*/ 0 w 146"/>
                    <a:gd name="T31" fmla="*/ 0 h 52"/>
                    <a:gd name="T32" fmla="*/ 0 w 146"/>
                    <a:gd name="T33" fmla="*/ 0 h 52"/>
                    <a:gd name="T34" fmla="*/ 0 w 146"/>
                    <a:gd name="T35" fmla="*/ 0 h 52"/>
                    <a:gd name="T36" fmla="*/ 0 w 146"/>
                    <a:gd name="T37" fmla="*/ 0 h 52"/>
                    <a:gd name="T38" fmla="*/ 0 w 146"/>
                    <a:gd name="T39" fmla="*/ 0 h 52"/>
                    <a:gd name="T40" fmla="*/ 0 w 146"/>
                    <a:gd name="T41" fmla="*/ 0 h 52"/>
                    <a:gd name="T42" fmla="*/ 0 w 146"/>
                    <a:gd name="T43" fmla="*/ 0 h 52"/>
                    <a:gd name="T44" fmla="*/ 0 w 146"/>
                    <a:gd name="T45" fmla="*/ 0 h 52"/>
                    <a:gd name="T46" fmla="*/ 0 w 146"/>
                    <a:gd name="T47" fmla="*/ 0 h 52"/>
                    <a:gd name="T48" fmla="*/ 0 w 146"/>
                    <a:gd name="T49" fmla="*/ 0 h 52"/>
                    <a:gd name="T50" fmla="*/ 0 w 146"/>
                    <a:gd name="T51" fmla="*/ 0 h 52"/>
                    <a:gd name="T52" fmla="*/ 0 w 146"/>
                    <a:gd name="T53" fmla="*/ 0 h 52"/>
                    <a:gd name="T54" fmla="*/ 0 w 146"/>
                    <a:gd name="T55" fmla="*/ 0 h 52"/>
                    <a:gd name="T56" fmla="*/ 0 w 146"/>
                    <a:gd name="T57" fmla="*/ 0 h 52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46"/>
                    <a:gd name="T88" fmla="*/ 0 h 52"/>
                    <a:gd name="T89" fmla="*/ 146 w 146"/>
                    <a:gd name="T90" fmla="*/ 52 h 52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46" h="52">
                      <a:moveTo>
                        <a:pt x="0" y="43"/>
                      </a:moveTo>
                      <a:lnTo>
                        <a:pt x="11" y="46"/>
                      </a:lnTo>
                      <a:lnTo>
                        <a:pt x="22" y="48"/>
                      </a:lnTo>
                      <a:lnTo>
                        <a:pt x="33" y="51"/>
                      </a:lnTo>
                      <a:lnTo>
                        <a:pt x="43" y="52"/>
                      </a:lnTo>
                      <a:lnTo>
                        <a:pt x="63" y="52"/>
                      </a:lnTo>
                      <a:lnTo>
                        <a:pt x="82" y="51"/>
                      </a:lnTo>
                      <a:lnTo>
                        <a:pt x="117" y="46"/>
                      </a:lnTo>
                      <a:lnTo>
                        <a:pt x="146" y="43"/>
                      </a:lnTo>
                      <a:lnTo>
                        <a:pt x="144" y="36"/>
                      </a:lnTo>
                      <a:lnTo>
                        <a:pt x="142" y="30"/>
                      </a:lnTo>
                      <a:lnTo>
                        <a:pt x="139" y="24"/>
                      </a:lnTo>
                      <a:lnTo>
                        <a:pt x="137" y="19"/>
                      </a:lnTo>
                      <a:lnTo>
                        <a:pt x="134" y="15"/>
                      </a:lnTo>
                      <a:lnTo>
                        <a:pt x="129" y="11"/>
                      </a:lnTo>
                      <a:lnTo>
                        <a:pt x="125" y="8"/>
                      </a:lnTo>
                      <a:lnTo>
                        <a:pt x="121" y="6"/>
                      </a:lnTo>
                      <a:lnTo>
                        <a:pt x="111" y="2"/>
                      </a:lnTo>
                      <a:lnTo>
                        <a:pt x="101" y="0"/>
                      </a:lnTo>
                      <a:lnTo>
                        <a:pt x="89" y="1"/>
                      </a:lnTo>
                      <a:lnTo>
                        <a:pt x="78" y="2"/>
                      </a:lnTo>
                      <a:lnTo>
                        <a:pt x="66" y="5"/>
                      </a:lnTo>
                      <a:lnTo>
                        <a:pt x="54" y="9"/>
                      </a:lnTo>
                      <a:lnTo>
                        <a:pt x="43" y="14"/>
                      </a:lnTo>
                      <a:lnTo>
                        <a:pt x="32" y="19"/>
                      </a:lnTo>
                      <a:lnTo>
                        <a:pt x="22" y="25"/>
                      </a:lnTo>
                      <a:lnTo>
                        <a:pt x="13" y="31"/>
                      </a:lnTo>
                      <a:lnTo>
                        <a:pt x="5" y="37"/>
                      </a:lnTo>
                      <a:lnTo>
                        <a:pt x="0" y="43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74" name="Freeform 396">
                  <a:extLst>
                    <a:ext uri="{FF2B5EF4-FFF2-40B4-BE49-F238E27FC236}">
                      <a16:creationId xmlns="" xmlns:a16="http://schemas.microsoft.com/office/drawing/2014/main" id="{35825FEB-A038-47A2-A2D6-F55428C06A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61" y="1252"/>
                  <a:ext cx="20" cy="10"/>
                </a:xfrm>
                <a:custGeom>
                  <a:avLst/>
                  <a:gdLst>
                    <a:gd name="T0" fmla="*/ 0 w 60"/>
                    <a:gd name="T1" fmla="*/ 0 h 31"/>
                    <a:gd name="T2" fmla="*/ 0 w 60"/>
                    <a:gd name="T3" fmla="*/ 0 h 31"/>
                    <a:gd name="T4" fmla="*/ 0 w 60"/>
                    <a:gd name="T5" fmla="*/ 0 h 31"/>
                    <a:gd name="T6" fmla="*/ 0 w 60"/>
                    <a:gd name="T7" fmla="*/ 0 h 31"/>
                    <a:gd name="T8" fmla="*/ 0 w 60"/>
                    <a:gd name="T9" fmla="*/ 0 h 31"/>
                    <a:gd name="T10" fmla="*/ 0 w 60"/>
                    <a:gd name="T11" fmla="*/ 0 h 31"/>
                    <a:gd name="T12" fmla="*/ 0 w 60"/>
                    <a:gd name="T13" fmla="*/ 0 h 31"/>
                    <a:gd name="T14" fmla="*/ 0 w 60"/>
                    <a:gd name="T15" fmla="*/ 0 h 31"/>
                    <a:gd name="T16" fmla="*/ 0 w 60"/>
                    <a:gd name="T17" fmla="*/ 0 h 31"/>
                    <a:gd name="T18" fmla="*/ 0 w 60"/>
                    <a:gd name="T19" fmla="*/ 0 h 31"/>
                    <a:gd name="T20" fmla="*/ 0 w 60"/>
                    <a:gd name="T21" fmla="*/ 0 h 31"/>
                    <a:gd name="T22" fmla="*/ 0 w 60"/>
                    <a:gd name="T23" fmla="*/ 0 h 31"/>
                    <a:gd name="T24" fmla="*/ 0 w 60"/>
                    <a:gd name="T25" fmla="*/ 0 h 31"/>
                    <a:gd name="T26" fmla="*/ 0 w 60"/>
                    <a:gd name="T27" fmla="*/ 0 h 31"/>
                    <a:gd name="T28" fmla="*/ 0 w 60"/>
                    <a:gd name="T29" fmla="*/ 0 h 31"/>
                    <a:gd name="T30" fmla="*/ 0 w 60"/>
                    <a:gd name="T31" fmla="*/ 0 h 31"/>
                    <a:gd name="T32" fmla="*/ 0 w 60"/>
                    <a:gd name="T33" fmla="*/ 0 h 31"/>
                    <a:gd name="T34" fmla="*/ 0 w 60"/>
                    <a:gd name="T35" fmla="*/ 0 h 31"/>
                    <a:gd name="T36" fmla="*/ 0 w 60"/>
                    <a:gd name="T37" fmla="*/ 0 h 31"/>
                    <a:gd name="T38" fmla="*/ 0 w 60"/>
                    <a:gd name="T39" fmla="*/ 0 h 31"/>
                    <a:gd name="T40" fmla="*/ 0 w 60"/>
                    <a:gd name="T41" fmla="*/ 0 h 31"/>
                    <a:gd name="T42" fmla="*/ 0 w 60"/>
                    <a:gd name="T43" fmla="*/ 0 h 31"/>
                    <a:gd name="T44" fmla="*/ 0 w 60"/>
                    <a:gd name="T45" fmla="*/ 0 h 31"/>
                    <a:gd name="T46" fmla="*/ 0 w 60"/>
                    <a:gd name="T47" fmla="*/ 0 h 31"/>
                    <a:gd name="T48" fmla="*/ 0 w 60"/>
                    <a:gd name="T49" fmla="*/ 0 h 31"/>
                    <a:gd name="T50" fmla="*/ 0 w 60"/>
                    <a:gd name="T51" fmla="*/ 0 h 31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60"/>
                    <a:gd name="T79" fmla="*/ 0 h 31"/>
                    <a:gd name="T80" fmla="*/ 60 w 60"/>
                    <a:gd name="T81" fmla="*/ 31 h 31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60" h="31">
                      <a:moveTo>
                        <a:pt x="60" y="0"/>
                      </a:moveTo>
                      <a:lnTo>
                        <a:pt x="49" y="0"/>
                      </a:lnTo>
                      <a:lnTo>
                        <a:pt x="38" y="0"/>
                      </a:lnTo>
                      <a:lnTo>
                        <a:pt x="31" y="0"/>
                      </a:lnTo>
                      <a:lnTo>
                        <a:pt x="27" y="0"/>
                      </a:lnTo>
                      <a:lnTo>
                        <a:pt x="18" y="0"/>
                      </a:lnTo>
                      <a:lnTo>
                        <a:pt x="9" y="2"/>
                      </a:lnTo>
                      <a:lnTo>
                        <a:pt x="5" y="3"/>
                      </a:lnTo>
                      <a:lnTo>
                        <a:pt x="2" y="5"/>
                      </a:lnTo>
                      <a:lnTo>
                        <a:pt x="1" y="8"/>
                      </a:lnTo>
                      <a:lnTo>
                        <a:pt x="0" y="12"/>
                      </a:lnTo>
                      <a:lnTo>
                        <a:pt x="1" y="15"/>
                      </a:lnTo>
                      <a:lnTo>
                        <a:pt x="2" y="18"/>
                      </a:lnTo>
                      <a:lnTo>
                        <a:pt x="5" y="22"/>
                      </a:lnTo>
                      <a:lnTo>
                        <a:pt x="9" y="24"/>
                      </a:lnTo>
                      <a:lnTo>
                        <a:pt x="12" y="27"/>
                      </a:lnTo>
                      <a:lnTo>
                        <a:pt x="18" y="29"/>
                      </a:lnTo>
                      <a:lnTo>
                        <a:pt x="22" y="31"/>
                      </a:lnTo>
                      <a:lnTo>
                        <a:pt x="27" y="31"/>
                      </a:lnTo>
                      <a:lnTo>
                        <a:pt x="32" y="30"/>
                      </a:lnTo>
                      <a:lnTo>
                        <a:pt x="37" y="28"/>
                      </a:lnTo>
                      <a:lnTo>
                        <a:pt x="43" y="24"/>
                      </a:lnTo>
                      <a:lnTo>
                        <a:pt x="48" y="18"/>
                      </a:lnTo>
                      <a:lnTo>
                        <a:pt x="57" y="10"/>
                      </a:lnTo>
                      <a:lnTo>
                        <a:pt x="60" y="6"/>
                      </a:lnTo>
                      <a:lnTo>
                        <a:pt x="60" y="0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75" name="Freeform 397">
                  <a:extLst>
                    <a:ext uri="{FF2B5EF4-FFF2-40B4-BE49-F238E27FC236}">
                      <a16:creationId xmlns="" xmlns:a16="http://schemas.microsoft.com/office/drawing/2014/main" id="{56EE71B1-2C6D-495B-8C83-5CB9A405A5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30" y="1713"/>
                  <a:ext cx="26" cy="20"/>
                </a:xfrm>
                <a:custGeom>
                  <a:avLst/>
                  <a:gdLst>
                    <a:gd name="T0" fmla="*/ 0 w 80"/>
                    <a:gd name="T1" fmla="*/ 0 h 62"/>
                    <a:gd name="T2" fmla="*/ 0 w 80"/>
                    <a:gd name="T3" fmla="*/ 0 h 62"/>
                    <a:gd name="T4" fmla="*/ 0 w 80"/>
                    <a:gd name="T5" fmla="*/ 0 h 62"/>
                    <a:gd name="T6" fmla="*/ 0 w 80"/>
                    <a:gd name="T7" fmla="*/ 0 h 62"/>
                    <a:gd name="T8" fmla="*/ 0 w 80"/>
                    <a:gd name="T9" fmla="*/ 0 h 62"/>
                    <a:gd name="T10" fmla="*/ 0 w 80"/>
                    <a:gd name="T11" fmla="*/ 0 h 62"/>
                    <a:gd name="T12" fmla="*/ 0 w 80"/>
                    <a:gd name="T13" fmla="*/ 0 h 62"/>
                    <a:gd name="T14" fmla="*/ 0 w 80"/>
                    <a:gd name="T15" fmla="*/ 0 h 62"/>
                    <a:gd name="T16" fmla="*/ 0 w 80"/>
                    <a:gd name="T17" fmla="*/ 0 h 62"/>
                    <a:gd name="T18" fmla="*/ 0 w 80"/>
                    <a:gd name="T19" fmla="*/ 0 h 62"/>
                    <a:gd name="T20" fmla="*/ 0 w 80"/>
                    <a:gd name="T21" fmla="*/ 0 h 62"/>
                    <a:gd name="T22" fmla="*/ 0 w 80"/>
                    <a:gd name="T23" fmla="*/ 0 h 62"/>
                    <a:gd name="T24" fmla="*/ 0 w 80"/>
                    <a:gd name="T25" fmla="*/ 0 h 62"/>
                    <a:gd name="T26" fmla="*/ 0 w 80"/>
                    <a:gd name="T27" fmla="*/ 0 h 62"/>
                    <a:gd name="T28" fmla="*/ 0 w 80"/>
                    <a:gd name="T29" fmla="*/ 0 h 62"/>
                    <a:gd name="T30" fmla="*/ 0 w 80"/>
                    <a:gd name="T31" fmla="*/ 0 h 62"/>
                    <a:gd name="T32" fmla="*/ 0 w 80"/>
                    <a:gd name="T33" fmla="*/ 0 h 62"/>
                    <a:gd name="T34" fmla="*/ 0 w 80"/>
                    <a:gd name="T35" fmla="*/ 0 h 62"/>
                    <a:gd name="T36" fmla="*/ 0 w 80"/>
                    <a:gd name="T37" fmla="*/ 0 h 62"/>
                    <a:gd name="T38" fmla="*/ 0 w 80"/>
                    <a:gd name="T39" fmla="*/ 0 h 62"/>
                    <a:gd name="T40" fmla="*/ 0 w 80"/>
                    <a:gd name="T41" fmla="*/ 0 h 62"/>
                    <a:gd name="T42" fmla="*/ 0 w 80"/>
                    <a:gd name="T43" fmla="*/ 0 h 62"/>
                    <a:gd name="T44" fmla="*/ 0 w 80"/>
                    <a:gd name="T45" fmla="*/ 0 h 62"/>
                    <a:gd name="T46" fmla="*/ 0 w 80"/>
                    <a:gd name="T47" fmla="*/ 0 h 62"/>
                    <a:gd name="T48" fmla="*/ 0 w 80"/>
                    <a:gd name="T49" fmla="*/ 0 h 62"/>
                    <a:gd name="T50" fmla="*/ 0 w 80"/>
                    <a:gd name="T51" fmla="*/ 0 h 62"/>
                    <a:gd name="T52" fmla="*/ 0 w 80"/>
                    <a:gd name="T53" fmla="*/ 0 h 62"/>
                    <a:gd name="T54" fmla="*/ 0 w 80"/>
                    <a:gd name="T55" fmla="*/ 0 h 62"/>
                    <a:gd name="T56" fmla="*/ 0 w 80"/>
                    <a:gd name="T57" fmla="*/ 0 h 62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80"/>
                    <a:gd name="T88" fmla="*/ 0 h 62"/>
                    <a:gd name="T89" fmla="*/ 80 w 80"/>
                    <a:gd name="T90" fmla="*/ 62 h 62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80" h="62">
                      <a:moveTo>
                        <a:pt x="0" y="43"/>
                      </a:moveTo>
                      <a:lnTo>
                        <a:pt x="1" y="46"/>
                      </a:lnTo>
                      <a:lnTo>
                        <a:pt x="1" y="49"/>
                      </a:lnTo>
                      <a:lnTo>
                        <a:pt x="3" y="51"/>
                      </a:lnTo>
                      <a:lnTo>
                        <a:pt x="4" y="53"/>
                      </a:lnTo>
                      <a:lnTo>
                        <a:pt x="10" y="57"/>
                      </a:lnTo>
                      <a:lnTo>
                        <a:pt x="15" y="59"/>
                      </a:lnTo>
                      <a:lnTo>
                        <a:pt x="28" y="62"/>
                      </a:lnTo>
                      <a:lnTo>
                        <a:pt x="40" y="62"/>
                      </a:lnTo>
                      <a:lnTo>
                        <a:pt x="45" y="62"/>
                      </a:lnTo>
                      <a:lnTo>
                        <a:pt x="49" y="59"/>
                      </a:lnTo>
                      <a:lnTo>
                        <a:pt x="54" y="57"/>
                      </a:lnTo>
                      <a:lnTo>
                        <a:pt x="58" y="54"/>
                      </a:lnTo>
                      <a:lnTo>
                        <a:pt x="65" y="47"/>
                      </a:lnTo>
                      <a:lnTo>
                        <a:pt x="70" y="38"/>
                      </a:lnTo>
                      <a:lnTo>
                        <a:pt x="74" y="28"/>
                      </a:lnTo>
                      <a:lnTo>
                        <a:pt x="78" y="18"/>
                      </a:lnTo>
                      <a:lnTo>
                        <a:pt x="79" y="8"/>
                      </a:lnTo>
                      <a:lnTo>
                        <a:pt x="80" y="0"/>
                      </a:lnTo>
                      <a:lnTo>
                        <a:pt x="71" y="0"/>
                      </a:lnTo>
                      <a:lnTo>
                        <a:pt x="59" y="3"/>
                      </a:lnTo>
                      <a:lnTo>
                        <a:pt x="46" y="8"/>
                      </a:lnTo>
                      <a:lnTo>
                        <a:pt x="33" y="13"/>
                      </a:lnTo>
                      <a:lnTo>
                        <a:pt x="21" y="19"/>
                      </a:lnTo>
                      <a:lnTo>
                        <a:pt x="10" y="26"/>
                      </a:lnTo>
                      <a:lnTo>
                        <a:pt x="6" y="30"/>
                      </a:lnTo>
                      <a:lnTo>
                        <a:pt x="3" y="34"/>
                      </a:lnTo>
                      <a:lnTo>
                        <a:pt x="1" y="39"/>
                      </a:lnTo>
                      <a:lnTo>
                        <a:pt x="0" y="43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76" name="Freeform 398">
                  <a:extLst>
                    <a:ext uri="{FF2B5EF4-FFF2-40B4-BE49-F238E27FC236}">
                      <a16:creationId xmlns="" xmlns:a16="http://schemas.microsoft.com/office/drawing/2014/main" id="{2ED18112-BC74-4256-973D-F1D50D59C4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83" y="1674"/>
                  <a:ext cx="33" cy="16"/>
                </a:xfrm>
                <a:custGeom>
                  <a:avLst/>
                  <a:gdLst>
                    <a:gd name="T0" fmla="*/ 0 w 106"/>
                    <a:gd name="T1" fmla="*/ 0 h 49"/>
                    <a:gd name="T2" fmla="*/ 0 w 106"/>
                    <a:gd name="T3" fmla="*/ 0 h 49"/>
                    <a:gd name="T4" fmla="*/ 0 w 106"/>
                    <a:gd name="T5" fmla="*/ 0 h 49"/>
                    <a:gd name="T6" fmla="*/ 0 w 106"/>
                    <a:gd name="T7" fmla="*/ 0 h 49"/>
                    <a:gd name="T8" fmla="*/ 0 w 106"/>
                    <a:gd name="T9" fmla="*/ 0 h 49"/>
                    <a:gd name="T10" fmla="*/ 0 w 106"/>
                    <a:gd name="T11" fmla="*/ 0 h 49"/>
                    <a:gd name="T12" fmla="*/ 0 w 106"/>
                    <a:gd name="T13" fmla="*/ 0 h 49"/>
                    <a:gd name="T14" fmla="*/ 0 w 106"/>
                    <a:gd name="T15" fmla="*/ 0 h 49"/>
                    <a:gd name="T16" fmla="*/ 0 w 106"/>
                    <a:gd name="T17" fmla="*/ 0 h 49"/>
                    <a:gd name="T18" fmla="*/ 0 w 106"/>
                    <a:gd name="T19" fmla="*/ 0 h 49"/>
                    <a:gd name="T20" fmla="*/ 0 w 106"/>
                    <a:gd name="T21" fmla="*/ 0 h 49"/>
                    <a:gd name="T22" fmla="*/ 0 w 106"/>
                    <a:gd name="T23" fmla="*/ 0 h 49"/>
                    <a:gd name="T24" fmla="*/ 0 w 106"/>
                    <a:gd name="T25" fmla="*/ 0 h 49"/>
                    <a:gd name="T26" fmla="*/ 0 w 106"/>
                    <a:gd name="T27" fmla="*/ 0 h 49"/>
                    <a:gd name="T28" fmla="*/ 0 w 106"/>
                    <a:gd name="T29" fmla="*/ 0 h 49"/>
                    <a:gd name="T30" fmla="*/ 0 w 106"/>
                    <a:gd name="T31" fmla="*/ 0 h 49"/>
                    <a:gd name="T32" fmla="*/ 0 w 106"/>
                    <a:gd name="T33" fmla="*/ 0 h 49"/>
                    <a:gd name="T34" fmla="*/ 0 w 106"/>
                    <a:gd name="T35" fmla="*/ 0 h 49"/>
                    <a:gd name="T36" fmla="*/ 0 w 106"/>
                    <a:gd name="T37" fmla="*/ 0 h 49"/>
                    <a:gd name="T38" fmla="*/ 0 w 106"/>
                    <a:gd name="T39" fmla="*/ 0 h 49"/>
                    <a:gd name="T40" fmla="*/ 0 w 106"/>
                    <a:gd name="T41" fmla="*/ 0 h 49"/>
                    <a:gd name="T42" fmla="*/ 0 w 106"/>
                    <a:gd name="T43" fmla="*/ 0 h 49"/>
                    <a:gd name="T44" fmla="*/ 0 w 106"/>
                    <a:gd name="T45" fmla="*/ 0 h 49"/>
                    <a:gd name="T46" fmla="*/ 0 w 106"/>
                    <a:gd name="T47" fmla="*/ 0 h 49"/>
                    <a:gd name="T48" fmla="*/ 0 w 106"/>
                    <a:gd name="T49" fmla="*/ 0 h 49"/>
                    <a:gd name="T50" fmla="*/ 0 w 106"/>
                    <a:gd name="T51" fmla="*/ 0 h 49"/>
                    <a:gd name="T52" fmla="*/ 0 w 106"/>
                    <a:gd name="T53" fmla="*/ 0 h 49"/>
                    <a:gd name="T54" fmla="*/ 0 w 106"/>
                    <a:gd name="T55" fmla="*/ 0 h 49"/>
                    <a:gd name="T56" fmla="*/ 0 w 106"/>
                    <a:gd name="T57" fmla="*/ 0 h 49"/>
                    <a:gd name="T58" fmla="*/ 0 w 106"/>
                    <a:gd name="T59" fmla="*/ 0 h 49"/>
                    <a:gd name="T60" fmla="*/ 0 w 106"/>
                    <a:gd name="T61" fmla="*/ 0 h 49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106"/>
                    <a:gd name="T94" fmla="*/ 0 h 49"/>
                    <a:gd name="T95" fmla="*/ 106 w 106"/>
                    <a:gd name="T96" fmla="*/ 49 h 49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106" h="49">
                      <a:moveTo>
                        <a:pt x="80" y="13"/>
                      </a:moveTo>
                      <a:lnTo>
                        <a:pt x="72" y="12"/>
                      </a:lnTo>
                      <a:lnTo>
                        <a:pt x="66" y="11"/>
                      </a:lnTo>
                      <a:lnTo>
                        <a:pt x="59" y="8"/>
                      </a:lnTo>
                      <a:lnTo>
                        <a:pt x="53" y="6"/>
                      </a:lnTo>
                      <a:lnTo>
                        <a:pt x="47" y="4"/>
                      </a:lnTo>
                      <a:lnTo>
                        <a:pt x="41" y="2"/>
                      </a:lnTo>
                      <a:lnTo>
                        <a:pt x="34" y="0"/>
                      </a:lnTo>
                      <a:lnTo>
                        <a:pt x="26" y="0"/>
                      </a:lnTo>
                      <a:lnTo>
                        <a:pt x="15" y="0"/>
                      </a:lnTo>
                      <a:lnTo>
                        <a:pt x="0" y="0"/>
                      </a:lnTo>
                      <a:lnTo>
                        <a:pt x="9" y="11"/>
                      </a:lnTo>
                      <a:lnTo>
                        <a:pt x="17" y="21"/>
                      </a:lnTo>
                      <a:lnTo>
                        <a:pt x="26" y="29"/>
                      </a:lnTo>
                      <a:lnTo>
                        <a:pt x="34" y="36"/>
                      </a:lnTo>
                      <a:lnTo>
                        <a:pt x="42" y="42"/>
                      </a:lnTo>
                      <a:lnTo>
                        <a:pt x="52" y="46"/>
                      </a:lnTo>
                      <a:lnTo>
                        <a:pt x="61" y="48"/>
                      </a:lnTo>
                      <a:lnTo>
                        <a:pt x="72" y="49"/>
                      </a:lnTo>
                      <a:lnTo>
                        <a:pt x="79" y="48"/>
                      </a:lnTo>
                      <a:lnTo>
                        <a:pt x="87" y="45"/>
                      </a:lnTo>
                      <a:lnTo>
                        <a:pt x="97" y="39"/>
                      </a:lnTo>
                      <a:lnTo>
                        <a:pt x="106" y="31"/>
                      </a:lnTo>
                      <a:lnTo>
                        <a:pt x="101" y="30"/>
                      </a:lnTo>
                      <a:lnTo>
                        <a:pt x="98" y="28"/>
                      </a:lnTo>
                      <a:lnTo>
                        <a:pt x="93" y="25"/>
                      </a:lnTo>
                      <a:lnTo>
                        <a:pt x="90" y="22"/>
                      </a:lnTo>
                      <a:lnTo>
                        <a:pt x="88" y="19"/>
                      </a:lnTo>
                      <a:lnTo>
                        <a:pt x="84" y="16"/>
                      </a:lnTo>
                      <a:lnTo>
                        <a:pt x="82" y="14"/>
                      </a:lnTo>
                      <a:lnTo>
                        <a:pt x="80" y="13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77" name="Freeform 399">
                  <a:extLst>
                    <a:ext uri="{FF2B5EF4-FFF2-40B4-BE49-F238E27FC236}">
                      <a16:creationId xmlns="" xmlns:a16="http://schemas.microsoft.com/office/drawing/2014/main" id="{5639762B-2BDB-4C5A-9054-D2450C5BE7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99" y="1713"/>
                  <a:ext cx="15" cy="7"/>
                </a:xfrm>
                <a:custGeom>
                  <a:avLst/>
                  <a:gdLst>
                    <a:gd name="T0" fmla="*/ 0 w 47"/>
                    <a:gd name="T1" fmla="*/ 0 h 22"/>
                    <a:gd name="T2" fmla="*/ 0 w 47"/>
                    <a:gd name="T3" fmla="*/ 0 h 22"/>
                    <a:gd name="T4" fmla="*/ 0 w 47"/>
                    <a:gd name="T5" fmla="*/ 0 h 22"/>
                    <a:gd name="T6" fmla="*/ 0 w 47"/>
                    <a:gd name="T7" fmla="*/ 0 h 22"/>
                    <a:gd name="T8" fmla="*/ 0 w 47"/>
                    <a:gd name="T9" fmla="*/ 0 h 22"/>
                    <a:gd name="T10" fmla="*/ 0 w 47"/>
                    <a:gd name="T11" fmla="*/ 0 h 22"/>
                    <a:gd name="T12" fmla="*/ 0 w 47"/>
                    <a:gd name="T13" fmla="*/ 0 h 22"/>
                    <a:gd name="T14" fmla="*/ 0 w 47"/>
                    <a:gd name="T15" fmla="*/ 0 h 22"/>
                    <a:gd name="T16" fmla="*/ 0 w 47"/>
                    <a:gd name="T17" fmla="*/ 0 h 22"/>
                    <a:gd name="T18" fmla="*/ 0 w 47"/>
                    <a:gd name="T19" fmla="*/ 0 h 22"/>
                    <a:gd name="T20" fmla="*/ 0 w 47"/>
                    <a:gd name="T21" fmla="*/ 0 h 22"/>
                    <a:gd name="T22" fmla="*/ 0 w 47"/>
                    <a:gd name="T23" fmla="*/ 0 h 22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47"/>
                    <a:gd name="T37" fmla="*/ 0 h 22"/>
                    <a:gd name="T38" fmla="*/ 47 w 47"/>
                    <a:gd name="T39" fmla="*/ 22 h 22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47" h="22">
                      <a:moveTo>
                        <a:pt x="0" y="19"/>
                      </a:moveTo>
                      <a:lnTo>
                        <a:pt x="5" y="21"/>
                      </a:lnTo>
                      <a:lnTo>
                        <a:pt x="12" y="22"/>
                      </a:lnTo>
                      <a:lnTo>
                        <a:pt x="18" y="22"/>
                      </a:lnTo>
                      <a:lnTo>
                        <a:pt x="26" y="21"/>
                      </a:lnTo>
                      <a:lnTo>
                        <a:pt x="33" y="19"/>
                      </a:lnTo>
                      <a:lnTo>
                        <a:pt x="38" y="15"/>
                      </a:lnTo>
                      <a:lnTo>
                        <a:pt x="41" y="12"/>
                      </a:lnTo>
                      <a:lnTo>
                        <a:pt x="44" y="9"/>
                      </a:lnTo>
                      <a:lnTo>
                        <a:pt x="45" y="5"/>
                      </a:lnTo>
                      <a:lnTo>
                        <a:pt x="47" y="0"/>
                      </a:lnTo>
                      <a:lnTo>
                        <a:pt x="0" y="19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78" name="Freeform 400">
                  <a:extLst>
                    <a:ext uri="{FF2B5EF4-FFF2-40B4-BE49-F238E27FC236}">
                      <a16:creationId xmlns="" xmlns:a16="http://schemas.microsoft.com/office/drawing/2014/main" id="{8EABE140-590E-47AF-B14B-C088E6B3A7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08" y="1742"/>
                  <a:ext cx="17" cy="11"/>
                </a:xfrm>
                <a:custGeom>
                  <a:avLst/>
                  <a:gdLst>
                    <a:gd name="T0" fmla="*/ 0 w 53"/>
                    <a:gd name="T1" fmla="*/ 0 h 32"/>
                    <a:gd name="T2" fmla="*/ 0 w 53"/>
                    <a:gd name="T3" fmla="*/ 0 h 32"/>
                    <a:gd name="T4" fmla="*/ 0 w 53"/>
                    <a:gd name="T5" fmla="*/ 0 h 32"/>
                    <a:gd name="T6" fmla="*/ 0 w 53"/>
                    <a:gd name="T7" fmla="*/ 0 h 32"/>
                    <a:gd name="T8" fmla="*/ 0 w 53"/>
                    <a:gd name="T9" fmla="*/ 0 h 32"/>
                    <a:gd name="T10" fmla="*/ 0 w 53"/>
                    <a:gd name="T11" fmla="*/ 0 h 32"/>
                    <a:gd name="T12" fmla="*/ 0 w 53"/>
                    <a:gd name="T13" fmla="*/ 0 h 32"/>
                    <a:gd name="T14" fmla="*/ 0 w 53"/>
                    <a:gd name="T15" fmla="*/ 0 h 32"/>
                    <a:gd name="T16" fmla="*/ 0 w 53"/>
                    <a:gd name="T17" fmla="*/ 0 h 32"/>
                    <a:gd name="T18" fmla="*/ 0 w 53"/>
                    <a:gd name="T19" fmla="*/ 0 h 32"/>
                    <a:gd name="T20" fmla="*/ 0 w 53"/>
                    <a:gd name="T21" fmla="*/ 0 h 32"/>
                    <a:gd name="T22" fmla="*/ 0 w 53"/>
                    <a:gd name="T23" fmla="*/ 0 h 32"/>
                    <a:gd name="T24" fmla="*/ 0 w 53"/>
                    <a:gd name="T25" fmla="*/ 0 h 3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53"/>
                    <a:gd name="T40" fmla="*/ 0 h 32"/>
                    <a:gd name="T41" fmla="*/ 53 w 53"/>
                    <a:gd name="T42" fmla="*/ 32 h 3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53" h="32">
                      <a:moveTo>
                        <a:pt x="53" y="0"/>
                      </a:moveTo>
                      <a:lnTo>
                        <a:pt x="37" y="9"/>
                      </a:lnTo>
                      <a:lnTo>
                        <a:pt x="23" y="18"/>
                      </a:lnTo>
                      <a:lnTo>
                        <a:pt x="11" y="26"/>
                      </a:lnTo>
                      <a:lnTo>
                        <a:pt x="0" y="32"/>
                      </a:lnTo>
                      <a:lnTo>
                        <a:pt x="13" y="32"/>
                      </a:lnTo>
                      <a:lnTo>
                        <a:pt x="26" y="32"/>
                      </a:lnTo>
                      <a:lnTo>
                        <a:pt x="39" y="32"/>
                      </a:lnTo>
                      <a:lnTo>
                        <a:pt x="53" y="32"/>
                      </a:lnTo>
                      <a:lnTo>
                        <a:pt x="53" y="24"/>
                      </a:lnTo>
                      <a:lnTo>
                        <a:pt x="53" y="16"/>
                      </a:lnTo>
                      <a:lnTo>
                        <a:pt x="53" y="9"/>
                      </a:lnTo>
                      <a:lnTo>
                        <a:pt x="53" y="0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79" name="Freeform 401">
                  <a:extLst>
                    <a:ext uri="{FF2B5EF4-FFF2-40B4-BE49-F238E27FC236}">
                      <a16:creationId xmlns="" xmlns:a16="http://schemas.microsoft.com/office/drawing/2014/main" id="{512048A3-A4E7-4ACB-B40A-A5B4CF48B9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50" y="1438"/>
                  <a:ext cx="14" cy="12"/>
                </a:xfrm>
                <a:custGeom>
                  <a:avLst/>
                  <a:gdLst>
                    <a:gd name="T0" fmla="*/ 0 w 46"/>
                    <a:gd name="T1" fmla="*/ 0 h 34"/>
                    <a:gd name="T2" fmla="*/ 0 w 46"/>
                    <a:gd name="T3" fmla="*/ 0 h 34"/>
                    <a:gd name="T4" fmla="*/ 0 w 46"/>
                    <a:gd name="T5" fmla="*/ 0 h 34"/>
                    <a:gd name="T6" fmla="*/ 0 w 46"/>
                    <a:gd name="T7" fmla="*/ 0 h 34"/>
                    <a:gd name="T8" fmla="*/ 0 w 46"/>
                    <a:gd name="T9" fmla="*/ 0 h 34"/>
                    <a:gd name="T10" fmla="*/ 0 w 46"/>
                    <a:gd name="T11" fmla="*/ 0 h 34"/>
                    <a:gd name="T12" fmla="*/ 0 w 46"/>
                    <a:gd name="T13" fmla="*/ 0 h 34"/>
                    <a:gd name="T14" fmla="*/ 0 w 46"/>
                    <a:gd name="T15" fmla="*/ 0 h 34"/>
                    <a:gd name="T16" fmla="*/ 0 w 46"/>
                    <a:gd name="T17" fmla="*/ 0 h 34"/>
                    <a:gd name="T18" fmla="*/ 0 w 46"/>
                    <a:gd name="T19" fmla="*/ 0 h 34"/>
                    <a:gd name="T20" fmla="*/ 0 w 46"/>
                    <a:gd name="T21" fmla="*/ 0 h 34"/>
                    <a:gd name="T22" fmla="*/ 0 w 46"/>
                    <a:gd name="T23" fmla="*/ 0 h 34"/>
                    <a:gd name="T24" fmla="*/ 0 w 46"/>
                    <a:gd name="T25" fmla="*/ 0 h 34"/>
                    <a:gd name="T26" fmla="*/ 0 w 46"/>
                    <a:gd name="T27" fmla="*/ 0 h 34"/>
                    <a:gd name="T28" fmla="*/ 0 w 46"/>
                    <a:gd name="T29" fmla="*/ 0 h 34"/>
                    <a:gd name="T30" fmla="*/ 0 w 46"/>
                    <a:gd name="T31" fmla="*/ 0 h 34"/>
                    <a:gd name="T32" fmla="*/ 0 w 46"/>
                    <a:gd name="T33" fmla="*/ 0 h 34"/>
                    <a:gd name="T34" fmla="*/ 0 w 46"/>
                    <a:gd name="T35" fmla="*/ 0 h 34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46"/>
                    <a:gd name="T55" fmla="*/ 0 h 34"/>
                    <a:gd name="T56" fmla="*/ 46 w 46"/>
                    <a:gd name="T57" fmla="*/ 34 h 34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46" h="34">
                      <a:moveTo>
                        <a:pt x="27" y="3"/>
                      </a:moveTo>
                      <a:lnTo>
                        <a:pt x="0" y="16"/>
                      </a:lnTo>
                      <a:lnTo>
                        <a:pt x="0" y="34"/>
                      </a:lnTo>
                      <a:lnTo>
                        <a:pt x="27" y="34"/>
                      </a:lnTo>
                      <a:lnTo>
                        <a:pt x="31" y="32"/>
                      </a:lnTo>
                      <a:lnTo>
                        <a:pt x="35" y="28"/>
                      </a:lnTo>
                      <a:lnTo>
                        <a:pt x="39" y="25"/>
                      </a:lnTo>
                      <a:lnTo>
                        <a:pt x="42" y="21"/>
                      </a:lnTo>
                      <a:lnTo>
                        <a:pt x="44" y="17"/>
                      </a:lnTo>
                      <a:lnTo>
                        <a:pt x="45" y="13"/>
                      </a:lnTo>
                      <a:lnTo>
                        <a:pt x="46" y="8"/>
                      </a:lnTo>
                      <a:lnTo>
                        <a:pt x="46" y="3"/>
                      </a:lnTo>
                      <a:lnTo>
                        <a:pt x="46" y="1"/>
                      </a:lnTo>
                      <a:lnTo>
                        <a:pt x="44" y="0"/>
                      </a:lnTo>
                      <a:lnTo>
                        <a:pt x="42" y="0"/>
                      </a:lnTo>
                      <a:lnTo>
                        <a:pt x="39" y="0"/>
                      </a:lnTo>
                      <a:lnTo>
                        <a:pt x="32" y="2"/>
                      </a:lnTo>
                      <a:lnTo>
                        <a:pt x="27" y="3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80" name="Freeform 402">
                  <a:extLst>
                    <a:ext uri="{FF2B5EF4-FFF2-40B4-BE49-F238E27FC236}">
                      <a16:creationId xmlns="" xmlns:a16="http://schemas.microsoft.com/office/drawing/2014/main" id="{11F24B40-CCC1-46A2-9B98-8D3DA56D77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5" y="1224"/>
                  <a:ext cx="16" cy="8"/>
                </a:xfrm>
                <a:custGeom>
                  <a:avLst/>
                  <a:gdLst>
                    <a:gd name="T0" fmla="*/ 0 w 48"/>
                    <a:gd name="T1" fmla="*/ 0 h 25"/>
                    <a:gd name="T2" fmla="*/ 0 w 48"/>
                    <a:gd name="T3" fmla="*/ 0 h 25"/>
                    <a:gd name="T4" fmla="*/ 0 w 48"/>
                    <a:gd name="T5" fmla="*/ 0 h 25"/>
                    <a:gd name="T6" fmla="*/ 0 w 48"/>
                    <a:gd name="T7" fmla="*/ 0 h 25"/>
                    <a:gd name="T8" fmla="*/ 0 w 48"/>
                    <a:gd name="T9" fmla="*/ 0 h 25"/>
                    <a:gd name="T10" fmla="*/ 0 w 48"/>
                    <a:gd name="T11" fmla="*/ 0 h 25"/>
                    <a:gd name="T12" fmla="*/ 0 w 48"/>
                    <a:gd name="T13" fmla="*/ 0 h 25"/>
                    <a:gd name="T14" fmla="*/ 0 w 48"/>
                    <a:gd name="T15" fmla="*/ 0 h 25"/>
                    <a:gd name="T16" fmla="*/ 0 w 48"/>
                    <a:gd name="T17" fmla="*/ 0 h 25"/>
                    <a:gd name="T18" fmla="*/ 0 w 48"/>
                    <a:gd name="T19" fmla="*/ 0 h 25"/>
                    <a:gd name="T20" fmla="*/ 0 w 48"/>
                    <a:gd name="T21" fmla="*/ 0 h 25"/>
                    <a:gd name="T22" fmla="*/ 0 w 48"/>
                    <a:gd name="T23" fmla="*/ 0 h 25"/>
                    <a:gd name="T24" fmla="*/ 0 w 48"/>
                    <a:gd name="T25" fmla="*/ 0 h 25"/>
                    <a:gd name="T26" fmla="*/ 0 w 48"/>
                    <a:gd name="T27" fmla="*/ 0 h 25"/>
                    <a:gd name="T28" fmla="*/ 0 w 48"/>
                    <a:gd name="T29" fmla="*/ 0 h 25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48"/>
                    <a:gd name="T46" fmla="*/ 0 h 25"/>
                    <a:gd name="T47" fmla="*/ 48 w 48"/>
                    <a:gd name="T48" fmla="*/ 25 h 25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48" h="25">
                      <a:moveTo>
                        <a:pt x="0" y="25"/>
                      </a:moveTo>
                      <a:lnTo>
                        <a:pt x="14" y="25"/>
                      </a:lnTo>
                      <a:lnTo>
                        <a:pt x="28" y="25"/>
                      </a:lnTo>
                      <a:lnTo>
                        <a:pt x="30" y="24"/>
                      </a:lnTo>
                      <a:lnTo>
                        <a:pt x="33" y="22"/>
                      </a:lnTo>
                      <a:lnTo>
                        <a:pt x="37" y="18"/>
                      </a:lnTo>
                      <a:lnTo>
                        <a:pt x="40" y="15"/>
                      </a:lnTo>
                      <a:lnTo>
                        <a:pt x="45" y="7"/>
                      </a:lnTo>
                      <a:lnTo>
                        <a:pt x="48" y="0"/>
                      </a:lnTo>
                      <a:lnTo>
                        <a:pt x="40" y="1"/>
                      </a:lnTo>
                      <a:lnTo>
                        <a:pt x="33" y="2"/>
                      </a:lnTo>
                      <a:lnTo>
                        <a:pt x="28" y="5"/>
                      </a:lnTo>
                      <a:lnTo>
                        <a:pt x="21" y="8"/>
                      </a:lnTo>
                      <a:lnTo>
                        <a:pt x="11" y="16"/>
                      </a:lnTo>
                      <a:lnTo>
                        <a:pt x="0" y="25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81" name="Freeform 403">
                  <a:extLst>
                    <a:ext uri="{FF2B5EF4-FFF2-40B4-BE49-F238E27FC236}">
                      <a16:creationId xmlns="" xmlns:a16="http://schemas.microsoft.com/office/drawing/2014/main" id="{F49B0FEB-51CC-42D8-9208-80C30BD396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43" y="1188"/>
                  <a:ext cx="8" cy="11"/>
                </a:xfrm>
                <a:custGeom>
                  <a:avLst/>
                  <a:gdLst>
                    <a:gd name="T0" fmla="*/ 0 w 30"/>
                    <a:gd name="T1" fmla="*/ 0 h 37"/>
                    <a:gd name="T2" fmla="*/ 0 w 30"/>
                    <a:gd name="T3" fmla="*/ 0 h 37"/>
                    <a:gd name="T4" fmla="*/ 0 w 30"/>
                    <a:gd name="T5" fmla="*/ 0 h 37"/>
                    <a:gd name="T6" fmla="*/ 0 w 30"/>
                    <a:gd name="T7" fmla="*/ 0 h 37"/>
                    <a:gd name="T8" fmla="*/ 0 w 30"/>
                    <a:gd name="T9" fmla="*/ 0 h 37"/>
                    <a:gd name="T10" fmla="*/ 0 w 30"/>
                    <a:gd name="T11" fmla="*/ 0 h 37"/>
                    <a:gd name="T12" fmla="*/ 0 w 30"/>
                    <a:gd name="T13" fmla="*/ 0 h 37"/>
                    <a:gd name="T14" fmla="*/ 0 w 30"/>
                    <a:gd name="T15" fmla="*/ 0 h 37"/>
                    <a:gd name="T16" fmla="*/ 0 w 30"/>
                    <a:gd name="T17" fmla="*/ 0 h 37"/>
                    <a:gd name="T18" fmla="*/ 0 w 30"/>
                    <a:gd name="T19" fmla="*/ 0 h 37"/>
                    <a:gd name="T20" fmla="*/ 0 w 30"/>
                    <a:gd name="T21" fmla="*/ 0 h 37"/>
                    <a:gd name="T22" fmla="*/ 0 w 30"/>
                    <a:gd name="T23" fmla="*/ 0 h 37"/>
                    <a:gd name="T24" fmla="*/ 0 w 30"/>
                    <a:gd name="T25" fmla="*/ 0 h 3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30"/>
                    <a:gd name="T40" fmla="*/ 0 h 37"/>
                    <a:gd name="T41" fmla="*/ 30 w 30"/>
                    <a:gd name="T42" fmla="*/ 37 h 3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30" h="37">
                      <a:moveTo>
                        <a:pt x="0" y="0"/>
                      </a:moveTo>
                      <a:lnTo>
                        <a:pt x="0" y="37"/>
                      </a:lnTo>
                      <a:lnTo>
                        <a:pt x="11" y="36"/>
                      </a:lnTo>
                      <a:lnTo>
                        <a:pt x="20" y="34"/>
                      </a:lnTo>
                      <a:lnTo>
                        <a:pt x="22" y="33"/>
                      </a:lnTo>
                      <a:lnTo>
                        <a:pt x="26" y="32"/>
                      </a:lnTo>
                      <a:lnTo>
                        <a:pt x="28" y="30"/>
                      </a:lnTo>
                      <a:lnTo>
                        <a:pt x="29" y="28"/>
                      </a:lnTo>
                      <a:lnTo>
                        <a:pt x="30" y="23"/>
                      </a:lnTo>
                      <a:lnTo>
                        <a:pt x="30" y="16"/>
                      </a:lnTo>
                      <a:lnTo>
                        <a:pt x="29" y="9"/>
                      </a:lnTo>
                      <a:lnTo>
                        <a:pt x="27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82" name="Freeform 404">
                  <a:extLst>
                    <a:ext uri="{FF2B5EF4-FFF2-40B4-BE49-F238E27FC236}">
                      <a16:creationId xmlns="" xmlns:a16="http://schemas.microsoft.com/office/drawing/2014/main" id="{F1D07649-EAF7-4CDA-ABE5-135DDFE686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34" y="1208"/>
                  <a:ext cx="36" cy="16"/>
                </a:xfrm>
                <a:custGeom>
                  <a:avLst/>
                  <a:gdLst>
                    <a:gd name="T0" fmla="*/ 0 w 113"/>
                    <a:gd name="T1" fmla="*/ 0 h 46"/>
                    <a:gd name="T2" fmla="*/ 0 w 113"/>
                    <a:gd name="T3" fmla="*/ 0 h 46"/>
                    <a:gd name="T4" fmla="*/ 0 w 113"/>
                    <a:gd name="T5" fmla="*/ 0 h 46"/>
                    <a:gd name="T6" fmla="*/ 0 w 113"/>
                    <a:gd name="T7" fmla="*/ 0 h 46"/>
                    <a:gd name="T8" fmla="*/ 0 w 113"/>
                    <a:gd name="T9" fmla="*/ 0 h 46"/>
                    <a:gd name="T10" fmla="*/ 0 w 113"/>
                    <a:gd name="T11" fmla="*/ 0 h 46"/>
                    <a:gd name="T12" fmla="*/ 0 w 113"/>
                    <a:gd name="T13" fmla="*/ 0 h 46"/>
                    <a:gd name="T14" fmla="*/ 0 w 113"/>
                    <a:gd name="T15" fmla="*/ 0 h 46"/>
                    <a:gd name="T16" fmla="*/ 0 w 113"/>
                    <a:gd name="T17" fmla="*/ 0 h 46"/>
                    <a:gd name="T18" fmla="*/ 0 w 113"/>
                    <a:gd name="T19" fmla="*/ 0 h 46"/>
                    <a:gd name="T20" fmla="*/ 0 w 113"/>
                    <a:gd name="T21" fmla="*/ 0 h 46"/>
                    <a:gd name="T22" fmla="*/ 0 w 113"/>
                    <a:gd name="T23" fmla="*/ 0 h 46"/>
                    <a:gd name="T24" fmla="*/ 0 w 113"/>
                    <a:gd name="T25" fmla="*/ 0 h 46"/>
                    <a:gd name="T26" fmla="*/ 0 w 113"/>
                    <a:gd name="T27" fmla="*/ 0 h 46"/>
                    <a:gd name="T28" fmla="*/ 0 w 113"/>
                    <a:gd name="T29" fmla="*/ 0 h 46"/>
                    <a:gd name="T30" fmla="*/ 0 w 113"/>
                    <a:gd name="T31" fmla="*/ 0 h 46"/>
                    <a:gd name="T32" fmla="*/ 0 w 113"/>
                    <a:gd name="T33" fmla="*/ 0 h 46"/>
                    <a:gd name="T34" fmla="*/ 0 w 113"/>
                    <a:gd name="T35" fmla="*/ 0 h 46"/>
                    <a:gd name="T36" fmla="*/ 0 w 113"/>
                    <a:gd name="T37" fmla="*/ 0 h 46"/>
                    <a:gd name="T38" fmla="*/ 0 w 113"/>
                    <a:gd name="T39" fmla="*/ 0 h 46"/>
                    <a:gd name="T40" fmla="*/ 0 w 113"/>
                    <a:gd name="T41" fmla="*/ 0 h 46"/>
                    <a:gd name="T42" fmla="*/ 0 w 113"/>
                    <a:gd name="T43" fmla="*/ 0 h 46"/>
                    <a:gd name="T44" fmla="*/ 0 w 113"/>
                    <a:gd name="T45" fmla="*/ 0 h 46"/>
                    <a:gd name="T46" fmla="*/ 0 w 113"/>
                    <a:gd name="T47" fmla="*/ 0 h 46"/>
                    <a:gd name="T48" fmla="*/ 0 w 113"/>
                    <a:gd name="T49" fmla="*/ 0 h 46"/>
                    <a:gd name="T50" fmla="*/ 0 w 113"/>
                    <a:gd name="T51" fmla="*/ 0 h 46"/>
                    <a:gd name="T52" fmla="*/ 0 w 113"/>
                    <a:gd name="T53" fmla="*/ 0 h 46"/>
                    <a:gd name="T54" fmla="*/ 0 w 113"/>
                    <a:gd name="T55" fmla="*/ 0 h 46"/>
                    <a:gd name="T56" fmla="*/ 0 w 113"/>
                    <a:gd name="T57" fmla="*/ 0 h 46"/>
                    <a:gd name="T58" fmla="*/ 0 w 113"/>
                    <a:gd name="T59" fmla="*/ 0 h 46"/>
                    <a:gd name="T60" fmla="*/ 0 w 113"/>
                    <a:gd name="T61" fmla="*/ 0 h 4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113"/>
                    <a:gd name="T94" fmla="*/ 0 h 46"/>
                    <a:gd name="T95" fmla="*/ 113 w 113"/>
                    <a:gd name="T96" fmla="*/ 46 h 46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113" h="46">
                      <a:moveTo>
                        <a:pt x="33" y="3"/>
                      </a:moveTo>
                      <a:lnTo>
                        <a:pt x="22" y="3"/>
                      </a:lnTo>
                      <a:lnTo>
                        <a:pt x="12" y="5"/>
                      </a:lnTo>
                      <a:lnTo>
                        <a:pt x="7" y="7"/>
                      </a:lnTo>
                      <a:lnTo>
                        <a:pt x="3" y="11"/>
                      </a:lnTo>
                      <a:lnTo>
                        <a:pt x="1" y="15"/>
                      </a:lnTo>
                      <a:lnTo>
                        <a:pt x="0" y="21"/>
                      </a:lnTo>
                      <a:lnTo>
                        <a:pt x="6" y="27"/>
                      </a:lnTo>
                      <a:lnTo>
                        <a:pt x="10" y="33"/>
                      </a:lnTo>
                      <a:lnTo>
                        <a:pt x="16" y="37"/>
                      </a:lnTo>
                      <a:lnTo>
                        <a:pt x="20" y="41"/>
                      </a:lnTo>
                      <a:lnTo>
                        <a:pt x="25" y="43"/>
                      </a:lnTo>
                      <a:lnTo>
                        <a:pt x="30" y="45"/>
                      </a:lnTo>
                      <a:lnTo>
                        <a:pt x="35" y="46"/>
                      </a:lnTo>
                      <a:lnTo>
                        <a:pt x="40" y="46"/>
                      </a:lnTo>
                      <a:lnTo>
                        <a:pt x="56" y="46"/>
                      </a:lnTo>
                      <a:lnTo>
                        <a:pt x="70" y="43"/>
                      </a:lnTo>
                      <a:lnTo>
                        <a:pt x="76" y="41"/>
                      </a:lnTo>
                      <a:lnTo>
                        <a:pt x="81" y="38"/>
                      </a:lnTo>
                      <a:lnTo>
                        <a:pt x="87" y="36"/>
                      </a:lnTo>
                      <a:lnTo>
                        <a:pt x="91" y="33"/>
                      </a:lnTo>
                      <a:lnTo>
                        <a:pt x="99" y="27"/>
                      </a:lnTo>
                      <a:lnTo>
                        <a:pt x="106" y="20"/>
                      </a:lnTo>
                      <a:lnTo>
                        <a:pt x="110" y="12"/>
                      </a:lnTo>
                      <a:lnTo>
                        <a:pt x="113" y="3"/>
                      </a:lnTo>
                      <a:lnTo>
                        <a:pt x="99" y="1"/>
                      </a:lnTo>
                      <a:lnTo>
                        <a:pt x="87" y="0"/>
                      </a:lnTo>
                      <a:lnTo>
                        <a:pt x="76" y="0"/>
                      </a:lnTo>
                      <a:lnTo>
                        <a:pt x="66" y="1"/>
                      </a:lnTo>
                      <a:lnTo>
                        <a:pt x="48" y="2"/>
                      </a:lnTo>
                      <a:lnTo>
                        <a:pt x="33" y="3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83" name="Freeform 405">
                  <a:extLst>
                    <a:ext uri="{FF2B5EF4-FFF2-40B4-BE49-F238E27FC236}">
                      <a16:creationId xmlns="" xmlns:a16="http://schemas.microsoft.com/office/drawing/2014/main" id="{C67E9B51-1E29-4D2B-A1D3-EE6D07ADF6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65" y="1201"/>
                  <a:ext cx="49" cy="28"/>
                </a:xfrm>
                <a:custGeom>
                  <a:avLst/>
                  <a:gdLst>
                    <a:gd name="T0" fmla="*/ 0 w 153"/>
                    <a:gd name="T1" fmla="*/ 0 h 82"/>
                    <a:gd name="T2" fmla="*/ 0 w 153"/>
                    <a:gd name="T3" fmla="*/ 0 h 82"/>
                    <a:gd name="T4" fmla="*/ 0 w 153"/>
                    <a:gd name="T5" fmla="*/ 0 h 82"/>
                    <a:gd name="T6" fmla="*/ 0 w 153"/>
                    <a:gd name="T7" fmla="*/ 0 h 82"/>
                    <a:gd name="T8" fmla="*/ 0 w 153"/>
                    <a:gd name="T9" fmla="*/ 0 h 82"/>
                    <a:gd name="T10" fmla="*/ 0 w 153"/>
                    <a:gd name="T11" fmla="*/ 0 h 82"/>
                    <a:gd name="T12" fmla="*/ 0 w 153"/>
                    <a:gd name="T13" fmla="*/ 0 h 82"/>
                    <a:gd name="T14" fmla="*/ 0 w 153"/>
                    <a:gd name="T15" fmla="*/ 0 h 82"/>
                    <a:gd name="T16" fmla="*/ 0 w 153"/>
                    <a:gd name="T17" fmla="*/ 0 h 82"/>
                    <a:gd name="T18" fmla="*/ 0 w 153"/>
                    <a:gd name="T19" fmla="*/ 0 h 82"/>
                    <a:gd name="T20" fmla="*/ 0 w 153"/>
                    <a:gd name="T21" fmla="*/ 0 h 82"/>
                    <a:gd name="T22" fmla="*/ 0 w 153"/>
                    <a:gd name="T23" fmla="*/ 0 h 82"/>
                    <a:gd name="T24" fmla="*/ 0 w 153"/>
                    <a:gd name="T25" fmla="*/ 0 h 82"/>
                    <a:gd name="T26" fmla="*/ 0 w 153"/>
                    <a:gd name="T27" fmla="*/ 0 h 82"/>
                    <a:gd name="T28" fmla="*/ 0 w 153"/>
                    <a:gd name="T29" fmla="*/ 0 h 82"/>
                    <a:gd name="T30" fmla="*/ 0 w 153"/>
                    <a:gd name="T31" fmla="*/ 0 h 82"/>
                    <a:gd name="T32" fmla="*/ 0 w 153"/>
                    <a:gd name="T33" fmla="*/ 0 h 82"/>
                    <a:gd name="T34" fmla="*/ 0 w 153"/>
                    <a:gd name="T35" fmla="*/ 0 h 82"/>
                    <a:gd name="T36" fmla="*/ 1 w 153"/>
                    <a:gd name="T37" fmla="*/ 0 h 82"/>
                    <a:gd name="T38" fmla="*/ 1 w 153"/>
                    <a:gd name="T39" fmla="*/ 0 h 82"/>
                    <a:gd name="T40" fmla="*/ 1 w 153"/>
                    <a:gd name="T41" fmla="*/ 0 h 82"/>
                    <a:gd name="T42" fmla="*/ 0 w 153"/>
                    <a:gd name="T43" fmla="*/ 0 h 82"/>
                    <a:gd name="T44" fmla="*/ 0 w 153"/>
                    <a:gd name="T45" fmla="*/ 0 h 82"/>
                    <a:gd name="T46" fmla="*/ 0 w 153"/>
                    <a:gd name="T47" fmla="*/ 0 h 82"/>
                    <a:gd name="T48" fmla="*/ 0 w 153"/>
                    <a:gd name="T49" fmla="*/ 0 h 82"/>
                    <a:gd name="T50" fmla="*/ 0 w 153"/>
                    <a:gd name="T51" fmla="*/ 0 h 82"/>
                    <a:gd name="T52" fmla="*/ 0 w 153"/>
                    <a:gd name="T53" fmla="*/ 0 h 82"/>
                    <a:gd name="T54" fmla="*/ 0 w 153"/>
                    <a:gd name="T55" fmla="*/ 0 h 82"/>
                    <a:gd name="T56" fmla="*/ 0 w 153"/>
                    <a:gd name="T57" fmla="*/ 0 h 82"/>
                    <a:gd name="T58" fmla="*/ 0 w 153"/>
                    <a:gd name="T59" fmla="*/ 0 h 82"/>
                    <a:gd name="T60" fmla="*/ 0 w 153"/>
                    <a:gd name="T61" fmla="*/ 0 h 82"/>
                    <a:gd name="T62" fmla="*/ 0 w 153"/>
                    <a:gd name="T63" fmla="*/ 0 h 82"/>
                    <a:gd name="T64" fmla="*/ 0 w 153"/>
                    <a:gd name="T65" fmla="*/ 0 h 82"/>
                    <a:gd name="T66" fmla="*/ 0 w 153"/>
                    <a:gd name="T67" fmla="*/ 0 h 82"/>
                    <a:gd name="T68" fmla="*/ 0 w 153"/>
                    <a:gd name="T69" fmla="*/ 0 h 82"/>
                    <a:gd name="T70" fmla="*/ 0 w 153"/>
                    <a:gd name="T71" fmla="*/ 0 h 82"/>
                    <a:gd name="T72" fmla="*/ 0 w 153"/>
                    <a:gd name="T73" fmla="*/ 0 h 82"/>
                    <a:gd name="T74" fmla="*/ 0 w 153"/>
                    <a:gd name="T75" fmla="*/ 0 h 82"/>
                    <a:gd name="T76" fmla="*/ 0 w 153"/>
                    <a:gd name="T77" fmla="*/ 0 h 82"/>
                    <a:gd name="T78" fmla="*/ 0 w 153"/>
                    <a:gd name="T79" fmla="*/ 0 h 82"/>
                    <a:gd name="T80" fmla="*/ 0 w 153"/>
                    <a:gd name="T81" fmla="*/ 0 h 82"/>
                    <a:gd name="T82" fmla="*/ 0 w 153"/>
                    <a:gd name="T83" fmla="*/ 0 h 82"/>
                    <a:gd name="T84" fmla="*/ 0 w 153"/>
                    <a:gd name="T85" fmla="*/ 0 h 82"/>
                    <a:gd name="T86" fmla="*/ 0 w 153"/>
                    <a:gd name="T87" fmla="*/ 0 h 82"/>
                    <a:gd name="T88" fmla="*/ 0 w 153"/>
                    <a:gd name="T89" fmla="*/ 0 h 82"/>
                    <a:gd name="T90" fmla="*/ 0 w 153"/>
                    <a:gd name="T91" fmla="*/ 0 h 82"/>
                    <a:gd name="T92" fmla="*/ 0 w 153"/>
                    <a:gd name="T93" fmla="*/ 0 h 82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153"/>
                    <a:gd name="T142" fmla="*/ 0 h 82"/>
                    <a:gd name="T143" fmla="*/ 153 w 153"/>
                    <a:gd name="T144" fmla="*/ 82 h 82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153" h="82">
                      <a:moveTo>
                        <a:pt x="0" y="79"/>
                      </a:moveTo>
                      <a:lnTo>
                        <a:pt x="2" y="81"/>
                      </a:lnTo>
                      <a:lnTo>
                        <a:pt x="6" y="82"/>
                      </a:lnTo>
                      <a:lnTo>
                        <a:pt x="10" y="82"/>
                      </a:lnTo>
                      <a:lnTo>
                        <a:pt x="14" y="82"/>
                      </a:lnTo>
                      <a:lnTo>
                        <a:pt x="23" y="80"/>
                      </a:lnTo>
                      <a:lnTo>
                        <a:pt x="33" y="79"/>
                      </a:lnTo>
                      <a:lnTo>
                        <a:pt x="40" y="79"/>
                      </a:lnTo>
                      <a:lnTo>
                        <a:pt x="47" y="78"/>
                      </a:lnTo>
                      <a:lnTo>
                        <a:pt x="56" y="76"/>
                      </a:lnTo>
                      <a:lnTo>
                        <a:pt x="65" y="74"/>
                      </a:lnTo>
                      <a:lnTo>
                        <a:pt x="83" y="68"/>
                      </a:lnTo>
                      <a:lnTo>
                        <a:pt x="103" y="59"/>
                      </a:lnTo>
                      <a:lnTo>
                        <a:pt x="112" y="54"/>
                      </a:lnTo>
                      <a:lnTo>
                        <a:pt x="121" y="49"/>
                      </a:lnTo>
                      <a:lnTo>
                        <a:pt x="129" y="43"/>
                      </a:lnTo>
                      <a:lnTo>
                        <a:pt x="136" y="38"/>
                      </a:lnTo>
                      <a:lnTo>
                        <a:pt x="142" y="32"/>
                      </a:lnTo>
                      <a:lnTo>
                        <a:pt x="147" y="25"/>
                      </a:lnTo>
                      <a:lnTo>
                        <a:pt x="150" y="19"/>
                      </a:lnTo>
                      <a:lnTo>
                        <a:pt x="153" y="12"/>
                      </a:lnTo>
                      <a:lnTo>
                        <a:pt x="134" y="8"/>
                      </a:lnTo>
                      <a:lnTo>
                        <a:pt x="115" y="3"/>
                      </a:lnTo>
                      <a:lnTo>
                        <a:pt x="96" y="1"/>
                      </a:lnTo>
                      <a:lnTo>
                        <a:pt x="77" y="0"/>
                      </a:lnTo>
                      <a:lnTo>
                        <a:pt x="68" y="1"/>
                      </a:lnTo>
                      <a:lnTo>
                        <a:pt x="60" y="1"/>
                      </a:lnTo>
                      <a:lnTo>
                        <a:pt x="52" y="2"/>
                      </a:lnTo>
                      <a:lnTo>
                        <a:pt x="45" y="4"/>
                      </a:lnTo>
                      <a:lnTo>
                        <a:pt x="38" y="7"/>
                      </a:lnTo>
                      <a:lnTo>
                        <a:pt x="34" y="10"/>
                      </a:lnTo>
                      <a:lnTo>
                        <a:pt x="30" y="14"/>
                      </a:lnTo>
                      <a:lnTo>
                        <a:pt x="26" y="18"/>
                      </a:lnTo>
                      <a:lnTo>
                        <a:pt x="32" y="23"/>
                      </a:lnTo>
                      <a:lnTo>
                        <a:pt x="36" y="29"/>
                      </a:lnTo>
                      <a:lnTo>
                        <a:pt x="38" y="32"/>
                      </a:lnTo>
                      <a:lnTo>
                        <a:pt x="42" y="34"/>
                      </a:lnTo>
                      <a:lnTo>
                        <a:pt x="44" y="36"/>
                      </a:lnTo>
                      <a:lnTo>
                        <a:pt x="46" y="36"/>
                      </a:lnTo>
                      <a:lnTo>
                        <a:pt x="40" y="41"/>
                      </a:lnTo>
                      <a:lnTo>
                        <a:pt x="33" y="46"/>
                      </a:lnTo>
                      <a:lnTo>
                        <a:pt x="29" y="52"/>
                      </a:lnTo>
                      <a:lnTo>
                        <a:pt x="23" y="57"/>
                      </a:lnTo>
                      <a:lnTo>
                        <a:pt x="18" y="64"/>
                      </a:lnTo>
                      <a:lnTo>
                        <a:pt x="13" y="69"/>
                      </a:lnTo>
                      <a:lnTo>
                        <a:pt x="7" y="75"/>
                      </a:lnTo>
                      <a:lnTo>
                        <a:pt x="0" y="79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84" name="Freeform 406">
                  <a:extLst>
                    <a:ext uri="{FF2B5EF4-FFF2-40B4-BE49-F238E27FC236}">
                      <a16:creationId xmlns="" xmlns:a16="http://schemas.microsoft.com/office/drawing/2014/main" id="{B4CD6843-ABB4-421A-9F4D-258017AE3E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4" y="1217"/>
                  <a:ext cx="29" cy="17"/>
                </a:xfrm>
                <a:custGeom>
                  <a:avLst/>
                  <a:gdLst>
                    <a:gd name="T0" fmla="*/ 0 w 86"/>
                    <a:gd name="T1" fmla="*/ 0 h 50"/>
                    <a:gd name="T2" fmla="*/ 0 w 86"/>
                    <a:gd name="T3" fmla="*/ 0 h 50"/>
                    <a:gd name="T4" fmla="*/ 0 w 86"/>
                    <a:gd name="T5" fmla="*/ 0 h 50"/>
                    <a:gd name="T6" fmla="*/ 0 w 86"/>
                    <a:gd name="T7" fmla="*/ 0 h 50"/>
                    <a:gd name="T8" fmla="*/ 0 w 86"/>
                    <a:gd name="T9" fmla="*/ 0 h 50"/>
                    <a:gd name="T10" fmla="*/ 0 w 86"/>
                    <a:gd name="T11" fmla="*/ 0 h 50"/>
                    <a:gd name="T12" fmla="*/ 0 w 86"/>
                    <a:gd name="T13" fmla="*/ 0 h 50"/>
                    <a:gd name="T14" fmla="*/ 0 w 86"/>
                    <a:gd name="T15" fmla="*/ 0 h 50"/>
                    <a:gd name="T16" fmla="*/ 0 w 86"/>
                    <a:gd name="T17" fmla="*/ 0 h 50"/>
                    <a:gd name="T18" fmla="*/ 0 w 86"/>
                    <a:gd name="T19" fmla="*/ 0 h 50"/>
                    <a:gd name="T20" fmla="*/ 0 w 86"/>
                    <a:gd name="T21" fmla="*/ 0 h 50"/>
                    <a:gd name="T22" fmla="*/ 0 w 86"/>
                    <a:gd name="T23" fmla="*/ 0 h 50"/>
                    <a:gd name="T24" fmla="*/ 0 w 86"/>
                    <a:gd name="T25" fmla="*/ 0 h 50"/>
                    <a:gd name="T26" fmla="*/ 0 w 86"/>
                    <a:gd name="T27" fmla="*/ 0 h 50"/>
                    <a:gd name="T28" fmla="*/ 0 w 86"/>
                    <a:gd name="T29" fmla="*/ 0 h 50"/>
                    <a:gd name="T30" fmla="*/ 0 w 86"/>
                    <a:gd name="T31" fmla="*/ 0 h 50"/>
                    <a:gd name="T32" fmla="*/ 0 w 86"/>
                    <a:gd name="T33" fmla="*/ 0 h 50"/>
                    <a:gd name="T34" fmla="*/ 0 w 86"/>
                    <a:gd name="T35" fmla="*/ 0 h 50"/>
                    <a:gd name="T36" fmla="*/ 0 w 86"/>
                    <a:gd name="T37" fmla="*/ 0 h 50"/>
                    <a:gd name="T38" fmla="*/ 0 w 86"/>
                    <a:gd name="T39" fmla="*/ 0 h 50"/>
                    <a:gd name="T40" fmla="*/ 0 w 86"/>
                    <a:gd name="T41" fmla="*/ 0 h 50"/>
                    <a:gd name="T42" fmla="*/ 0 w 86"/>
                    <a:gd name="T43" fmla="*/ 0 h 50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86"/>
                    <a:gd name="T67" fmla="*/ 0 h 50"/>
                    <a:gd name="T68" fmla="*/ 86 w 86"/>
                    <a:gd name="T69" fmla="*/ 50 h 50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86" h="50">
                      <a:moveTo>
                        <a:pt x="0" y="37"/>
                      </a:moveTo>
                      <a:lnTo>
                        <a:pt x="5" y="41"/>
                      </a:lnTo>
                      <a:lnTo>
                        <a:pt x="11" y="44"/>
                      </a:lnTo>
                      <a:lnTo>
                        <a:pt x="16" y="47"/>
                      </a:lnTo>
                      <a:lnTo>
                        <a:pt x="23" y="48"/>
                      </a:lnTo>
                      <a:lnTo>
                        <a:pt x="35" y="49"/>
                      </a:lnTo>
                      <a:lnTo>
                        <a:pt x="46" y="50"/>
                      </a:lnTo>
                      <a:lnTo>
                        <a:pt x="58" y="49"/>
                      </a:lnTo>
                      <a:lnTo>
                        <a:pt x="67" y="48"/>
                      </a:lnTo>
                      <a:lnTo>
                        <a:pt x="73" y="47"/>
                      </a:lnTo>
                      <a:lnTo>
                        <a:pt x="79" y="44"/>
                      </a:lnTo>
                      <a:lnTo>
                        <a:pt x="82" y="41"/>
                      </a:lnTo>
                      <a:lnTo>
                        <a:pt x="84" y="37"/>
                      </a:lnTo>
                      <a:lnTo>
                        <a:pt x="85" y="32"/>
                      </a:lnTo>
                      <a:lnTo>
                        <a:pt x="86" y="25"/>
                      </a:lnTo>
                      <a:lnTo>
                        <a:pt x="85" y="17"/>
                      </a:lnTo>
                      <a:lnTo>
                        <a:pt x="84" y="10"/>
                      </a:lnTo>
                      <a:lnTo>
                        <a:pt x="83" y="7"/>
                      </a:lnTo>
                      <a:lnTo>
                        <a:pt x="81" y="5"/>
                      </a:lnTo>
                      <a:lnTo>
                        <a:pt x="77" y="2"/>
                      </a:lnTo>
                      <a:lnTo>
                        <a:pt x="73" y="0"/>
                      </a:lnTo>
                      <a:lnTo>
                        <a:pt x="0" y="37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85" name="Freeform 407">
                  <a:extLst>
                    <a:ext uri="{FF2B5EF4-FFF2-40B4-BE49-F238E27FC236}">
                      <a16:creationId xmlns="" xmlns:a16="http://schemas.microsoft.com/office/drawing/2014/main" id="{6A30A321-EFB1-4E4E-9637-A169C7EC15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9" y="1163"/>
                  <a:ext cx="55" cy="25"/>
                </a:xfrm>
                <a:custGeom>
                  <a:avLst/>
                  <a:gdLst>
                    <a:gd name="T0" fmla="*/ 0 w 172"/>
                    <a:gd name="T1" fmla="*/ 0 h 74"/>
                    <a:gd name="T2" fmla="*/ 0 w 172"/>
                    <a:gd name="T3" fmla="*/ 0 h 74"/>
                    <a:gd name="T4" fmla="*/ 0 w 172"/>
                    <a:gd name="T5" fmla="*/ 0 h 74"/>
                    <a:gd name="T6" fmla="*/ 0 w 172"/>
                    <a:gd name="T7" fmla="*/ 0 h 74"/>
                    <a:gd name="T8" fmla="*/ 0 w 172"/>
                    <a:gd name="T9" fmla="*/ 0 h 74"/>
                    <a:gd name="T10" fmla="*/ 0 w 172"/>
                    <a:gd name="T11" fmla="*/ 0 h 74"/>
                    <a:gd name="T12" fmla="*/ 0 w 172"/>
                    <a:gd name="T13" fmla="*/ 0 h 74"/>
                    <a:gd name="T14" fmla="*/ 0 w 172"/>
                    <a:gd name="T15" fmla="*/ 0 h 74"/>
                    <a:gd name="T16" fmla="*/ 0 w 172"/>
                    <a:gd name="T17" fmla="*/ 0 h 74"/>
                    <a:gd name="T18" fmla="*/ 0 w 172"/>
                    <a:gd name="T19" fmla="*/ 0 h 74"/>
                    <a:gd name="T20" fmla="*/ 0 w 172"/>
                    <a:gd name="T21" fmla="*/ 0 h 74"/>
                    <a:gd name="T22" fmla="*/ 0 w 172"/>
                    <a:gd name="T23" fmla="*/ 0 h 74"/>
                    <a:gd name="T24" fmla="*/ 0 w 172"/>
                    <a:gd name="T25" fmla="*/ 0 h 74"/>
                    <a:gd name="T26" fmla="*/ 0 w 172"/>
                    <a:gd name="T27" fmla="*/ 0 h 74"/>
                    <a:gd name="T28" fmla="*/ 0 w 172"/>
                    <a:gd name="T29" fmla="*/ 0 h 74"/>
                    <a:gd name="T30" fmla="*/ 0 w 172"/>
                    <a:gd name="T31" fmla="*/ 0 h 74"/>
                    <a:gd name="T32" fmla="*/ 0 w 172"/>
                    <a:gd name="T33" fmla="*/ 0 h 74"/>
                    <a:gd name="T34" fmla="*/ 0 w 172"/>
                    <a:gd name="T35" fmla="*/ 0 h 74"/>
                    <a:gd name="T36" fmla="*/ 0 w 172"/>
                    <a:gd name="T37" fmla="*/ 0 h 74"/>
                    <a:gd name="T38" fmla="*/ 0 w 172"/>
                    <a:gd name="T39" fmla="*/ 0 h 74"/>
                    <a:gd name="T40" fmla="*/ 0 w 172"/>
                    <a:gd name="T41" fmla="*/ 0 h 74"/>
                    <a:gd name="T42" fmla="*/ 0 w 172"/>
                    <a:gd name="T43" fmla="*/ 0 h 74"/>
                    <a:gd name="T44" fmla="*/ 0 w 172"/>
                    <a:gd name="T45" fmla="*/ 0 h 74"/>
                    <a:gd name="T46" fmla="*/ 0 w 172"/>
                    <a:gd name="T47" fmla="*/ 0 h 74"/>
                    <a:gd name="T48" fmla="*/ 0 w 172"/>
                    <a:gd name="T49" fmla="*/ 0 h 74"/>
                    <a:gd name="T50" fmla="*/ 0 w 172"/>
                    <a:gd name="T51" fmla="*/ 0 h 74"/>
                    <a:gd name="T52" fmla="*/ 0 w 172"/>
                    <a:gd name="T53" fmla="*/ 0 h 74"/>
                    <a:gd name="T54" fmla="*/ 0 w 172"/>
                    <a:gd name="T55" fmla="*/ 0 h 74"/>
                    <a:gd name="T56" fmla="*/ 0 w 172"/>
                    <a:gd name="T57" fmla="*/ 0 h 74"/>
                    <a:gd name="T58" fmla="*/ 0 w 172"/>
                    <a:gd name="T59" fmla="*/ 0 h 74"/>
                    <a:gd name="T60" fmla="*/ 0 w 172"/>
                    <a:gd name="T61" fmla="*/ 0 h 74"/>
                    <a:gd name="T62" fmla="*/ 0 w 172"/>
                    <a:gd name="T63" fmla="*/ 0 h 74"/>
                    <a:gd name="T64" fmla="*/ 0 w 172"/>
                    <a:gd name="T65" fmla="*/ 0 h 74"/>
                    <a:gd name="T66" fmla="*/ 0 w 172"/>
                    <a:gd name="T67" fmla="*/ 0 h 74"/>
                    <a:gd name="T68" fmla="*/ 1 w 172"/>
                    <a:gd name="T69" fmla="*/ 0 h 74"/>
                    <a:gd name="T70" fmla="*/ 1 w 172"/>
                    <a:gd name="T71" fmla="*/ 0 h 74"/>
                    <a:gd name="T72" fmla="*/ 1 w 172"/>
                    <a:gd name="T73" fmla="*/ 0 h 74"/>
                    <a:gd name="T74" fmla="*/ 1 w 172"/>
                    <a:gd name="T75" fmla="*/ 0 h 74"/>
                    <a:gd name="T76" fmla="*/ 1 w 172"/>
                    <a:gd name="T77" fmla="*/ 0 h 74"/>
                    <a:gd name="T78" fmla="*/ 1 w 172"/>
                    <a:gd name="T79" fmla="*/ 0 h 74"/>
                    <a:gd name="T80" fmla="*/ 1 w 172"/>
                    <a:gd name="T81" fmla="*/ 0 h 74"/>
                    <a:gd name="T82" fmla="*/ 1 w 172"/>
                    <a:gd name="T83" fmla="*/ 0 h 74"/>
                    <a:gd name="T84" fmla="*/ 1 w 172"/>
                    <a:gd name="T85" fmla="*/ 0 h 74"/>
                    <a:gd name="T86" fmla="*/ 1 w 172"/>
                    <a:gd name="T87" fmla="*/ 0 h 74"/>
                    <a:gd name="T88" fmla="*/ 1 w 172"/>
                    <a:gd name="T89" fmla="*/ 0 h 74"/>
                    <a:gd name="T90" fmla="*/ 0 w 172"/>
                    <a:gd name="T91" fmla="*/ 0 h 74"/>
                    <a:gd name="T92" fmla="*/ 0 w 172"/>
                    <a:gd name="T93" fmla="*/ 0 h 74"/>
                    <a:gd name="T94" fmla="*/ 0 w 172"/>
                    <a:gd name="T95" fmla="*/ 0 h 74"/>
                    <a:gd name="T96" fmla="*/ 0 w 172"/>
                    <a:gd name="T97" fmla="*/ 0 h 74"/>
                    <a:gd name="T98" fmla="*/ 0 w 172"/>
                    <a:gd name="T99" fmla="*/ 0 h 74"/>
                    <a:gd name="T100" fmla="*/ 0 w 172"/>
                    <a:gd name="T101" fmla="*/ 0 h 74"/>
                    <a:gd name="T102" fmla="*/ 0 w 172"/>
                    <a:gd name="T103" fmla="*/ 0 h 74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172"/>
                    <a:gd name="T157" fmla="*/ 0 h 74"/>
                    <a:gd name="T158" fmla="*/ 172 w 172"/>
                    <a:gd name="T159" fmla="*/ 74 h 74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172" h="74">
                      <a:moveTo>
                        <a:pt x="119" y="61"/>
                      </a:moveTo>
                      <a:lnTo>
                        <a:pt x="109" y="61"/>
                      </a:lnTo>
                      <a:lnTo>
                        <a:pt x="99" y="61"/>
                      </a:lnTo>
                      <a:lnTo>
                        <a:pt x="90" y="61"/>
                      </a:lnTo>
                      <a:lnTo>
                        <a:pt x="80" y="61"/>
                      </a:lnTo>
                      <a:lnTo>
                        <a:pt x="60" y="74"/>
                      </a:lnTo>
                      <a:lnTo>
                        <a:pt x="33" y="74"/>
                      </a:lnTo>
                      <a:lnTo>
                        <a:pt x="36" y="61"/>
                      </a:lnTo>
                      <a:lnTo>
                        <a:pt x="39" y="49"/>
                      </a:lnTo>
                      <a:lnTo>
                        <a:pt x="30" y="49"/>
                      </a:lnTo>
                      <a:lnTo>
                        <a:pt x="23" y="48"/>
                      </a:lnTo>
                      <a:lnTo>
                        <a:pt x="15" y="47"/>
                      </a:lnTo>
                      <a:lnTo>
                        <a:pt x="9" y="45"/>
                      </a:lnTo>
                      <a:lnTo>
                        <a:pt x="5" y="42"/>
                      </a:lnTo>
                      <a:lnTo>
                        <a:pt x="2" y="39"/>
                      </a:lnTo>
                      <a:lnTo>
                        <a:pt x="1" y="35"/>
                      </a:lnTo>
                      <a:lnTo>
                        <a:pt x="0" y="31"/>
                      </a:lnTo>
                      <a:lnTo>
                        <a:pt x="1" y="26"/>
                      </a:lnTo>
                      <a:lnTo>
                        <a:pt x="2" y="21"/>
                      </a:lnTo>
                      <a:lnTo>
                        <a:pt x="5" y="17"/>
                      </a:lnTo>
                      <a:lnTo>
                        <a:pt x="8" y="14"/>
                      </a:lnTo>
                      <a:lnTo>
                        <a:pt x="13" y="10"/>
                      </a:lnTo>
                      <a:lnTo>
                        <a:pt x="18" y="7"/>
                      </a:lnTo>
                      <a:lnTo>
                        <a:pt x="24" y="5"/>
                      </a:lnTo>
                      <a:lnTo>
                        <a:pt x="29" y="4"/>
                      </a:lnTo>
                      <a:lnTo>
                        <a:pt x="42" y="1"/>
                      </a:lnTo>
                      <a:lnTo>
                        <a:pt x="56" y="0"/>
                      </a:lnTo>
                      <a:lnTo>
                        <a:pt x="69" y="0"/>
                      </a:lnTo>
                      <a:lnTo>
                        <a:pt x="80" y="0"/>
                      </a:lnTo>
                      <a:lnTo>
                        <a:pt x="94" y="1"/>
                      </a:lnTo>
                      <a:lnTo>
                        <a:pt x="106" y="4"/>
                      </a:lnTo>
                      <a:lnTo>
                        <a:pt x="117" y="7"/>
                      </a:lnTo>
                      <a:lnTo>
                        <a:pt x="128" y="13"/>
                      </a:lnTo>
                      <a:lnTo>
                        <a:pt x="139" y="17"/>
                      </a:lnTo>
                      <a:lnTo>
                        <a:pt x="150" y="21"/>
                      </a:lnTo>
                      <a:lnTo>
                        <a:pt x="161" y="24"/>
                      </a:lnTo>
                      <a:lnTo>
                        <a:pt x="172" y="25"/>
                      </a:lnTo>
                      <a:lnTo>
                        <a:pt x="172" y="43"/>
                      </a:lnTo>
                      <a:lnTo>
                        <a:pt x="169" y="48"/>
                      </a:lnTo>
                      <a:lnTo>
                        <a:pt x="165" y="53"/>
                      </a:lnTo>
                      <a:lnTo>
                        <a:pt x="161" y="57"/>
                      </a:lnTo>
                      <a:lnTo>
                        <a:pt x="158" y="60"/>
                      </a:lnTo>
                      <a:lnTo>
                        <a:pt x="153" y="62"/>
                      </a:lnTo>
                      <a:lnTo>
                        <a:pt x="149" y="63"/>
                      </a:lnTo>
                      <a:lnTo>
                        <a:pt x="146" y="65"/>
                      </a:lnTo>
                      <a:lnTo>
                        <a:pt x="141" y="65"/>
                      </a:lnTo>
                      <a:lnTo>
                        <a:pt x="131" y="65"/>
                      </a:lnTo>
                      <a:lnTo>
                        <a:pt x="121" y="63"/>
                      </a:lnTo>
                      <a:lnTo>
                        <a:pt x="112" y="59"/>
                      </a:lnTo>
                      <a:lnTo>
                        <a:pt x="99" y="55"/>
                      </a:lnTo>
                      <a:lnTo>
                        <a:pt x="106" y="55"/>
                      </a:lnTo>
                      <a:lnTo>
                        <a:pt x="119" y="61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86" name="Freeform 408">
                  <a:extLst>
                    <a:ext uri="{FF2B5EF4-FFF2-40B4-BE49-F238E27FC236}">
                      <a16:creationId xmlns="" xmlns:a16="http://schemas.microsoft.com/office/drawing/2014/main" id="{DE40C613-8154-4ED0-972A-06754DC648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50" y="1171"/>
                  <a:ext cx="38" cy="17"/>
                </a:xfrm>
                <a:custGeom>
                  <a:avLst/>
                  <a:gdLst>
                    <a:gd name="T0" fmla="*/ 0 w 120"/>
                    <a:gd name="T1" fmla="*/ 0 h 49"/>
                    <a:gd name="T2" fmla="*/ 0 w 120"/>
                    <a:gd name="T3" fmla="*/ 0 h 49"/>
                    <a:gd name="T4" fmla="*/ 0 w 120"/>
                    <a:gd name="T5" fmla="*/ 0 h 49"/>
                    <a:gd name="T6" fmla="*/ 0 w 120"/>
                    <a:gd name="T7" fmla="*/ 0 h 49"/>
                    <a:gd name="T8" fmla="*/ 0 w 120"/>
                    <a:gd name="T9" fmla="*/ 0 h 49"/>
                    <a:gd name="T10" fmla="*/ 0 w 120"/>
                    <a:gd name="T11" fmla="*/ 0 h 49"/>
                    <a:gd name="T12" fmla="*/ 0 w 120"/>
                    <a:gd name="T13" fmla="*/ 0 h 49"/>
                    <a:gd name="T14" fmla="*/ 0 w 120"/>
                    <a:gd name="T15" fmla="*/ 0 h 49"/>
                    <a:gd name="T16" fmla="*/ 0 w 120"/>
                    <a:gd name="T17" fmla="*/ 0 h 49"/>
                    <a:gd name="T18" fmla="*/ 0 w 120"/>
                    <a:gd name="T19" fmla="*/ 0 h 49"/>
                    <a:gd name="T20" fmla="*/ 0 w 120"/>
                    <a:gd name="T21" fmla="*/ 0 h 49"/>
                    <a:gd name="T22" fmla="*/ 0 w 120"/>
                    <a:gd name="T23" fmla="*/ 0 h 49"/>
                    <a:gd name="T24" fmla="*/ 0 w 120"/>
                    <a:gd name="T25" fmla="*/ 0 h 49"/>
                    <a:gd name="T26" fmla="*/ 0 w 120"/>
                    <a:gd name="T27" fmla="*/ 0 h 49"/>
                    <a:gd name="T28" fmla="*/ 0 w 120"/>
                    <a:gd name="T29" fmla="*/ 0 h 49"/>
                    <a:gd name="T30" fmla="*/ 0 w 120"/>
                    <a:gd name="T31" fmla="*/ 0 h 49"/>
                    <a:gd name="T32" fmla="*/ 0 w 120"/>
                    <a:gd name="T33" fmla="*/ 0 h 49"/>
                    <a:gd name="T34" fmla="*/ 0 w 120"/>
                    <a:gd name="T35" fmla="*/ 0 h 49"/>
                    <a:gd name="T36" fmla="*/ 0 w 120"/>
                    <a:gd name="T37" fmla="*/ 0 h 49"/>
                    <a:gd name="T38" fmla="*/ 0 w 120"/>
                    <a:gd name="T39" fmla="*/ 0 h 49"/>
                    <a:gd name="T40" fmla="*/ 0 w 120"/>
                    <a:gd name="T41" fmla="*/ 0 h 49"/>
                    <a:gd name="T42" fmla="*/ 0 w 120"/>
                    <a:gd name="T43" fmla="*/ 0 h 49"/>
                    <a:gd name="T44" fmla="*/ 0 w 120"/>
                    <a:gd name="T45" fmla="*/ 0 h 49"/>
                    <a:gd name="T46" fmla="*/ 0 w 120"/>
                    <a:gd name="T47" fmla="*/ 0 h 49"/>
                    <a:gd name="T48" fmla="*/ 0 w 120"/>
                    <a:gd name="T49" fmla="*/ 0 h 49"/>
                    <a:gd name="T50" fmla="*/ 0 w 120"/>
                    <a:gd name="T51" fmla="*/ 0 h 49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120"/>
                    <a:gd name="T79" fmla="*/ 0 h 49"/>
                    <a:gd name="T80" fmla="*/ 120 w 120"/>
                    <a:gd name="T81" fmla="*/ 49 h 49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120" h="49">
                      <a:moveTo>
                        <a:pt x="27" y="49"/>
                      </a:moveTo>
                      <a:lnTo>
                        <a:pt x="47" y="49"/>
                      </a:lnTo>
                      <a:lnTo>
                        <a:pt x="64" y="48"/>
                      </a:lnTo>
                      <a:lnTo>
                        <a:pt x="78" y="46"/>
                      </a:lnTo>
                      <a:lnTo>
                        <a:pt x="90" y="43"/>
                      </a:lnTo>
                      <a:lnTo>
                        <a:pt x="96" y="39"/>
                      </a:lnTo>
                      <a:lnTo>
                        <a:pt x="100" y="37"/>
                      </a:lnTo>
                      <a:lnTo>
                        <a:pt x="104" y="34"/>
                      </a:lnTo>
                      <a:lnTo>
                        <a:pt x="108" y="31"/>
                      </a:lnTo>
                      <a:lnTo>
                        <a:pt x="114" y="22"/>
                      </a:lnTo>
                      <a:lnTo>
                        <a:pt x="120" y="12"/>
                      </a:lnTo>
                      <a:lnTo>
                        <a:pt x="102" y="6"/>
                      </a:lnTo>
                      <a:lnTo>
                        <a:pt x="84" y="3"/>
                      </a:lnTo>
                      <a:lnTo>
                        <a:pt x="66" y="1"/>
                      </a:lnTo>
                      <a:lnTo>
                        <a:pt x="50" y="0"/>
                      </a:lnTo>
                      <a:lnTo>
                        <a:pt x="34" y="1"/>
                      </a:lnTo>
                      <a:lnTo>
                        <a:pt x="20" y="2"/>
                      </a:lnTo>
                      <a:lnTo>
                        <a:pt x="9" y="4"/>
                      </a:lnTo>
                      <a:lnTo>
                        <a:pt x="0" y="6"/>
                      </a:lnTo>
                      <a:lnTo>
                        <a:pt x="0" y="30"/>
                      </a:lnTo>
                      <a:lnTo>
                        <a:pt x="2" y="35"/>
                      </a:lnTo>
                      <a:lnTo>
                        <a:pt x="6" y="38"/>
                      </a:lnTo>
                      <a:lnTo>
                        <a:pt x="9" y="41"/>
                      </a:lnTo>
                      <a:lnTo>
                        <a:pt x="13" y="45"/>
                      </a:lnTo>
                      <a:lnTo>
                        <a:pt x="20" y="48"/>
                      </a:lnTo>
                      <a:lnTo>
                        <a:pt x="27" y="49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87" name="Freeform 409">
                  <a:extLst>
                    <a:ext uri="{FF2B5EF4-FFF2-40B4-BE49-F238E27FC236}">
                      <a16:creationId xmlns="" xmlns:a16="http://schemas.microsoft.com/office/drawing/2014/main" id="{08A288F6-E253-42CE-B157-173B534F64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41" y="1194"/>
                  <a:ext cx="26" cy="19"/>
                </a:xfrm>
                <a:custGeom>
                  <a:avLst/>
                  <a:gdLst>
                    <a:gd name="T0" fmla="*/ 0 w 85"/>
                    <a:gd name="T1" fmla="*/ 0 h 61"/>
                    <a:gd name="T2" fmla="*/ 0 w 85"/>
                    <a:gd name="T3" fmla="*/ 0 h 61"/>
                    <a:gd name="T4" fmla="*/ 0 w 85"/>
                    <a:gd name="T5" fmla="*/ 0 h 61"/>
                    <a:gd name="T6" fmla="*/ 0 w 85"/>
                    <a:gd name="T7" fmla="*/ 0 h 61"/>
                    <a:gd name="T8" fmla="*/ 0 w 85"/>
                    <a:gd name="T9" fmla="*/ 0 h 61"/>
                    <a:gd name="T10" fmla="*/ 0 w 85"/>
                    <a:gd name="T11" fmla="*/ 0 h 61"/>
                    <a:gd name="T12" fmla="*/ 0 w 85"/>
                    <a:gd name="T13" fmla="*/ 0 h 61"/>
                    <a:gd name="T14" fmla="*/ 0 w 85"/>
                    <a:gd name="T15" fmla="*/ 0 h 61"/>
                    <a:gd name="T16" fmla="*/ 0 w 85"/>
                    <a:gd name="T17" fmla="*/ 0 h 61"/>
                    <a:gd name="T18" fmla="*/ 0 w 85"/>
                    <a:gd name="T19" fmla="*/ 0 h 61"/>
                    <a:gd name="T20" fmla="*/ 0 w 85"/>
                    <a:gd name="T21" fmla="*/ 0 h 61"/>
                    <a:gd name="T22" fmla="*/ 0 w 85"/>
                    <a:gd name="T23" fmla="*/ 0 h 61"/>
                    <a:gd name="T24" fmla="*/ 0 w 85"/>
                    <a:gd name="T25" fmla="*/ 0 h 61"/>
                    <a:gd name="T26" fmla="*/ 0 w 85"/>
                    <a:gd name="T27" fmla="*/ 0 h 61"/>
                    <a:gd name="T28" fmla="*/ 0 w 85"/>
                    <a:gd name="T29" fmla="*/ 0 h 61"/>
                    <a:gd name="T30" fmla="*/ 0 w 85"/>
                    <a:gd name="T31" fmla="*/ 0 h 61"/>
                    <a:gd name="T32" fmla="*/ 0 w 85"/>
                    <a:gd name="T33" fmla="*/ 0 h 61"/>
                    <a:gd name="T34" fmla="*/ 0 w 85"/>
                    <a:gd name="T35" fmla="*/ 0 h 61"/>
                    <a:gd name="T36" fmla="*/ 0 w 85"/>
                    <a:gd name="T37" fmla="*/ 0 h 61"/>
                    <a:gd name="T38" fmla="*/ 0 w 85"/>
                    <a:gd name="T39" fmla="*/ 0 h 61"/>
                    <a:gd name="T40" fmla="*/ 0 w 85"/>
                    <a:gd name="T41" fmla="*/ 0 h 61"/>
                    <a:gd name="T42" fmla="*/ 0 w 85"/>
                    <a:gd name="T43" fmla="*/ 0 h 61"/>
                    <a:gd name="T44" fmla="*/ 0 w 85"/>
                    <a:gd name="T45" fmla="*/ 0 h 61"/>
                    <a:gd name="T46" fmla="*/ 0 w 85"/>
                    <a:gd name="T47" fmla="*/ 0 h 61"/>
                    <a:gd name="T48" fmla="*/ 0 w 85"/>
                    <a:gd name="T49" fmla="*/ 0 h 61"/>
                    <a:gd name="T50" fmla="*/ 0 w 85"/>
                    <a:gd name="T51" fmla="*/ 0 h 61"/>
                    <a:gd name="T52" fmla="*/ 0 w 85"/>
                    <a:gd name="T53" fmla="*/ 0 h 61"/>
                    <a:gd name="T54" fmla="*/ 0 w 85"/>
                    <a:gd name="T55" fmla="*/ 0 h 61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85"/>
                    <a:gd name="T85" fmla="*/ 0 h 61"/>
                    <a:gd name="T86" fmla="*/ 85 w 85"/>
                    <a:gd name="T87" fmla="*/ 61 h 61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85" h="61">
                      <a:moveTo>
                        <a:pt x="33" y="0"/>
                      </a:moveTo>
                      <a:lnTo>
                        <a:pt x="22" y="5"/>
                      </a:lnTo>
                      <a:lnTo>
                        <a:pt x="11" y="12"/>
                      </a:lnTo>
                      <a:lnTo>
                        <a:pt x="6" y="17"/>
                      </a:lnTo>
                      <a:lnTo>
                        <a:pt x="3" y="21"/>
                      </a:lnTo>
                      <a:lnTo>
                        <a:pt x="0" y="25"/>
                      </a:lnTo>
                      <a:lnTo>
                        <a:pt x="0" y="31"/>
                      </a:lnTo>
                      <a:lnTo>
                        <a:pt x="0" y="34"/>
                      </a:lnTo>
                      <a:lnTo>
                        <a:pt x="1" y="37"/>
                      </a:lnTo>
                      <a:lnTo>
                        <a:pt x="2" y="40"/>
                      </a:lnTo>
                      <a:lnTo>
                        <a:pt x="5" y="43"/>
                      </a:lnTo>
                      <a:lnTo>
                        <a:pt x="11" y="48"/>
                      </a:lnTo>
                      <a:lnTo>
                        <a:pt x="18" y="53"/>
                      </a:lnTo>
                      <a:lnTo>
                        <a:pt x="27" y="56"/>
                      </a:lnTo>
                      <a:lnTo>
                        <a:pt x="36" y="59"/>
                      </a:lnTo>
                      <a:lnTo>
                        <a:pt x="45" y="61"/>
                      </a:lnTo>
                      <a:lnTo>
                        <a:pt x="53" y="61"/>
                      </a:lnTo>
                      <a:lnTo>
                        <a:pt x="56" y="61"/>
                      </a:lnTo>
                      <a:lnTo>
                        <a:pt x="59" y="60"/>
                      </a:lnTo>
                      <a:lnTo>
                        <a:pt x="62" y="59"/>
                      </a:lnTo>
                      <a:lnTo>
                        <a:pt x="66" y="57"/>
                      </a:lnTo>
                      <a:lnTo>
                        <a:pt x="72" y="52"/>
                      </a:lnTo>
                      <a:lnTo>
                        <a:pt x="77" y="47"/>
                      </a:lnTo>
                      <a:lnTo>
                        <a:pt x="80" y="40"/>
                      </a:lnTo>
                      <a:lnTo>
                        <a:pt x="83" y="33"/>
                      </a:lnTo>
                      <a:lnTo>
                        <a:pt x="85" y="25"/>
                      </a:lnTo>
                      <a:lnTo>
                        <a:pt x="85" y="18"/>
                      </a:lnTo>
                      <a:lnTo>
                        <a:pt x="33" y="0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88" name="Freeform 410">
                  <a:extLst>
                    <a:ext uri="{FF2B5EF4-FFF2-40B4-BE49-F238E27FC236}">
                      <a16:creationId xmlns="" xmlns:a16="http://schemas.microsoft.com/office/drawing/2014/main" id="{05963513-3332-4C21-9472-19EE914681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54" y="1188"/>
                  <a:ext cx="31" cy="6"/>
                </a:xfrm>
                <a:custGeom>
                  <a:avLst/>
                  <a:gdLst>
                    <a:gd name="T0" fmla="*/ 0 w 100"/>
                    <a:gd name="T1" fmla="*/ 0 h 19"/>
                    <a:gd name="T2" fmla="*/ 0 w 100"/>
                    <a:gd name="T3" fmla="*/ 0 h 19"/>
                    <a:gd name="T4" fmla="*/ 0 w 100"/>
                    <a:gd name="T5" fmla="*/ 0 h 19"/>
                    <a:gd name="T6" fmla="*/ 0 w 100"/>
                    <a:gd name="T7" fmla="*/ 0 h 19"/>
                    <a:gd name="T8" fmla="*/ 0 w 100"/>
                    <a:gd name="T9" fmla="*/ 0 h 19"/>
                    <a:gd name="T10" fmla="*/ 0 w 100"/>
                    <a:gd name="T11" fmla="*/ 0 h 19"/>
                    <a:gd name="T12" fmla="*/ 0 w 100"/>
                    <a:gd name="T13" fmla="*/ 0 h 19"/>
                    <a:gd name="T14" fmla="*/ 0 w 100"/>
                    <a:gd name="T15" fmla="*/ 0 h 19"/>
                    <a:gd name="T16" fmla="*/ 0 w 100"/>
                    <a:gd name="T17" fmla="*/ 0 h 19"/>
                    <a:gd name="T18" fmla="*/ 0 w 100"/>
                    <a:gd name="T19" fmla="*/ 0 h 19"/>
                    <a:gd name="T20" fmla="*/ 0 w 100"/>
                    <a:gd name="T21" fmla="*/ 0 h 19"/>
                    <a:gd name="T22" fmla="*/ 0 w 100"/>
                    <a:gd name="T23" fmla="*/ 0 h 19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00"/>
                    <a:gd name="T37" fmla="*/ 0 h 19"/>
                    <a:gd name="T38" fmla="*/ 100 w 100"/>
                    <a:gd name="T39" fmla="*/ 19 h 19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00" h="19">
                      <a:moveTo>
                        <a:pt x="0" y="6"/>
                      </a:moveTo>
                      <a:lnTo>
                        <a:pt x="7" y="11"/>
                      </a:lnTo>
                      <a:lnTo>
                        <a:pt x="13" y="15"/>
                      </a:lnTo>
                      <a:lnTo>
                        <a:pt x="21" y="18"/>
                      </a:lnTo>
                      <a:lnTo>
                        <a:pt x="27" y="19"/>
                      </a:lnTo>
                      <a:lnTo>
                        <a:pt x="100" y="6"/>
                      </a:lnTo>
                      <a:lnTo>
                        <a:pt x="73" y="2"/>
                      </a:lnTo>
                      <a:lnTo>
                        <a:pt x="47" y="0"/>
                      </a:lnTo>
                      <a:lnTo>
                        <a:pt x="36" y="0"/>
                      </a:lnTo>
                      <a:lnTo>
                        <a:pt x="24" y="1"/>
                      </a:lnTo>
                      <a:lnTo>
                        <a:pt x="12" y="3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89" name="Freeform 411">
                  <a:extLst>
                    <a:ext uri="{FF2B5EF4-FFF2-40B4-BE49-F238E27FC236}">
                      <a16:creationId xmlns="" xmlns:a16="http://schemas.microsoft.com/office/drawing/2014/main" id="{78B5C06B-E059-41A8-BBEA-C7E3B6F50F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72" y="1168"/>
                  <a:ext cx="53" cy="15"/>
                </a:xfrm>
                <a:custGeom>
                  <a:avLst/>
                  <a:gdLst>
                    <a:gd name="T0" fmla="*/ 0 w 166"/>
                    <a:gd name="T1" fmla="*/ 0 h 45"/>
                    <a:gd name="T2" fmla="*/ 0 w 166"/>
                    <a:gd name="T3" fmla="*/ 0 h 45"/>
                    <a:gd name="T4" fmla="*/ 0 w 166"/>
                    <a:gd name="T5" fmla="*/ 0 h 45"/>
                    <a:gd name="T6" fmla="*/ 0 w 166"/>
                    <a:gd name="T7" fmla="*/ 0 h 45"/>
                    <a:gd name="T8" fmla="*/ 0 w 166"/>
                    <a:gd name="T9" fmla="*/ 0 h 45"/>
                    <a:gd name="T10" fmla="*/ 0 w 166"/>
                    <a:gd name="T11" fmla="*/ 0 h 45"/>
                    <a:gd name="T12" fmla="*/ 0 w 166"/>
                    <a:gd name="T13" fmla="*/ 0 h 45"/>
                    <a:gd name="T14" fmla="*/ 0 w 166"/>
                    <a:gd name="T15" fmla="*/ 0 h 45"/>
                    <a:gd name="T16" fmla="*/ 0 w 166"/>
                    <a:gd name="T17" fmla="*/ 0 h 45"/>
                    <a:gd name="T18" fmla="*/ 1 w 166"/>
                    <a:gd name="T19" fmla="*/ 0 h 45"/>
                    <a:gd name="T20" fmla="*/ 1 w 166"/>
                    <a:gd name="T21" fmla="*/ 0 h 45"/>
                    <a:gd name="T22" fmla="*/ 0 w 166"/>
                    <a:gd name="T23" fmla="*/ 0 h 45"/>
                    <a:gd name="T24" fmla="*/ 0 w 166"/>
                    <a:gd name="T25" fmla="*/ 0 h 45"/>
                    <a:gd name="T26" fmla="*/ 0 w 166"/>
                    <a:gd name="T27" fmla="*/ 0 h 45"/>
                    <a:gd name="T28" fmla="*/ 0 w 166"/>
                    <a:gd name="T29" fmla="*/ 0 h 45"/>
                    <a:gd name="T30" fmla="*/ 0 w 166"/>
                    <a:gd name="T31" fmla="*/ 0 h 45"/>
                    <a:gd name="T32" fmla="*/ 0 w 166"/>
                    <a:gd name="T33" fmla="*/ 0 h 45"/>
                    <a:gd name="T34" fmla="*/ 0 w 166"/>
                    <a:gd name="T35" fmla="*/ 0 h 45"/>
                    <a:gd name="T36" fmla="*/ 0 w 166"/>
                    <a:gd name="T37" fmla="*/ 0 h 45"/>
                    <a:gd name="T38" fmla="*/ 0 w 166"/>
                    <a:gd name="T39" fmla="*/ 0 h 45"/>
                    <a:gd name="T40" fmla="*/ 0 w 166"/>
                    <a:gd name="T41" fmla="*/ 0 h 45"/>
                    <a:gd name="T42" fmla="*/ 0 w 166"/>
                    <a:gd name="T43" fmla="*/ 0 h 45"/>
                    <a:gd name="T44" fmla="*/ 0 w 166"/>
                    <a:gd name="T45" fmla="*/ 0 h 45"/>
                    <a:gd name="T46" fmla="*/ 0 w 166"/>
                    <a:gd name="T47" fmla="*/ 0 h 45"/>
                    <a:gd name="T48" fmla="*/ 0 w 166"/>
                    <a:gd name="T49" fmla="*/ 0 h 45"/>
                    <a:gd name="T50" fmla="*/ 0 w 166"/>
                    <a:gd name="T51" fmla="*/ 0 h 45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166"/>
                    <a:gd name="T79" fmla="*/ 0 h 45"/>
                    <a:gd name="T80" fmla="*/ 166 w 166"/>
                    <a:gd name="T81" fmla="*/ 45 h 45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166" h="45">
                      <a:moveTo>
                        <a:pt x="0" y="27"/>
                      </a:moveTo>
                      <a:lnTo>
                        <a:pt x="0" y="29"/>
                      </a:lnTo>
                      <a:lnTo>
                        <a:pt x="3" y="31"/>
                      </a:lnTo>
                      <a:lnTo>
                        <a:pt x="8" y="33"/>
                      </a:lnTo>
                      <a:lnTo>
                        <a:pt x="13" y="35"/>
                      </a:lnTo>
                      <a:lnTo>
                        <a:pt x="27" y="38"/>
                      </a:lnTo>
                      <a:lnTo>
                        <a:pt x="44" y="41"/>
                      </a:lnTo>
                      <a:lnTo>
                        <a:pt x="75" y="44"/>
                      </a:lnTo>
                      <a:lnTo>
                        <a:pt x="92" y="45"/>
                      </a:lnTo>
                      <a:lnTo>
                        <a:pt x="166" y="27"/>
                      </a:lnTo>
                      <a:lnTo>
                        <a:pt x="157" y="25"/>
                      </a:lnTo>
                      <a:lnTo>
                        <a:pt x="137" y="19"/>
                      </a:lnTo>
                      <a:lnTo>
                        <a:pt x="110" y="11"/>
                      </a:lnTo>
                      <a:lnTo>
                        <a:pt x="80" y="4"/>
                      </a:lnTo>
                      <a:lnTo>
                        <a:pt x="65" y="2"/>
                      </a:lnTo>
                      <a:lnTo>
                        <a:pt x="50" y="1"/>
                      </a:lnTo>
                      <a:lnTo>
                        <a:pt x="36" y="0"/>
                      </a:lnTo>
                      <a:lnTo>
                        <a:pt x="24" y="2"/>
                      </a:lnTo>
                      <a:lnTo>
                        <a:pt x="19" y="3"/>
                      </a:lnTo>
                      <a:lnTo>
                        <a:pt x="14" y="5"/>
                      </a:lnTo>
                      <a:lnTo>
                        <a:pt x="10" y="7"/>
                      </a:lnTo>
                      <a:lnTo>
                        <a:pt x="7" y="10"/>
                      </a:lnTo>
                      <a:lnTo>
                        <a:pt x="3" y="13"/>
                      </a:lnTo>
                      <a:lnTo>
                        <a:pt x="1" y="17"/>
                      </a:lnTo>
                      <a:lnTo>
                        <a:pt x="0" y="22"/>
                      </a:lnTo>
                      <a:lnTo>
                        <a:pt x="0" y="27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90" name="Freeform 412">
                  <a:extLst>
                    <a:ext uri="{FF2B5EF4-FFF2-40B4-BE49-F238E27FC236}">
                      <a16:creationId xmlns="" xmlns:a16="http://schemas.microsoft.com/office/drawing/2014/main" id="{22CD4252-CD0E-44D4-B8F3-76B212D2F2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88" y="1422"/>
                  <a:ext cx="11" cy="8"/>
                </a:xfrm>
                <a:custGeom>
                  <a:avLst/>
                  <a:gdLst>
                    <a:gd name="T0" fmla="*/ 0 w 33"/>
                    <a:gd name="T1" fmla="*/ 0 h 25"/>
                    <a:gd name="T2" fmla="*/ 0 w 33"/>
                    <a:gd name="T3" fmla="*/ 0 h 25"/>
                    <a:gd name="T4" fmla="*/ 0 w 33"/>
                    <a:gd name="T5" fmla="*/ 0 h 25"/>
                    <a:gd name="T6" fmla="*/ 0 w 33"/>
                    <a:gd name="T7" fmla="*/ 0 h 25"/>
                    <a:gd name="T8" fmla="*/ 0 w 33"/>
                    <a:gd name="T9" fmla="*/ 0 h 25"/>
                    <a:gd name="T10" fmla="*/ 0 w 33"/>
                    <a:gd name="T11" fmla="*/ 0 h 25"/>
                    <a:gd name="T12" fmla="*/ 0 w 33"/>
                    <a:gd name="T13" fmla="*/ 0 h 25"/>
                    <a:gd name="T14" fmla="*/ 0 w 33"/>
                    <a:gd name="T15" fmla="*/ 0 h 25"/>
                    <a:gd name="T16" fmla="*/ 0 w 33"/>
                    <a:gd name="T17" fmla="*/ 0 h 25"/>
                    <a:gd name="T18" fmla="*/ 0 w 33"/>
                    <a:gd name="T19" fmla="*/ 0 h 25"/>
                    <a:gd name="T20" fmla="*/ 0 w 33"/>
                    <a:gd name="T21" fmla="*/ 0 h 25"/>
                    <a:gd name="T22" fmla="*/ 0 w 33"/>
                    <a:gd name="T23" fmla="*/ 0 h 25"/>
                    <a:gd name="T24" fmla="*/ 0 w 33"/>
                    <a:gd name="T25" fmla="*/ 0 h 25"/>
                    <a:gd name="T26" fmla="*/ 0 w 33"/>
                    <a:gd name="T27" fmla="*/ 0 h 25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33"/>
                    <a:gd name="T43" fmla="*/ 0 h 25"/>
                    <a:gd name="T44" fmla="*/ 33 w 33"/>
                    <a:gd name="T45" fmla="*/ 25 h 25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33" h="25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3" y="15"/>
                      </a:lnTo>
                      <a:lnTo>
                        <a:pt x="6" y="20"/>
                      </a:lnTo>
                      <a:lnTo>
                        <a:pt x="11" y="22"/>
                      </a:lnTo>
                      <a:lnTo>
                        <a:pt x="16" y="24"/>
                      </a:lnTo>
                      <a:lnTo>
                        <a:pt x="22" y="25"/>
                      </a:lnTo>
                      <a:lnTo>
                        <a:pt x="27" y="25"/>
                      </a:lnTo>
                      <a:lnTo>
                        <a:pt x="33" y="25"/>
                      </a:lnTo>
                      <a:lnTo>
                        <a:pt x="33" y="0"/>
                      </a:ln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9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91" name="Freeform 413">
                  <a:extLst>
                    <a:ext uri="{FF2B5EF4-FFF2-40B4-BE49-F238E27FC236}">
                      <a16:creationId xmlns="" xmlns:a16="http://schemas.microsoft.com/office/drawing/2014/main" id="{9FC21A1A-6870-4E17-9930-EB9AA11398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05" y="1729"/>
                  <a:ext cx="16" cy="20"/>
                </a:xfrm>
                <a:custGeom>
                  <a:avLst/>
                  <a:gdLst>
                    <a:gd name="T0" fmla="*/ 0 w 48"/>
                    <a:gd name="T1" fmla="*/ 0 h 62"/>
                    <a:gd name="T2" fmla="*/ 0 w 48"/>
                    <a:gd name="T3" fmla="*/ 0 h 62"/>
                    <a:gd name="T4" fmla="*/ 0 w 48"/>
                    <a:gd name="T5" fmla="*/ 0 h 62"/>
                    <a:gd name="T6" fmla="*/ 0 w 48"/>
                    <a:gd name="T7" fmla="*/ 0 h 62"/>
                    <a:gd name="T8" fmla="*/ 0 w 48"/>
                    <a:gd name="T9" fmla="*/ 0 h 62"/>
                    <a:gd name="T10" fmla="*/ 0 w 48"/>
                    <a:gd name="T11" fmla="*/ 0 h 62"/>
                    <a:gd name="T12" fmla="*/ 0 w 48"/>
                    <a:gd name="T13" fmla="*/ 0 h 62"/>
                    <a:gd name="T14" fmla="*/ 0 w 48"/>
                    <a:gd name="T15" fmla="*/ 0 h 62"/>
                    <a:gd name="T16" fmla="*/ 0 w 48"/>
                    <a:gd name="T17" fmla="*/ 0 h 62"/>
                    <a:gd name="T18" fmla="*/ 0 w 48"/>
                    <a:gd name="T19" fmla="*/ 0 h 62"/>
                    <a:gd name="T20" fmla="*/ 0 w 48"/>
                    <a:gd name="T21" fmla="*/ 0 h 62"/>
                    <a:gd name="T22" fmla="*/ 0 w 48"/>
                    <a:gd name="T23" fmla="*/ 0 h 62"/>
                    <a:gd name="T24" fmla="*/ 0 w 48"/>
                    <a:gd name="T25" fmla="*/ 0 h 62"/>
                    <a:gd name="T26" fmla="*/ 0 w 48"/>
                    <a:gd name="T27" fmla="*/ 0 h 62"/>
                    <a:gd name="T28" fmla="*/ 0 w 48"/>
                    <a:gd name="T29" fmla="*/ 0 h 62"/>
                    <a:gd name="T30" fmla="*/ 0 w 48"/>
                    <a:gd name="T31" fmla="*/ 0 h 62"/>
                    <a:gd name="T32" fmla="*/ 0 w 48"/>
                    <a:gd name="T33" fmla="*/ 0 h 62"/>
                    <a:gd name="T34" fmla="*/ 0 w 48"/>
                    <a:gd name="T35" fmla="*/ 0 h 62"/>
                    <a:gd name="T36" fmla="*/ 0 w 48"/>
                    <a:gd name="T37" fmla="*/ 0 h 62"/>
                    <a:gd name="T38" fmla="*/ 0 w 48"/>
                    <a:gd name="T39" fmla="*/ 0 h 62"/>
                    <a:gd name="T40" fmla="*/ 0 w 48"/>
                    <a:gd name="T41" fmla="*/ 0 h 62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48"/>
                    <a:gd name="T64" fmla="*/ 0 h 62"/>
                    <a:gd name="T65" fmla="*/ 48 w 48"/>
                    <a:gd name="T66" fmla="*/ 62 h 62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48" h="62">
                      <a:moveTo>
                        <a:pt x="0" y="62"/>
                      </a:moveTo>
                      <a:lnTo>
                        <a:pt x="12" y="56"/>
                      </a:lnTo>
                      <a:lnTo>
                        <a:pt x="22" y="50"/>
                      </a:lnTo>
                      <a:lnTo>
                        <a:pt x="30" y="43"/>
                      </a:lnTo>
                      <a:lnTo>
                        <a:pt x="37" y="36"/>
                      </a:lnTo>
                      <a:lnTo>
                        <a:pt x="41" y="28"/>
                      </a:lnTo>
                      <a:lnTo>
                        <a:pt x="44" y="19"/>
                      </a:lnTo>
                      <a:lnTo>
                        <a:pt x="47" y="9"/>
                      </a:lnTo>
                      <a:lnTo>
                        <a:pt x="48" y="0"/>
                      </a:lnTo>
                      <a:lnTo>
                        <a:pt x="40" y="3"/>
                      </a:lnTo>
                      <a:lnTo>
                        <a:pt x="32" y="6"/>
                      </a:lnTo>
                      <a:lnTo>
                        <a:pt x="23" y="10"/>
                      </a:lnTo>
                      <a:lnTo>
                        <a:pt x="17" y="15"/>
                      </a:lnTo>
                      <a:lnTo>
                        <a:pt x="10" y="21"/>
                      </a:lnTo>
                      <a:lnTo>
                        <a:pt x="6" y="27"/>
                      </a:lnTo>
                      <a:lnTo>
                        <a:pt x="4" y="31"/>
                      </a:lnTo>
                      <a:lnTo>
                        <a:pt x="3" y="35"/>
                      </a:lnTo>
                      <a:lnTo>
                        <a:pt x="1" y="39"/>
                      </a:lnTo>
                      <a:lnTo>
                        <a:pt x="0" y="43"/>
                      </a:lnTo>
                      <a:lnTo>
                        <a:pt x="0" y="52"/>
                      </a:lnTo>
                      <a:lnTo>
                        <a:pt x="0" y="62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92" name="Freeform 414">
                  <a:extLst>
                    <a:ext uri="{FF2B5EF4-FFF2-40B4-BE49-F238E27FC236}">
                      <a16:creationId xmlns="" xmlns:a16="http://schemas.microsoft.com/office/drawing/2014/main" id="{89B35C34-E8F0-48FC-9946-245B55B8E9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54" y="1729"/>
                  <a:ext cx="36" cy="20"/>
                </a:xfrm>
                <a:custGeom>
                  <a:avLst/>
                  <a:gdLst>
                    <a:gd name="T0" fmla="*/ 0 w 113"/>
                    <a:gd name="T1" fmla="*/ 0 h 62"/>
                    <a:gd name="T2" fmla="*/ 0 w 113"/>
                    <a:gd name="T3" fmla="*/ 0 h 62"/>
                    <a:gd name="T4" fmla="*/ 0 w 113"/>
                    <a:gd name="T5" fmla="*/ 0 h 62"/>
                    <a:gd name="T6" fmla="*/ 0 w 113"/>
                    <a:gd name="T7" fmla="*/ 0 h 62"/>
                    <a:gd name="T8" fmla="*/ 0 w 113"/>
                    <a:gd name="T9" fmla="*/ 0 h 62"/>
                    <a:gd name="T10" fmla="*/ 0 w 113"/>
                    <a:gd name="T11" fmla="*/ 0 h 62"/>
                    <a:gd name="T12" fmla="*/ 0 w 113"/>
                    <a:gd name="T13" fmla="*/ 0 h 62"/>
                    <a:gd name="T14" fmla="*/ 0 w 113"/>
                    <a:gd name="T15" fmla="*/ 0 h 62"/>
                    <a:gd name="T16" fmla="*/ 0 w 113"/>
                    <a:gd name="T17" fmla="*/ 0 h 62"/>
                    <a:gd name="T18" fmla="*/ 0 w 113"/>
                    <a:gd name="T19" fmla="*/ 0 h 62"/>
                    <a:gd name="T20" fmla="*/ 0 w 113"/>
                    <a:gd name="T21" fmla="*/ 0 h 62"/>
                    <a:gd name="T22" fmla="*/ 0 w 113"/>
                    <a:gd name="T23" fmla="*/ 0 h 62"/>
                    <a:gd name="T24" fmla="*/ 0 w 113"/>
                    <a:gd name="T25" fmla="*/ 0 h 62"/>
                    <a:gd name="T26" fmla="*/ 0 w 113"/>
                    <a:gd name="T27" fmla="*/ 0 h 62"/>
                    <a:gd name="T28" fmla="*/ 0 w 113"/>
                    <a:gd name="T29" fmla="*/ 0 h 62"/>
                    <a:gd name="T30" fmla="*/ 0 w 113"/>
                    <a:gd name="T31" fmla="*/ 0 h 62"/>
                    <a:gd name="T32" fmla="*/ 0 w 113"/>
                    <a:gd name="T33" fmla="*/ 0 h 62"/>
                    <a:gd name="T34" fmla="*/ 0 w 113"/>
                    <a:gd name="T35" fmla="*/ 0 h 62"/>
                    <a:gd name="T36" fmla="*/ 0 w 113"/>
                    <a:gd name="T37" fmla="*/ 0 h 62"/>
                    <a:gd name="T38" fmla="*/ 0 w 113"/>
                    <a:gd name="T39" fmla="*/ 0 h 62"/>
                    <a:gd name="T40" fmla="*/ 0 w 113"/>
                    <a:gd name="T41" fmla="*/ 0 h 62"/>
                    <a:gd name="T42" fmla="*/ 0 w 113"/>
                    <a:gd name="T43" fmla="*/ 0 h 62"/>
                    <a:gd name="T44" fmla="*/ 0 w 113"/>
                    <a:gd name="T45" fmla="*/ 0 h 62"/>
                    <a:gd name="T46" fmla="*/ 0 w 113"/>
                    <a:gd name="T47" fmla="*/ 0 h 62"/>
                    <a:gd name="T48" fmla="*/ 0 w 113"/>
                    <a:gd name="T49" fmla="*/ 0 h 62"/>
                    <a:gd name="T50" fmla="*/ 0 w 113"/>
                    <a:gd name="T51" fmla="*/ 0 h 62"/>
                    <a:gd name="T52" fmla="*/ 0 w 113"/>
                    <a:gd name="T53" fmla="*/ 0 h 62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113"/>
                    <a:gd name="T82" fmla="*/ 0 h 62"/>
                    <a:gd name="T83" fmla="*/ 113 w 113"/>
                    <a:gd name="T84" fmla="*/ 62 h 62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113" h="62">
                      <a:moveTo>
                        <a:pt x="47" y="0"/>
                      </a:moveTo>
                      <a:lnTo>
                        <a:pt x="36" y="7"/>
                      </a:lnTo>
                      <a:lnTo>
                        <a:pt x="23" y="17"/>
                      </a:lnTo>
                      <a:lnTo>
                        <a:pt x="11" y="27"/>
                      </a:lnTo>
                      <a:lnTo>
                        <a:pt x="0" y="37"/>
                      </a:lnTo>
                      <a:lnTo>
                        <a:pt x="22" y="46"/>
                      </a:lnTo>
                      <a:lnTo>
                        <a:pt x="41" y="54"/>
                      </a:lnTo>
                      <a:lnTo>
                        <a:pt x="51" y="57"/>
                      </a:lnTo>
                      <a:lnTo>
                        <a:pt x="62" y="59"/>
                      </a:lnTo>
                      <a:lnTo>
                        <a:pt x="73" y="61"/>
                      </a:lnTo>
                      <a:lnTo>
                        <a:pt x="87" y="62"/>
                      </a:lnTo>
                      <a:lnTo>
                        <a:pt x="97" y="61"/>
                      </a:lnTo>
                      <a:lnTo>
                        <a:pt x="106" y="58"/>
                      </a:lnTo>
                      <a:lnTo>
                        <a:pt x="109" y="56"/>
                      </a:lnTo>
                      <a:lnTo>
                        <a:pt x="111" y="54"/>
                      </a:lnTo>
                      <a:lnTo>
                        <a:pt x="113" y="52"/>
                      </a:lnTo>
                      <a:lnTo>
                        <a:pt x="113" y="49"/>
                      </a:lnTo>
                      <a:lnTo>
                        <a:pt x="91" y="41"/>
                      </a:lnTo>
                      <a:lnTo>
                        <a:pt x="70" y="32"/>
                      </a:lnTo>
                      <a:lnTo>
                        <a:pt x="65" y="29"/>
                      </a:lnTo>
                      <a:lnTo>
                        <a:pt x="61" y="26"/>
                      </a:lnTo>
                      <a:lnTo>
                        <a:pt x="57" y="23"/>
                      </a:lnTo>
                      <a:lnTo>
                        <a:pt x="54" y="20"/>
                      </a:lnTo>
                      <a:lnTo>
                        <a:pt x="51" y="16"/>
                      </a:lnTo>
                      <a:lnTo>
                        <a:pt x="48" y="10"/>
                      </a:lnTo>
                      <a:lnTo>
                        <a:pt x="47" y="5"/>
                      </a:lnTo>
                      <a:lnTo>
                        <a:pt x="47" y="0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93" name="Freeform 415">
                  <a:extLst>
                    <a:ext uri="{FF2B5EF4-FFF2-40B4-BE49-F238E27FC236}">
                      <a16:creationId xmlns="" xmlns:a16="http://schemas.microsoft.com/office/drawing/2014/main" id="{00481D50-3ED4-4FBC-96A1-6C37791EE2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48" y="1188"/>
                  <a:ext cx="29" cy="15"/>
                </a:xfrm>
                <a:custGeom>
                  <a:avLst/>
                  <a:gdLst>
                    <a:gd name="T0" fmla="*/ 0 w 93"/>
                    <a:gd name="T1" fmla="*/ 0 h 50"/>
                    <a:gd name="T2" fmla="*/ 0 w 93"/>
                    <a:gd name="T3" fmla="*/ 0 h 50"/>
                    <a:gd name="T4" fmla="*/ 0 w 93"/>
                    <a:gd name="T5" fmla="*/ 0 h 50"/>
                    <a:gd name="T6" fmla="*/ 0 w 93"/>
                    <a:gd name="T7" fmla="*/ 0 h 50"/>
                    <a:gd name="T8" fmla="*/ 0 w 93"/>
                    <a:gd name="T9" fmla="*/ 0 h 50"/>
                    <a:gd name="T10" fmla="*/ 0 w 93"/>
                    <a:gd name="T11" fmla="*/ 0 h 50"/>
                    <a:gd name="T12" fmla="*/ 0 w 93"/>
                    <a:gd name="T13" fmla="*/ 0 h 50"/>
                    <a:gd name="T14" fmla="*/ 0 w 93"/>
                    <a:gd name="T15" fmla="*/ 0 h 50"/>
                    <a:gd name="T16" fmla="*/ 0 w 93"/>
                    <a:gd name="T17" fmla="*/ 0 h 50"/>
                    <a:gd name="T18" fmla="*/ 0 w 93"/>
                    <a:gd name="T19" fmla="*/ 0 h 50"/>
                    <a:gd name="T20" fmla="*/ 0 w 93"/>
                    <a:gd name="T21" fmla="*/ 0 h 50"/>
                    <a:gd name="T22" fmla="*/ 0 w 93"/>
                    <a:gd name="T23" fmla="*/ 0 h 50"/>
                    <a:gd name="T24" fmla="*/ 0 w 93"/>
                    <a:gd name="T25" fmla="*/ 0 h 50"/>
                    <a:gd name="T26" fmla="*/ 0 w 93"/>
                    <a:gd name="T27" fmla="*/ 0 h 50"/>
                    <a:gd name="T28" fmla="*/ 0 w 93"/>
                    <a:gd name="T29" fmla="*/ 0 h 50"/>
                    <a:gd name="T30" fmla="*/ 0 w 93"/>
                    <a:gd name="T31" fmla="*/ 0 h 50"/>
                    <a:gd name="T32" fmla="*/ 0 w 93"/>
                    <a:gd name="T33" fmla="*/ 0 h 50"/>
                    <a:gd name="T34" fmla="*/ 0 w 93"/>
                    <a:gd name="T35" fmla="*/ 0 h 50"/>
                    <a:gd name="T36" fmla="*/ 0 w 93"/>
                    <a:gd name="T37" fmla="*/ 0 h 50"/>
                    <a:gd name="T38" fmla="*/ 0 w 93"/>
                    <a:gd name="T39" fmla="*/ 0 h 50"/>
                    <a:gd name="T40" fmla="*/ 0 w 93"/>
                    <a:gd name="T41" fmla="*/ 0 h 50"/>
                    <a:gd name="T42" fmla="*/ 0 w 93"/>
                    <a:gd name="T43" fmla="*/ 0 h 50"/>
                    <a:gd name="T44" fmla="*/ 0 w 93"/>
                    <a:gd name="T45" fmla="*/ 0 h 50"/>
                    <a:gd name="T46" fmla="*/ 0 w 93"/>
                    <a:gd name="T47" fmla="*/ 0 h 50"/>
                    <a:gd name="T48" fmla="*/ 0 w 93"/>
                    <a:gd name="T49" fmla="*/ 0 h 50"/>
                    <a:gd name="T50" fmla="*/ 0 w 93"/>
                    <a:gd name="T51" fmla="*/ 0 h 50"/>
                    <a:gd name="T52" fmla="*/ 0 w 93"/>
                    <a:gd name="T53" fmla="*/ 0 h 50"/>
                    <a:gd name="T54" fmla="*/ 0 w 93"/>
                    <a:gd name="T55" fmla="*/ 0 h 50"/>
                    <a:gd name="T56" fmla="*/ 0 w 93"/>
                    <a:gd name="T57" fmla="*/ 0 h 50"/>
                    <a:gd name="T58" fmla="*/ 0 w 93"/>
                    <a:gd name="T59" fmla="*/ 0 h 50"/>
                    <a:gd name="T60" fmla="*/ 0 w 93"/>
                    <a:gd name="T61" fmla="*/ 0 h 50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93"/>
                    <a:gd name="T94" fmla="*/ 0 h 50"/>
                    <a:gd name="T95" fmla="*/ 93 w 93"/>
                    <a:gd name="T96" fmla="*/ 50 h 50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93" h="50">
                      <a:moveTo>
                        <a:pt x="0" y="0"/>
                      </a:moveTo>
                      <a:lnTo>
                        <a:pt x="15" y="0"/>
                      </a:lnTo>
                      <a:lnTo>
                        <a:pt x="30" y="1"/>
                      </a:lnTo>
                      <a:lnTo>
                        <a:pt x="45" y="2"/>
                      </a:lnTo>
                      <a:lnTo>
                        <a:pt x="59" y="5"/>
                      </a:lnTo>
                      <a:lnTo>
                        <a:pt x="64" y="7"/>
                      </a:lnTo>
                      <a:lnTo>
                        <a:pt x="71" y="9"/>
                      </a:lnTo>
                      <a:lnTo>
                        <a:pt x="75" y="12"/>
                      </a:lnTo>
                      <a:lnTo>
                        <a:pt x="81" y="16"/>
                      </a:lnTo>
                      <a:lnTo>
                        <a:pt x="85" y="20"/>
                      </a:lnTo>
                      <a:lnTo>
                        <a:pt x="89" y="25"/>
                      </a:lnTo>
                      <a:lnTo>
                        <a:pt x="91" y="30"/>
                      </a:lnTo>
                      <a:lnTo>
                        <a:pt x="93" y="37"/>
                      </a:lnTo>
                      <a:lnTo>
                        <a:pt x="79" y="37"/>
                      </a:lnTo>
                      <a:lnTo>
                        <a:pt x="68" y="39"/>
                      </a:lnTo>
                      <a:lnTo>
                        <a:pt x="60" y="41"/>
                      </a:lnTo>
                      <a:lnTo>
                        <a:pt x="52" y="43"/>
                      </a:lnTo>
                      <a:lnTo>
                        <a:pt x="42" y="47"/>
                      </a:lnTo>
                      <a:lnTo>
                        <a:pt x="33" y="50"/>
                      </a:lnTo>
                      <a:lnTo>
                        <a:pt x="30" y="50"/>
                      </a:lnTo>
                      <a:lnTo>
                        <a:pt x="28" y="48"/>
                      </a:lnTo>
                      <a:lnTo>
                        <a:pt x="26" y="47"/>
                      </a:lnTo>
                      <a:lnTo>
                        <a:pt x="25" y="45"/>
                      </a:lnTo>
                      <a:lnTo>
                        <a:pt x="23" y="41"/>
                      </a:lnTo>
                      <a:lnTo>
                        <a:pt x="22" y="36"/>
                      </a:lnTo>
                      <a:lnTo>
                        <a:pt x="22" y="31"/>
                      </a:lnTo>
                      <a:lnTo>
                        <a:pt x="23" y="26"/>
                      </a:lnTo>
                      <a:lnTo>
                        <a:pt x="24" y="22"/>
                      </a:lnTo>
                      <a:lnTo>
                        <a:pt x="26" y="19"/>
                      </a:lnTo>
                      <a:lnTo>
                        <a:pt x="0" y="19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94" name="Freeform 416">
                  <a:extLst>
                    <a:ext uri="{FF2B5EF4-FFF2-40B4-BE49-F238E27FC236}">
                      <a16:creationId xmlns="" xmlns:a16="http://schemas.microsoft.com/office/drawing/2014/main" id="{BFB8D6C2-82FD-4685-8F34-6A85CE98C5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36" y="1246"/>
                  <a:ext cx="331" cy="198"/>
                </a:xfrm>
                <a:custGeom>
                  <a:avLst/>
                  <a:gdLst>
                    <a:gd name="T0" fmla="*/ 0 w 1029"/>
                    <a:gd name="T1" fmla="*/ 0 h 604"/>
                    <a:gd name="T2" fmla="*/ 0 w 1029"/>
                    <a:gd name="T3" fmla="*/ 0 h 604"/>
                    <a:gd name="T4" fmla="*/ 1 w 1029"/>
                    <a:gd name="T5" fmla="*/ 0 h 604"/>
                    <a:gd name="T6" fmla="*/ 1 w 1029"/>
                    <a:gd name="T7" fmla="*/ 0 h 604"/>
                    <a:gd name="T8" fmla="*/ 1 w 1029"/>
                    <a:gd name="T9" fmla="*/ 0 h 604"/>
                    <a:gd name="T10" fmla="*/ 1 w 1029"/>
                    <a:gd name="T11" fmla="*/ 0 h 604"/>
                    <a:gd name="T12" fmla="*/ 1 w 1029"/>
                    <a:gd name="T13" fmla="*/ 0 h 604"/>
                    <a:gd name="T14" fmla="*/ 2 w 1029"/>
                    <a:gd name="T15" fmla="*/ 0 h 604"/>
                    <a:gd name="T16" fmla="*/ 2 w 1029"/>
                    <a:gd name="T17" fmla="*/ 0 h 604"/>
                    <a:gd name="T18" fmla="*/ 2 w 1029"/>
                    <a:gd name="T19" fmla="*/ 0 h 604"/>
                    <a:gd name="T20" fmla="*/ 2 w 1029"/>
                    <a:gd name="T21" fmla="*/ 0 h 604"/>
                    <a:gd name="T22" fmla="*/ 3 w 1029"/>
                    <a:gd name="T23" fmla="*/ 0 h 604"/>
                    <a:gd name="T24" fmla="*/ 3 w 1029"/>
                    <a:gd name="T25" fmla="*/ 1 h 604"/>
                    <a:gd name="T26" fmla="*/ 3 w 1029"/>
                    <a:gd name="T27" fmla="*/ 1 h 604"/>
                    <a:gd name="T28" fmla="*/ 3 w 1029"/>
                    <a:gd name="T29" fmla="*/ 1 h 604"/>
                    <a:gd name="T30" fmla="*/ 3 w 1029"/>
                    <a:gd name="T31" fmla="*/ 1 h 604"/>
                    <a:gd name="T32" fmla="*/ 3 w 1029"/>
                    <a:gd name="T33" fmla="*/ 1 h 604"/>
                    <a:gd name="T34" fmla="*/ 3 w 1029"/>
                    <a:gd name="T35" fmla="*/ 1 h 604"/>
                    <a:gd name="T36" fmla="*/ 3 w 1029"/>
                    <a:gd name="T37" fmla="*/ 1 h 604"/>
                    <a:gd name="T38" fmla="*/ 3 w 1029"/>
                    <a:gd name="T39" fmla="*/ 1 h 604"/>
                    <a:gd name="T40" fmla="*/ 3 w 1029"/>
                    <a:gd name="T41" fmla="*/ 1 h 604"/>
                    <a:gd name="T42" fmla="*/ 4 w 1029"/>
                    <a:gd name="T43" fmla="*/ 1 h 604"/>
                    <a:gd name="T44" fmla="*/ 3 w 1029"/>
                    <a:gd name="T45" fmla="*/ 2 h 604"/>
                    <a:gd name="T46" fmla="*/ 3 w 1029"/>
                    <a:gd name="T47" fmla="*/ 2 h 604"/>
                    <a:gd name="T48" fmla="*/ 3 w 1029"/>
                    <a:gd name="T49" fmla="*/ 2 h 604"/>
                    <a:gd name="T50" fmla="*/ 3 w 1029"/>
                    <a:gd name="T51" fmla="*/ 2 h 604"/>
                    <a:gd name="T52" fmla="*/ 3 w 1029"/>
                    <a:gd name="T53" fmla="*/ 2 h 604"/>
                    <a:gd name="T54" fmla="*/ 3 w 1029"/>
                    <a:gd name="T55" fmla="*/ 1 h 604"/>
                    <a:gd name="T56" fmla="*/ 3 w 1029"/>
                    <a:gd name="T57" fmla="*/ 1 h 604"/>
                    <a:gd name="T58" fmla="*/ 3 w 1029"/>
                    <a:gd name="T59" fmla="*/ 2 h 604"/>
                    <a:gd name="T60" fmla="*/ 3 w 1029"/>
                    <a:gd name="T61" fmla="*/ 2 h 604"/>
                    <a:gd name="T62" fmla="*/ 3 w 1029"/>
                    <a:gd name="T63" fmla="*/ 2 h 604"/>
                    <a:gd name="T64" fmla="*/ 3 w 1029"/>
                    <a:gd name="T65" fmla="*/ 2 h 604"/>
                    <a:gd name="T66" fmla="*/ 2 w 1029"/>
                    <a:gd name="T67" fmla="*/ 2 h 604"/>
                    <a:gd name="T68" fmla="*/ 2 w 1029"/>
                    <a:gd name="T69" fmla="*/ 2 h 604"/>
                    <a:gd name="T70" fmla="*/ 2 w 1029"/>
                    <a:gd name="T71" fmla="*/ 2 h 604"/>
                    <a:gd name="T72" fmla="*/ 2 w 1029"/>
                    <a:gd name="T73" fmla="*/ 2 h 604"/>
                    <a:gd name="T74" fmla="*/ 2 w 1029"/>
                    <a:gd name="T75" fmla="*/ 2 h 604"/>
                    <a:gd name="T76" fmla="*/ 2 w 1029"/>
                    <a:gd name="T77" fmla="*/ 2 h 604"/>
                    <a:gd name="T78" fmla="*/ 2 w 1029"/>
                    <a:gd name="T79" fmla="*/ 2 h 604"/>
                    <a:gd name="T80" fmla="*/ 1 w 1029"/>
                    <a:gd name="T81" fmla="*/ 2 h 604"/>
                    <a:gd name="T82" fmla="*/ 1 w 1029"/>
                    <a:gd name="T83" fmla="*/ 2 h 604"/>
                    <a:gd name="T84" fmla="*/ 2 w 1029"/>
                    <a:gd name="T85" fmla="*/ 2 h 604"/>
                    <a:gd name="T86" fmla="*/ 2 w 1029"/>
                    <a:gd name="T87" fmla="*/ 1 h 604"/>
                    <a:gd name="T88" fmla="*/ 2 w 1029"/>
                    <a:gd name="T89" fmla="*/ 1 h 604"/>
                    <a:gd name="T90" fmla="*/ 2 w 1029"/>
                    <a:gd name="T91" fmla="*/ 2 h 604"/>
                    <a:gd name="T92" fmla="*/ 2 w 1029"/>
                    <a:gd name="T93" fmla="*/ 2 h 604"/>
                    <a:gd name="T94" fmla="*/ 2 w 1029"/>
                    <a:gd name="T95" fmla="*/ 1 h 604"/>
                    <a:gd name="T96" fmla="*/ 2 w 1029"/>
                    <a:gd name="T97" fmla="*/ 1 h 604"/>
                    <a:gd name="T98" fmla="*/ 2 w 1029"/>
                    <a:gd name="T99" fmla="*/ 1 h 604"/>
                    <a:gd name="T100" fmla="*/ 2 w 1029"/>
                    <a:gd name="T101" fmla="*/ 1 h 604"/>
                    <a:gd name="T102" fmla="*/ 2 w 1029"/>
                    <a:gd name="T103" fmla="*/ 1 h 604"/>
                    <a:gd name="T104" fmla="*/ 2 w 1029"/>
                    <a:gd name="T105" fmla="*/ 1 h 604"/>
                    <a:gd name="T106" fmla="*/ 2 w 1029"/>
                    <a:gd name="T107" fmla="*/ 1 h 604"/>
                    <a:gd name="T108" fmla="*/ 2 w 1029"/>
                    <a:gd name="T109" fmla="*/ 1 h 604"/>
                    <a:gd name="T110" fmla="*/ 2 w 1029"/>
                    <a:gd name="T111" fmla="*/ 1 h 604"/>
                    <a:gd name="T112" fmla="*/ 1 w 1029"/>
                    <a:gd name="T113" fmla="*/ 1 h 604"/>
                    <a:gd name="T114" fmla="*/ 1 w 1029"/>
                    <a:gd name="T115" fmla="*/ 1 h 604"/>
                    <a:gd name="T116" fmla="*/ 0 w 1029"/>
                    <a:gd name="T117" fmla="*/ 1 h 604"/>
                    <a:gd name="T118" fmla="*/ 0 w 1029"/>
                    <a:gd name="T119" fmla="*/ 1 h 604"/>
                    <a:gd name="T120" fmla="*/ 0 w 1029"/>
                    <a:gd name="T121" fmla="*/ 1 h 604"/>
                    <a:gd name="T122" fmla="*/ 0 w 1029"/>
                    <a:gd name="T123" fmla="*/ 1 h 604"/>
                    <a:gd name="T124" fmla="*/ 0 w 1029"/>
                    <a:gd name="T125" fmla="*/ 1 h 604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1029"/>
                    <a:gd name="T190" fmla="*/ 0 h 604"/>
                    <a:gd name="T191" fmla="*/ 1029 w 1029"/>
                    <a:gd name="T192" fmla="*/ 604 h 604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1029" h="604">
                      <a:moveTo>
                        <a:pt x="73" y="129"/>
                      </a:moveTo>
                      <a:lnTo>
                        <a:pt x="34" y="129"/>
                      </a:lnTo>
                      <a:lnTo>
                        <a:pt x="28" y="128"/>
                      </a:lnTo>
                      <a:lnTo>
                        <a:pt x="24" y="125"/>
                      </a:lnTo>
                      <a:lnTo>
                        <a:pt x="22" y="121"/>
                      </a:lnTo>
                      <a:lnTo>
                        <a:pt x="20" y="117"/>
                      </a:lnTo>
                      <a:lnTo>
                        <a:pt x="20" y="112"/>
                      </a:lnTo>
                      <a:lnTo>
                        <a:pt x="22" y="107"/>
                      </a:lnTo>
                      <a:lnTo>
                        <a:pt x="24" y="102"/>
                      </a:lnTo>
                      <a:lnTo>
                        <a:pt x="26" y="97"/>
                      </a:lnTo>
                      <a:lnTo>
                        <a:pt x="34" y="87"/>
                      </a:lnTo>
                      <a:lnTo>
                        <a:pt x="42" y="77"/>
                      </a:lnTo>
                      <a:lnTo>
                        <a:pt x="54" y="69"/>
                      </a:lnTo>
                      <a:lnTo>
                        <a:pt x="67" y="60"/>
                      </a:lnTo>
                      <a:lnTo>
                        <a:pt x="81" y="52"/>
                      </a:lnTo>
                      <a:lnTo>
                        <a:pt x="96" y="45"/>
                      </a:lnTo>
                      <a:lnTo>
                        <a:pt x="128" y="30"/>
                      </a:lnTo>
                      <a:lnTo>
                        <a:pt x="160" y="18"/>
                      </a:lnTo>
                      <a:lnTo>
                        <a:pt x="190" y="8"/>
                      </a:lnTo>
                      <a:lnTo>
                        <a:pt x="213" y="0"/>
                      </a:lnTo>
                      <a:lnTo>
                        <a:pt x="266" y="0"/>
                      </a:lnTo>
                      <a:lnTo>
                        <a:pt x="264" y="7"/>
                      </a:lnTo>
                      <a:lnTo>
                        <a:pt x="260" y="14"/>
                      </a:lnTo>
                      <a:lnTo>
                        <a:pt x="255" y="19"/>
                      </a:lnTo>
                      <a:lnTo>
                        <a:pt x="250" y="24"/>
                      </a:lnTo>
                      <a:lnTo>
                        <a:pt x="236" y="32"/>
                      </a:lnTo>
                      <a:lnTo>
                        <a:pt x="220" y="40"/>
                      </a:lnTo>
                      <a:lnTo>
                        <a:pt x="205" y="47"/>
                      </a:lnTo>
                      <a:lnTo>
                        <a:pt x="192" y="55"/>
                      </a:lnTo>
                      <a:lnTo>
                        <a:pt x="187" y="60"/>
                      </a:lnTo>
                      <a:lnTo>
                        <a:pt x="183" y="66"/>
                      </a:lnTo>
                      <a:lnTo>
                        <a:pt x="181" y="72"/>
                      </a:lnTo>
                      <a:lnTo>
                        <a:pt x="180" y="80"/>
                      </a:lnTo>
                      <a:lnTo>
                        <a:pt x="180" y="95"/>
                      </a:lnTo>
                      <a:lnTo>
                        <a:pt x="180" y="105"/>
                      </a:lnTo>
                      <a:lnTo>
                        <a:pt x="198" y="104"/>
                      </a:lnTo>
                      <a:lnTo>
                        <a:pt x="216" y="101"/>
                      </a:lnTo>
                      <a:lnTo>
                        <a:pt x="233" y="97"/>
                      </a:lnTo>
                      <a:lnTo>
                        <a:pt x="252" y="93"/>
                      </a:lnTo>
                      <a:lnTo>
                        <a:pt x="252" y="82"/>
                      </a:lnTo>
                      <a:lnTo>
                        <a:pt x="252" y="67"/>
                      </a:lnTo>
                      <a:lnTo>
                        <a:pt x="274" y="60"/>
                      </a:lnTo>
                      <a:lnTo>
                        <a:pt x="295" y="51"/>
                      </a:lnTo>
                      <a:lnTo>
                        <a:pt x="316" y="42"/>
                      </a:lnTo>
                      <a:lnTo>
                        <a:pt x="336" y="32"/>
                      </a:lnTo>
                      <a:lnTo>
                        <a:pt x="355" y="24"/>
                      </a:lnTo>
                      <a:lnTo>
                        <a:pt x="376" y="18"/>
                      </a:lnTo>
                      <a:lnTo>
                        <a:pt x="386" y="15"/>
                      </a:lnTo>
                      <a:lnTo>
                        <a:pt x="397" y="14"/>
                      </a:lnTo>
                      <a:lnTo>
                        <a:pt x="408" y="12"/>
                      </a:lnTo>
                      <a:lnTo>
                        <a:pt x="419" y="12"/>
                      </a:lnTo>
                      <a:lnTo>
                        <a:pt x="422" y="12"/>
                      </a:lnTo>
                      <a:lnTo>
                        <a:pt x="426" y="14"/>
                      </a:lnTo>
                      <a:lnTo>
                        <a:pt x="429" y="15"/>
                      </a:lnTo>
                      <a:lnTo>
                        <a:pt x="432" y="18"/>
                      </a:lnTo>
                      <a:lnTo>
                        <a:pt x="438" y="23"/>
                      </a:lnTo>
                      <a:lnTo>
                        <a:pt x="443" y="30"/>
                      </a:lnTo>
                      <a:lnTo>
                        <a:pt x="450" y="44"/>
                      </a:lnTo>
                      <a:lnTo>
                        <a:pt x="452" y="49"/>
                      </a:lnTo>
                      <a:lnTo>
                        <a:pt x="443" y="57"/>
                      </a:lnTo>
                      <a:lnTo>
                        <a:pt x="437" y="64"/>
                      </a:lnTo>
                      <a:lnTo>
                        <a:pt x="434" y="68"/>
                      </a:lnTo>
                      <a:lnTo>
                        <a:pt x="433" y="71"/>
                      </a:lnTo>
                      <a:lnTo>
                        <a:pt x="432" y="75"/>
                      </a:lnTo>
                      <a:lnTo>
                        <a:pt x="432" y="80"/>
                      </a:lnTo>
                      <a:lnTo>
                        <a:pt x="467" y="80"/>
                      </a:lnTo>
                      <a:lnTo>
                        <a:pt x="504" y="80"/>
                      </a:lnTo>
                      <a:lnTo>
                        <a:pt x="536" y="80"/>
                      </a:lnTo>
                      <a:lnTo>
                        <a:pt x="565" y="80"/>
                      </a:lnTo>
                      <a:lnTo>
                        <a:pt x="581" y="80"/>
                      </a:lnTo>
                      <a:lnTo>
                        <a:pt x="601" y="83"/>
                      </a:lnTo>
                      <a:lnTo>
                        <a:pt x="621" y="85"/>
                      </a:lnTo>
                      <a:lnTo>
                        <a:pt x="637" y="86"/>
                      </a:lnTo>
                      <a:lnTo>
                        <a:pt x="648" y="86"/>
                      </a:lnTo>
                      <a:lnTo>
                        <a:pt x="658" y="87"/>
                      </a:lnTo>
                      <a:lnTo>
                        <a:pt x="667" y="88"/>
                      </a:lnTo>
                      <a:lnTo>
                        <a:pt x="675" y="89"/>
                      </a:lnTo>
                      <a:lnTo>
                        <a:pt x="690" y="94"/>
                      </a:lnTo>
                      <a:lnTo>
                        <a:pt x="702" y="99"/>
                      </a:lnTo>
                      <a:lnTo>
                        <a:pt x="715" y="103"/>
                      </a:lnTo>
                      <a:lnTo>
                        <a:pt x="728" y="107"/>
                      </a:lnTo>
                      <a:lnTo>
                        <a:pt x="734" y="109"/>
                      </a:lnTo>
                      <a:lnTo>
                        <a:pt x="742" y="110"/>
                      </a:lnTo>
                      <a:lnTo>
                        <a:pt x="749" y="111"/>
                      </a:lnTo>
                      <a:lnTo>
                        <a:pt x="757" y="111"/>
                      </a:lnTo>
                      <a:lnTo>
                        <a:pt x="753" y="115"/>
                      </a:lnTo>
                      <a:lnTo>
                        <a:pt x="751" y="119"/>
                      </a:lnTo>
                      <a:lnTo>
                        <a:pt x="748" y="122"/>
                      </a:lnTo>
                      <a:lnTo>
                        <a:pt x="747" y="125"/>
                      </a:lnTo>
                      <a:lnTo>
                        <a:pt x="747" y="130"/>
                      </a:lnTo>
                      <a:lnTo>
                        <a:pt x="749" y="134"/>
                      </a:lnTo>
                      <a:lnTo>
                        <a:pt x="752" y="138"/>
                      </a:lnTo>
                      <a:lnTo>
                        <a:pt x="754" y="142"/>
                      </a:lnTo>
                      <a:lnTo>
                        <a:pt x="754" y="145"/>
                      </a:lnTo>
                      <a:lnTo>
                        <a:pt x="754" y="147"/>
                      </a:lnTo>
                      <a:lnTo>
                        <a:pt x="753" y="151"/>
                      </a:lnTo>
                      <a:lnTo>
                        <a:pt x="751" y="154"/>
                      </a:lnTo>
                      <a:lnTo>
                        <a:pt x="711" y="184"/>
                      </a:lnTo>
                      <a:lnTo>
                        <a:pt x="728" y="179"/>
                      </a:lnTo>
                      <a:lnTo>
                        <a:pt x="746" y="172"/>
                      </a:lnTo>
                      <a:lnTo>
                        <a:pt x="764" y="166"/>
                      </a:lnTo>
                      <a:lnTo>
                        <a:pt x="777" y="160"/>
                      </a:lnTo>
                      <a:lnTo>
                        <a:pt x="798" y="160"/>
                      </a:lnTo>
                      <a:lnTo>
                        <a:pt x="797" y="164"/>
                      </a:lnTo>
                      <a:lnTo>
                        <a:pt x="799" y="168"/>
                      </a:lnTo>
                      <a:lnTo>
                        <a:pt x="802" y="172"/>
                      </a:lnTo>
                      <a:lnTo>
                        <a:pt x="807" y="174"/>
                      </a:lnTo>
                      <a:lnTo>
                        <a:pt x="820" y="179"/>
                      </a:lnTo>
                      <a:lnTo>
                        <a:pt x="834" y="183"/>
                      </a:lnTo>
                      <a:lnTo>
                        <a:pt x="848" y="186"/>
                      </a:lnTo>
                      <a:lnTo>
                        <a:pt x="860" y="189"/>
                      </a:lnTo>
                      <a:lnTo>
                        <a:pt x="866" y="191"/>
                      </a:lnTo>
                      <a:lnTo>
                        <a:pt x="869" y="192"/>
                      </a:lnTo>
                      <a:lnTo>
                        <a:pt x="870" y="194"/>
                      </a:lnTo>
                      <a:lnTo>
                        <a:pt x="870" y="196"/>
                      </a:lnTo>
                      <a:lnTo>
                        <a:pt x="864" y="234"/>
                      </a:lnTo>
                      <a:lnTo>
                        <a:pt x="863" y="236"/>
                      </a:lnTo>
                      <a:lnTo>
                        <a:pt x="860" y="238"/>
                      </a:lnTo>
                      <a:lnTo>
                        <a:pt x="856" y="239"/>
                      </a:lnTo>
                      <a:lnTo>
                        <a:pt x="852" y="240"/>
                      </a:lnTo>
                      <a:lnTo>
                        <a:pt x="838" y="242"/>
                      </a:lnTo>
                      <a:lnTo>
                        <a:pt x="824" y="243"/>
                      </a:lnTo>
                      <a:lnTo>
                        <a:pt x="809" y="244"/>
                      </a:lnTo>
                      <a:lnTo>
                        <a:pt x="797" y="246"/>
                      </a:lnTo>
                      <a:lnTo>
                        <a:pt x="791" y="247"/>
                      </a:lnTo>
                      <a:lnTo>
                        <a:pt x="788" y="248"/>
                      </a:lnTo>
                      <a:lnTo>
                        <a:pt x="785" y="250"/>
                      </a:lnTo>
                      <a:lnTo>
                        <a:pt x="784" y="252"/>
                      </a:lnTo>
                      <a:lnTo>
                        <a:pt x="799" y="262"/>
                      </a:lnTo>
                      <a:lnTo>
                        <a:pt x="813" y="269"/>
                      </a:lnTo>
                      <a:lnTo>
                        <a:pt x="827" y="275"/>
                      </a:lnTo>
                      <a:lnTo>
                        <a:pt x="843" y="280"/>
                      </a:lnTo>
                      <a:lnTo>
                        <a:pt x="859" y="284"/>
                      </a:lnTo>
                      <a:lnTo>
                        <a:pt x="877" y="287"/>
                      </a:lnTo>
                      <a:lnTo>
                        <a:pt x="896" y="289"/>
                      </a:lnTo>
                      <a:lnTo>
                        <a:pt x="916" y="289"/>
                      </a:lnTo>
                      <a:lnTo>
                        <a:pt x="915" y="298"/>
                      </a:lnTo>
                      <a:lnTo>
                        <a:pt x="913" y="307"/>
                      </a:lnTo>
                      <a:lnTo>
                        <a:pt x="909" y="317"/>
                      </a:lnTo>
                      <a:lnTo>
                        <a:pt x="903" y="327"/>
                      </a:lnTo>
                      <a:lnTo>
                        <a:pt x="914" y="330"/>
                      </a:lnTo>
                      <a:lnTo>
                        <a:pt x="925" y="333"/>
                      </a:lnTo>
                      <a:lnTo>
                        <a:pt x="937" y="333"/>
                      </a:lnTo>
                      <a:lnTo>
                        <a:pt x="948" y="333"/>
                      </a:lnTo>
                      <a:lnTo>
                        <a:pt x="959" y="332"/>
                      </a:lnTo>
                      <a:lnTo>
                        <a:pt x="969" y="331"/>
                      </a:lnTo>
                      <a:lnTo>
                        <a:pt x="977" y="329"/>
                      </a:lnTo>
                      <a:lnTo>
                        <a:pt x="983" y="327"/>
                      </a:lnTo>
                      <a:lnTo>
                        <a:pt x="987" y="333"/>
                      </a:lnTo>
                      <a:lnTo>
                        <a:pt x="991" y="337"/>
                      </a:lnTo>
                      <a:lnTo>
                        <a:pt x="995" y="341"/>
                      </a:lnTo>
                      <a:lnTo>
                        <a:pt x="1002" y="343"/>
                      </a:lnTo>
                      <a:lnTo>
                        <a:pt x="1015" y="347"/>
                      </a:lnTo>
                      <a:lnTo>
                        <a:pt x="1029" y="351"/>
                      </a:lnTo>
                      <a:lnTo>
                        <a:pt x="1012" y="360"/>
                      </a:lnTo>
                      <a:lnTo>
                        <a:pt x="997" y="371"/>
                      </a:lnTo>
                      <a:lnTo>
                        <a:pt x="983" y="382"/>
                      </a:lnTo>
                      <a:lnTo>
                        <a:pt x="971" y="391"/>
                      </a:lnTo>
                      <a:lnTo>
                        <a:pt x="959" y="400"/>
                      </a:lnTo>
                      <a:lnTo>
                        <a:pt x="947" y="406"/>
                      </a:lnTo>
                      <a:lnTo>
                        <a:pt x="939" y="409"/>
                      </a:lnTo>
                      <a:lnTo>
                        <a:pt x="933" y="411"/>
                      </a:lnTo>
                      <a:lnTo>
                        <a:pt x="925" y="412"/>
                      </a:lnTo>
                      <a:lnTo>
                        <a:pt x="916" y="412"/>
                      </a:lnTo>
                      <a:lnTo>
                        <a:pt x="911" y="413"/>
                      </a:lnTo>
                      <a:lnTo>
                        <a:pt x="907" y="414"/>
                      </a:lnTo>
                      <a:lnTo>
                        <a:pt x="902" y="415"/>
                      </a:lnTo>
                      <a:lnTo>
                        <a:pt x="899" y="417"/>
                      </a:lnTo>
                      <a:lnTo>
                        <a:pt x="893" y="422"/>
                      </a:lnTo>
                      <a:lnTo>
                        <a:pt x="889" y="428"/>
                      </a:lnTo>
                      <a:lnTo>
                        <a:pt x="885" y="434"/>
                      </a:lnTo>
                      <a:lnTo>
                        <a:pt x="881" y="439"/>
                      </a:lnTo>
                      <a:lnTo>
                        <a:pt x="879" y="441"/>
                      </a:lnTo>
                      <a:lnTo>
                        <a:pt x="877" y="442"/>
                      </a:lnTo>
                      <a:lnTo>
                        <a:pt x="874" y="443"/>
                      </a:lnTo>
                      <a:lnTo>
                        <a:pt x="870" y="444"/>
                      </a:lnTo>
                      <a:lnTo>
                        <a:pt x="865" y="442"/>
                      </a:lnTo>
                      <a:lnTo>
                        <a:pt x="857" y="439"/>
                      </a:lnTo>
                      <a:lnTo>
                        <a:pt x="849" y="435"/>
                      </a:lnTo>
                      <a:lnTo>
                        <a:pt x="842" y="429"/>
                      </a:lnTo>
                      <a:lnTo>
                        <a:pt x="835" y="422"/>
                      </a:lnTo>
                      <a:lnTo>
                        <a:pt x="830" y="414"/>
                      </a:lnTo>
                      <a:lnTo>
                        <a:pt x="827" y="411"/>
                      </a:lnTo>
                      <a:lnTo>
                        <a:pt x="825" y="407"/>
                      </a:lnTo>
                      <a:lnTo>
                        <a:pt x="824" y="404"/>
                      </a:lnTo>
                      <a:lnTo>
                        <a:pt x="824" y="400"/>
                      </a:lnTo>
                      <a:lnTo>
                        <a:pt x="840" y="400"/>
                      </a:lnTo>
                      <a:lnTo>
                        <a:pt x="851" y="400"/>
                      </a:lnTo>
                      <a:lnTo>
                        <a:pt x="851" y="393"/>
                      </a:lnTo>
                      <a:lnTo>
                        <a:pt x="851" y="382"/>
                      </a:lnTo>
                      <a:lnTo>
                        <a:pt x="837" y="382"/>
                      </a:lnTo>
                      <a:lnTo>
                        <a:pt x="827" y="382"/>
                      </a:lnTo>
                      <a:lnTo>
                        <a:pt x="816" y="382"/>
                      </a:lnTo>
                      <a:lnTo>
                        <a:pt x="804" y="382"/>
                      </a:lnTo>
                      <a:lnTo>
                        <a:pt x="798" y="381"/>
                      </a:lnTo>
                      <a:lnTo>
                        <a:pt x="792" y="379"/>
                      </a:lnTo>
                      <a:lnTo>
                        <a:pt x="788" y="376"/>
                      </a:lnTo>
                      <a:lnTo>
                        <a:pt x="784" y="373"/>
                      </a:lnTo>
                      <a:lnTo>
                        <a:pt x="780" y="369"/>
                      </a:lnTo>
                      <a:lnTo>
                        <a:pt x="776" y="366"/>
                      </a:lnTo>
                      <a:lnTo>
                        <a:pt x="770" y="364"/>
                      </a:lnTo>
                      <a:lnTo>
                        <a:pt x="764" y="363"/>
                      </a:lnTo>
                      <a:lnTo>
                        <a:pt x="759" y="364"/>
                      </a:lnTo>
                      <a:lnTo>
                        <a:pt x="755" y="366"/>
                      </a:lnTo>
                      <a:lnTo>
                        <a:pt x="752" y="369"/>
                      </a:lnTo>
                      <a:lnTo>
                        <a:pt x="749" y="374"/>
                      </a:lnTo>
                      <a:lnTo>
                        <a:pt x="747" y="379"/>
                      </a:lnTo>
                      <a:lnTo>
                        <a:pt x="745" y="384"/>
                      </a:lnTo>
                      <a:lnTo>
                        <a:pt x="744" y="389"/>
                      </a:lnTo>
                      <a:lnTo>
                        <a:pt x="744" y="394"/>
                      </a:lnTo>
                      <a:lnTo>
                        <a:pt x="711" y="394"/>
                      </a:lnTo>
                      <a:lnTo>
                        <a:pt x="711" y="412"/>
                      </a:lnTo>
                      <a:lnTo>
                        <a:pt x="715" y="414"/>
                      </a:lnTo>
                      <a:lnTo>
                        <a:pt x="720" y="418"/>
                      </a:lnTo>
                      <a:lnTo>
                        <a:pt x="726" y="423"/>
                      </a:lnTo>
                      <a:lnTo>
                        <a:pt x="733" y="430"/>
                      </a:lnTo>
                      <a:lnTo>
                        <a:pt x="747" y="445"/>
                      </a:lnTo>
                      <a:lnTo>
                        <a:pt x="762" y="462"/>
                      </a:lnTo>
                      <a:lnTo>
                        <a:pt x="775" y="478"/>
                      </a:lnTo>
                      <a:lnTo>
                        <a:pt x="787" y="494"/>
                      </a:lnTo>
                      <a:lnTo>
                        <a:pt x="795" y="505"/>
                      </a:lnTo>
                      <a:lnTo>
                        <a:pt x="798" y="511"/>
                      </a:lnTo>
                      <a:lnTo>
                        <a:pt x="797" y="517"/>
                      </a:lnTo>
                      <a:lnTo>
                        <a:pt x="795" y="523"/>
                      </a:lnTo>
                      <a:lnTo>
                        <a:pt x="795" y="527"/>
                      </a:lnTo>
                      <a:lnTo>
                        <a:pt x="795" y="530"/>
                      </a:lnTo>
                      <a:lnTo>
                        <a:pt x="796" y="533"/>
                      </a:lnTo>
                      <a:lnTo>
                        <a:pt x="798" y="535"/>
                      </a:lnTo>
                      <a:lnTo>
                        <a:pt x="788" y="539"/>
                      </a:lnTo>
                      <a:lnTo>
                        <a:pt x="779" y="543"/>
                      </a:lnTo>
                      <a:lnTo>
                        <a:pt x="771" y="547"/>
                      </a:lnTo>
                      <a:lnTo>
                        <a:pt x="765" y="551"/>
                      </a:lnTo>
                      <a:lnTo>
                        <a:pt x="758" y="554"/>
                      </a:lnTo>
                      <a:lnTo>
                        <a:pt x="752" y="558"/>
                      </a:lnTo>
                      <a:lnTo>
                        <a:pt x="745" y="560"/>
                      </a:lnTo>
                      <a:lnTo>
                        <a:pt x="737" y="560"/>
                      </a:lnTo>
                      <a:lnTo>
                        <a:pt x="723" y="559"/>
                      </a:lnTo>
                      <a:lnTo>
                        <a:pt x="708" y="556"/>
                      </a:lnTo>
                      <a:lnTo>
                        <a:pt x="695" y="552"/>
                      </a:lnTo>
                      <a:lnTo>
                        <a:pt x="681" y="546"/>
                      </a:lnTo>
                      <a:lnTo>
                        <a:pt x="669" y="540"/>
                      </a:lnTo>
                      <a:lnTo>
                        <a:pt x="659" y="531"/>
                      </a:lnTo>
                      <a:lnTo>
                        <a:pt x="651" y="524"/>
                      </a:lnTo>
                      <a:lnTo>
                        <a:pt x="644" y="517"/>
                      </a:lnTo>
                      <a:lnTo>
                        <a:pt x="618" y="517"/>
                      </a:lnTo>
                      <a:lnTo>
                        <a:pt x="621" y="525"/>
                      </a:lnTo>
                      <a:lnTo>
                        <a:pt x="624" y="531"/>
                      </a:lnTo>
                      <a:lnTo>
                        <a:pt x="629" y="538"/>
                      </a:lnTo>
                      <a:lnTo>
                        <a:pt x="634" y="543"/>
                      </a:lnTo>
                      <a:lnTo>
                        <a:pt x="645" y="552"/>
                      </a:lnTo>
                      <a:lnTo>
                        <a:pt x="657" y="560"/>
                      </a:lnTo>
                      <a:lnTo>
                        <a:pt x="668" y="567"/>
                      </a:lnTo>
                      <a:lnTo>
                        <a:pt x="678" y="575"/>
                      </a:lnTo>
                      <a:lnTo>
                        <a:pt x="683" y="580"/>
                      </a:lnTo>
                      <a:lnTo>
                        <a:pt x="687" y="585"/>
                      </a:lnTo>
                      <a:lnTo>
                        <a:pt x="689" y="590"/>
                      </a:lnTo>
                      <a:lnTo>
                        <a:pt x="691" y="598"/>
                      </a:lnTo>
                      <a:lnTo>
                        <a:pt x="678" y="601"/>
                      </a:lnTo>
                      <a:lnTo>
                        <a:pt x="665" y="604"/>
                      </a:lnTo>
                      <a:lnTo>
                        <a:pt x="644" y="603"/>
                      </a:lnTo>
                      <a:lnTo>
                        <a:pt x="618" y="599"/>
                      </a:lnTo>
                      <a:lnTo>
                        <a:pt x="589" y="592"/>
                      </a:lnTo>
                      <a:lnTo>
                        <a:pt x="558" y="584"/>
                      </a:lnTo>
                      <a:lnTo>
                        <a:pt x="544" y="580"/>
                      </a:lnTo>
                      <a:lnTo>
                        <a:pt x="531" y="575"/>
                      </a:lnTo>
                      <a:lnTo>
                        <a:pt x="518" y="570"/>
                      </a:lnTo>
                      <a:lnTo>
                        <a:pt x="507" y="565"/>
                      </a:lnTo>
                      <a:lnTo>
                        <a:pt x="497" y="559"/>
                      </a:lnTo>
                      <a:lnTo>
                        <a:pt x="488" y="554"/>
                      </a:lnTo>
                      <a:lnTo>
                        <a:pt x="483" y="548"/>
                      </a:lnTo>
                      <a:lnTo>
                        <a:pt x="478" y="542"/>
                      </a:lnTo>
                      <a:lnTo>
                        <a:pt x="475" y="532"/>
                      </a:lnTo>
                      <a:lnTo>
                        <a:pt x="471" y="523"/>
                      </a:lnTo>
                      <a:lnTo>
                        <a:pt x="464" y="513"/>
                      </a:lnTo>
                      <a:lnTo>
                        <a:pt x="457" y="504"/>
                      </a:lnTo>
                      <a:lnTo>
                        <a:pt x="451" y="496"/>
                      </a:lnTo>
                      <a:lnTo>
                        <a:pt x="444" y="489"/>
                      </a:lnTo>
                      <a:lnTo>
                        <a:pt x="438" y="484"/>
                      </a:lnTo>
                      <a:lnTo>
                        <a:pt x="432" y="480"/>
                      </a:lnTo>
                      <a:lnTo>
                        <a:pt x="410" y="473"/>
                      </a:lnTo>
                      <a:lnTo>
                        <a:pt x="388" y="468"/>
                      </a:lnTo>
                      <a:lnTo>
                        <a:pt x="384" y="467"/>
                      </a:lnTo>
                      <a:lnTo>
                        <a:pt x="379" y="465"/>
                      </a:lnTo>
                      <a:lnTo>
                        <a:pt x="375" y="463"/>
                      </a:lnTo>
                      <a:lnTo>
                        <a:pt x="372" y="460"/>
                      </a:lnTo>
                      <a:lnTo>
                        <a:pt x="370" y="457"/>
                      </a:lnTo>
                      <a:lnTo>
                        <a:pt x="367" y="453"/>
                      </a:lnTo>
                      <a:lnTo>
                        <a:pt x="366" y="449"/>
                      </a:lnTo>
                      <a:lnTo>
                        <a:pt x="365" y="444"/>
                      </a:lnTo>
                      <a:lnTo>
                        <a:pt x="366" y="441"/>
                      </a:lnTo>
                      <a:lnTo>
                        <a:pt x="368" y="439"/>
                      </a:lnTo>
                      <a:lnTo>
                        <a:pt x="373" y="437"/>
                      </a:lnTo>
                      <a:lnTo>
                        <a:pt x="378" y="436"/>
                      </a:lnTo>
                      <a:lnTo>
                        <a:pt x="392" y="433"/>
                      </a:lnTo>
                      <a:lnTo>
                        <a:pt x="406" y="430"/>
                      </a:lnTo>
                      <a:lnTo>
                        <a:pt x="435" y="427"/>
                      </a:lnTo>
                      <a:lnTo>
                        <a:pt x="452" y="424"/>
                      </a:lnTo>
                      <a:lnTo>
                        <a:pt x="452" y="416"/>
                      </a:lnTo>
                      <a:lnTo>
                        <a:pt x="454" y="409"/>
                      </a:lnTo>
                      <a:lnTo>
                        <a:pt x="456" y="404"/>
                      </a:lnTo>
                      <a:lnTo>
                        <a:pt x="459" y="399"/>
                      </a:lnTo>
                      <a:lnTo>
                        <a:pt x="461" y="394"/>
                      </a:lnTo>
                      <a:lnTo>
                        <a:pt x="463" y="390"/>
                      </a:lnTo>
                      <a:lnTo>
                        <a:pt x="465" y="386"/>
                      </a:lnTo>
                      <a:lnTo>
                        <a:pt x="465" y="382"/>
                      </a:lnTo>
                      <a:lnTo>
                        <a:pt x="479" y="382"/>
                      </a:lnTo>
                      <a:lnTo>
                        <a:pt x="490" y="380"/>
                      </a:lnTo>
                      <a:lnTo>
                        <a:pt x="500" y="378"/>
                      </a:lnTo>
                      <a:lnTo>
                        <a:pt x="508" y="375"/>
                      </a:lnTo>
                      <a:lnTo>
                        <a:pt x="521" y="368"/>
                      </a:lnTo>
                      <a:lnTo>
                        <a:pt x="532" y="363"/>
                      </a:lnTo>
                      <a:lnTo>
                        <a:pt x="572" y="363"/>
                      </a:lnTo>
                      <a:lnTo>
                        <a:pt x="573" y="369"/>
                      </a:lnTo>
                      <a:lnTo>
                        <a:pt x="575" y="376"/>
                      </a:lnTo>
                      <a:lnTo>
                        <a:pt x="577" y="380"/>
                      </a:lnTo>
                      <a:lnTo>
                        <a:pt x="580" y="384"/>
                      </a:lnTo>
                      <a:lnTo>
                        <a:pt x="583" y="387"/>
                      </a:lnTo>
                      <a:lnTo>
                        <a:pt x="587" y="389"/>
                      </a:lnTo>
                      <a:lnTo>
                        <a:pt x="590" y="391"/>
                      </a:lnTo>
                      <a:lnTo>
                        <a:pt x="595" y="393"/>
                      </a:lnTo>
                      <a:lnTo>
                        <a:pt x="603" y="394"/>
                      </a:lnTo>
                      <a:lnTo>
                        <a:pt x="614" y="395"/>
                      </a:lnTo>
                      <a:lnTo>
                        <a:pt x="625" y="394"/>
                      </a:lnTo>
                      <a:lnTo>
                        <a:pt x="637" y="394"/>
                      </a:lnTo>
                      <a:lnTo>
                        <a:pt x="650" y="394"/>
                      </a:lnTo>
                      <a:lnTo>
                        <a:pt x="659" y="393"/>
                      </a:lnTo>
                      <a:lnTo>
                        <a:pt x="668" y="392"/>
                      </a:lnTo>
                      <a:lnTo>
                        <a:pt x="675" y="390"/>
                      </a:lnTo>
                      <a:lnTo>
                        <a:pt x="687" y="387"/>
                      </a:lnTo>
                      <a:lnTo>
                        <a:pt x="698" y="382"/>
                      </a:lnTo>
                      <a:lnTo>
                        <a:pt x="698" y="373"/>
                      </a:lnTo>
                      <a:lnTo>
                        <a:pt x="698" y="363"/>
                      </a:lnTo>
                      <a:lnTo>
                        <a:pt x="605" y="351"/>
                      </a:lnTo>
                      <a:lnTo>
                        <a:pt x="596" y="351"/>
                      </a:lnTo>
                      <a:lnTo>
                        <a:pt x="588" y="353"/>
                      </a:lnTo>
                      <a:lnTo>
                        <a:pt x="581" y="355"/>
                      </a:lnTo>
                      <a:lnTo>
                        <a:pt x="576" y="357"/>
                      </a:lnTo>
                      <a:lnTo>
                        <a:pt x="572" y="359"/>
                      </a:lnTo>
                      <a:lnTo>
                        <a:pt x="567" y="361"/>
                      </a:lnTo>
                      <a:lnTo>
                        <a:pt x="563" y="362"/>
                      </a:lnTo>
                      <a:lnTo>
                        <a:pt x="558" y="363"/>
                      </a:lnTo>
                      <a:lnTo>
                        <a:pt x="550" y="362"/>
                      </a:lnTo>
                      <a:lnTo>
                        <a:pt x="542" y="361"/>
                      </a:lnTo>
                      <a:lnTo>
                        <a:pt x="540" y="360"/>
                      </a:lnTo>
                      <a:lnTo>
                        <a:pt x="536" y="360"/>
                      </a:lnTo>
                      <a:lnTo>
                        <a:pt x="534" y="361"/>
                      </a:lnTo>
                      <a:lnTo>
                        <a:pt x="532" y="363"/>
                      </a:lnTo>
                      <a:lnTo>
                        <a:pt x="533" y="358"/>
                      </a:lnTo>
                      <a:lnTo>
                        <a:pt x="535" y="354"/>
                      </a:lnTo>
                      <a:lnTo>
                        <a:pt x="539" y="350"/>
                      </a:lnTo>
                      <a:lnTo>
                        <a:pt x="542" y="347"/>
                      </a:lnTo>
                      <a:lnTo>
                        <a:pt x="550" y="339"/>
                      </a:lnTo>
                      <a:lnTo>
                        <a:pt x="557" y="332"/>
                      </a:lnTo>
                      <a:lnTo>
                        <a:pt x="565" y="324"/>
                      </a:lnTo>
                      <a:lnTo>
                        <a:pt x="572" y="316"/>
                      </a:lnTo>
                      <a:lnTo>
                        <a:pt x="574" y="311"/>
                      </a:lnTo>
                      <a:lnTo>
                        <a:pt x="576" y="306"/>
                      </a:lnTo>
                      <a:lnTo>
                        <a:pt x="577" y="301"/>
                      </a:lnTo>
                      <a:lnTo>
                        <a:pt x="578" y="295"/>
                      </a:lnTo>
                      <a:lnTo>
                        <a:pt x="577" y="290"/>
                      </a:lnTo>
                      <a:lnTo>
                        <a:pt x="576" y="283"/>
                      </a:lnTo>
                      <a:lnTo>
                        <a:pt x="575" y="280"/>
                      </a:lnTo>
                      <a:lnTo>
                        <a:pt x="575" y="277"/>
                      </a:lnTo>
                      <a:lnTo>
                        <a:pt x="576" y="274"/>
                      </a:lnTo>
                      <a:lnTo>
                        <a:pt x="578" y="271"/>
                      </a:lnTo>
                      <a:lnTo>
                        <a:pt x="568" y="271"/>
                      </a:lnTo>
                      <a:lnTo>
                        <a:pt x="558" y="269"/>
                      </a:lnTo>
                      <a:lnTo>
                        <a:pt x="550" y="267"/>
                      </a:lnTo>
                      <a:lnTo>
                        <a:pt x="541" y="263"/>
                      </a:lnTo>
                      <a:lnTo>
                        <a:pt x="533" y="258"/>
                      </a:lnTo>
                      <a:lnTo>
                        <a:pt x="524" y="254"/>
                      </a:lnTo>
                      <a:lnTo>
                        <a:pt x="518" y="248"/>
                      </a:lnTo>
                      <a:lnTo>
                        <a:pt x="511" y="243"/>
                      </a:lnTo>
                      <a:lnTo>
                        <a:pt x="499" y="231"/>
                      </a:lnTo>
                      <a:lnTo>
                        <a:pt x="489" y="219"/>
                      </a:lnTo>
                      <a:lnTo>
                        <a:pt x="483" y="208"/>
                      </a:lnTo>
                      <a:lnTo>
                        <a:pt x="478" y="196"/>
                      </a:lnTo>
                      <a:lnTo>
                        <a:pt x="473" y="198"/>
                      </a:lnTo>
                      <a:lnTo>
                        <a:pt x="467" y="198"/>
                      </a:lnTo>
                      <a:lnTo>
                        <a:pt x="463" y="198"/>
                      </a:lnTo>
                      <a:lnTo>
                        <a:pt x="459" y="196"/>
                      </a:lnTo>
                      <a:lnTo>
                        <a:pt x="452" y="190"/>
                      </a:lnTo>
                      <a:lnTo>
                        <a:pt x="446" y="183"/>
                      </a:lnTo>
                      <a:lnTo>
                        <a:pt x="441" y="175"/>
                      </a:lnTo>
                      <a:lnTo>
                        <a:pt x="434" y="168"/>
                      </a:lnTo>
                      <a:lnTo>
                        <a:pt x="431" y="165"/>
                      </a:lnTo>
                      <a:lnTo>
                        <a:pt x="428" y="162"/>
                      </a:lnTo>
                      <a:lnTo>
                        <a:pt x="423" y="161"/>
                      </a:lnTo>
                      <a:lnTo>
                        <a:pt x="419" y="160"/>
                      </a:lnTo>
                      <a:lnTo>
                        <a:pt x="415" y="161"/>
                      </a:lnTo>
                      <a:lnTo>
                        <a:pt x="411" y="162"/>
                      </a:lnTo>
                      <a:lnTo>
                        <a:pt x="408" y="163"/>
                      </a:lnTo>
                      <a:lnTo>
                        <a:pt x="404" y="165"/>
                      </a:lnTo>
                      <a:lnTo>
                        <a:pt x="397" y="170"/>
                      </a:lnTo>
                      <a:lnTo>
                        <a:pt x="392" y="177"/>
                      </a:lnTo>
                      <a:lnTo>
                        <a:pt x="386" y="184"/>
                      </a:lnTo>
                      <a:lnTo>
                        <a:pt x="382" y="191"/>
                      </a:lnTo>
                      <a:lnTo>
                        <a:pt x="379" y="197"/>
                      </a:lnTo>
                      <a:lnTo>
                        <a:pt x="378" y="203"/>
                      </a:lnTo>
                      <a:lnTo>
                        <a:pt x="339" y="203"/>
                      </a:lnTo>
                      <a:lnTo>
                        <a:pt x="317" y="194"/>
                      </a:lnTo>
                      <a:lnTo>
                        <a:pt x="295" y="188"/>
                      </a:lnTo>
                      <a:lnTo>
                        <a:pt x="273" y="182"/>
                      </a:lnTo>
                      <a:lnTo>
                        <a:pt x="252" y="178"/>
                      </a:lnTo>
                      <a:lnTo>
                        <a:pt x="230" y="176"/>
                      </a:lnTo>
                      <a:lnTo>
                        <a:pt x="207" y="174"/>
                      </a:lnTo>
                      <a:lnTo>
                        <a:pt x="184" y="173"/>
                      </a:lnTo>
                      <a:lnTo>
                        <a:pt x="160" y="172"/>
                      </a:lnTo>
                      <a:lnTo>
                        <a:pt x="148" y="173"/>
                      </a:lnTo>
                      <a:lnTo>
                        <a:pt x="138" y="176"/>
                      </a:lnTo>
                      <a:lnTo>
                        <a:pt x="129" y="180"/>
                      </a:lnTo>
                      <a:lnTo>
                        <a:pt x="121" y="184"/>
                      </a:lnTo>
                      <a:lnTo>
                        <a:pt x="114" y="189"/>
                      </a:lnTo>
                      <a:lnTo>
                        <a:pt x="107" y="193"/>
                      </a:lnTo>
                      <a:lnTo>
                        <a:pt x="101" y="195"/>
                      </a:lnTo>
                      <a:lnTo>
                        <a:pt x="93" y="196"/>
                      </a:lnTo>
                      <a:lnTo>
                        <a:pt x="88" y="196"/>
                      </a:lnTo>
                      <a:lnTo>
                        <a:pt x="84" y="194"/>
                      </a:lnTo>
                      <a:lnTo>
                        <a:pt x="81" y="190"/>
                      </a:lnTo>
                      <a:lnTo>
                        <a:pt x="79" y="187"/>
                      </a:lnTo>
                      <a:lnTo>
                        <a:pt x="74" y="179"/>
                      </a:lnTo>
                      <a:lnTo>
                        <a:pt x="73" y="172"/>
                      </a:lnTo>
                      <a:lnTo>
                        <a:pt x="50" y="177"/>
                      </a:lnTo>
                      <a:lnTo>
                        <a:pt x="29" y="181"/>
                      </a:lnTo>
                      <a:lnTo>
                        <a:pt x="25" y="181"/>
                      </a:lnTo>
                      <a:lnTo>
                        <a:pt x="20" y="180"/>
                      </a:lnTo>
                      <a:lnTo>
                        <a:pt x="16" y="180"/>
                      </a:lnTo>
                      <a:lnTo>
                        <a:pt x="13" y="178"/>
                      </a:lnTo>
                      <a:lnTo>
                        <a:pt x="8" y="176"/>
                      </a:lnTo>
                      <a:lnTo>
                        <a:pt x="6" y="174"/>
                      </a:lnTo>
                      <a:lnTo>
                        <a:pt x="3" y="170"/>
                      </a:lnTo>
                      <a:lnTo>
                        <a:pt x="0" y="166"/>
                      </a:lnTo>
                      <a:lnTo>
                        <a:pt x="4" y="162"/>
                      </a:lnTo>
                      <a:lnTo>
                        <a:pt x="9" y="158"/>
                      </a:lnTo>
                      <a:lnTo>
                        <a:pt x="14" y="155"/>
                      </a:lnTo>
                      <a:lnTo>
                        <a:pt x="20" y="152"/>
                      </a:lnTo>
                      <a:lnTo>
                        <a:pt x="32" y="149"/>
                      </a:lnTo>
                      <a:lnTo>
                        <a:pt x="46" y="146"/>
                      </a:lnTo>
                      <a:lnTo>
                        <a:pt x="59" y="145"/>
                      </a:lnTo>
                      <a:lnTo>
                        <a:pt x="70" y="147"/>
                      </a:lnTo>
                      <a:lnTo>
                        <a:pt x="75" y="149"/>
                      </a:lnTo>
                      <a:lnTo>
                        <a:pt x="80" y="150"/>
                      </a:lnTo>
                      <a:lnTo>
                        <a:pt x="83" y="152"/>
                      </a:lnTo>
                      <a:lnTo>
                        <a:pt x="86" y="154"/>
                      </a:lnTo>
                      <a:lnTo>
                        <a:pt x="86" y="139"/>
                      </a:lnTo>
                      <a:lnTo>
                        <a:pt x="86" y="129"/>
                      </a:lnTo>
                      <a:lnTo>
                        <a:pt x="73" y="129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95" name="Freeform 417">
                  <a:extLst>
                    <a:ext uri="{FF2B5EF4-FFF2-40B4-BE49-F238E27FC236}">
                      <a16:creationId xmlns="" xmlns:a16="http://schemas.microsoft.com/office/drawing/2014/main" id="{CF48A26B-88EE-457A-A3A7-C4BF961109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8" y="1110"/>
                  <a:ext cx="409" cy="105"/>
                </a:xfrm>
                <a:custGeom>
                  <a:avLst/>
                  <a:gdLst>
                    <a:gd name="T0" fmla="*/ 3 w 1268"/>
                    <a:gd name="T1" fmla="*/ 0 h 321"/>
                    <a:gd name="T2" fmla="*/ 3 w 1268"/>
                    <a:gd name="T3" fmla="*/ 0 h 321"/>
                    <a:gd name="T4" fmla="*/ 3 w 1268"/>
                    <a:gd name="T5" fmla="*/ 0 h 321"/>
                    <a:gd name="T6" fmla="*/ 3 w 1268"/>
                    <a:gd name="T7" fmla="*/ 0 h 321"/>
                    <a:gd name="T8" fmla="*/ 3 w 1268"/>
                    <a:gd name="T9" fmla="*/ 0 h 321"/>
                    <a:gd name="T10" fmla="*/ 4 w 1268"/>
                    <a:gd name="T11" fmla="*/ 0 h 321"/>
                    <a:gd name="T12" fmla="*/ 4 w 1268"/>
                    <a:gd name="T13" fmla="*/ 0 h 321"/>
                    <a:gd name="T14" fmla="*/ 4 w 1268"/>
                    <a:gd name="T15" fmla="*/ 0 h 321"/>
                    <a:gd name="T16" fmla="*/ 5 w 1268"/>
                    <a:gd name="T17" fmla="*/ 0 h 321"/>
                    <a:gd name="T18" fmla="*/ 5 w 1268"/>
                    <a:gd name="T19" fmla="*/ 0 h 321"/>
                    <a:gd name="T20" fmla="*/ 4 w 1268"/>
                    <a:gd name="T21" fmla="*/ 0 h 321"/>
                    <a:gd name="T22" fmla="*/ 4 w 1268"/>
                    <a:gd name="T23" fmla="*/ 0 h 321"/>
                    <a:gd name="T24" fmla="*/ 4 w 1268"/>
                    <a:gd name="T25" fmla="*/ 0 h 321"/>
                    <a:gd name="T26" fmla="*/ 4 w 1268"/>
                    <a:gd name="T27" fmla="*/ 0 h 321"/>
                    <a:gd name="T28" fmla="*/ 3 w 1268"/>
                    <a:gd name="T29" fmla="*/ 0 h 321"/>
                    <a:gd name="T30" fmla="*/ 3 w 1268"/>
                    <a:gd name="T31" fmla="*/ 0 h 321"/>
                    <a:gd name="T32" fmla="*/ 3 w 1268"/>
                    <a:gd name="T33" fmla="*/ 1 h 321"/>
                    <a:gd name="T34" fmla="*/ 2 w 1268"/>
                    <a:gd name="T35" fmla="*/ 1 h 321"/>
                    <a:gd name="T36" fmla="*/ 2 w 1268"/>
                    <a:gd name="T37" fmla="*/ 1 h 321"/>
                    <a:gd name="T38" fmla="*/ 2 w 1268"/>
                    <a:gd name="T39" fmla="*/ 1 h 321"/>
                    <a:gd name="T40" fmla="*/ 2 w 1268"/>
                    <a:gd name="T41" fmla="*/ 1 h 321"/>
                    <a:gd name="T42" fmla="*/ 2 w 1268"/>
                    <a:gd name="T43" fmla="*/ 1 h 321"/>
                    <a:gd name="T44" fmla="*/ 2 w 1268"/>
                    <a:gd name="T45" fmla="*/ 1 h 321"/>
                    <a:gd name="T46" fmla="*/ 2 w 1268"/>
                    <a:gd name="T47" fmla="*/ 1 h 321"/>
                    <a:gd name="T48" fmla="*/ 2 w 1268"/>
                    <a:gd name="T49" fmla="*/ 1 h 321"/>
                    <a:gd name="T50" fmla="*/ 2 w 1268"/>
                    <a:gd name="T51" fmla="*/ 1 h 321"/>
                    <a:gd name="T52" fmla="*/ 1 w 1268"/>
                    <a:gd name="T53" fmla="*/ 1 h 321"/>
                    <a:gd name="T54" fmla="*/ 1 w 1268"/>
                    <a:gd name="T55" fmla="*/ 1 h 321"/>
                    <a:gd name="T56" fmla="*/ 1 w 1268"/>
                    <a:gd name="T57" fmla="*/ 1 h 321"/>
                    <a:gd name="T58" fmla="*/ 1 w 1268"/>
                    <a:gd name="T59" fmla="*/ 1 h 321"/>
                    <a:gd name="T60" fmla="*/ 0 w 1268"/>
                    <a:gd name="T61" fmla="*/ 1 h 321"/>
                    <a:gd name="T62" fmla="*/ 0 w 1268"/>
                    <a:gd name="T63" fmla="*/ 1 h 321"/>
                    <a:gd name="T64" fmla="*/ 0 w 1268"/>
                    <a:gd name="T65" fmla="*/ 1 h 321"/>
                    <a:gd name="T66" fmla="*/ 0 w 1268"/>
                    <a:gd name="T67" fmla="*/ 1 h 321"/>
                    <a:gd name="T68" fmla="*/ 1 w 1268"/>
                    <a:gd name="T69" fmla="*/ 1 h 321"/>
                    <a:gd name="T70" fmla="*/ 1 w 1268"/>
                    <a:gd name="T71" fmla="*/ 1 h 321"/>
                    <a:gd name="T72" fmla="*/ 1 w 1268"/>
                    <a:gd name="T73" fmla="*/ 1 h 321"/>
                    <a:gd name="T74" fmla="*/ 1 w 1268"/>
                    <a:gd name="T75" fmla="*/ 1 h 321"/>
                    <a:gd name="T76" fmla="*/ 1 w 1268"/>
                    <a:gd name="T77" fmla="*/ 1 h 321"/>
                    <a:gd name="T78" fmla="*/ 1 w 1268"/>
                    <a:gd name="T79" fmla="*/ 1 h 321"/>
                    <a:gd name="T80" fmla="*/ 1 w 1268"/>
                    <a:gd name="T81" fmla="*/ 1 h 321"/>
                    <a:gd name="T82" fmla="*/ 1 w 1268"/>
                    <a:gd name="T83" fmla="*/ 1 h 321"/>
                    <a:gd name="T84" fmla="*/ 1 w 1268"/>
                    <a:gd name="T85" fmla="*/ 1 h 321"/>
                    <a:gd name="T86" fmla="*/ 1 w 1268"/>
                    <a:gd name="T87" fmla="*/ 1 h 321"/>
                    <a:gd name="T88" fmla="*/ 2 w 1268"/>
                    <a:gd name="T89" fmla="*/ 1 h 321"/>
                    <a:gd name="T90" fmla="*/ 1 w 1268"/>
                    <a:gd name="T91" fmla="*/ 1 h 321"/>
                    <a:gd name="T92" fmla="*/ 1 w 1268"/>
                    <a:gd name="T93" fmla="*/ 1 h 321"/>
                    <a:gd name="T94" fmla="*/ 1 w 1268"/>
                    <a:gd name="T95" fmla="*/ 1 h 321"/>
                    <a:gd name="T96" fmla="*/ 2 w 1268"/>
                    <a:gd name="T97" fmla="*/ 1 h 321"/>
                    <a:gd name="T98" fmla="*/ 2 w 1268"/>
                    <a:gd name="T99" fmla="*/ 0 h 321"/>
                    <a:gd name="T100" fmla="*/ 2 w 1268"/>
                    <a:gd name="T101" fmla="*/ 0 h 321"/>
                    <a:gd name="T102" fmla="*/ 2 w 1268"/>
                    <a:gd name="T103" fmla="*/ 0 h 321"/>
                    <a:gd name="T104" fmla="*/ 2 w 1268"/>
                    <a:gd name="T105" fmla="*/ 0 h 321"/>
                    <a:gd name="T106" fmla="*/ 1 w 1268"/>
                    <a:gd name="T107" fmla="*/ 0 h 321"/>
                    <a:gd name="T108" fmla="*/ 1 w 1268"/>
                    <a:gd name="T109" fmla="*/ 0 h 321"/>
                    <a:gd name="T110" fmla="*/ 1 w 1268"/>
                    <a:gd name="T111" fmla="*/ 0 h 321"/>
                    <a:gd name="T112" fmla="*/ 1 w 1268"/>
                    <a:gd name="T113" fmla="*/ 0 h 321"/>
                    <a:gd name="T114" fmla="*/ 2 w 1268"/>
                    <a:gd name="T115" fmla="*/ 0 h 321"/>
                    <a:gd name="T116" fmla="*/ 2 w 1268"/>
                    <a:gd name="T117" fmla="*/ 0 h 321"/>
                    <a:gd name="T118" fmla="*/ 2 w 1268"/>
                    <a:gd name="T119" fmla="*/ 0 h 321"/>
                    <a:gd name="T120" fmla="*/ 3 w 1268"/>
                    <a:gd name="T121" fmla="*/ 0 h 321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1268"/>
                    <a:gd name="T184" fmla="*/ 0 h 321"/>
                    <a:gd name="T185" fmla="*/ 1268 w 1268"/>
                    <a:gd name="T186" fmla="*/ 321 h 321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1268" h="321">
                      <a:moveTo>
                        <a:pt x="764" y="26"/>
                      </a:moveTo>
                      <a:lnTo>
                        <a:pt x="770" y="30"/>
                      </a:lnTo>
                      <a:lnTo>
                        <a:pt x="778" y="34"/>
                      </a:lnTo>
                      <a:lnTo>
                        <a:pt x="787" y="37"/>
                      </a:lnTo>
                      <a:lnTo>
                        <a:pt x="797" y="38"/>
                      </a:lnTo>
                      <a:lnTo>
                        <a:pt x="797" y="35"/>
                      </a:lnTo>
                      <a:lnTo>
                        <a:pt x="799" y="31"/>
                      </a:lnTo>
                      <a:lnTo>
                        <a:pt x="803" y="26"/>
                      </a:lnTo>
                      <a:lnTo>
                        <a:pt x="807" y="20"/>
                      </a:lnTo>
                      <a:lnTo>
                        <a:pt x="813" y="16"/>
                      </a:lnTo>
                      <a:lnTo>
                        <a:pt x="819" y="11"/>
                      </a:lnTo>
                      <a:lnTo>
                        <a:pt x="828" y="9"/>
                      </a:lnTo>
                      <a:lnTo>
                        <a:pt x="837" y="8"/>
                      </a:lnTo>
                      <a:lnTo>
                        <a:pt x="841" y="8"/>
                      </a:lnTo>
                      <a:lnTo>
                        <a:pt x="846" y="10"/>
                      </a:lnTo>
                      <a:lnTo>
                        <a:pt x="850" y="13"/>
                      </a:lnTo>
                      <a:lnTo>
                        <a:pt x="853" y="17"/>
                      </a:lnTo>
                      <a:lnTo>
                        <a:pt x="858" y="20"/>
                      </a:lnTo>
                      <a:lnTo>
                        <a:pt x="861" y="23"/>
                      </a:lnTo>
                      <a:lnTo>
                        <a:pt x="865" y="25"/>
                      </a:lnTo>
                      <a:lnTo>
                        <a:pt x="870" y="26"/>
                      </a:lnTo>
                      <a:lnTo>
                        <a:pt x="888" y="25"/>
                      </a:lnTo>
                      <a:lnTo>
                        <a:pt x="906" y="22"/>
                      </a:lnTo>
                      <a:lnTo>
                        <a:pt x="921" y="18"/>
                      </a:lnTo>
                      <a:lnTo>
                        <a:pt x="938" y="14"/>
                      </a:lnTo>
                      <a:lnTo>
                        <a:pt x="953" y="9"/>
                      </a:lnTo>
                      <a:lnTo>
                        <a:pt x="970" y="4"/>
                      </a:lnTo>
                      <a:lnTo>
                        <a:pt x="988" y="2"/>
                      </a:lnTo>
                      <a:lnTo>
                        <a:pt x="1009" y="0"/>
                      </a:lnTo>
                      <a:lnTo>
                        <a:pt x="1020" y="1"/>
                      </a:lnTo>
                      <a:lnTo>
                        <a:pt x="1032" y="3"/>
                      </a:lnTo>
                      <a:lnTo>
                        <a:pt x="1045" y="7"/>
                      </a:lnTo>
                      <a:lnTo>
                        <a:pt x="1059" y="11"/>
                      </a:lnTo>
                      <a:lnTo>
                        <a:pt x="1072" y="14"/>
                      </a:lnTo>
                      <a:lnTo>
                        <a:pt x="1084" y="17"/>
                      </a:lnTo>
                      <a:lnTo>
                        <a:pt x="1094" y="19"/>
                      </a:lnTo>
                      <a:lnTo>
                        <a:pt x="1103" y="20"/>
                      </a:lnTo>
                      <a:lnTo>
                        <a:pt x="1115" y="20"/>
                      </a:lnTo>
                      <a:lnTo>
                        <a:pt x="1123" y="20"/>
                      </a:lnTo>
                      <a:lnTo>
                        <a:pt x="1133" y="20"/>
                      </a:lnTo>
                      <a:lnTo>
                        <a:pt x="1149" y="20"/>
                      </a:lnTo>
                      <a:lnTo>
                        <a:pt x="1180" y="21"/>
                      </a:lnTo>
                      <a:lnTo>
                        <a:pt x="1209" y="23"/>
                      </a:lnTo>
                      <a:lnTo>
                        <a:pt x="1236" y="27"/>
                      </a:lnTo>
                      <a:lnTo>
                        <a:pt x="1268" y="32"/>
                      </a:lnTo>
                      <a:lnTo>
                        <a:pt x="1266" y="36"/>
                      </a:lnTo>
                      <a:lnTo>
                        <a:pt x="1263" y="39"/>
                      </a:lnTo>
                      <a:lnTo>
                        <a:pt x="1258" y="42"/>
                      </a:lnTo>
                      <a:lnTo>
                        <a:pt x="1253" y="45"/>
                      </a:lnTo>
                      <a:lnTo>
                        <a:pt x="1242" y="50"/>
                      </a:lnTo>
                      <a:lnTo>
                        <a:pt x="1229" y="54"/>
                      </a:lnTo>
                      <a:lnTo>
                        <a:pt x="1213" y="57"/>
                      </a:lnTo>
                      <a:lnTo>
                        <a:pt x="1198" y="59"/>
                      </a:lnTo>
                      <a:lnTo>
                        <a:pt x="1180" y="62"/>
                      </a:lnTo>
                      <a:lnTo>
                        <a:pt x="1163" y="64"/>
                      </a:lnTo>
                      <a:lnTo>
                        <a:pt x="1128" y="66"/>
                      </a:lnTo>
                      <a:lnTo>
                        <a:pt x="1094" y="69"/>
                      </a:lnTo>
                      <a:lnTo>
                        <a:pt x="1078" y="71"/>
                      </a:lnTo>
                      <a:lnTo>
                        <a:pt x="1065" y="74"/>
                      </a:lnTo>
                      <a:lnTo>
                        <a:pt x="1053" y="77"/>
                      </a:lnTo>
                      <a:lnTo>
                        <a:pt x="1043" y="81"/>
                      </a:lnTo>
                      <a:lnTo>
                        <a:pt x="1039" y="84"/>
                      </a:lnTo>
                      <a:lnTo>
                        <a:pt x="1034" y="87"/>
                      </a:lnTo>
                      <a:lnTo>
                        <a:pt x="1031" y="91"/>
                      </a:lnTo>
                      <a:lnTo>
                        <a:pt x="1029" y="96"/>
                      </a:lnTo>
                      <a:lnTo>
                        <a:pt x="1026" y="99"/>
                      </a:lnTo>
                      <a:lnTo>
                        <a:pt x="1021" y="102"/>
                      </a:lnTo>
                      <a:lnTo>
                        <a:pt x="1016" y="105"/>
                      </a:lnTo>
                      <a:lnTo>
                        <a:pt x="1009" y="105"/>
                      </a:lnTo>
                      <a:lnTo>
                        <a:pt x="999" y="104"/>
                      </a:lnTo>
                      <a:lnTo>
                        <a:pt x="991" y="102"/>
                      </a:lnTo>
                      <a:lnTo>
                        <a:pt x="983" y="98"/>
                      </a:lnTo>
                      <a:lnTo>
                        <a:pt x="976" y="93"/>
                      </a:lnTo>
                      <a:lnTo>
                        <a:pt x="943" y="93"/>
                      </a:lnTo>
                      <a:lnTo>
                        <a:pt x="942" y="102"/>
                      </a:lnTo>
                      <a:lnTo>
                        <a:pt x="939" y="110"/>
                      </a:lnTo>
                      <a:lnTo>
                        <a:pt x="937" y="113"/>
                      </a:lnTo>
                      <a:lnTo>
                        <a:pt x="935" y="115"/>
                      </a:lnTo>
                      <a:lnTo>
                        <a:pt x="932" y="118"/>
                      </a:lnTo>
                      <a:lnTo>
                        <a:pt x="930" y="118"/>
                      </a:lnTo>
                      <a:lnTo>
                        <a:pt x="902" y="119"/>
                      </a:lnTo>
                      <a:lnTo>
                        <a:pt x="862" y="120"/>
                      </a:lnTo>
                      <a:lnTo>
                        <a:pt x="818" y="124"/>
                      </a:lnTo>
                      <a:lnTo>
                        <a:pt x="771" y="129"/>
                      </a:lnTo>
                      <a:lnTo>
                        <a:pt x="747" y="133"/>
                      </a:lnTo>
                      <a:lnTo>
                        <a:pt x="725" y="137"/>
                      </a:lnTo>
                      <a:lnTo>
                        <a:pt x="703" y="143"/>
                      </a:lnTo>
                      <a:lnTo>
                        <a:pt x="683" y="149"/>
                      </a:lnTo>
                      <a:lnTo>
                        <a:pt x="674" y="153"/>
                      </a:lnTo>
                      <a:lnTo>
                        <a:pt x="666" y="156"/>
                      </a:lnTo>
                      <a:lnTo>
                        <a:pt x="658" y="160"/>
                      </a:lnTo>
                      <a:lnTo>
                        <a:pt x="651" y="165"/>
                      </a:lnTo>
                      <a:lnTo>
                        <a:pt x="645" y="169"/>
                      </a:lnTo>
                      <a:lnTo>
                        <a:pt x="639" y="175"/>
                      </a:lnTo>
                      <a:lnTo>
                        <a:pt x="635" y="181"/>
                      </a:lnTo>
                      <a:lnTo>
                        <a:pt x="630" y="186"/>
                      </a:lnTo>
                      <a:lnTo>
                        <a:pt x="604" y="186"/>
                      </a:lnTo>
                      <a:lnTo>
                        <a:pt x="604" y="177"/>
                      </a:lnTo>
                      <a:lnTo>
                        <a:pt x="604" y="167"/>
                      </a:lnTo>
                      <a:lnTo>
                        <a:pt x="591" y="167"/>
                      </a:lnTo>
                      <a:lnTo>
                        <a:pt x="579" y="167"/>
                      </a:lnTo>
                      <a:lnTo>
                        <a:pt x="562" y="167"/>
                      </a:lnTo>
                      <a:lnTo>
                        <a:pt x="538" y="167"/>
                      </a:lnTo>
                      <a:lnTo>
                        <a:pt x="556" y="175"/>
                      </a:lnTo>
                      <a:lnTo>
                        <a:pt x="570" y="181"/>
                      </a:lnTo>
                      <a:lnTo>
                        <a:pt x="577" y="185"/>
                      </a:lnTo>
                      <a:lnTo>
                        <a:pt x="583" y="190"/>
                      </a:lnTo>
                      <a:lnTo>
                        <a:pt x="591" y="196"/>
                      </a:lnTo>
                      <a:lnTo>
                        <a:pt x="597" y="204"/>
                      </a:lnTo>
                      <a:lnTo>
                        <a:pt x="590" y="207"/>
                      </a:lnTo>
                      <a:lnTo>
                        <a:pt x="581" y="212"/>
                      </a:lnTo>
                      <a:lnTo>
                        <a:pt x="571" y="218"/>
                      </a:lnTo>
                      <a:lnTo>
                        <a:pt x="562" y="225"/>
                      </a:lnTo>
                      <a:lnTo>
                        <a:pt x="552" y="232"/>
                      </a:lnTo>
                      <a:lnTo>
                        <a:pt x="545" y="237"/>
                      </a:lnTo>
                      <a:lnTo>
                        <a:pt x="537" y="240"/>
                      </a:lnTo>
                      <a:lnTo>
                        <a:pt x="532" y="241"/>
                      </a:lnTo>
                      <a:lnTo>
                        <a:pt x="517" y="241"/>
                      </a:lnTo>
                      <a:lnTo>
                        <a:pt x="502" y="238"/>
                      </a:lnTo>
                      <a:lnTo>
                        <a:pt x="483" y="236"/>
                      </a:lnTo>
                      <a:lnTo>
                        <a:pt x="458" y="235"/>
                      </a:lnTo>
                      <a:lnTo>
                        <a:pt x="442" y="236"/>
                      </a:lnTo>
                      <a:lnTo>
                        <a:pt x="427" y="237"/>
                      </a:lnTo>
                      <a:lnTo>
                        <a:pt x="415" y="240"/>
                      </a:lnTo>
                      <a:lnTo>
                        <a:pt x="404" y="242"/>
                      </a:lnTo>
                      <a:lnTo>
                        <a:pt x="384" y="248"/>
                      </a:lnTo>
                      <a:lnTo>
                        <a:pt x="365" y="254"/>
                      </a:lnTo>
                      <a:lnTo>
                        <a:pt x="382" y="257"/>
                      </a:lnTo>
                      <a:lnTo>
                        <a:pt x="394" y="258"/>
                      </a:lnTo>
                      <a:lnTo>
                        <a:pt x="405" y="257"/>
                      </a:lnTo>
                      <a:lnTo>
                        <a:pt x="418" y="254"/>
                      </a:lnTo>
                      <a:lnTo>
                        <a:pt x="418" y="272"/>
                      </a:lnTo>
                      <a:lnTo>
                        <a:pt x="413" y="277"/>
                      </a:lnTo>
                      <a:lnTo>
                        <a:pt x="404" y="285"/>
                      </a:lnTo>
                      <a:lnTo>
                        <a:pt x="392" y="293"/>
                      </a:lnTo>
                      <a:lnTo>
                        <a:pt x="379" y="301"/>
                      </a:lnTo>
                      <a:lnTo>
                        <a:pt x="356" y="315"/>
                      </a:lnTo>
                      <a:lnTo>
                        <a:pt x="345" y="321"/>
                      </a:lnTo>
                      <a:lnTo>
                        <a:pt x="339" y="321"/>
                      </a:lnTo>
                      <a:lnTo>
                        <a:pt x="333" y="320"/>
                      </a:lnTo>
                      <a:lnTo>
                        <a:pt x="327" y="318"/>
                      </a:lnTo>
                      <a:lnTo>
                        <a:pt x="322" y="315"/>
                      </a:lnTo>
                      <a:lnTo>
                        <a:pt x="312" y="310"/>
                      </a:lnTo>
                      <a:lnTo>
                        <a:pt x="301" y="303"/>
                      </a:lnTo>
                      <a:lnTo>
                        <a:pt x="290" y="296"/>
                      </a:lnTo>
                      <a:lnTo>
                        <a:pt x="279" y="290"/>
                      </a:lnTo>
                      <a:lnTo>
                        <a:pt x="272" y="288"/>
                      </a:lnTo>
                      <a:lnTo>
                        <a:pt x="266" y="286"/>
                      </a:lnTo>
                      <a:lnTo>
                        <a:pt x="259" y="285"/>
                      </a:lnTo>
                      <a:lnTo>
                        <a:pt x="253" y="285"/>
                      </a:lnTo>
                      <a:lnTo>
                        <a:pt x="215" y="283"/>
                      </a:lnTo>
                      <a:lnTo>
                        <a:pt x="182" y="281"/>
                      </a:lnTo>
                      <a:lnTo>
                        <a:pt x="152" y="279"/>
                      </a:lnTo>
                      <a:lnTo>
                        <a:pt x="123" y="277"/>
                      </a:lnTo>
                      <a:lnTo>
                        <a:pt x="96" y="276"/>
                      </a:lnTo>
                      <a:lnTo>
                        <a:pt x="66" y="276"/>
                      </a:lnTo>
                      <a:lnTo>
                        <a:pt x="51" y="277"/>
                      </a:lnTo>
                      <a:lnTo>
                        <a:pt x="35" y="279"/>
                      </a:lnTo>
                      <a:lnTo>
                        <a:pt x="18" y="281"/>
                      </a:lnTo>
                      <a:lnTo>
                        <a:pt x="0" y="285"/>
                      </a:lnTo>
                      <a:lnTo>
                        <a:pt x="0" y="281"/>
                      </a:lnTo>
                      <a:lnTo>
                        <a:pt x="1" y="277"/>
                      </a:lnTo>
                      <a:lnTo>
                        <a:pt x="2" y="274"/>
                      </a:lnTo>
                      <a:lnTo>
                        <a:pt x="5" y="271"/>
                      </a:lnTo>
                      <a:lnTo>
                        <a:pt x="10" y="266"/>
                      </a:lnTo>
                      <a:lnTo>
                        <a:pt x="17" y="261"/>
                      </a:lnTo>
                      <a:lnTo>
                        <a:pt x="25" y="257"/>
                      </a:lnTo>
                      <a:lnTo>
                        <a:pt x="35" y="253"/>
                      </a:lnTo>
                      <a:lnTo>
                        <a:pt x="45" y="249"/>
                      </a:lnTo>
                      <a:lnTo>
                        <a:pt x="56" y="246"/>
                      </a:lnTo>
                      <a:lnTo>
                        <a:pt x="79" y="241"/>
                      </a:lnTo>
                      <a:lnTo>
                        <a:pt x="101" y="238"/>
                      </a:lnTo>
                      <a:lnTo>
                        <a:pt x="120" y="236"/>
                      </a:lnTo>
                      <a:lnTo>
                        <a:pt x="133" y="235"/>
                      </a:lnTo>
                      <a:lnTo>
                        <a:pt x="143" y="235"/>
                      </a:lnTo>
                      <a:lnTo>
                        <a:pt x="159" y="235"/>
                      </a:lnTo>
                      <a:lnTo>
                        <a:pt x="162" y="235"/>
                      </a:lnTo>
                      <a:lnTo>
                        <a:pt x="164" y="233"/>
                      </a:lnTo>
                      <a:lnTo>
                        <a:pt x="167" y="230"/>
                      </a:lnTo>
                      <a:lnTo>
                        <a:pt x="170" y="225"/>
                      </a:lnTo>
                      <a:lnTo>
                        <a:pt x="174" y="222"/>
                      </a:lnTo>
                      <a:lnTo>
                        <a:pt x="177" y="219"/>
                      </a:lnTo>
                      <a:lnTo>
                        <a:pt x="181" y="217"/>
                      </a:lnTo>
                      <a:lnTo>
                        <a:pt x="186" y="216"/>
                      </a:lnTo>
                      <a:lnTo>
                        <a:pt x="190" y="217"/>
                      </a:lnTo>
                      <a:lnTo>
                        <a:pt x="196" y="218"/>
                      </a:lnTo>
                      <a:lnTo>
                        <a:pt x="200" y="219"/>
                      </a:lnTo>
                      <a:lnTo>
                        <a:pt x="203" y="221"/>
                      </a:lnTo>
                      <a:lnTo>
                        <a:pt x="211" y="226"/>
                      </a:lnTo>
                      <a:lnTo>
                        <a:pt x="219" y="232"/>
                      </a:lnTo>
                      <a:lnTo>
                        <a:pt x="226" y="238"/>
                      </a:lnTo>
                      <a:lnTo>
                        <a:pt x="234" y="243"/>
                      </a:lnTo>
                      <a:lnTo>
                        <a:pt x="238" y="245"/>
                      </a:lnTo>
                      <a:lnTo>
                        <a:pt x="243" y="246"/>
                      </a:lnTo>
                      <a:lnTo>
                        <a:pt x="247" y="247"/>
                      </a:lnTo>
                      <a:lnTo>
                        <a:pt x="253" y="247"/>
                      </a:lnTo>
                      <a:lnTo>
                        <a:pt x="253" y="204"/>
                      </a:lnTo>
                      <a:lnTo>
                        <a:pt x="232" y="206"/>
                      </a:lnTo>
                      <a:lnTo>
                        <a:pt x="212" y="207"/>
                      </a:lnTo>
                      <a:lnTo>
                        <a:pt x="208" y="207"/>
                      </a:lnTo>
                      <a:lnTo>
                        <a:pt x="204" y="207"/>
                      </a:lnTo>
                      <a:lnTo>
                        <a:pt x="201" y="206"/>
                      </a:lnTo>
                      <a:lnTo>
                        <a:pt x="198" y="204"/>
                      </a:lnTo>
                      <a:lnTo>
                        <a:pt x="196" y="202"/>
                      </a:lnTo>
                      <a:lnTo>
                        <a:pt x="193" y="200"/>
                      </a:lnTo>
                      <a:lnTo>
                        <a:pt x="192" y="196"/>
                      </a:lnTo>
                      <a:lnTo>
                        <a:pt x="192" y="192"/>
                      </a:lnTo>
                      <a:lnTo>
                        <a:pt x="193" y="188"/>
                      </a:lnTo>
                      <a:lnTo>
                        <a:pt x="194" y="184"/>
                      </a:lnTo>
                      <a:lnTo>
                        <a:pt x="197" y="181"/>
                      </a:lnTo>
                      <a:lnTo>
                        <a:pt x="199" y="179"/>
                      </a:lnTo>
                      <a:lnTo>
                        <a:pt x="205" y="176"/>
                      </a:lnTo>
                      <a:lnTo>
                        <a:pt x="214" y="174"/>
                      </a:lnTo>
                      <a:lnTo>
                        <a:pt x="232" y="172"/>
                      </a:lnTo>
                      <a:lnTo>
                        <a:pt x="246" y="174"/>
                      </a:lnTo>
                      <a:lnTo>
                        <a:pt x="265" y="176"/>
                      </a:lnTo>
                      <a:lnTo>
                        <a:pt x="290" y="180"/>
                      </a:lnTo>
                      <a:lnTo>
                        <a:pt x="315" y="184"/>
                      </a:lnTo>
                      <a:lnTo>
                        <a:pt x="338" y="186"/>
                      </a:lnTo>
                      <a:lnTo>
                        <a:pt x="365" y="186"/>
                      </a:lnTo>
                      <a:lnTo>
                        <a:pt x="386" y="184"/>
                      </a:lnTo>
                      <a:lnTo>
                        <a:pt x="394" y="183"/>
                      </a:lnTo>
                      <a:lnTo>
                        <a:pt x="403" y="181"/>
                      </a:lnTo>
                      <a:lnTo>
                        <a:pt x="411" y="178"/>
                      </a:lnTo>
                      <a:lnTo>
                        <a:pt x="418" y="174"/>
                      </a:lnTo>
                      <a:lnTo>
                        <a:pt x="379" y="172"/>
                      </a:lnTo>
                      <a:lnTo>
                        <a:pt x="344" y="172"/>
                      </a:lnTo>
                      <a:lnTo>
                        <a:pt x="336" y="172"/>
                      </a:lnTo>
                      <a:lnTo>
                        <a:pt x="328" y="171"/>
                      </a:lnTo>
                      <a:lnTo>
                        <a:pt x="322" y="169"/>
                      </a:lnTo>
                      <a:lnTo>
                        <a:pt x="315" y="167"/>
                      </a:lnTo>
                      <a:lnTo>
                        <a:pt x="310" y="164"/>
                      </a:lnTo>
                      <a:lnTo>
                        <a:pt x="305" y="160"/>
                      </a:lnTo>
                      <a:lnTo>
                        <a:pt x="302" y="155"/>
                      </a:lnTo>
                      <a:lnTo>
                        <a:pt x="299" y="149"/>
                      </a:lnTo>
                      <a:lnTo>
                        <a:pt x="309" y="145"/>
                      </a:lnTo>
                      <a:lnTo>
                        <a:pt x="320" y="142"/>
                      </a:lnTo>
                      <a:lnTo>
                        <a:pt x="331" y="140"/>
                      </a:lnTo>
                      <a:lnTo>
                        <a:pt x="345" y="138"/>
                      </a:lnTo>
                      <a:lnTo>
                        <a:pt x="378" y="137"/>
                      </a:lnTo>
                      <a:lnTo>
                        <a:pt x="425" y="137"/>
                      </a:lnTo>
                      <a:lnTo>
                        <a:pt x="426" y="141"/>
                      </a:lnTo>
                      <a:lnTo>
                        <a:pt x="429" y="146"/>
                      </a:lnTo>
                      <a:lnTo>
                        <a:pt x="434" y="150"/>
                      </a:lnTo>
                      <a:lnTo>
                        <a:pt x="438" y="155"/>
                      </a:lnTo>
                      <a:lnTo>
                        <a:pt x="484" y="155"/>
                      </a:lnTo>
                      <a:lnTo>
                        <a:pt x="483" y="146"/>
                      </a:lnTo>
                      <a:lnTo>
                        <a:pt x="481" y="137"/>
                      </a:lnTo>
                      <a:lnTo>
                        <a:pt x="479" y="130"/>
                      </a:lnTo>
                      <a:lnTo>
                        <a:pt x="478" y="124"/>
                      </a:lnTo>
                      <a:lnTo>
                        <a:pt x="645" y="124"/>
                      </a:lnTo>
                      <a:lnTo>
                        <a:pt x="648" y="109"/>
                      </a:lnTo>
                      <a:lnTo>
                        <a:pt x="651" y="101"/>
                      </a:lnTo>
                      <a:lnTo>
                        <a:pt x="657" y="95"/>
                      </a:lnTo>
                      <a:lnTo>
                        <a:pt x="664" y="87"/>
                      </a:lnTo>
                      <a:lnTo>
                        <a:pt x="653" y="91"/>
                      </a:lnTo>
                      <a:lnTo>
                        <a:pt x="638" y="99"/>
                      </a:lnTo>
                      <a:lnTo>
                        <a:pt x="622" y="108"/>
                      </a:lnTo>
                      <a:lnTo>
                        <a:pt x="611" y="111"/>
                      </a:lnTo>
                      <a:lnTo>
                        <a:pt x="589" y="110"/>
                      </a:lnTo>
                      <a:lnTo>
                        <a:pt x="556" y="108"/>
                      </a:lnTo>
                      <a:lnTo>
                        <a:pt x="522" y="106"/>
                      </a:lnTo>
                      <a:lnTo>
                        <a:pt x="491" y="105"/>
                      </a:lnTo>
                      <a:lnTo>
                        <a:pt x="476" y="107"/>
                      </a:lnTo>
                      <a:lnTo>
                        <a:pt x="449" y="111"/>
                      </a:lnTo>
                      <a:lnTo>
                        <a:pt x="414" y="115"/>
                      </a:lnTo>
                      <a:lnTo>
                        <a:pt x="376" y="119"/>
                      </a:lnTo>
                      <a:lnTo>
                        <a:pt x="355" y="120"/>
                      </a:lnTo>
                      <a:lnTo>
                        <a:pt x="333" y="119"/>
                      </a:lnTo>
                      <a:lnTo>
                        <a:pt x="312" y="116"/>
                      </a:lnTo>
                      <a:lnTo>
                        <a:pt x="291" y="113"/>
                      </a:lnTo>
                      <a:lnTo>
                        <a:pt x="281" y="111"/>
                      </a:lnTo>
                      <a:lnTo>
                        <a:pt x="271" y="108"/>
                      </a:lnTo>
                      <a:lnTo>
                        <a:pt x="261" y="105"/>
                      </a:lnTo>
                      <a:lnTo>
                        <a:pt x="253" y="101"/>
                      </a:lnTo>
                      <a:lnTo>
                        <a:pt x="244" y="97"/>
                      </a:lnTo>
                      <a:lnTo>
                        <a:pt x="235" y="92"/>
                      </a:lnTo>
                      <a:lnTo>
                        <a:pt x="226" y="87"/>
                      </a:lnTo>
                      <a:lnTo>
                        <a:pt x="219" y="81"/>
                      </a:lnTo>
                      <a:lnTo>
                        <a:pt x="219" y="80"/>
                      </a:lnTo>
                      <a:lnTo>
                        <a:pt x="221" y="79"/>
                      </a:lnTo>
                      <a:lnTo>
                        <a:pt x="223" y="78"/>
                      </a:lnTo>
                      <a:lnTo>
                        <a:pt x="227" y="76"/>
                      </a:lnTo>
                      <a:lnTo>
                        <a:pt x="238" y="74"/>
                      </a:lnTo>
                      <a:lnTo>
                        <a:pt x="253" y="71"/>
                      </a:lnTo>
                      <a:lnTo>
                        <a:pt x="290" y="66"/>
                      </a:lnTo>
                      <a:lnTo>
                        <a:pt x="334" y="60"/>
                      </a:lnTo>
                      <a:lnTo>
                        <a:pt x="378" y="55"/>
                      </a:lnTo>
                      <a:lnTo>
                        <a:pt x="417" y="50"/>
                      </a:lnTo>
                      <a:lnTo>
                        <a:pt x="446" y="47"/>
                      </a:lnTo>
                      <a:lnTo>
                        <a:pt x="458" y="44"/>
                      </a:lnTo>
                      <a:lnTo>
                        <a:pt x="545" y="44"/>
                      </a:lnTo>
                      <a:lnTo>
                        <a:pt x="591" y="32"/>
                      </a:lnTo>
                      <a:lnTo>
                        <a:pt x="605" y="33"/>
                      </a:lnTo>
                      <a:lnTo>
                        <a:pt x="618" y="32"/>
                      </a:lnTo>
                      <a:lnTo>
                        <a:pt x="631" y="31"/>
                      </a:lnTo>
                      <a:lnTo>
                        <a:pt x="642" y="28"/>
                      </a:lnTo>
                      <a:lnTo>
                        <a:pt x="653" y="25"/>
                      </a:lnTo>
                      <a:lnTo>
                        <a:pt x="664" y="22"/>
                      </a:lnTo>
                      <a:lnTo>
                        <a:pt x="674" y="20"/>
                      </a:lnTo>
                      <a:lnTo>
                        <a:pt x="684" y="20"/>
                      </a:lnTo>
                      <a:lnTo>
                        <a:pt x="707" y="21"/>
                      </a:lnTo>
                      <a:lnTo>
                        <a:pt x="723" y="23"/>
                      </a:lnTo>
                      <a:lnTo>
                        <a:pt x="737" y="25"/>
                      </a:lnTo>
                      <a:lnTo>
                        <a:pt x="757" y="26"/>
                      </a:lnTo>
                      <a:lnTo>
                        <a:pt x="764" y="26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96" name="Freeform 418">
                  <a:extLst>
                    <a:ext uri="{FF2B5EF4-FFF2-40B4-BE49-F238E27FC236}">
                      <a16:creationId xmlns="" xmlns:a16="http://schemas.microsoft.com/office/drawing/2014/main" id="{F45EB88B-C49D-436B-AB41-0955740236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3" y="1660"/>
                  <a:ext cx="51" cy="38"/>
                </a:xfrm>
                <a:custGeom>
                  <a:avLst/>
                  <a:gdLst>
                    <a:gd name="T0" fmla="*/ 0 w 160"/>
                    <a:gd name="T1" fmla="*/ 0 h 117"/>
                    <a:gd name="T2" fmla="*/ 0 w 160"/>
                    <a:gd name="T3" fmla="*/ 0 h 117"/>
                    <a:gd name="T4" fmla="*/ 0 w 160"/>
                    <a:gd name="T5" fmla="*/ 0 h 117"/>
                    <a:gd name="T6" fmla="*/ 0 w 160"/>
                    <a:gd name="T7" fmla="*/ 0 h 117"/>
                    <a:gd name="T8" fmla="*/ 0 w 160"/>
                    <a:gd name="T9" fmla="*/ 0 h 117"/>
                    <a:gd name="T10" fmla="*/ 0 w 160"/>
                    <a:gd name="T11" fmla="*/ 0 h 117"/>
                    <a:gd name="T12" fmla="*/ 0 w 160"/>
                    <a:gd name="T13" fmla="*/ 0 h 117"/>
                    <a:gd name="T14" fmla="*/ 0 w 160"/>
                    <a:gd name="T15" fmla="*/ 0 h 117"/>
                    <a:gd name="T16" fmla="*/ 0 w 160"/>
                    <a:gd name="T17" fmla="*/ 0 h 117"/>
                    <a:gd name="T18" fmla="*/ 0 w 160"/>
                    <a:gd name="T19" fmla="*/ 0 h 117"/>
                    <a:gd name="T20" fmla="*/ 0 w 160"/>
                    <a:gd name="T21" fmla="*/ 0 h 117"/>
                    <a:gd name="T22" fmla="*/ 0 w 160"/>
                    <a:gd name="T23" fmla="*/ 0 h 117"/>
                    <a:gd name="T24" fmla="*/ 0 w 160"/>
                    <a:gd name="T25" fmla="*/ 0 h 117"/>
                    <a:gd name="T26" fmla="*/ 0 w 160"/>
                    <a:gd name="T27" fmla="*/ 0 h 117"/>
                    <a:gd name="T28" fmla="*/ 0 w 160"/>
                    <a:gd name="T29" fmla="*/ 0 h 117"/>
                    <a:gd name="T30" fmla="*/ 0 w 160"/>
                    <a:gd name="T31" fmla="*/ 0 h 117"/>
                    <a:gd name="T32" fmla="*/ 0 w 160"/>
                    <a:gd name="T33" fmla="*/ 0 h 117"/>
                    <a:gd name="T34" fmla="*/ 0 w 160"/>
                    <a:gd name="T35" fmla="*/ 0 h 117"/>
                    <a:gd name="T36" fmla="*/ 1 w 160"/>
                    <a:gd name="T37" fmla="*/ 0 h 117"/>
                    <a:gd name="T38" fmla="*/ 1 w 160"/>
                    <a:gd name="T39" fmla="*/ 0 h 117"/>
                    <a:gd name="T40" fmla="*/ 1 w 160"/>
                    <a:gd name="T41" fmla="*/ 0 h 117"/>
                    <a:gd name="T42" fmla="*/ 1 w 160"/>
                    <a:gd name="T43" fmla="*/ 0 h 117"/>
                    <a:gd name="T44" fmla="*/ 0 w 160"/>
                    <a:gd name="T45" fmla="*/ 0 h 117"/>
                    <a:gd name="T46" fmla="*/ 0 w 160"/>
                    <a:gd name="T47" fmla="*/ 0 h 117"/>
                    <a:gd name="T48" fmla="*/ 0 w 160"/>
                    <a:gd name="T49" fmla="*/ 0 h 117"/>
                    <a:gd name="T50" fmla="*/ 0 w 160"/>
                    <a:gd name="T51" fmla="*/ 0 h 117"/>
                    <a:gd name="T52" fmla="*/ 0 w 160"/>
                    <a:gd name="T53" fmla="*/ 0 h 117"/>
                    <a:gd name="T54" fmla="*/ 0 w 160"/>
                    <a:gd name="T55" fmla="*/ 0 h 117"/>
                    <a:gd name="T56" fmla="*/ 0 w 160"/>
                    <a:gd name="T57" fmla="*/ 0 h 117"/>
                    <a:gd name="T58" fmla="*/ 0 w 160"/>
                    <a:gd name="T59" fmla="*/ 0 h 117"/>
                    <a:gd name="T60" fmla="*/ 0 w 160"/>
                    <a:gd name="T61" fmla="*/ 0 h 117"/>
                    <a:gd name="T62" fmla="*/ 0 w 160"/>
                    <a:gd name="T63" fmla="*/ 0 h 117"/>
                    <a:gd name="T64" fmla="*/ 0 w 160"/>
                    <a:gd name="T65" fmla="*/ 0 h 117"/>
                    <a:gd name="T66" fmla="*/ 0 w 160"/>
                    <a:gd name="T67" fmla="*/ 0 h 117"/>
                    <a:gd name="T68" fmla="*/ 0 w 160"/>
                    <a:gd name="T69" fmla="*/ 0 h 117"/>
                    <a:gd name="T70" fmla="*/ 0 w 160"/>
                    <a:gd name="T71" fmla="*/ 0 h 117"/>
                    <a:gd name="T72" fmla="*/ 0 w 160"/>
                    <a:gd name="T73" fmla="*/ 0 h 117"/>
                    <a:gd name="T74" fmla="*/ 0 w 160"/>
                    <a:gd name="T75" fmla="*/ 0 h 117"/>
                    <a:gd name="T76" fmla="*/ 0 w 160"/>
                    <a:gd name="T77" fmla="*/ 0 h 117"/>
                    <a:gd name="T78" fmla="*/ 0 w 160"/>
                    <a:gd name="T79" fmla="*/ 0 h 117"/>
                    <a:gd name="T80" fmla="*/ 0 w 160"/>
                    <a:gd name="T81" fmla="*/ 0 h 117"/>
                    <a:gd name="T82" fmla="*/ 0 w 160"/>
                    <a:gd name="T83" fmla="*/ 0 h 117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160"/>
                    <a:gd name="T127" fmla="*/ 0 h 117"/>
                    <a:gd name="T128" fmla="*/ 160 w 160"/>
                    <a:gd name="T129" fmla="*/ 117 h 117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160" h="117">
                      <a:moveTo>
                        <a:pt x="0" y="0"/>
                      </a:moveTo>
                      <a:lnTo>
                        <a:pt x="1" y="10"/>
                      </a:lnTo>
                      <a:lnTo>
                        <a:pt x="4" y="19"/>
                      </a:lnTo>
                      <a:lnTo>
                        <a:pt x="9" y="29"/>
                      </a:lnTo>
                      <a:lnTo>
                        <a:pt x="15" y="39"/>
                      </a:lnTo>
                      <a:lnTo>
                        <a:pt x="22" y="48"/>
                      </a:lnTo>
                      <a:lnTo>
                        <a:pt x="31" y="59"/>
                      </a:lnTo>
                      <a:lnTo>
                        <a:pt x="41" y="68"/>
                      </a:lnTo>
                      <a:lnTo>
                        <a:pt x="51" y="77"/>
                      </a:lnTo>
                      <a:lnTo>
                        <a:pt x="62" y="85"/>
                      </a:lnTo>
                      <a:lnTo>
                        <a:pt x="73" y="93"/>
                      </a:lnTo>
                      <a:lnTo>
                        <a:pt x="84" y="99"/>
                      </a:lnTo>
                      <a:lnTo>
                        <a:pt x="95" y="105"/>
                      </a:lnTo>
                      <a:lnTo>
                        <a:pt x="106" y="111"/>
                      </a:lnTo>
                      <a:lnTo>
                        <a:pt x="116" y="114"/>
                      </a:lnTo>
                      <a:lnTo>
                        <a:pt x="124" y="117"/>
                      </a:lnTo>
                      <a:lnTo>
                        <a:pt x="133" y="117"/>
                      </a:lnTo>
                      <a:lnTo>
                        <a:pt x="139" y="116"/>
                      </a:lnTo>
                      <a:lnTo>
                        <a:pt x="146" y="113"/>
                      </a:lnTo>
                      <a:lnTo>
                        <a:pt x="153" y="110"/>
                      </a:lnTo>
                      <a:lnTo>
                        <a:pt x="160" y="104"/>
                      </a:lnTo>
                      <a:lnTo>
                        <a:pt x="150" y="91"/>
                      </a:lnTo>
                      <a:lnTo>
                        <a:pt x="141" y="79"/>
                      </a:lnTo>
                      <a:lnTo>
                        <a:pt x="138" y="73"/>
                      </a:lnTo>
                      <a:lnTo>
                        <a:pt x="135" y="66"/>
                      </a:lnTo>
                      <a:lnTo>
                        <a:pt x="133" y="58"/>
                      </a:lnTo>
                      <a:lnTo>
                        <a:pt x="133" y="49"/>
                      </a:lnTo>
                      <a:lnTo>
                        <a:pt x="127" y="48"/>
                      </a:lnTo>
                      <a:lnTo>
                        <a:pt x="118" y="45"/>
                      </a:lnTo>
                      <a:lnTo>
                        <a:pt x="108" y="40"/>
                      </a:lnTo>
                      <a:lnTo>
                        <a:pt x="97" y="34"/>
                      </a:lnTo>
                      <a:lnTo>
                        <a:pt x="87" y="28"/>
                      </a:lnTo>
                      <a:lnTo>
                        <a:pt x="77" y="21"/>
                      </a:lnTo>
                      <a:lnTo>
                        <a:pt x="74" y="17"/>
                      </a:lnTo>
                      <a:lnTo>
                        <a:pt x="71" y="13"/>
                      </a:lnTo>
                      <a:lnTo>
                        <a:pt x="68" y="10"/>
                      </a:lnTo>
                      <a:lnTo>
                        <a:pt x="66" y="6"/>
                      </a:lnTo>
                      <a:lnTo>
                        <a:pt x="60" y="6"/>
                      </a:lnTo>
                      <a:lnTo>
                        <a:pt x="52" y="6"/>
                      </a:lnTo>
                      <a:lnTo>
                        <a:pt x="43" y="4"/>
                      </a:lnTo>
                      <a:lnTo>
                        <a:pt x="33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97" name="Freeform 419">
                  <a:extLst>
                    <a:ext uri="{FF2B5EF4-FFF2-40B4-BE49-F238E27FC236}">
                      <a16:creationId xmlns="" xmlns:a16="http://schemas.microsoft.com/office/drawing/2014/main" id="{1FA49848-C11C-4D09-818F-21A0FEAE4A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7" y="1592"/>
                  <a:ext cx="26" cy="46"/>
                </a:xfrm>
                <a:custGeom>
                  <a:avLst/>
                  <a:gdLst>
                    <a:gd name="T0" fmla="*/ 0 w 80"/>
                    <a:gd name="T1" fmla="*/ 0 h 141"/>
                    <a:gd name="T2" fmla="*/ 0 w 80"/>
                    <a:gd name="T3" fmla="*/ 0 h 141"/>
                    <a:gd name="T4" fmla="*/ 0 w 80"/>
                    <a:gd name="T5" fmla="*/ 0 h 141"/>
                    <a:gd name="T6" fmla="*/ 0 w 80"/>
                    <a:gd name="T7" fmla="*/ 0 h 141"/>
                    <a:gd name="T8" fmla="*/ 0 w 80"/>
                    <a:gd name="T9" fmla="*/ 0 h 141"/>
                    <a:gd name="T10" fmla="*/ 0 w 80"/>
                    <a:gd name="T11" fmla="*/ 0 h 141"/>
                    <a:gd name="T12" fmla="*/ 0 w 80"/>
                    <a:gd name="T13" fmla="*/ 0 h 141"/>
                    <a:gd name="T14" fmla="*/ 0 w 80"/>
                    <a:gd name="T15" fmla="*/ 0 h 141"/>
                    <a:gd name="T16" fmla="*/ 0 w 80"/>
                    <a:gd name="T17" fmla="*/ 0 h 141"/>
                    <a:gd name="T18" fmla="*/ 0 w 80"/>
                    <a:gd name="T19" fmla="*/ 0 h 141"/>
                    <a:gd name="T20" fmla="*/ 0 w 80"/>
                    <a:gd name="T21" fmla="*/ 0 h 141"/>
                    <a:gd name="T22" fmla="*/ 0 w 80"/>
                    <a:gd name="T23" fmla="*/ 0 h 141"/>
                    <a:gd name="T24" fmla="*/ 0 w 80"/>
                    <a:gd name="T25" fmla="*/ 0 h 141"/>
                    <a:gd name="T26" fmla="*/ 0 w 80"/>
                    <a:gd name="T27" fmla="*/ 0 h 141"/>
                    <a:gd name="T28" fmla="*/ 0 w 80"/>
                    <a:gd name="T29" fmla="*/ 0 h 141"/>
                    <a:gd name="T30" fmla="*/ 0 w 80"/>
                    <a:gd name="T31" fmla="*/ 0 h 141"/>
                    <a:gd name="T32" fmla="*/ 0 w 80"/>
                    <a:gd name="T33" fmla="*/ 0 h 141"/>
                    <a:gd name="T34" fmla="*/ 0 w 80"/>
                    <a:gd name="T35" fmla="*/ 0 h 141"/>
                    <a:gd name="T36" fmla="*/ 0 w 80"/>
                    <a:gd name="T37" fmla="*/ 0 h 141"/>
                    <a:gd name="T38" fmla="*/ 0 w 80"/>
                    <a:gd name="T39" fmla="*/ 0 h 141"/>
                    <a:gd name="T40" fmla="*/ 0 w 80"/>
                    <a:gd name="T41" fmla="*/ 0 h 141"/>
                    <a:gd name="T42" fmla="*/ 0 w 80"/>
                    <a:gd name="T43" fmla="*/ 1 h 141"/>
                    <a:gd name="T44" fmla="*/ 0 w 80"/>
                    <a:gd name="T45" fmla="*/ 1 h 141"/>
                    <a:gd name="T46" fmla="*/ 0 w 80"/>
                    <a:gd name="T47" fmla="*/ 1 h 141"/>
                    <a:gd name="T48" fmla="*/ 0 w 80"/>
                    <a:gd name="T49" fmla="*/ 0 h 141"/>
                    <a:gd name="T50" fmla="*/ 0 w 80"/>
                    <a:gd name="T51" fmla="*/ 0 h 141"/>
                    <a:gd name="T52" fmla="*/ 0 w 80"/>
                    <a:gd name="T53" fmla="*/ 0 h 141"/>
                    <a:gd name="T54" fmla="*/ 0 w 80"/>
                    <a:gd name="T55" fmla="*/ 0 h 141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80"/>
                    <a:gd name="T85" fmla="*/ 0 h 141"/>
                    <a:gd name="T86" fmla="*/ 80 w 80"/>
                    <a:gd name="T87" fmla="*/ 141 h 141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80" h="141">
                      <a:moveTo>
                        <a:pt x="40" y="123"/>
                      </a:moveTo>
                      <a:lnTo>
                        <a:pt x="80" y="36"/>
                      </a:lnTo>
                      <a:lnTo>
                        <a:pt x="80" y="18"/>
                      </a:lnTo>
                      <a:lnTo>
                        <a:pt x="68" y="17"/>
                      </a:lnTo>
                      <a:lnTo>
                        <a:pt x="59" y="16"/>
                      </a:lnTo>
                      <a:lnTo>
                        <a:pt x="53" y="14"/>
                      </a:lnTo>
                      <a:lnTo>
                        <a:pt x="47" y="11"/>
                      </a:lnTo>
                      <a:lnTo>
                        <a:pt x="44" y="8"/>
                      </a:lnTo>
                      <a:lnTo>
                        <a:pt x="42" y="5"/>
                      </a:lnTo>
                      <a:lnTo>
                        <a:pt x="41" y="2"/>
                      </a:lnTo>
                      <a:lnTo>
                        <a:pt x="40" y="0"/>
                      </a:lnTo>
                      <a:lnTo>
                        <a:pt x="0" y="0"/>
                      </a:lnTo>
                      <a:lnTo>
                        <a:pt x="0" y="23"/>
                      </a:lnTo>
                      <a:lnTo>
                        <a:pt x="0" y="40"/>
                      </a:lnTo>
                      <a:lnTo>
                        <a:pt x="0" y="52"/>
                      </a:lnTo>
                      <a:lnTo>
                        <a:pt x="0" y="61"/>
                      </a:lnTo>
                      <a:lnTo>
                        <a:pt x="1" y="69"/>
                      </a:lnTo>
                      <a:lnTo>
                        <a:pt x="3" y="78"/>
                      </a:lnTo>
                      <a:lnTo>
                        <a:pt x="7" y="88"/>
                      </a:lnTo>
                      <a:lnTo>
                        <a:pt x="11" y="99"/>
                      </a:lnTo>
                      <a:lnTo>
                        <a:pt x="20" y="121"/>
                      </a:lnTo>
                      <a:lnTo>
                        <a:pt x="27" y="141"/>
                      </a:lnTo>
                      <a:lnTo>
                        <a:pt x="31" y="135"/>
                      </a:lnTo>
                      <a:lnTo>
                        <a:pt x="33" y="129"/>
                      </a:lnTo>
                      <a:lnTo>
                        <a:pt x="34" y="127"/>
                      </a:lnTo>
                      <a:lnTo>
                        <a:pt x="36" y="125"/>
                      </a:lnTo>
                      <a:lnTo>
                        <a:pt x="38" y="123"/>
                      </a:lnTo>
                      <a:lnTo>
                        <a:pt x="40" y="123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98" name="Freeform 420">
                  <a:extLst>
                    <a:ext uri="{FF2B5EF4-FFF2-40B4-BE49-F238E27FC236}">
                      <a16:creationId xmlns="" xmlns:a16="http://schemas.microsoft.com/office/drawing/2014/main" id="{1F4F966B-B554-43BF-BC54-58A5B75FC7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9" y="1383"/>
                  <a:ext cx="83" cy="41"/>
                </a:xfrm>
                <a:custGeom>
                  <a:avLst/>
                  <a:gdLst>
                    <a:gd name="T0" fmla="*/ 0 w 259"/>
                    <a:gd name="T1" fmla="*/ 0 h 124"/>
                    <a:gd name="T2" fmla="*/ 0 w 259"/>
                    <a:gd name="T3" fmla="*/ 0 h 124"/>
                    <a:gd name="T4" fmla="*/ 0 w 259"/>
                    <a:gd name="T5" fmla="*/ 0 h 124"/>
                    <a:gd name="T6" fmla="*/ 0 w 259"/>
                    <a:gd name="T7" fmla="*/ 0 h 124"/>
                    <a:gd name="T8" fmla="*/ 0 w 259"/>
                    <a:gd name="T9" fmla="*/ 0 h 124"/>
                    <a:gd name="T10" fmla="*/ 0 w 259"/>
                    <a:gd name="T11" fmla="*/ 0 h 124"/>
                    <a:gd name="T12" fmla="*/ 0 w 259"/>
                    <a:gd name="T13" fmla="*/ 0 h 124"/>
                    <a:gd name="T14" fmla="*/ 0 w 259"/>
                    <a:gd name="T15" fmla="*/ 0 h 124"/>
                    <a:gd name="T16" fmla="*/ 0 w 259"/>
                    <a:gd name="T17" fmla="*/ 0 h 124"/>
                    <a:gd name="T18" fmla="*/ 0 w 259"/>
                    <a:gd name="T19" fmla="*/ 1 h 124"/>
                    <a:gd name="T20" fmla="*/ 0 w 259"/>
                    <a:gd name="T21" fmla="*/ 1 h 124"/>
                    <a:gd name="T22" fmla="*/ 0 w 259"/>
                    <a:gd name="T23" fmla="*/ 1 h 124"/>
                    <a:gd name="T24" fmla="*/ 0 w 259"/>
                    <a:gd name="T25" fmla="*/ 1 h 124"/>
                    <a:gd name="T26" fmla="*/ 0 w 259"/>
                    <a:gd name="T27" fmla="*/ 0 h 124"/>
                    <a:gd name="T28" fmla="*/ 0 w 259"/>
                    <a:gd name="T29" fmla="*/ 0 h 124"/>
                    <a:gd name="T30" fmla="*/ 0 w 259"/>
                    <a:gd name="T31" fmla="*/ 0 h 124"/>
                    <a:gd name="T32" fmla="*/ 0 w 259"/>
                    <a:gd name="T33" fmla="*/ 0 h 124"/>
                    <a:gd name="T34" fmla="*/ 0 w 259"/>
                    <a:gd name="T35" fmla="*/ 0 h 124"/>
                    <a:gd name="T36" fmla="*/ 0 w 259"/>
                    <a:gd name="T37" fmla="*/ 0 h 124"/>
                    <a:gd name="T38" fmla="*/ 0 w 259"/>
                    <a:gd name="T39" fmla="*/ 0 h 124"/>
                    <a:gd name="T40" fmla="*/ 0 w 259"/>
                    <a:gd name="T41" fmla="*/ 0 h 124"/>
                    <a:gd name="T42" fmla="*/ 1 w 259"/>
                    <a:gd name="T43" fmla="*/ 0 h 124"/>
                    <a:gd name="T44" fmla="*/ 1 w 259"/>
                    <a:gd name="T45" fmla="*/ 0 h 124"/>
                    <a:gd name="T46" fmla="*/ 1 w 259"/>
                    <a:gd name="T47" fmla="*/ 0 h 124"/>
                    <a:gd name="T48" fmla="*/ 1 w 259"/>
                    <a:gd name="T49" fmla="*/ 0 h 124"/>
                    <a:gd name="T50" fmla="*/ 1 w 259"/>
                    <a:gd name="T51" fmla="*/ 0 h 124"/>
                    <a:gd name="T52" fmla="*/ 1 w 259"/>
                    <a:gd name="T53" fmla="*/ 0 h 124"/>
                    <a:gd name="T54" fmla="*/ 1 w 259"/>
                    <a:gd name="T55" fmla="*/ 0 h 124"/>
                    <a:gd name="T56" fmla="*/ 1 w 259"/>
                    <a:gd name="T57" fmla="*/ 0 h 124"/>
                    <a:gd name="T58" fmla="*/ 1 w 259"/>
                    <a:gd name="T59" fmla="*/ 0 h 124"/>
                    <a:gd name="T60" fmla="*/ 1 w 259"/>
                    <a:gd name="T61" fmla="*/ 0 h 124"/>
                    <a:gd name="T62" fmla="*/ 1 w 259"/>
                    <a:gd name="T63" fmla="*/ 0 h 124"/>
                    <a:gd name="T64" fmla="*/ 1 w 259"/>
                    <a:gd name="T65" fmla="*/ 0 h 124"/>
                    <a:gd name="T66" fmla="*/ 1 w 259"/>
                    <a:gd name="T67" fmla="*/ 0 h 124"/>
                    <a:gd name="T68" fmla="*/ 1 w 259"/>
                    <a:gd name="T69" fmla="*/ 0 h 124"/>
                    <a:gd name="T70" fmla="*/ 1 w 259"/>
                    <a:gd name="T71" fmla="*/ 0 h 124"/>
                    <a:gd name="T72" fmla="*/ 1 w 259"/>
                    <a:gd name="T73" fmla="*/ 0 h 124"/>
                    <a:gd name="T74" fmla="*/ 1 w 259"/>
                    <a:gd name="T75" fmla="*/ 0 h 124"/>
                    <a:gd name="T76" fmla="*/ 1 w 259"/>
                    <a:gd name="T77" fmla="*/ 0 h 124"/>
                    <a:gd name="T78" fmla="*/ 1 w 259"/>
                    <a:gd name="T79" fmla="*/ 0 h 124"/>
                    <a:gd name="T80" fmla="*/ 1 w 259"/>
                    <a:gd name="T81" fmla="*/ 0 h 124"/>
                    <a:gd name="T82" fmla="*/ 1 w 259"/>
                    <a:gd name="T83" fmla="*/ 0 h 124"/>
                    <a:gd name="T84" fmla="*/ 1 w 259"/>
                    <a:gd name="T85" fmla="*/ 0 h 124"/>
                    <a:gd name="T86" fmla="*/ 1 w 259"/>
                    <a:gd name="T87" fmla="*/ 0 h 124"/>
                    <a:gd name="T88" fmla="*/ 1 w 259"/>
                    <a:gd name="T89" fmla="*/ 0 h 124"/>
                    <a:gd name="T90" fmla="*/ 1 w 259"/>
                    <a:gd name="T91" fmla="*/ 0 h 124"/>
                    <a:gd name="T92" fmla="*/ 1 w 259"/>
                    <a:gd name="T93" fmla="*/ 0 h 124"/>
                    <a:gd name="T94" fmla="*/ 1 w 259"/>
                    <a:gd name="T95" fmla="*/ 0 h 124"/>
                    <a:gd name="T96" fmla="*/ 0 w 259"/>
                    <a:gd name="T97" fmla="*/ 0 h 124"/>
                    <a:gd name="T98" fmla="*/ 0 w 259"/>
                    <a:gd name="T99" fmla="*/ 0 h 124"/>
                    <a:gd name="T100" fmla="*/ 0 w 259"/>
                    <a:gd name="T101" fmla="*/ 0 h 124"/>
                    <a:gd name="T102" fmla="*/ 0 w 259"/>
                    <a:gd name="T103" fmla="*/ 0 h 124"/>
                    <a:gd name="T104" fmla="*/ 0 w 259"/>
                    <a:gd name="T105" fmla="*/ 0 h 124"/>
                    <a:gd name="T106" fmla="*/ 0 w 259"/>
                    <a:gd name="T107" fmla="*/ 0 h 124"/>
                    <a:gd name="T108" fmla="*/ 0 w 259"/>
                    <a:gd name="T109" fmla="*/ 0 h 124"/>
                    <a:gd name="T110" fmla="*/ 0 w 259"/>
                    <a:gd name="T111" fmla="*/ 0 h 124"/>
                    <a:gd name="T112" fmla="*/ 0 w 259"/>
                    <a:gd name="T113" fmla="*/ 0 h 124"/>
                    <a:gd name="T114" fmla="*/ 0 w 259"/>
                    <a:gd name="T115" fmla="*/ 0 h 124"/>
                    <a:gd name="T116" fmla="*/ 0 w 259"/>
                    <a:gd name="T117" fmla="*/ 0 h 124"/>
                    <a:gd name="T118" fmla="*/ 0 w 259"/>
                    <a:gd name="T119" fmla="*/ 0 h 124"/>
                    <a:gd name="T120" fmla="*/ 0 w 259"/>
                    <a:gd name="T121" fmla="*/ 0 h 124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259"/>
                    <a:gd name="T184" fmla="*/ 0 h 124"/>
                    <a:gd name="T185" fmla="*/ 259 w 259"/>
                    <a:gd name="T186" fmla="*/ 124 h 124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259" h="124">
                      <a:moveTo>
                        <a:pt x="0" y="93"/>
                      </a:moveTo>
                      <a:lnTo>
                        <a:pt x="0" y="96"/>
                      </a:lnTo>
                      <a:lnTo>
                        <a:pt x="2" y="100"/>
                      </a:lnTo>
                      <a:lnTo>
                        <a:pt x="4" y="103"/>
                      </a:lnTo>
                      <a:lnTo>
                        <a:pt x="6" y="106"/>
                      </a:lnTo>
                      <a:lnTo>
                        <a:pt x="14" y="111"/>
                      </a:lnTo>
                      <a:lnTo>
                        <a:pt x="23" y="115"/>
                      </a:lnTo>
                      <a:lnTo>
                        <a:pt x="31" y="120"/>
                      </a:lnTo>
                      <a:lnTo>
                        <a:pt x="41" y="122"/>
                      </a:lnTo>
                      <a:lnTo>
                        <a:pt x="51" y="124"/>
                      </a:lnTo>
                      <a:lnTo>
                        <a:pt x="60" y="124"/>
                      </a:lnTo>
                      <a:lnTo>
                        <a:pt x="68" y="124"/>
                      </a:lnTo>
                      <a:lnTo>
                        <a:pt x="75" y="123"/>
                      </a:lnTo>
                      <a:lnTo>
                        <a:pt x="81" y="122"/>
                      </a:lnTo>
                      <a:lnTo>
                        <a:pt x="87" y="120"/>
                      </a:lnTo>
                      <a:lnTo>
                        <a:pt x="97" y="114"/>
                      </a:lnTo>
                      <a:lnTo>
                        <a:pt x="106" y="108"/>
                      </a:lnTo>
                      <a:lnTo>
                        <a:pt x="115" y="103"/>
                      </a:lnTo>
                      <a:lnTo>
                        <a:pt x="125" y="98"/>
                      </a:lnTo>
                      <a:lnTo>
                        <a:pt x="130" y="96"/>
                      </a:lnTo>
                      <a:lnTo>
                        <a:pt x="137" y="94"/>
                      </a:lnTo>
                      <a:lnTo>
                        <a:pt x="145" y="93"/>
                      </a:lnTo>
                      <a:lnTo>
                        <a:pt x="152" y="93"/>
                      </a:lnTo>
                      <a:lnTo>
                        <a:pt x="162" y="94"/>
                      </a:lnTo>
                      <a:lnTo>
                        <a:pt x="171" y="96"/>
                      </a:lnTo>
                      <a:lnTo>
                        <a:pt x="180" y="99"/>
                      </a:lnTo>
                      <a:lnTo>
                        <a:pt x="188" y="103"/>
                      </a:lnTo>
                      <a:lnTo>
                        <a:pt x="204" y="111"/>
                      </a:lnTo>
                      <a:lnTo>
                        <a:pt x="219" y="117"/>
                      </a:lnTo>
                      <a:lnTo>
                        <a:pt x="259" y="117"/>
                      </a:lnTo>
                      <a:lnTo>
                        <a:pt x="259" y="99"/>
                      </a:lnTo>
                      <a:lnTo>
                        <a:pt x="252" y="98"/>
                      </a:lnTo>
                      <a:lnTo>
                        <a:pt x="244" y="96"/>
                      </a:lnTo>
                      <a:lnTo>
                        <a:pt x="236" y="94"/>
                      </a:lnTo>
                      <a:lnTo>
                        <a:pt x="226" y="93"/>
                      </a:lnTo>
                      <a:lnTo>
                        <a:pt x="230" y="85"/>
                      </a:lnTo>
                      <a:lnTo>
                        <a:pt x="236" y="79"/>
                      </a:lnTo>
                      <a:lnTo>
                        <a:pt x="240" y="74"/>
                      </a:lnTo>
                      <a:lnTo>
                        <a:pt x="246" y="69"/>
                      </a:lnTo>
                      <a:lnTo>
                        <a:pt x="238" y="61"/>
                      </a:lnTo>
                      <a:lnTo>
                        <a:pt x="230" y="56"/>
                      </a:lnTo>
                      <a:lnTo>
                        <a:pt x="222" y="50"/>
                      </a:lnTo>
                      <a:lnTo>
                        <a:pt x="214" y="46"/>
                      </a:lnTo>
                      <a:lnTo>
                        <a:pt x="197" y="37"/>
                      </a:lnTo>
                      <a:lnTo>
                        <a:pt x="182" y="30"/>
                      </a:lnTo>
                      <a:lnTo>
                        <a:pt x="166" y="23"/>
                      </a:lnTo>
                      <a:lnTo>
                        <a:pt x="153" y="17"/>
                      </a:lnTo>
                      <a:lnTo>
                        <a:pt x="147" y="13"/>
                      </a:lnTo>
                      <a:lnTo>
                        <a:pt x="141" y="10"/>
                      </a:lnTo>
                      <a:lnTo>
                        <a:pt x="137" y="5"/>
                      </a:lnTo>
                      <a:lnTo>
                        <a:pt x="132" y="0"/>
                      </a:lnTo>
                      <a:lnTo>
                        <a:pt x="124" y="3"/>
                      </a:lnTo>
                      <a:lnTo>
                        <a:pt x="114" y="7"/>
                      </a:lnTo>
                      <a:lnTo>
                        <a:pt x="105" y="12"/>
                      </a:lnTo>
                      <a:lnTo>
                        <a:pt x="95" y="17"/>
                      </a:lnTo>
                      <a:lnTo>
                        <a:pt x="75" y="29"/>
                      </a:lnTo>
                      <a:lnTo>
                        <a:pt x="57" y="42"/>
                      </a:lnTo>
                      <a:lnTo>
                        <a:pt x="38" y="56"/>
                      </a:lnTo>
                      <a:lnTo>
                        <a:pt x="23" y="70"/>
                      </a:lnTo>
                      <a:lnTo>
                        <a:pt x="9" y="83"/>
                      </a:lnTo>
                      <a:lnTo>
                        <a:pt x="0" y="93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099" name="Freeform 421">
                  <a:extLst>
                    <a:ext uri="{FF2B5EF4-FFF2-40B4-BE49-F238E27FC236}">
                      <a16:creationId xmlns="" xmlns:a16="http://schemas.microsoft.com/office/drawing/2014/main" id="{691C8FB2-16A4-4EC3-832E-6E4F8B1CA8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09" y="1389"/>
                  <a:ext cx="38" cy="19"/>
                </a:xfrm>
                <a:custGeom>
                  <a:avLst/>
                  <a:gdLst>
                    <a:gd name="T0" fmla="*/ 0 w 119"/>
                    <a:gd name="T1" fmla="*/ 0 h 57"/>
                    <a:gd name="T2" fmla="*/ 0 w 119"/>
                    <a:gd name="T3" fmla="*/ 0 h 57"/>
                    <a:gd name="T4" fmla="*/ 0 w 119"/>
                    <a:gd name="T5" fmla="*/ 0 h 57"/>
                    <a:gd name="T6" fmla="*/ 0 w 119"/>
                    <a:gd name="T7" fmla="*/ 0 h 57"/>
                    <a:gd name="T8" fmla="*/ 0 w 119"/>
                    <a:gd name="T9" fmla="*/ 0 h 57"/>
                    <a:gd name="T10" fmla="*/ 0 w 119"/>
                    <a:gd name="T11" fmla="*/ 0 h 57"/>
                    <a:gd name="T12" fmla="*/ 0 w 119"/>
                    <a:gd name="T13" fmla="*/ 0 h 57"/>
                    <a:gd name="T14" fmla="*/ 0 w 119"/>
                    <a:gd name="T15" fmla="*/ 0 h 57"/>
                    <a:gd name="T16" fmla="*/ 0 w 119"/>
                    <a:gd name="T17" fmla="*/ 0 h 57"/>
                    <a:gd name="T18" fmla="*/ 0 w 119"/>
                    <a:gd name="T19" fmla="*/ 0 h 57"/>
                    <a:gd name="T20" fmla="*/ 0 w 119"/>
                    <a:gd name="T21" fmla="*/ 0 h 57"/>
                    <a:gd name="T22" fmla="*/ 0 w 119"/>
                    <a:gd name="T23" fmla="*/ 0 h 57"/>
                    <a:gd name="T24" fmla="*/ 0 w 119"/>
                    <a:gd name="T25" fmla="*/ 0 h 57"/>
                    <a:gd name="T26" fmla="*/ 0 w 119"/>
                    <a:gd name="T27" fmla="*/ 0 h 57"/>
                    <a:gd name="T28" fmla="*/ 0 w 119"/>
                    <a:gd name="T29" fmla="*/ 0 h 57"/>
                    <a:gd name="T30" fmla="*/ 0 w 119"/>
                    <a:gd name="T31" fmla="*/ 0 h 57"/>
                    <a:gd name="T32" fmla="*/ 0 w 119"/>
                    <a:gd name="T33" fmla="*/ 0 h 57"/>
                    <a:gd name="T34" fmla="*/ 0 w 119"/>
                    <a:gd name="T35" fmla="*/ 0 h 57"/>
                    <a:gd name="T36" fmla="*/ 0 w 119"/>
                    <a:gd name="T37" fmla="*/ 0 h 57"/>
                    <a:gd name="T38" fmla="*/ 0 w 119"/>
                    <a:gd name="T39" fmla="*/ 0 h 57"/>
                    <a:gd name="T40" fmla="*/ 0 w 119"/>
                    <a:gd name="T41" fmla="*/ 0 h 57"/>
                    <a:gd name="T42" fmla="*/ 0 w 119"/>
                    <a:gd name="T43" fmla="*/ 0 h 57"/>
                    <a:gd name="T44" fmla="*/ 0 w 119"/>
                    <a:gd name="T45" fmla="*/ 0 h 57"/>
                    <a:gd name="T46" fmla="*/ 0 w 119"/>
                    <a:gd name="T47" fmla="*/ 0 h 57"/>
                    <a:gd name="T48" fmla="*/ 0 w 119"/>
                    <a:gd name="T49" fmla="*/ 0 h 57"/>
                    <a:gd name="T50" fmla="*/ 0 w 119"/>
                    <a:gd name="T51" fmla="*/ 0 h 57"/>
                    <a:gd name="T52" fmla="*/ 0 w 119"/>
                    <a:gd name="T53" fmla="*/ 0 h 57"/>
                    <a:gd name="T54" fmla="*/ 0 w 119"/>
                    <a:gd name="T55" fmla="*/ 0 h 57"/>
                    <a:gd name="T56" fmla="*/ 0 w 119"/>
                    <a:gd name="T57" fmla="*/ 0 h 57"/>
                    <a:gd name="T58" fmla="*/ 0 w 119"/>
                    <a:gd name="T59" fmla="*/ 0 h 57"/>
                    <a:gd name="T60" fmla="*/ 0 w 119"/>
                    <a:gd name="T61" fmla="*/ 0 h 57"/>
                    <a:gd name="T62" fmla="*/ 0 w 119"/>
                    <a:gd name="T63" fmla="*/ 0 h 57"/>
                    <a:gd name="T64" fmla="*/ 0 w 119"/>
                    <a:gd name="T65" fmla="*/ 0 h 57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19"/>
                    <a:gd name="T100" fmla="*/ 0 h 57"/>
                    <a:gd name="T101" fmla="*/ 119 w 119"/>
                    <a:gd name="T102" fmla="*/ 57 h 57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19" h="57">
                      <a:moveTo>
                        <a:pt x="0" y="32"/>
                      </a:moveTo>
                      <a:lnTo>
                        <a:pt x="7" y="35"/>
                      </a:lnTo>
                      <a:lnTo>
                        <a:pt x="14" y="38"/>
                      </a:lnTo>
                      <a:lnTo>
                        <a:pt x="20" y="42"/>
                      </a:lnTo>
                      <a:lnTo>
                        <a:pt x="26" y="47"/>
                      </a:lnTo>
                      <a:lnTo>
                        <a:pt x="32" y="51"/>
                      </a:lnTo>
                      <a:lnTo>
                        <a:pt x="36" y="54"/>
                      </a:lnTo>
                      <a:lnTo>
                        <a:pt x="41" y="56"/>
                      </a:lnTo>
                      <a:lnTo>
                        <a:pt x="47" y="57"/>
                      </a:lnTo>
                      <a:lnTo>
                        <a:pt x="55" y="57"/>
                      </a:lnTo>
                      <a:lnTo>
                        <a:pt x="62" y="56"/>
                      </a:lnTo>
                      <a:lnTo>
                        <a:pt x="70" y="55"/>
                      </a:lnTo>
                      <a:lnTo>
                        <a:pt x="77" y="53"/>
                      </a:lnTo>
                      <a:lnTo>
                        <a:pt x="83" y="50"/>
                      </a:lnTo>
                      <a:lnTo>
                        <a:pt x="89" y="48"/>
                      </a:lnTo>
                      <a:lnTo>
                        <a:pt x="93" y="44"/>
                      </a:lnTo>
                      <a:lnTo>
                        <a:pt x="97" y="40"/>
                      </a:lnTo>
                      <a:lnTo>
                        <a:pt x="106" y="32"/>
                      </a:lnTo>
                      <a:lnTo>
                        <a:pt x="112" y="23"/>
                      </a:lnTo>
                      <a:lnTo>
                        <a:pt x="116" y="13"/>
                      </a:lnTo>
                      <a:lnTo>
                        <a:pt x="119" y="1"/>
                      </a:lnTo>
                      <a:lnTo>
                        <a:pt x="101" y="0"/>
                      </a:lnTo>
                      <a:lnTo>
                        <a:pt x="82" y="0"/>
                      </a:lnTo>
                      <a:lnTo>
                        <a:pt x="63" y="2"/>
                      </a:lnTo>
                      <a:lnTo>
                        <a:pt x="45" y="5"/>
                      </a:lnTo>
                      <a:lnTo>
                        <a:pt x="36" y="7"/>
                      </a:lnTo>
                      <a:lnTo>
                        <a:pt x="28" y="10"/>
                      </a:lnTo>
                      <a:lnTo>
                        <a:pt x="22" y="13"/>
                      </a:lnTo>
                      <a:lnTo>
                        <a:pt x="15" y="16"/>
                      </a:lnTo>
                      <a:lnTo>
                        <a:pt x="10" y="19"/>
                      </a:lnTo>
                      <a:lnTo>
                        <a:pt x="5" y="23"/>
                      </a:lnTo>
                      <a:lnTo>
                        <a:pt x="2" y="27"/>
                      </a:lnTo>
                      <a:lnTo>
                        <a:pt x="0" y="32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100" name="Freeform 422">
                  <a:extLst>
                    <a:ext uri="{FF2B5EF4-FFF2-40B4-BE49-F238E27FC236}">
                      <a16:creationId xmlns="" xmlns:a16="http://schemas.microsoft.com/office/drawing/2014/main" id="{1C89B68C-43A7-4464-9A77-7F5D172522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54" y="1335"/>
                  <a:ext cx="34" cy="17"/>
                </a:xfrm>
                <a:custGeom>
                  <a:avLst/>
                  <a:gdLst>
                    <a:gd name="T0" fmla="*/ 0 w 107"/>
                    <a:gd name="T1" fmla="*/ 0 h 52"/>
                    <a:gd name="T2" fmla="*/ 0 w 107"/>
                    <a:gd name="T3" fmla="*/ 0 h 52"/>
                    <a:gd name="T4" fmla="*/ 0 w 107"/>
                    <a:gd name="T5" fmla="*/ 0 h 52"/>
                    <a:gd name="T6" fmla="*/ 0 w 107"/>
                    <a:gd name="T7" fmla="*/ 0 h 52"/>
                    <a:gd name="T8" fmla="*/ 0 w 107"/>
                    <a:gd name="T9" fmla="*/ 0 h 52"/>
                    <a:gd name="T10" fmla="*/ 0 w 107"/>
                    <a:gd name="T11" fmla="*/ 0 h 52"/>
                    <a:gd name="T12" fmla="*/ 0 w 107"/>
                    <a:gd name="T13" fmla="*/ 0 h 52"/>
                    <a:gd name="T14" fmla="*/ 0 w 107"/>
                    <a:gd name="T15" fmla="*/ 0 h 52"/>
                    <a:gd name="T16" fmla="*/ 0 w 107"/>
                    <a:gd name="T17" fmla="*/ 0 h 52"/>
                    <a:gd name="T18" fmla="*/ 0 w 107"/>
                    <a:gd name="T19" fmla="*/ 0 h 52"/>
                    <a:gd name="T20" fmla="*/ 0 w 107"/>
                    <a:gd name="T21" fmla="*/ 0 h 52"/>
                    <a:gd name="T22" fmla="*/ 0 w 107"/>
                    <a:gd name="T23" fmla="*/ 0 h 52"/>
                    <a:gd name="T24" fmla="*/ 0 w 107"/>
                    <a:gd name="T25" fmla="*/ 0 h 52"/>
                    <a:gd name="T26" fmla="*/ 0 w 107"/>
                    <a:gd name="T27" fmla="*/ 0 h 52"/>
                    <a:gd name="T28" fmla="*/ 0 w 107"/>
                    <a:gd name="T29" fmla="*/ 0 h 52"/>
                    <a:gd name="T30" fmla="*/ 0 w 107"/>
                    <a:gd name="T31" fmla="*/ 0 h 52"/>
                    <a:gd name="T32" fmla="*/ 0 w 107"/>
                    <a:gd name="T33" fmla="*/ 0 h 52"/>
                    <a:gd name="T34" fmla="*/ 0 w 107"/>
                    <a:gd name="T35" fmla="*/ 0 h 52"/>
                    <a:gd name="T36" fmla="*/ 0 w 107"/>
                    <a:gd name="T37" fmla="*/ 0 h 52"/>
                    <a:gd name="T38" fmla="*/ 0 w 107"/>
                    <a:gd name="T39" fmla="*/ 0 h 52"/>
                    <a:gd name="T40" fmla="*/ 0 w 107"/>
                    <a:gd name="T41" fmla="*/ 0 h 52"/>
                    <a:gd name="T42" fmla="*/ 0 w 107"/>
                    <a:gd name="T43" fmla="*/ 0 h 52"/>
                    <a:gd name="T44" fmla="*/ 0 w 107"/>
                    <a:gd name="T45" fmla="*/ 0 h 52"/>
                    <a:gd name="T46" fmla="*/ 0 w 107"/>
                    <a:gd name="T47" fmla="*/ 0 h 52"/>
                    <a:gd name="T48" fmla="*/ 0 w 107"/>
                    <a:gd name="T49" fmla="*/ 0 h 52"/>
                    <a:gd name="T50" fmla="*/ 0 w 107"/>
                    <a:gd name="T51" fmla="*/ 0 h 52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107"/>
                    <a:gd name="T79" fmla="*/ 0 h 52"/>
                    <a:gd name="T80" fmla="*/ 107 w 107"/>
                    <a:gd name="T81" fmla="*/ 52 h 52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107" h="52">
                      <a:moveTo>
                        <a:pt x="0" y="50"/>
                      </a:moveTo>
                      <a:lnTo>
                        <a:pt x="6" y="51"/>
                      </a:lnTo>
                      <a:lnTo>
                        <a:pt x="9" y="52"/>
                      </a:lnTo>
                      <a:lnTo>
                        <a:pt x="13" y="52"/>
                      </a:lnTo>
                      <a:lnTo>
                        <a:pt x="17" y="52"/>
                      </a:lnTo>
                      <a:lnTo>
                        <a:pt x="24" y="50"/>
                      </a:lnTo>
                      <a:lnTo>
                        <a:pt x="34" y="50"/>
                      </a:lnTo>
                      <a:lnTo>
                        <a:pt x="43" y="49"/>
                      </a:lnTo>
                      <a:lnTo>
                        <a:pt x="53" y="48"/>
                      </a:lnTo>
                      <a:lnTo>
                        <a:pt x="62" y="47"/>
                      </a:lnTo>
                      <a:lnTo>
                        <a:pt x="70" y="43"/>
                      </a:lnTo>
                      <a:lnTo>
                        <a:pt x="79" y="40"/>
                      </a:lnTo>
                      <a:lnTo>
                        <a:pt x="88" y="36"/>
                      </a:lnTo>
                      <a:lnTo>
                        <a:pt x="97" y="31"/>
                      </a:lnTo>
                      <a:lnTo>
                        <a:pt x="107" y="24"/>
                      </a:lnTo>
                      <a:lnTo>
                        <a:pt x="107" y="0"/>
                      </a:lnTo>
                      <a:lnTo>
                        <a:pt x="98" y="1"/>
                      </a:lnTo>
                      <a:lnTo>
                        <a:pt x="86" y="3"/>
                      </a:lnTo>
                      <a:lnTo>
                        <a:pt x="72" y="7"/>
                      </a:lnTo>
                      <a:lnTo>
                        <a:pt x="56" y="13"/>
                      </a:lnTo>
                      <a:lnTo>
                        <a:pt x="41" y="20"/>
                      </a:lnTo>
                      <a:lnTo>
                        <a:pt x="25" y="28"/>
                      </a:lnTo>
                      <a:lnTo>
                        <a:pt x="19" y="33"/>
                      </a:lnTo>
                      <a:lnTo>
                        <a:pt x="12" y="38"/>
                      </a:lnTo>
                      <a:lnTo>
                        <a:pt x="6" y="43"/>
                      </a:lnTo>
                      <a:lnTo>
                        <a:pt x="0" y="50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101" name="Freeform 423">
                  <a:extLst>
                    <a:ext uri="{FF2B5EF4-FFF2-40B4-BE49-F238E27FC236}">
                      <a16:creationId xmlns="" xmlns:a16="http://schemas.microsoft.com/office/drawing/2014/main" id="{67D8619D-BE64-43A4-A4C5-6DE5AB7F7E9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81" y="1244"/>
                  <a:ext cx="79" cy="32"/>
                </a:xfrm>
                <a:custGeom>
                  <a:avLst/>
                  <a:gdLst>
                    <a:gd name="T0" fmla="*/ 0 w 246"/>
                    <a:gd name="T1" fmla="*/ 0 h 99"/>
                    <a:gd name="T2" fmla="*/ 0 w 246"/>
                    <a:gd name="T3" fmla="*/ 0 h 99"/>
                    <a:gd name="T4" fmla="*/ 0 w 246"/>
                    <a:gd name="T5" fmla="*/ 0 h 99"/>
                    <a:gd name="T6" fmla="*/ 0 w 246"/>
                    <a:gd name="T7" fmla="*/ 0 h 99"/>
                    <a:gd name="T8" fmla="*/ 0 w 246"/>
                    <a:gd name="T9" fmla="*/ 0 h 99"/>
                    <a:gd name="T10" fmla="*/ 0 w 246"/>
                    <a:gd name="T11" fmla="*/ 0 h 99"/>
                    <a:gd name="T12" fmla="*/ 0 w 246"/>
                    <a:gd name="T13" fmla="*/ 0 h 99"/>
                    <a:gd name="T14" fmla="*/ 0 w 246"/>
                    <a:gd name="T15" fmla="*/ 0 h 99"/>
                    <a:gd name="T16" fmla="*/ 0 w 246"/>
                    <a:gd name="T17" fmla="*/ 0 h 99"/>
                    <a:gd name="T18" fmla="*/ 0 w 246"/>
                    <a:gd name="T19" fmla="*/ 0 h 99"/>
                    <a:gd name="T20" fmla="*/ 0 w 246"/>
                    <a:gd name="T21" fmla="*/ 0 h 99"/>
                    <a:gd name="T22" fmla="*/ 0 w 246"/>
                    <a:gd name="T23" fmla="*/ 0 h 99"/>
                    <a:gd name="T24" fmla="*/ 0 w 246"/>
                    <a:gd name="T25" fmla="*/ 0 h 99"/>
                    <a:gd name="T26" fmla="*/ 0 w 246"/>
                    <a:gd name="T27" fmla="*/ 0 h 99"/>
                    <a:gd name="T28" fmla="*/ 0 w 246"/>
                    <a:gd name="T29" fmla="*/ 0 h 99"/>
                    <a:gd name="T30" fmla="*/ 0 w 246"/>
                    <a:gd name="T31" fmla="*/ 0 h 99"/>
                    <a:gd name="T32" fmla="*/ 0 w 246"/>
                    <a:gd name="T33" fmla="*/ 0 h 99"/>
                    <a:gd name="T34" fmla="*/ 0 w 246"/>
                    <a:gd name="T35" fmla="*/ 0 h 99"/>
                    <a:gd name="T36" fmla="*/ 0 w 246"/>
                    <a:gd name="T37" fmla="*/ 0 h 99"/>
                    <a:gd name="T38" fmla="*/ 0 w 246"/>
                    <a:gd name="T39" fmla="*/ 0 h 99"/>
                    <a:gd name="T40" fmla="*/ 0 w 246"/>
                    <a:gd name="T41" fmla="*/ 0 h 99"/>
                    <a:gd name="T42" fmla="*/ 0 w 246"/>
                    <a:gd name="T43" fmla="*/ 0 h 99"/>
                    <a:gd name="T44" fmla="*/ 0 w 246"/>
                    <a:gd name="T45" fmla="*/ 0 h 99"/>
                    <a:gd name="T46" fmla="*/ 0 w 246"/>
                    <a:gd name="T47" fmla="*/ 0 h 99"/>
                    <a:gd name="T48" fmla="*/ 0 w 246"/>
                    <a:gd name="T49" fmla="*/ 0 h 99"/>
                    <a:gd name="T50" fmla="*/ 1 w 246"/>
                    <a:gd name="T51" fmla="*/ 0 h 99"/>
                    <a:gd name="T52" fmla="*/ 1 w 246"/>
                    <a:gd name="T53" fmla="*/ 0 h 99"/>
                    <a:gd name="T54" fmla="*/ 1 w 246"/>
                    <a:gd name="T55" fmla="*/ 0 h 99"/>
                    <a:gd name="T56" fmla="*/ 1 w 246"/>
                    <a:gd name="T57" fmla="*/ 0 h 99"/>
                    <a:gd name="T58" fmla="*/ 1 w 246"/>
                    <a:gd name="T59" fmla="*/ 0 h 99"/>
                    <a:gd name="T60" fmla="*/ 1 w 246"/>
                    <a:gd name="T61" fmla="*/ 0 h 99"/>
                    <a:gd name="T62" fmla="*/ 1 w 246"/>
                    <a:gd name="T63" fmla="*/ 0 h 99"/>
                    <a:gd name="T64" fmla="*/ 1 w 246"/>
                    <a:gd name="T65" fmla="*/ 0 h 99"/>
                    <a:gd name="T66" fmla="*/ 1 w 246"/>
                    <a:gd name="T67" fmla="*/ 0 h 99"/>
                    <a:gd name="T68" fmla="*/ 1 w 246"/>
                    <a:gd name="T69" fmla="*/ 0 h 99"/>
                    <a:gd name="T70" fmla="*/ 1 w 246"/>
                    <a:gd name="T71" fmla="*/ 0 h 99"/>
                    <a:gd name="T72" fmla="*/ 1 w 246"/>
                    <a:gd name="T73" fmla="*/ 0 h 99"/>
                    <a:gd name="T74" fmla="*/ 1 w 246"/>
                    <a:gd name="T75" fmla="*/ 0 h 99"/>
                    <a:gd name="T76" fmla="*/ 1 w 246"/>
                    <a:gd name="T77" fmla="*/ 0 h 99"/>
                    <a:gd name="T78" fmla="*/ 0 w 246"/>
                    <a:gd name="T79" fmla="*/ 0 h 99"/>
                    <a:gd name="T80" fmla="*/ 0 w 246"/>
                    <a:gd name="T81" fmla="*/ 0 h 99"/>
                    <a:gd name="T82" fmla="*/ 0 w 246"/>
                    <a:gd name="T83" fmla="*/ 0 h 99"/>
                    <a:gd name="T84" fmla="*/ 0 w 246"/>
                    <a:gd name="T85" fmla="*/ 0 h 99"/>
                    <a:gd name="T86" fmla="*/ 0 w 246"/>
                    <a:gd name="T87" fmla="*/ 0 h 99"/>
                    <a:gd name="T88" fmla="*/ 0 w 246"/>
                    <a:gd name="T89" fmla="*/ 0 h 99"/>
                    <a:gd name="T90" fmla="*/ 0 w 246"/>
                    <a:gd name="T91" fmla="*/ 0 h 99"/>
                    <a:gd name="T92" fmla="*/ 0 w 246"/>
                    <a:gd name="T93" fmla="*/ 0 h 99"/>
                    <a:gd name="T94" fmla="*/ 0 w 246"/>
                    <a:gd name="T95" fmla="*/ 0 h 99"/>
                    <a:gd name="T96" fmla="*/ 0 w 246"/>
                    <a:gd name="T97" fmla="*/ 0 h 99"/>
                    <a:gd name="T98" fmla="*/ 0 w 246"/>
                    <a:gd name="T99" fmla="*/ 0 h 99"/>
                    <a:gd name="T100" fmla="*/ 0 w 246"/>
                    <a:gd name="T101" fmla="*/ 0 h 99"/>
                    <a:gd name="T102" fmla="*/ 0 w 246"/>
                    <a:gd name="T103" fmla="*/ 0 h 99"/>
                    <a:gd name="T104" fmla="*/ 0 w 246"/>
                    <a:gd name="T105" fmla="*/ 0 h 99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246"/>
                    <a:gd name="T160" fmla="*/ 0 h 99"/>
                    <a:gd name="T161" fmla="*/ 246 w 246"/>
                    <a:gd name="T162" fmla="*/ 99 h 99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246" h="99">
                      <a:moveTo>
                        <a:pt x="27" y="99"/>
                      </a:moveTo>
                      <a:lnTo>
                        <a:pt x="22" y="97"/>
                      </a:lnTo>
                      <a:lnTo>
                        <a:pt x="17" y="96"/>
                      </a:lnTo>
                      <a:lnTo>
                        <a:pt x="12" y="93"/>
                      </a:lnTo>
                      <a:lnTo>
                        <a:pt x="9" y="90"/>
                      </a:lnTo>
                      <a:lnTo>
                        <a:pt x="6" y="86"/>
                      </a:lnTo>
                      <a:lnTo>
                        <a:pt x="2" y="82"/>
                      </a:lnTo>
                      <a:lnTo>
                        <a:pt x="1" y="78"/>
                      </a:lnTo>
                      <a:lnTo>
                        <a:pt x="0" y="73"/>
                      </a:lnTo>
                      <a:lnTo>
                        <a:pt x="0" y="69"/>
                      </a:lnTo>
                      <a:lnTo>
                        <a:pt x="1" y="65"/>
                      </a:lnTo>
                      <a:lnTo>
                        <a:pt x="3" y="60"/>
                      </a:lnTo>
                      <a:lnTo>
                        <a:pt x="5" y="56"/>
                      </a:lnTo>
                      <a:lnTo>
                        <a:pt x="10" y="49"/>
                      </a:lnTo>
                      <a:lnTo>
                        <a:pt x="18" y="41"/>
                      </a:lnTo>
                      <a:lnTo>
                        <a:pt x="25" y="34"/>
                      </a:lnTo>
                      <a:lnTo>
                        <a:pt x="35" y="28"/>
                      </a:lnTo>
                      <a:lnTo>
                        <a:pt x="46" y="23"/>
                      </a:lnTo>
                      <a:lnTo>
                        <a:pt x="57" y="18"/>
                      </a:lnTo>
                      <a:lnTo>
                        <a:pt x="69" y="14"/>
                      </a:lnTo>
                      <a:lnTo>
                        <a:pt x="81" y="10"/>
                      </a:lnTo>
                      <a:lnTo>
                        <a:pt x="92" y="7"/>
                      </a:lnTo>
                      <a:lnTo>
                        <a:pt x="104" y="4"/>
                      </a:lnTo>
                      <a:lnTo>
                        <a:pt x="124" y="1"/>
                      </a:lnTo>
                      <a:lnTo>
                        <a:pt x="140" y="0"/>
                      </a:lnTo>
                      <a:lnTo>
                        <a:pt x="168" y="0"/>
                      </a:lnTo>
                      <a:lnTo>
                        <a:pt x="193" y="1"/>
                      </a:lnTo>
                      <a:lnTo>
                        <a:pt x="219" y="2"/>
                      </a:lnTo>
                      <a:lnTo>
                        <a:pt x="246" y="6"/>
                      </a:lnTo>
                      <a:lnTo>
                        <a:pt x="244" y="11"/>
                      </a:lnTo>
                      <a:lnTo>
                        <a:pt x="241" y="15"/>
                      </a:lnTo>
                      <a:lnTo>
                        <a:pt x="236" y="20"/>
                      </a:lnTo>
                      <a:lnTo>
                        <a:pt x="231" y="26"/>
                      </a:lnTo>
                      <a:lnTo>
                        <a:pt x="215" y="36"/>
                      </a:lnTo>
                      <a:lnTo>
                        <a:pt x="199" y="46"/>
                      </a:lnTo>
                      <a:lnTo>
                        <a:pt x="180" y="55"/>
                      </a:lnTo>
                      <a:lnTo>
                        <a:pt x="162" y="61"/>
                      </a:lnTo>
                      <a:lnTo>
                        <a:pt x="152" y="64"/>
                      </a:lnTo>
                      <a:lnTo>
                        <a:pt x="143" y="66"/>
                      </a:lnTo>
                      <a:lnTo>
                        <a:pt x="134" y="67"/>
                      </a:lnTo>
                      <a:lnTo>
                        <a:pt x="126" y="67"/>
                      </a:lnTo>
                      <a:lnTo>
                        <a:pt x="120" y="67"/>
                      </a:lnTo>
                      <a:lnTo>
                        <a:pt x="110" y="67"/>
                      </a:lnTo>
                      <a:lnTo>
                        <a:pt x="100" y="67"/>
                      </a:lnTo>
                      <a:lnTo>
                        <a:pt x="93" y="67"/>
                      </a:lnTo>
                      <a:lnTo>
                        <a:pt x="88" y="69"/>
                      </a:lnTo>
                      <a:lnTo>
                        <a:pt x="80" y="72"/>
                      </a:lnTo>
                      <a:lnTo>
                        <a:pt x="72" y="77"/>
                      </a:lnTo>
                      <a:lnTo>
                        <a:pt x="63" y="83"/>
                      </a:lnTo>
                      <a:lnTo>
                        <a:pt x="53" y="88"/>
                      </a:lnTo>
                      <a:lnTo>
                        <a:pt x="44" y="93"/>
                      </a:lnTo>
                      <a:lnTo>
                        <a:pt x="35" y="96"/>
                      </a:lnTo>
                      <a:lnTo>
                        <a:pt x="27" y="99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102" name="Freeform 424">
                  <a:extLst>
                    <a:ext uri="{FF2B5EF4-FFF2-40B4-BE49-F238E27FC236}">
                      <a16:creationId xmlns="" xmlns:a16="http://schemas.microsoft.com/office/drawing/2014/main" id="{BB917C46-94A7-4E16-A38F-9A0E94FB9C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4" y="1248"/>
                  <a:ext cx="76" cy="40"/>
                </a:xfrm>
                <a:custGeom>
                  <a:avLst/>
                  <a:gdLst>
                    <a:gd name="T0" fmla="*/ 0 w 233"/>
                    <a:gd name="T1" fmla="*/ 0 h 123"/>
                    <a:gd name="T2" fmla="*/ 0 w 233"/>
                    <a:gd name="T3" fmla="*/ 0 h 123"/>
                    <a:gd name="T4" fmla="*/ 0 w 233"/>
                    <a:gd name="T5" fmla="*/ 0 h 123"/>
                    <a:gd name="T6" fmla="*/ 0 w 233"/>
                    <a:gd name="T7" fmla="*/ 0 h 123"/>
                    <a:gd name="T8" fmla="*/ 0 w 233"/>
                    <a:gd name="T9" fmla="*/ 0 h 123"/>
                    <a:gd name="T10" fmla="*/ 0 w 233"/>
                    <a:gd name="T11" fmla="*/ 0 h 123"/>
                    <a:gd name="T12" fmla="*/ 0 w 233"/>
                    <a:gd name="T13" fmla="*/ 0 h 123"/>
                    <a:gd name="T14" fmla="*/ 0 w 233"/>
                    <a:gd name="T15" fmla="*/ 0 h 123"/>
                    <a:gd name="T16" fmla="*/ 0 w 233"/>
                    <a:gd name="T17" fmla="*/ 0 h 123"/>
                    <a:gd name="T18" fmla="*/ 0 w 233"/>
                    <a:gd name="T19" fmla="*/ 0 h 123"/>
                    <a:gd name="T20" fmla="*/ 1 w 233"/>
                    <a:gd name="T21" fmla="*/ 0 h 123"/>
                    <a:gd name="T22" fmla="*/ 1 w 233"/>
                    <a:gd name="T23" fmla="*/ 0 h 123"/>
                    <a:gd name="T24" fmla="*/ 1 w 233"/>
                    <a:gd name="T25" fmla="*/ 0 h 123"/>
                    <a:gd name="T26" fmla="*/ 1 w 233"/>
                    <a:gd name="T27" fmla="*/ 0 h 123"/>
                    <a:gd name="T28" fmla="*/ 1 w 233"/>
                    <a:gd name="T29" fmla="*/ 0 h 123"/>
                    <a:gd name="T30" fmla="*/ 1 w 233"/>
                    <a:gd name="T31" fmla="*/ 0 h 123"/>
                    <a:gd name="T32" fmla="*/ 1 w 233"/>
                    <a:gd name="T33" fmla="*/ 0 h 123"/>
                    <a:gd name="T34" fmla="*/ 1 w 233"/>
                    <a:gd name="T35" fmla="*/ 0 h 123"/>
                    <a:gd name="T36" fmla="*/ 1 w 233"/>
                    <a:gd name="T37" fmla="*/ 0 h 123"/>
                    <a:gd name="T38" fmla="*/ 1 w 233"/>
                    <a:gd name="T39" fmla="*/ 0 h 123"/>
                    <a:gd name="T40" fmla="*/ 1 w 233"/>
                    <a:gd name="T41" fmla="*/ 0 h 123"/>
                    <a:gd name="T42" fmla="*/ 1 w 233"/>
                    <a:gd name="T43" fmla="*/ 0 h 123"/>
                    <a:gd name="T44" fmla="*/ 1 w 233"/>
                    <a:gd name="T45" fmla="*/ 0 h 123"/>
                    <a:gd name="T46" fmla="*/ 1 w 233"/>
                    <a:gd name="T47" fmla="*/ 0 h 123"/>
                    <a:gd name="T48" fmla="*/ 1 w 233"/>
                    <a:gd name="T49" fmla="*/ 0 h 123"/>
                    <a:gd name="T50" fmla="*/ 0 w 233"/>
                    <a:gd name="T51" fmla="*/ 0 h 123"/>
                    <a:gd name="T52" fmla="*/ 0 w 233"/>
                    <a:gd name="T53" fmla="*/ 0 h 123"/>
                    <a:gd name="T54" fmla="*/ 0 w 233"/>
                    <a:gd name="T55" fmla="*/ 0 h 123"/>
                    <a:gd name="T56" fmla="*/ 0 w 233"/>
                    <a:gd name="T57" fmla="*/ 0 h 123"/>
                    <a:gd name="T58" fmla="*/ 0 w 233"/>
                    <a:gd name="T59" fmla="*/ 0 h 123"/>
                    <a:gd name="T60" fmla="*/ 0 w 233"/>
                    <a:gd name="T61" fmla="*/ 0 h 123"/>
                    <a:gd name="T62" fmla="*/ 0 w 233"/>
                    <a:gd name="T63" fmla="*/ 0 h 123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233"/>
                    <a:gd name="T97" fmla="*/ 0 h 123"/>
                    <a:gd name="T98" fmla="*/ 233 w 233"/>
                    <a:gd name="T99" fmla="*/ 123 h 123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233" h="123">
                      <a:moveTo>
                        <a:pt x="47" y="93"/>
                      </a:moveTo>
                      <a:lnTo>
                        <a:pt x="33" y="88"/>
                      </a:lnTo>
                      <a:lnTo>
                        <a:pt x="21" y="83"/>
                      </a:lnTo>
                      <a:lnTo>
                        <a:pt x="10" y="78"/>
                      </a:lnTo>
                      <a:lnTo>
                        <a:pt x="0" y="74"/>
                      </a:lnTo>
                      <a:lnTo>
                        <a:pt x="0" y="55"/>
                      </a:lnTo>
                      <a:lnTo>
                        <a:pt x="10" y="46"/>
                      </a:lnTo>
                      <a:lnTo>
                        <a:pt x="20" y="37"/>
                      </a:lnTo>
                      <a:lnTo>
                        <a:pt x="30" y="37"/>
                      </a:lnTo>
                      <a:lnTo>
                        <a:pt x="40" y="37"/>
                      </a:lnTo>
                      <a:lnTo>
                        <a:pt x="51" y="37"/>
                      </a:lnTo>
                      <a:lnTo>
                        <a:pt x="61" y="37"/>
                      </a:lnTo>
                      <a:lnTo>
                        <a:pt x="66" y="37"/>
                      </a:lnTo>
                      <a:lnTo>
                        <a:pt x="72" y="36"/>
                      </a:lnTo>
                      <a:lnTo>
                        <a:pt x="77" y="35"/>
                      </a:lnTo>
                      <a:lnTo>
                        <a:pt x="83" y="33"/>
                      </a:lnTo>
                      <a:lnTo>
                        <a:pt x="94" y="28"/>
                      </a:lnTo>
                      <a:lnTo>
                        <a:pt x="104" y="23"/>
                      </a:lnTo>
                      <a:lnTo>
                        <a:pt x="114" y="17"/>
                      </a:lnTo>
                      <a:lnTo>
                        <a:pt x="123" y="11"/>
                      </a:lnTo>
                      <a:lnTo>
                        <a:pt x="134" y="5"/>
                      </a:lnTo>
                      <a:lnTo>
                        <a:pt x="146" y="0"/>
                      </a:lnTo>
                      <a:lnTo>
                        <a:pt x="153" y="4"/>
                      </a:lnTo>
                      <a:lnTo>
                        <a:pt x="161" y="8"/>
                      </a:lnTo>
                      <a:lnTo>
                        <a:pt x="171" y="11"/>
                      </a:lnTo>
                      <a:lnTo>
                        <a:pt x="181" y="12"/>
                      </a:lnTo>
                      <a:lnTo>
                        <a:pt x="185" y="12"/>
                      </a:lnTo>
                      <a:lnTo>
                        <a:pt x="190" y="10"/>
                      </a:lnTo>
                      <a:lnTo>
                        <a:pt x="196" y="8"/>
                      </a:lnTo>
                      <a:lnTo>
                        <a:pt x="201" y="6"/>
                      </a:lnTo>
                      <a:lnTo>
                        <a:pt x="210" y="2"/>
                      </a:lnTo>
                      <a:lnTo>
                        <a:pt x="213" y="0"/>
                      </a:lnTo>
                      <a:lnTo>
                        <a:pt x="233" y="0"/>
                      </a:lnTo>
                      <a:lnTo>
                        <a:pt x="232" y="6"/>
                      </a:lnTo>
                      <a:lnTo>
                        <a:pt x="231" y="12"/>
                      </a:lnTo>
                      <a:lnTo>
                        <a:pt x="228" y="18"/>
                      </a:lnTo>
                      <a:lnTo>
                        <a:pt x="224" y="22"/>
                      </a:lnTo>
                      <a:lnTo>
                        <a:pt x="219" y="25"/>
                      </a:lnTo>
                      <a:lnTo>
                        <a:pt x="213" y="28"/>
                      </a:lnTo>
                      <a:lnTo>
                        <a:pt x="207" y="30"/>
                      </a:lnTo>
                      <a:lnTo>
                        <a:pt x="200" y="30"/>
                      </a:lnTo>
                      <a:lnTo>
                        <a:pt x="201" y="43"/>
                      </a:lnTo>
                      <a:lnTo>
                        <a:pt x="204" y="52"/>
                      </a:lnTo>
                      <a:lnTo>
                        <a:pt x="206" y="62"/>
                      </a:lnTo>
                      <a:lnTo>
                        <a:pt x="207" y="74"/>
                      </a:lnTo>
                      <a:lnTo>
                        <a:pt x="185" y="85"/>
                      </a:lnTo>
                      <a:lnTo>
                        <a:pt x="166" y="93"/>
                      </a:lnTo>
                      <a:lnTo>
                        <a:pt x="157" y="96"/>
                      </a:lnTo>
                      <a:lnTo>
                        <a:pt x="149" y="98"/>
                      </a:lnTo>
                      <a:lnTo>
                        <a:pt x="139" y="98"/>
                      </a:lnTo>
                      <a:lnTo>
                        <a:pt x="127" y="99"/>
                      </a:lnTo>
                      <a:lnTo>
                        <a:pt x="116" y="100"/>
                      </a:lnTo>
                      <a:lnTo>
                        <a:pt x="105" y="103"/>
                      </a:lnTo>
                      <a:lnTo>
                        <a:pt x="96" y="106"/>
                      </a:lnTo>
                      <a:lnTo>
                        <a:pt x="88" y="111"/>
                      </a:lnTo>
                      <a:lnTo>
                        <a:pt x="82" y="115"/>
                      </a:lnTo>
                      <a:lnTo>
                        <a:pt x="74" y="119"/>
                      </a:lnTo>
                      <a:lnTo>
                        <a:pt x="67" y="122"/>
                      </a:lnTo>
                      <a:lnTo>
                        <a:pt x="61" y="123"/>
                      </a:lnTo>
                      <a:lnTo>
                        <a:pt x="58" y="122"/>
                      </a:lnTo>
                      <a:lnTo>
                        <a:pt x="55" y="119"/>
                      </a:lnTo>
                      <a:lnTo>
                        <a:pt x="53" y="115"/>
                      </a:lnTo>
                      <a:lnTo>
                        <a:pt x="51" y="110"/>
                      </a:lnTo>
                      <a:lnTo>
                        <a:pt x="48" y="100"/>
                      </a:lnTo>
                      <a:lnTo>
                        <a:pt x="47" y="93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103" name="Freeform 425">
                  <a:extLst>
                    <a:ext uri="{FF2B5EF4-FFF2-40B4-BE49-F238E27FC236}">
                      <a16:creationId xmlns="" xmlns:a16="http://schemas.microsoft.com/office/drawing/2014/main" id="{D91781A4-DCC4-462B-B0EA-5A27563BC0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83" y="1236"/>
                  <a:ext cx="157" cy="56"/>
                </a:xfrm>
                <a:custGeom>
                  <a:avLst/>
                  <a:gdLst>
                    <a:gd name="T0" fmla="*/ 0 w 484"/>
                    <a:gd name="T1" fmla="*/ 1 h 172"/>
                    <a:gd name="T2" fmla="*/ 0 w 484"/>
                    <a:gd name="T3" fmla="*/ 1 h 172"/>
                    <a:gd name="T4" fmla="*/ 0 w 484"/>
                    <a:gd name="T5" fmla="*/ 1 h 172"/>
                    <a:gd name="T6" fmla="*/ 0 w 484"/>
                    <a:gd name="T7" fmla="*/ 1 h 172"/>
                    <a:gd name="T8" fmla="*/ 0 w 484"/>
                    <a:gd name="T9" fmla="*/ 1 h 172"/>
                    <a:gd name="T10" fmla="*/ 0 w 484"/>
                    <a:gd name="T11" fmla="*/ 1 h 172"/>
                    <a:gd name="T12" fmla="*/ 0 w 484"/>
                    <a:gd name="T13" fmla="*/ 1 h 172"/>
                    <a:gd name="T14" fmla="*/ 0 w 484"/>
                    <a:gd name="T15" fmla="*/ 1 h 172"/>
                    <a:gd name="T16" fmla="*/ 1 w 484"/>
                    <a:gd name="T17" fmla="*/ 1 h 172"/>
                    <a:gd name="T18" fmla="*/ 1 w 484"/>
                    <a:gd name="T19" fmla="*/ 1 h 172"/>
                    <a:gd name="T20" fmla="*/ 1 w 484"/>
                    <a:gd name="T21" fmla="*/ 0 h 172"/>
                    <a:gd name="T22" fmla="*/ 1 w 484"/>
                    <a:gd name="T23" fmla="*/ 0 h 172"/>
                    <a:gd name="T24" fmla="*/ 1 w 484"/>
                    <a:gd name="T25" fmla="*/ 0 h 172"/>
                    <a:gd name="T26" fmla="*/ 2 w 484"/>
                    <a:gd name="T27" fmla="*/ 0 h 172"/>
                    <a:gd name="T28" fmla="*/ 2 w 484"/>
                    <a:gd name="T29" fmla="*/ 0 h 172"/>
                    <a:gd name="T30" fmla="*/ 2 w 484"/>
                    <a:gd name="T31" fmla="*/ 0 h 172"/>
                    <a:gd name="T32" fmla="*/ 2 w 484"/>
                    <a:gd name="T33" fmla="*/ 0 h 172"/>
                    <a:gd name="T34" fmla="*/ 2 w 484"/>
                    <a:gd name="T35" fmla="*/ 0 h 172"/>
                    <a:gd name="T36" fmla="*/ 2 w 484"/>
                    <a:gd name="T37" fmla="*/ 0 h 172"/>
                    <a:gd name="T38" fmla="*/ 1 w 484"/>
                    <a:gd name="T39" fmla="*/ 0 h 172"/>
                    <a:gd name="T40" fmla="*/ 1 w 484"/>
                    <a:gd name="T41" fmla="*/ 0 h 172"/>
                    <a:gd name="T42" fmla="*/ 1 w 484"/>
                    <a:gd name="T43" fmla="*/ 0 h 172"/>
                    <a:gd name="T44" fmla="*/ 1 w 484"/>
                    <a:gd name="T45" fmla="*/ 0 h 172"/>
                    <a:gd name="T46" fmla="*/ 1 w 484"/>
                    <a:gd name="T47" fmla="*/ 0 h 172"/>
                    <a:gd name="T48" fmla="*/ 1 w 484"/>
                    <a:gd name="T49" fmla="*/ 0 h 172"/>
                    <a:gd name="T50" fmla="*/ 1 w 484"/>
                    <a:gd name="T51" fmla="*/ 0 h 172"/>
                    <a:gd name="T52" fmla="*/ 1 w 484"/>
                    <a:gd name="T53" fmla="*/ 0 h 172"/>
                    <a:gd name="T54" fmla="*/ 1 w 484"/>
                    <a:gd name="T55" fmla="*/ 0 h 172"/>
                    <a:gd name="T56" fmla="*/ 1 w 484"/>
                    <a:gd name="T57" fmla="*/ 0 h 172"/>
                    <a:gd name="T58" fmla="*/ 1 w 484"/>
                    <a:gd name="T59" fmla="*/ 0 h 172"/>
                    <a:gd name="T60" fmla="*/ 1 w 484"/>
                    <a:gd name="T61" fmla="*/ 0 h 172"/>
                    <a:gd name="T62" fmla="*/ 0 w 484"/>
                    <a:gd name="T63" fmla="*/ 0 h 172"/>
                    <a:gd name="T64" fmla="*/ 0 w 484"/>
                    <a:gd name="T65" fmla="*/ 0 h 172"/>
                    <a:gd name="T66" fmla="*/ 0 w 484"/>
                    <a:gd name="T67" fmla="*/ 0 h 172"/>
                    <a:gd name="T68" fmla="*/ 0 w 484"/>
                    <a:gd name="T69" fmla="*/ 0 h 172"/>
                    <a:gd name="T70" fmla="*/ 0 w 484"/>
                    <a:gd name="T71" fmla="*/ 0 h 172"/>
                    <a:gd name="T72" fmla="*/ 0 w 484"/>
                    <a:gd name="T73" fmla="*/ 0 h 172"/>
                    <a:gd name="T74" fmla="*/ 0 w 484"/>
                    <a:gd name="T75" fmla="*/ 0 h 172"/>
                    <a:gd name="T76" fmla="*/ 0 w 484"/>
                    <a:gd name="T77" fmla="*/ 1 h 172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484"/>
                    <a:gd name="T118" fmla="*/ 0 h 172"/>
                    <a:gd name="T119" fmla="*/ 484 w 484"/>
                    <a:gd name="T120" fmla="*/ 172 h 172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484" h="172">
                      <a:moveTo>
                        <a:pt x="0" y="142"/>
                      </a:moveTo>
                      <a:lnTo>
                        <a:pt x="0" y="147"/>
                      </a:lnTo>
                      <a:lnTo>
                        <a:pt x="1" y="152"/>
                      </a:lnTo>
                      <a:lnTo>
                        <a:pt x="3" y="156"/>
                      </a:lnTo>
                      <a:lnTo>
                        <a:pt x="6" y="159"/>
                      </a:lnTo>
                      <a:lnTo>
                        <a:pt x="9" y="162"/>
                      </a:lnTo>
                      <a:lnTo>
                        <a:pt x="13" y="165"/>
                      </a:lnTo>
                      <a:lnTo>
                        <a:pt x="17" y="167"/>
                      </a:lnTo>
                      <a:lnTo>
                        <a:pt x="21" y="168"/>
                      </a:lnTo>
                      <a:lnTo>
                        <a:pt x="31" y="170"/>
                      </a:lnTo>
                      <a:lnTo>
                        <a:pt x="41" y="172"/>
                      </a:lnTo>
                      <a:lnTo>
                        <a:pt x="51" y="172"/>
                      </a:lnTo>
                      <a:lnTo>
                        <a:pt x="59" y="172"/>
                      </a:lnTo>
                      <a:lnTo>
                        <a:pt x="73" y="172"/>
                      </a:lnTo>
                      <a:lnTo>
                        <a:pt x="86" y="170"/>
                      </a:lnTo>
                      <a:lnTo>
                        <a:pt x="99" y="167"/>
                      </a:lnTo>
                      <a:lnTo>
                        <a:pt x="113" y="164"/>
                      </a:lnTo>
                      <a:lnTo>
                        <a:pt x="139" y="156"/>
                      </a:lnTo>
                      <a:lnTo>
                        <a:pt x="164" y="146"/>
                      </a:lnTo>
                      <a:lnTo>
                        <a:pt x="189" y="135"/>
                      </a:lnTo>
                      <a:lnTo>
                        <a:pt x="215" y="124"/>
                      </a:lnTo>
                      <a:lnTo>
                        <a:pt x="240" y="113"/>
                      </a:lnTo>
                      <a:lnTo>
                        <a:pt x="265" y="104"/>
                      </a:lnTo>
                      <a:lnTo>
                        <a:pt x="287" y="100"/>
                      </a:lnTo>
                      <a:lnTo>
                        <a:pt x="316" y="94"/>
                      </a:lnTo>
                      <a:lnTo>
                        <a:pt x="350" y="87"/>
                      </a:lnTo>
                      <a:lnTo>
                        <a:pt x="385" y="80"/>
                      </a:lnTo>
                      <a:lnTo>
                        <a:pt x="401" y="75"/>
                      </a:lnTo>
                      <a:lnTo>
                        <a:pt x="418" y="70"/>
                      </a:lnTo>
                      <a:lnTo>
                        <a:pt x="434" y="64"/>
                      </a:lnTo>
                      <a:lnTo>
                        <a:pt x="449" y="58"/>
                      </a:lnTo>
                      <a:lnTo>
                        <a:pt x="461" y="52"/>
                      </a:lnTo>
                      <a:lnTo>
                        <a:pt x="471" y="46"/>
                      </a:lnTo>
                      <a:lnTo>
                        <a:pt x="475" y="42"/>
                      </a:lnTo>
                      <a:lnTo>
                        <a:pt x="479" y="39"/>
                      </a:lnTo>
                      <a:lnTo>
                        <a:pt x="482" y="35"/>
                      </a:lnTo>
                      <a:lnTo>
                        <a:pt x="484" y="31"/>
                      </a:lnTo>
                      <a:lnTo>
                        <a:pt x="449" y="26"/>
                      </a:lnTo>
                      <a:lnTo>
                        <a:pt x="417" y="21"/>
                      </a:lnTo>
                      <a:lnTo>
                        <a:pt x="387" y="16"/>
                      </a:lnTo>
                      <a:lnTo>
                        <a:pt x="359" y="10"/>
                      </a:lnTo>
                      <a:lnTo>
                        <a:pt x="331" y="6"/>
                      </a:lnTo>
                      <a:lnTo>
                        <a:pt x="303" y="3"/>
                      </a:lnTo>
                      <a:lnTo>
                        <a:pt x="272" y="0"/>
                      </a:lnTo>
                      <a:lnTo>
                        <a:pt x="239" y="0"/>
                      </a:lnTo>
                      <a:lnTo>
                        <a:pt x="225" y="0"/>
                      </a:lnTo>
                      <a:lnTo>
                        <a:pt x="213" y="2"/>
                      </a:lnTo>
                      <a:lnTo>
                        <a:pt x="203" y="4"/>
                      </a:lnTo>
                      <a:lnTo>
                        <a:pt x="195" y="6"/>
                      </a:lnTo>
                      <a:lnTo>
                        <a:pt x="186" y="8"/>
                      </a:lnTo>
                      <a:lnTo>
                        <a:pt x="180" y="7"/>
                      </a:lnTo>
                      <a:lnTo>
                        <a:pt x="176" y="6"/>
                      </a:lnTo>
                      <a:lnTo>
                        <a:pt x="173" y="5"/>
                      </a:lnTo>
                      <a:lnTo>
                        <a:pt x="169" y="3"/>
                      </a:lnTo>
                      <a:lnTo>
                        <a:pt x="165" y="0"/>
                      </a:lnTo>
                      <a:lnTo>
                        <a:pt x="165" y="8"/>
                      </a:lnTo>
                      <a:lnTo>
                        <a:pt x="163" y="17"/>
                      </a:lnTo>
                      <a:lnTo>
                        <a:pt x="161" y="24"/>
                      </a:lnTo>
                      <a:lnTo>
                        <a:pt x="159" y="31"/>
                      </a:lnTo>
                      <a:lnTo>
                        <a:pt x="154" y="36"/>
                      </a:lnTo>
                      <a:lnTo>
                        <a:pt x="150" y="42"/>
                      </a:lnTo>
                      <a:lnTo>
                        <a:pt x="144" y="46"/>
                      </a:lnTo>
                      <a:lnTo>
                        <a:pt x="139" y="50"/>
                      </a:lnTo>
                      <a:lnTo>
                        <a:pt x="127" y="58"/>
                      </a:lnTo>
                      <a:lnTo>
                        <a:pt x="113" y="63"/>
                      </a:lnTo>
                      <a:lnTo>
                        <a:pt x="97" y="69"/>
                      </a:lnTo>
                      <a:lnTo>
                        <a:pt x="82" y="73"/>
                      </a:lnTo>
                      <a:lnTo>
                        <a:pt x="66" y="78"/>
                      </a:lnTo>
                      <a:lnTo>
                        <a:pt x="52" y="82"/>
                      </a:lnTo>
                      <a:lnTo>
                        <a:pt x="38" y="88"/>
                      </a:lnTo>
                      <a:lnTo>
                        <a:pt x="25" y="94"/>
                      </a:lnTo>
                      <a:lnTo>
                        <a:pt x="19" y="98"/>
                      </a:lnTo>
                      <a:lnTo>
                        <a:pt x="15" y="103"/>
                      </a:lnTo>
                      <a:lnTo>
                        <a:pt x="10" y="107"/>
                      </a:lnTo>
                      <a:lnTo>
                        <a:pt x="6" y="113"/>
                      </a:lnTo>
                      <a:lnTo>
                        <a:pt x="3" y="119"/>
                      </a:lnTo>
                      <a:lnTo>
                        <a:pt x="1" y="126"/>
                      </a:lnTo>
                      <a:lnTo>
                        <a:pt x="0" y="134"/>
                      </a:lnTo>
                      <a:lnTo>
                        <a:pt x="0" y="142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104" name="Freeform 426">
                  <a:extLst>
                    <a:ext uri="{FF2B5EF4-FFF2-40B4-BE49-F238E27FC236}">
                      <a16:creationId xmlns="" xmlns:a16="http://schemas.microsoft.com/office/drawing/2014/main" id="{0D03A942-1D3F-4BBB-9A38-35A35F5581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43" y="1255"/>
                  <a:ext cx="221" cy="79"/>
                </a:xfrm>
                <a:custGeom>
                  <a:avLst/>
                  <a:gdLst>
                    <a:gd name="T0" fmla="*/ 1 w 684"/>
                    <a:gd name="T1" fmla="*/ 0 h 240"/>
                    <a:gd name="T2" fmla="*/ 1 w 684"/>
                    <a:gd name="T3" fmla="*/ 0 h 240"/>
                    <a:gd name="T4" fmla="*/ 1 w 684"/>
                    <a:gd name="T5" fmla="*/ 0 h 240"/>
                    <a:gd name="T6" fmla="*/ 1 w 684"/>
                    <a:gd name="T7" fmla="*/ 0 h 240"/>
                    <a:gd name="T8" fmla="*/ 1 w 684"/>
                    <a:gd name="T9" fmla="*/ 0 h 240"/>
                    <a:gd name="T10" fmla="*/ 1 w 684"/>
                    <a:gd name="T11" fmla="*/ 0 h 240"/>
                    <a:gd name="T12" fmla="*/ 1 w 684"/>
                    <a:gd name="T13" fmla="*/ 0 h 240"/>
                    <a:gd name="T14" fmla="*/ 1 w 684"/>
                    <a:gd name="T15" fmla="*/ 0 h 240"/>
                    <a:gd name="T16" fmla="*/ 2 w 684"/>
                    <a:gd name="T17" fmla="*/ 0 h 240"/>
                    <a:gd name="T18" fmla="*/ 2 w 684"/>
                    <a:gd name="T19" fmla="*/ 0 h 240"/>
                    <a:gd name="T20" fmla="*/ 2 w 684"/>
                    <a:gd name="T21" fmla="*/ 0 h 240"/>
                    <a:gd name="T22" fmla="*/ 2 w 684"/>
                    <a:gd name="T23" fmla="*/ 0 h 240"/>
                    <a:gd name="T24" fmla="*/ 2 w 684"/>
                    <a:gd name="T25" fmla="*/ 0 h 240"/>
                    <a:gd name="T26" fmla="*/ 2 w 684"/>
                    <a:gd name="T27" fmla="*/ 0 h 240"/>
                    <a:gd name="T28" fmla="*/ 2 w 684"/>
                    <a:gd name="T29" fmla="*/ 0 h 240"/>
                    <a:gd name="T30" fmla="*/ 2 w 684"/>
                    <a:gd name="T31" fmla="*/ 0 h 240"/>
                    <a:gd name="T32" fmla="*/ 2 w 684"/>
                    <a:gd name="T33" fmla="*/ 0 h 240"/>
                    <a:gd name="T34" fmla="*/ 2 w 684"/>
                    <a:gd name="T35" fmla="*/ 0 h 240"/>
                    <a:gd name="T36" fmla="*/ 2 w 684"/>
                    <a:gd name="T37" fmla="*/ 0 h 240"/>
                    <a:gd name="T38" fmla="*/ 2 w 684"/>
                    <a:gd name="T39" fmla="*/ 0 h 240"/>
                    <a:gd name="T40" fmla="*/ 2 w 684"/>
                    <a:gd name="T41" fmla="*/ 0 h 240"/>
                    <a:gd name="T42" fmla="*/ 2 w 684"/>
                    <a:gd name="T43" fmla="*/ 0 h 240"/>
                    <a:gd name="T44" fmla="*/ 2 w 684"/>
                    <a:gd name="T45" fmla="*/ 1 h 240"/>
                    <a:gd name="T46" fmla="*/ 2 w 684"/>
                    <a:gd name="T47" fmla="*/ 1 h 240"/>
                    <a:gd name="T48" fmla="*/ 2 w 684"/>
                    <a:gd name="T49" fmla="*/ 1 h 240"/>
                    <a:gd name="T50" fmla="*/ 2 w 684"/>
                    <a:gd name="T51" fmla="*/ 1 h 240"/>
                    <a:gd name="T52" fmla="*/ 2 w 684"/>
                    <a:gd name="T53" fmla="*/ 1 h 240"/>
                    <a:gd name="T54" fmla="*/ 2 w 684"/>
                    <a:gd name="T55" fmla="*/ 1 h 240"/>
                    <a:gd name="T56" fmla="*/ 2 w 684"/>
                    <a:gd name="T57" fmla="*/ 1 h 240"/>
                    <a:gd name="T58" fmla="*/ 2 w 684"/>
                    <a:gd name="T59" fmla="*/ 1 h 240"/>
                    <a:gd name="T60" fmla="*/ 2 w 684"/>
                    <a:gd name="T61" fmla="*/ 1 h 240"/>
                    <a:gd name="T62" fmla="*/ 2 w 684"/>
                    <a:gd name="T63" fmla="*/ 1 h 240"/>
                    <a:gd name="T64" fmla="*/ 2 w 684"/>
                    <a:gd name="T65" fmla="*/ 1 h 240"/>
                    <a:gd name="T66" fmla="*/ 2 w 684"/>
                    <a:gd name="T67" fmla="*/ 1 h 240"/>
                    <a:gd name="T68" fmla="*/ 1 w 684"/>
                    <a:gd name="T69" fmla="*/ 1 h 240"/>
                    <a:gd name="T70" fmla="*/ 1 w 684"/>
                    <a:gd name="T71" fmla="*/ 1 h 240"/>
                    <a:gd name="T72" fmla="*/ 1 w 684"/>
                    <a:gd name="T73" fmla="*/ 1 h 240"/>
                    <a:gd name="T74" fmla="*/ 0 w 684"/>
                    <a:gd name="T75" fmla="*/ 1 h 240"/>
                    <a:gd name="T76" fmla="*/ 0 w 684"/>
                    <a:gd name="T77" fmla="*/ 1 h 240"/>
                    <a:gd name="T78" fmla="*/ 0 w 684"/>
                    <a:gd name="T79" fmla="*/ 1 h 240"/>
                    <a:gd name="T80" fmla="*/ 0 w 684"/>
                    <a:gd name="T81" fmla="*/ 1 h 240"/>
                    <a:gd name="T82" fmla="*/ 0 w 684"/>
                    <a:gd name="T83" fmla="*/ 1 h 240"/>
                    <a:gd name="T84" fmla="*/ 0 w 684"/>
                    <a:gd name="T85" fmla="*/ 1 h 240"/>
                    <a:gd name="T86" fmla="*/ 0 w 684"/>
                    <a:gd name="T87" fmla="*/ 1 h 240"/>
                    <a:gd name="T88" fmla="*/ 1 w 684"/>
                    <a:gd name="T89" fmla="*/ 1 h 240"/>
                    <a:gd name="T90" fmla="*/ 1 w 684"/>
                    <a:gd name="T91" fmla="*/ 1 h 240"/>
                    <a:gd name="T92" fmla="*/ 1 w 684"/>
                    <a:gd name="T93" fmla="*/ 1 h 240"/>
                    <a:gd name="T94" fmla="*/ 0 w 684"/>
                    <a:gd name="T95" fmla="*/ 1 h 240"/>
                    <a:gd name="T96" fmla="*/ 0 w 684"/>
                    <a:gd name="T97" fmla="*/ 1 h 240"/>
                    <a:gd name="T98" fmla="*/ 0 w 684"/>
                    <a:gd name="T99" fmla="*/ 0 h 240"/>
                    <a:gd name="T100" fmla="*/ 1 w 684"/>
                    <a:gd name="T101" fmla="*/ 0 h 240"/>
                    <a:gd name="T102" fmla="*/ 1 w 684"/>
                    <a:gd name="T103" fmla="*/ 0 h 240"/>
                    <a:gd name="T104" fmla="*/ 1 w 684"/>
                    <a:gd name="T105" fmla="*/ 0 h 240"/>
                    <a:gd name="T106" fmla="*/ 0 w 684"/>
                    <a:gd name="T107" fmla="*/ 0 h 240"/>
                    <a:gd name="T108" fmla="*/ 0 w 684"/>
                    <a:gd name="T109" fmla="*/ 0 h 240"/>
                    <a:gd name="T110" fmla="*/ 0 w 684"/>
                    <a:gd name="T111" fmla="*/ 0 h 240"/>
                    <a:gd name="T112" fmla="*/ 0 w 684"/>
                    <a:gd name="T113" fmla="*/ 0 h 240"/>
                    <a:gd name="T114" fmla="*/ 0 w 684"/>
                    <a:gd name="T115" fmla="*/ 0 h 240"/>
                    <a:gd name="T116" fmla="*/ 0 w 684"/>
                    <a:gd name="T117" fmla="*/ 0 h 240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684"/>
                    <a:gd name="T178" fmla="*/ 0 h 240"/>
                    <a:gd name="T179" fmla="*/ 684 w 684"/>
                    <a:gd name="T180" fmla="*/ 240 h 240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684" h="240">
                      <a:moveTo>
                        <a:pt x="60" y="75"/>
                      </a:moveTo>
                      <a:lnTo>
                        <a:pt x="320" y="0"/>
                      </a:lnTo>
                      <a:lnTo>
                        <a:pt x="317" y="5"/>
                      </a:lnTo>
                      <a:lnTo>
                        <a:pt x="314" y="13"/>
                      </a:lnTo>
                      <a:lnTo>
                        <a:pt x="310" y="20"/>
                      </a:lnTo>
                      <a:lnTo>
                        <a:pt x="304" y="27"/>
                      </a:lnTo>
                      <a:lnTo>
                        <a:pt x="300" y="33"/>
                      </a:lnTo>
                      <a:lnTo>
                        <a:pt x="297" y="39"/>
                      </a:lnTo>
                      <a:lnTo>
                        <a:pt x="297" y="41"/>
                      </a:lnTo>
                      <a:lnTo>
                        <a:pt x="297" y="42"/>
                      </a:lnTo>
                      <a:lnTo>
                        <a:pt x="298" y="43"/>
                      </a:lnTo>
                      <a:lnTo>
                        <a:pt x="299" y="43"/>
                      </a:lnTo>
                      <a:lnTo>
                        <a:pt x="315" y="43"/>
                      </a:lnTo>
                      <a:lnTo>
                        <a:pt x="327" y="41"/>
                      </a:lnTo>
                      <a:lnTo>
                        <a:pt x="337" y="39"/>
                      </a:lnTo>
                      <a:lnTo>
                        <a:pt x="346" y="36"/>
                      </a:lnTo>
                      <a:lnTo>
                        <a:pt x="359" y="28"/>
                      </a:lnTo>
                      <a:lnTo>
                        <a:pt x="372" y="19"/>
                      </a:lnTo>
                      <a:lnTo>
                        <a:pt x="376" y="26"/>
                      </a:lnTo>
                      <a:lnTo>
                        <a:pt x="378" y="32"/>
                      </a:lnTo>
                      <a:lnTo>
                        <a:pt x="379" y="38"/>
                      </a:lnTo>
                      <a:lnTo>
                        <a:pt x="378" y="44"/>
                      </a:lnTo>
                      <a:lnTo>
                        <a:pt x="378" y="49"/>
                      </a:lnTo>
                      <a:lnTo>
                        <a:pt x="377" y="55"/>
                      </a:lnTo>
                      <a:lnTo>
                        <a:pt x="378" y="61"/>
                      </a:lnTo>
                      <a:lnTo>
                        <a:pt x="379" y="69"/>
                      </a:lnTo>
                      <a:lnTo>
                        <a:pt x="405" y="69"/>
                      </a:lnTo>
                      <a:lnTo>
                        <a:pt x="512" y="19"/>
                      </a:lnTo>
                      <a:lnTo>
                        <a:pt x="511" y="36"/>
                      </a:lnTo>
                      <a:lnTo>
                        <a:pt x="511" y="51"/>
                      </a:lnTo>
                      <a:lnTo>
                        <a:pt x="511" y="58"/>
                      </a:lnTo>
                      <a:lnTo>
                        <a:pt x="512" y="65"/>
                      </a:lnTo>
                      <a:lnTo>
                        <a:pt x="514" y="70"/>
                      </a:lnTo>
                      <a:lnTo>
                        <a:pt x="518" y="75"/>
                      </a:lnTo>
                      <a:lnTo>
                        <a:pt x="531" y="68"/>
                      </a:lnTo>
                      <a:lnTo>
                        <a:pt x="541" y="63"/>
                      </a:lnTo>
                      <a:lnTo>
                        <a:pt x="549" y="57"/>
                      </a:lnTo>
                      <a:lnTo>
                        <a:pt x="553" y="51"/>
                      </a:lnTo>
                      <a:lnTo>
                        <a:pt x="557" y="45"/>
                      </a:lnTo>
                      <a:lnTo>
                        <a:pt x="558" y="38"/>
                      </a:lnTo>
                      <a:lnTo>
                        <a:pt x="558" y="30"/>
                      </a:lnTo>
                      <a:lnTo>
                        <a:pt x="558" y="19"/>
                      </a:lnTo>
                      <a:lnTo>
                        <a:pt x="559" y="15"/>
                      </a:lnTo>
                      <a:lnTo>
                        <a:pt x="560" y="11"/>
                      </a:lnTo>
                      <a:lnTo>
                        <a:pt x="563" y="8"/>
                      </a:lnTo>
                      <a:lnTo>
                        <a:pt x="566" y="5"/>
                      </a:lnTo>
                      <a:lnTo>
                        <a:pt x="572" y="1"/>
                      </a:lnTo>
                      <a:lnTo>
                        <a:pt x="579" y="0"/>
                      </a:lnTo>
                      <a:lnTo>
                        <a:pt x="600" y="1"/>
                      </a:lnTo>
                      <a:lnTo>
                        <a:pt x="616" y="2"/>
                      </a:lnTo>
                      <a:lnTo>
                        <a:pt x="624" y="3"/>
                      </a:lnTo>
                      <a:lnTo>
                        <a:pt x="630" y="3"/>
                      </a:lnTo>
                      <a:lnTo>
                        <a:pt x="637" y="2"/>
                      </a:lnTo>
                      <a:lnTo>
                        <a:pt x="645" y="0"/>
                      </a:lnTo>
                      <a:lnTo>
                        <a:pt x="650" y="15"/>
                      </a:lnTo>
                      <a:lnTo>
                        <a:pt x="653" y="28"/>
                      </a:lnTo>
                      <a:lnTo>
                        <a:pt x="657" y="39"/>
                      </a:lnTo>
                      <a:lnTo>
                        <a:pt x="658" y="50"/>
                      </a:lnTo>
                      <a:lnTo>
                        <a:pt x="657" y="59"/>
                      </a:lnTo>
                      <a:lnTo>
                        <a:pt x="653" y="70"/>
                      </a:lnTo>
                      <a:lnTo>
                        <a:pt x="649" y="81"/>
                      </a:lnTo>
                      <a:lnTo>
                        <a:pt x="643" y="91"/>
                      </a:lnTo>
                      <a:lnTo>
                        <a:pt x="637" y="101"/>
                      </a:lnTo>
                      <a:lnTo>
                        <a:pt x="630" y="110"/>
                      </a:lnTo>
                      <a:lnTo>
                        <a:pt x="624" y="119"/>
                      </a:lnTo>
                      <a:lnTo>
                        <a:pt x="618" y="124"/>
                      </a:lnTo>
                      <a:lnTo>
                        <a:pt x="628" y="130"/>
                      </a:lnTo>
                      <a:lnTo>
                        <a:pt x="638" y="134"/>
                      </a:lnTo>
                      <a:lnTo>
                        <a:pt x="648" y="137"/>
                      </a:lnTo>
                      <a:lnTo>
                        <a:pt x="657" y="139"/>
                      </a:lnTo>
                      <a:lnTo>
                        <a:pt x="664" y="142"/>
                      </a:lnTo>
                      <a:lnTo>
                        <a:pt x="672" y="145"/>
                      </a:lnTo>
                      <a:lnTo>
                        <a:pt x="679" y="149"/>
                      </a:lnTo>
                      <a:lnTo>
                        <a:pt x="684" y="154"/>
                      </a:lnTo>
                      <a:lnTo>
                        <a:pt x="684" y="180"/>
                      </a:lnTo>
                      <a:lnTo>
                        <a:pt x="665" y="183"/>
                      </a:lnTo>
                      <a:lnTo>
                        <a:pt x="650" y="185"/>
                      </a:lnTo>
                      <a:lnTo>
                        <a:pt x="639" y="185"/>
                      </a:lnTo>
                      <a:lnTo>
                        <a:pt x="629" y="184"/>
                      </a:lnTo>
                      <a:lnTo>
                        <a:pt x="619" y="183"/>
                      </a:lnTo>
                      <a:lnTo>
                        <a:pt x="608" y="181"/>
                      </a:lnTo>
                      <a:lnTo>
                        <a:pt x="595" y="180"/>
                      </a:lnTo>
                      <a:lnTo>
                        <a:pt x="579" y="180"/>
                      </a:lnTo>
                      <a:lnTo>
                        <a:pt x="574" y="180"/>
                      </a:lnTo>
                      <a:lnTo>
                        <a:pt x="571" y="181"/>
                      </a:lnTo>
                      <a:lnTo>
                        <a:pt x="568" y="182"/>
                      </a:lnTo>
                      <a:lnTo>
                        <a:pt x="564" y="184"/>
                      </a:lnTo>
                      <a:lnTo>
                        <a:pt x="557" y="189"/>
                      </a:lnTo>
                      <a:lnTo>
                        <a:pt x="550" y="195"/>
                      </a:lnTo>
                      <a:lnTo>
                        <a:pt x="542" y="200"/>
                      </a:lnTo>
                      <a:lnTo>
                        <a:pt x="534" y="205"/>
                      </a:lnTo>
                      <a:lnTo>
                        <a:pt x="528" y="207"/>
                      </a:lnTo>
                      <a:lnTo>
                        <a:pt x="524" y="209"/>
                      </a:lnTo>
                      <a:lnTo>
                        <a:pt x="518" y="210"/>
                      </a:lnTo>
                      <a:lnTo>
                        <a:pt x="512" y="210"/>
                      </a:lnTo>
                      <a:lnTo>
                        <a:pt x="493" y="209"/>
                      </a:lnTo>
                      <a:lnTo>
                        <a:pt x="478" y="208"/>
                      </a:lnTo>
                      <a:lnTo>
                        <a:pt x="463" y="206"/>
                      </a:lnTo>
                      <a:lnTo>
                        <a:pt x="452" y="204"/>
                      </a:lnTo>
                      <a:lnTo>
                        <a:pt x="441" y="202"/>
                      </a:lnTo>
                      <a:lnTo>
                        <a:pt x="432" y="200"/>
                      </a:lnTo>
                      <a:lnTo>
                        <a:pt x="422" y="198"/>
                      </a:lnTo>
                      <a:lnTo>
                        <a:pt x="412" y="198"/>
                      </a:lnTo>
                      <a:lnTo>
                        <a:pt x="389" y="202"/>
                      </a:lnTo>
                      <a:lnTo>
                        <a:pt x="337" y="211"/>
                      </a:lnTo>
                      <a:lnTo>
                        <a:pt x="283" y="221"/>
                      </a:lnTo>
                      <a:lnTo>
                        <a:pt x="253" y="228"/>
                      </a:lnTo>
                      <a:lnTo>
                        <a:pt x="231" y="230"/>
                      </a:lnTo>
                      <a:lnTo>
                        <a:pt x="209" y="232"/>
                      </a:lnTo>
                      <a:lnTo>
                        <a:pt x="189" y="235"/>
                      </a:lnTo>
                      <a:lnTo>
                        <a:pt x="169" y="238"/>
                      </a:lnTo>
                      <a:lnTo>
                        <a:pt x="150" y="240"/>
                      </a:lnTo>
                      <a:lnTo>
                        <a:pt x="132" y="239"/>
                      </a:lnTo>
                      <a:lnTo>
                        <a:pt x="124" y="238"/>
                      </a:lnTo>
                      <a:lnTo>
                        <a:pt x="115" y="236"/>
                      </a:lnTo>
                      <a:lnTo>
                        <a:pt x="108" y="233"/>
                      </a:lnTo>
                      <a:lnTo>
                        <a:pt x="100" y="228"/>
                      </a:lnTo>
                      <a:lnTo>
                        <a:pt x="100" y="210"/>
                      </a:lnTo>
                      <a:lnTo>
                        <a:pt x="84" y="209"/>
                      </a:lnTo>
                      <a:lnTo>
                        <a:pt x="67" y="208"/>
                      </a:lnTo>
                      <a:lnTo>
                        <a:pt x="53" y="205"/>
                      </a:lnTo>
                      <a:lnTo>
                        <a:pt x="41" y="201"/>
                      </a:lnTo>
                      <a:lnTo>
                        <a:pt x="29" y="196"/>
                      </a:lnTo>
                      <a:lnTo>
                        <a:pt x="18" y="189"/>
                      </a:lnTo>
                      <a:lnTo>
                        <a:pt x="9" y="182"/>
                      </a:lnTo>
                      <a:lnTo>
                        <a:pt x="0" y="173"/>
                      </a:lnTo>
                      <a:lnTo>
                        <a:pt x="28" y="167"/>
                      </a:lnTo>
                      <a:lnTo>
                        <a:pt x="53" y="161"/>
                      </a:lnTo>
                      <a:lnTo>
                        <a:pt x="64" y="159"/>
                      </a:lnTo>
                      <a:lnTo>
                        <a:pt x="76" y="156"/>
                      </a:lnTo>
                      <a:lnTo>
                        <a:pt x="88" y="155"/>
                      </a:lnTo>
                      <a:lnTo>
                        <a:pt x="100" y="154"/>
                      </a:lnTo>
                      <a:lnTo>
                        <a:pt x="121" y="155"/>
                      </a:lnTo>
                      <a:lnTo>
                        <a:pt x="140" y="157"/>
                      </a:lnTo>
                      <a:lnTo>
                        <a:pt x="156" y="160"/>
                      </a:lnTo>
                      <a:lnTo>
                        <a:pt x="171" y="162"/>
                      </a:lnTo>
                      <a:lnTo>
                        <a:pt x="186" y="164"/>
                      </a:lnTo>
                      <a:lnTo>
                        <a:pt x="201" y="165"/>
                      </a:lnTo>
                      <a:lnTo>
                        <a:pt x="209" y="164"/>
                      </a:lnTo>
                      <a:lnTo>
                        <a:pt x="216" y="164"/>
                      </a:lnTo>
                      <a:lnTo>
                        <a:pt x="224" y="162"/>
                      </a:lnTo>
                      <a:lnTo>
                        <a:pt x="233" y="160"/>
                      </a:lnTo>
                      <a:lnTo>
                        <a:pt x="126" y="142"/>
                      </a:lnTo>
                      <a:lnTo>
                        <a:pt x="26" y="136"/>
                      </a:lnTo>
                      <a:lnTo>
                        <a:pt x="34" y="133"/>
                      </a:lnTo>
                      <a:lnTo>
                        <a:pt x="42" y="130"/>
                      </a:lnTo>
                      <a:lnTo>
                        <a:pt x="52" y="128"/>
                      </a:lnTo>
                      <a:lnTo>
                        <a:pt x="62" y="125"/>
                      </a:lnTo>
                      <a:lnTo>
                        <a:pt x="85" y="122"/>
                      </a:lnTo>
                      <a:lnTo>
                        <a:pt x="109" y="117"/>
                      </a:lnTo>
                      <a:lnTo>
                        <a:pt x="133" y="114"/>
                      </a:lnTo>
                      <a:lnTo>
                        <a:pt x="155" y="110"/>
                      </a:lnTo>
                      <a:lnTo>
                        <a:pt x="165" y="108"/>
                      </a:lnTo>
                      <a:lnTo>
                        <a:pt x="174" y="105"/>
                      </a:lnTo>
                      <a:lnTo>
                        <a:pt x="180" y="102"/>
                      </a:lnTo>
                      <a:lnTo>
                        <a:pt x="187" y="99"/>
                      </a:lnTo>
                      <a:lnTo>
                        <a:pt x="180" y="96"/>
                      </a:lnTo>
                      <a:lnTo>
                        <a:pt x="172" y="94"/>
                      </a:lnTo>
                      <a:lnTo>
                        <a:pt x="166" y="93"/>
                      </a:lnTo>
                      <a:lnTo>
                        <a:pt x="158" y="93"/>
                      </a:lnTo>
                      <a:lnTo>
                        <a:pt x="142" y="95"/>
                      </a:lnTo>
                      <a:lnTo>
                        <a:pt x="125" y="98"/>
                      </a:lnTo>
                      <a:lnTo>
                        <a:pt x="107" y="102"/>
                      </a:lnTo>
                      <a:lnTo>
                        <a:pt x="89" y="107"/>
                      </a:lnTo>
                      <a:lnTo>
                        <a:pt x="71" y="110"/>
                      </a:lnTo>
                      <a:lnTo>
                        <a:pt x="54" y="111"/>
                      </a:lnTo>
                      <a:lnTo>
                        <a:pt x="52" y="110"/>
                      </a:lnTo>
                      <a:lnTo>
                        <a:pt x="52" y="106"/>
                      </a:lnTo>
                      <a:lnTo>
                        <a:pt x="53" y="102"/>
                      </a:lnTo>
                      <a:lnTo>
                        <a:pt x="54" y="96"/>
                      </a:lnTo>
                      <a:lnTo>
                        <a:pt x="55" y="90"/>
                      </a:lnTo>
                      <a:lnTo>
                        <a:pt x="55" y="86"/>
                      </a:lnTo>
                      <a:lnTo>
                        <a:pt x="55" y="82"/>
                      </a:lnTo>
                      <a:lnTo>
                        <a:pt x="54" y="81"/>
                      </a:lnTo>
                      <a:lnTo>
                        <a:pt x="55" y="81"/>
                      </a:lnTo>
                      <a:lnTo>
                        <a:pt x="57" y="80"/>
                      </a:lnTo>
                      <a:lnTo>
                        <a:pt x="59" y="78"/>
                      </a:lnTo>
                      <a:lnTo>
                        <a:pt x="60" y="75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105" name="Freeform 427">
                  <a:extLst>
                    <a:ext uri="{FF2B5EF4-FFF2-40B4-BE49-F238E27FC236}">
                      <a16:creationId xmlns="" xmlns:a16="http://schemas.microsoft.com/office/drawing/2014/main" id="{94773B46-F913-4F0B-AC6D-90858122C7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45" y="1643"/>
                  <a:ext cx="108" cy="93"/>
                </a:xfrm>
                <a:custGeom>
                  <a:avLst/>
                  <a:gdLst>
                    <a:gd name="T0" fmla="*/ 1 w 332"/>
                    <a:gd name="T1" fmla="*/ 0 h 287"/>
                    <a:gd name="T2" fmla="*/ 1 w 332"/>
                    <a:gd name="T3" fmla="*/ 0 h 287"/>
                    <a:gd name="T4" fmla="*/ 1 w 332"/>
                    <a:gd name="T5" fmla="*/ 0 h 287"/>
                    <a:gd name="T6" fmla="*/ 1 w 332"/>
                    <a:gd name="T7" fmla="*/ 0 h 287"/>
                    <a:gd name="T8" fmla="*/ 1 w 332"/>
                    <a:gd name="T9" fmla="*/ 0 h 287"/>
                    <a:gd name="T10" fmla="*/ 1 w 332"/>
                    <a:gd name="T11" fmla="*/ 0 h 287"/>
                    <a:gd name="T12" fmla="*/ 1 w 332"/>
                    <a:gd name="T13" fmla="*/ 0 h 287"/>
                    <a:gd name="T14" fmla="*/ 1 w 332"/>
                    <a:gd name="T15" fmla="*/ 0 h 287"/>
                    <a:gd name="T16" fmla="*/ 1 w 332"/>
                    <a:gd name="T17" fmla="*/ 0 h 287"/>
                    <a:gd name="T18" fmla="*/ 1 w 332"/>
                    <a:gd name="T19" fmla="*/ 0 h 287"/>
                    <a:gd name="T20" fmla="*/ 1 w 332"/>
                    <a:gd name="T21" fmla="*/ 0 h 287"/>
                    <a:gd name="T22" fmla="*/ 1 w 332"/>
                    <a:gd name="T23" fmla="*/ 0 h 287"/>
                    <a:gd name="T24" fmla="*/ 1 w 332"/>
                    <a:gd name="T25" fmla="*/ 0 h 287"/>
                    <a:gd name="T26" fmla="*/ 1 w 332"/>
                    <a:gd name="T27" fmla="*/ 0 h 287"/>
                    <a:gd name="T28" fmla="*/ 1 w 332"/>
                    <a:gd name="T29" fmla="*/ 0 h 287"/>
                    <a:gd name="T30" fmla="*/ 1 w 332"/>
                    <a:gd name="T31" fmla="*/ 0 h 287"/>
                    <a:gd name="T32" fmla="*/ 1 w 332"/>
                    <a:gd name="T33" fmla="*/ 0 h 287"/>
                    <a:gd name="T34" fmla="*/ 1 w 332"/>
                    <a:gd name="T35" fmla="*/ 0 h 287"/>
                    <a:gd name="T36" fmla="*/ 1 w 332"/>
                    <a:gd name="T37" fmla="*/ 0 h 287"/>
                    <a:gd name="T38" fmla="*/ 1 w 332"/>
                    <a:gd name="T39" fmla="*/ 1 h 287"/>
                    <a:gd name="T40" fmla="*/ 1 w 332"/>
                    <a:gd name="T41" fmla="*/ 1 h 287"/>
                    <a:gd name="T42" fmla="*/ 1 w 332"/>
                    <a:gd name="T43" fmla="*/ 1 h 287"/>
                    <a:gd name="T44" fmla="*/ 1 w 332"/>
                    <a:gd name="T45" fmla="*/ 1 h 287"/>
                    <a:gd name="T46" fmla="*/ 1 w 332"/>
                    <a:gd name="T47" fmla="*/ 1 h 287"/>
                    <a:gd name="T48" fmla="*/ 1 w 332"/>
                    <a:gd name="T49" fmla="*/ 1 h 287"/>
                    <a:gd name="T50" fmla="*/ 1 w 332"/>
                    <a:gd name="T51" fmla="*/ 1 h 287"/>
                    <a:gd name="T52" fmla="*/ 1 w 332"/>
                    <a:gd name="T53" fmla="*/ 1 h 287"/>
                    <a:gd name="T54" fmla="*/ 1 w 332"/>
                    <a:gd name="T55" fmla="*/ 1 h 287"/>
                    <a:gd name="T56" fmla="*/ 1 w 332"/>
                    <a:gd name="T57" fmla="*/ 1 h 287"/>
                    <a:gd name="T58" fmla="*/ 1 w 332"/>
                    <a:gd name="T59" fmla="*/ 1 h 287"/>
                    <a:gd name="T60" fmla="*/ 1 w 332"/>
                    <a:gd name="T61" fmla="*/ 1 h 287"/>
                    <a:gd name="T62" fmla="*/ 1 w 332"/>
                    <a:gd name="T63" fmla="*/ 1 h 287"/>
                    <a:gd name="T64" fmla="*/ 1 w 332"/>
                    <a:gd name="T65" fmla="*/ 1 h 287"/>
                    <a:gd name="T66" fmla="*/ 1 w 332"/>
                    <a:gd name="T67" fmla="*/ 1 h 287"/>
                    <a:gd name="T68" fmla="*/ 1 w 332"/>
                    <a:gd name="T69" fmla="*/ 1 h 287"/>
                    <a:gd name="T70" fmla="*/ 0 w 332"/>
                    <a:gd name="T71" fmla="*/ 1 h 287"/>
                    <a:gd name="T72" fmla="*/ 0 w 332"/>
                    <a:gd name="T73" fmla="*/ 1 h 287"/>
                    <a:gd name="T74" fmla="*/ 0 w 332"/>
                    <a:gd name="T75" fmla="*/ 1 h 287"/>
                    <a:gd name="T76" fmla="*/ 0 w 332"/>
                    <a:gd name="T77" fmla="*/ 1 h 287"/>
                    <a:gd name="T78" fmla="*/ 0 w 332"/>
                    <a:gd name="T79" fmla="*/ 1 h 287"/>
                    <a:gd name="T80" fmla="*/ 0 w 332"/>
                    <a:gd name="T81" fmla="*/ 1 h 287"/>
                    <a:gd name="T82" fmla="*/ 0 w 332"/>
                    <a:gd name="T83" fmla="*/ 1 h 287"/>
                    <a:gd name="T84" fmla="*/ 0 w 332"/>
                    <a:gd name="T85" fmla="*/ 1 h 287"/>
                    <a:gd name="T86" fmla="*/ 0 w 332"/>
                    <a:gd name="T87" fmla="*/ 1 h 287"/>
                    <a:gd name="T88" fmla="*/ 0 w 332"/>
                    <a:gd name="T89" fmla="*/ 1 h 287"/>
                    <a:gd name="T90" fmla="*/ 0 w 332"/>
                    <a:gd name="T91" fmla="*/ 1 h 287"/>
                    <a:gd name="T92" fmla="*/ 0 w 332"/>
                    <a:gd name="T93" fmla="*/ 1 h 287"/>
                    <a:gd name="T94" fmla="*/ 0 w 332"/>
                    <a:gd name="T95" fmla="*/ 1 h 287"/>
                    <a:gd name="T96" fmla="*/ 0 w 332"/>
                    <a:gd name="T97" fmla="*/ 0 h 287"/>
                    <a:gd name="T98" fmla="*/ 1 w 332"/>
                    <a:gd name="T99" fmla="*/ 0 h 287"/>
                    <a:gd name="T100" fmla="*/ 1 w 332"/>
                    <a:gd name="T101" fmla="*/ 0 h 287"/>
                    <a:gd name="T102" fmla="*/ 1 w 332"/>
                    <a:gd name="T103" fmla="*/ 0 h 287"/>
                    <a:gd name="T104" fmla="*/ 1 w 332"/>
                    <a:gd name="T105" fmla="*/ 0 h 287"/>
                    <a:gd name="T106" fmla="*/ 1 w 332"/>
                    <a:gd name="T107" fmla="*/ 0 h 287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332"/>
                    <a:gd name="T163" fmla="*/ 0 h 287"/>
                    <a:gd name="T164" fmla="*/ 332 w 332"/>
                    <a:gd name="T165" fmla="*/ 287 h 287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332" h="287">
                      <a:moveTo>
                        <a:pt x="173" y="40"/>
                      </a:moveTo>
                      <a:lnTo>
                        <a:pt x="180" y="38"/>
                      </a:lnTo>
                      <a:lnTo>
                        <a:pt x="190" y="32"/>
                      </a:lnTo>
                      <a:lnTo>
                        <a:pt x="202" y="24"/>
                      </a:lnTo>
                      <a:lnTo>
                        <a:pt x="215" y="15"/>
                      </a:lnTo>
                      <a:lnTo>
                        <a:pt x="226" y="7"/>
                      </a:lnTo>
                      <a:lnTo>
                        <a:pt x="237" y="2"/>
                      </a:lnTo>
                      <a:lnTo>
                        <a:pt x="240" y="1"/>
                      </a:lnTo>
                      <a:lnTo>
                        <a:pt x="243" y="0"/>
                      </a:lnTo>
                      <a:lnTo>
                        <a:pt x="246" y="1"/>
                      </a:lnTo>
                      <a:lnTo>
                        <a:pt x="246" y="4"/>
                      </a:lnTo>
                      <a:lnTo>
                        <a:pt x="245" y="12"/>
                      </a:lnTo>
                      <a:lnTo>
                        <a:pt x="240" y="22"/>
                      </a:lnTo>
                      <a:lnTo>
                        <a:pt x="234" y="33"/>
                      </a:lnTo>
                      <a:lnTo>
                        <a:pt x="226" y="44"/>
                      </a:lnTo>
                      <a:lnTo>
                        <a:pt x="217" y="55"/>
                      </a:lnTo>
                      <a:lnTo>
                        <a:pt x="207" y="64"/>
                      </a:lnTo>
                      <a:lnTo>
                        <a:pt x="202" y="67"/>
                      </a:lnTo>
                      <a:lnTo>
                        <a:pt x="196" y="69"/>
                      </a:lnTo>
                      <a:lnTo>
                        <a:pt x="191" y="71"/>
                      </a:lnTo>
                      <a:lnTo>
                        <a:pt x="186" y="71"/>
                      </a:lnTo>
                      <a:lnTo>
                        <a:pt x="191" y="73"/>
                      </a:lnTo>
                      <a:lnTo>
                        <a:pt x="196" y="74"/>
                      </a:lnTo>
                      <a:lnTo>
                        <a:pt x="201" y="74"/>
                      </a:lnTo>
                      <a:lnTo>
                        <a:pt x="206" y="74"/>
                      </a:lnTo>
                      <a:lnTo>
                        <a:pt x="216" y="72"/>
                      </a:lnTo>
                      <a:lnTo>
                        <a:pt x="226" y="71"/>
                      </a:lnTo>
                      <a:lnTo>
                        <a:pt x="224" y="77"/>
                      </a:lnTo>
                      <a:lnTo>
                        <a:pt x="219" y="84"/>
                      </a:lnTo>
                      <a:lnTo>
                        <a:pt x="217" y="88"/>
                      </a:lnTo>
                      <a:lnTo>
                        <a:pt x="215" y="93"/>
                      </a:lnTo>
                      <a:lnTo>
                        <a:pt x="214" y="97"/>
                      </a:lnTo>
                      <a:lnTo>
                        <a:pt x="213" y="102"/>
                      </a:lnTo>
                      <a:lnTo>
                        <a:pt x="217" y="105"/>
                      </a:lnTo>
                      <a:lnTo>
                        <a:pt x="230" y="109"/>
                      </a:lnTo>
                      <a:lnTo>
                        <a:pt x="249" y="113"/>
                      </a:lnTo>
                      <a:lnTo>
                        <a:pt x="269" y="117"/>
                      </a:lnTo>
                      <a:lnTo>
                        <a:pt x="308" y="124"/>
                      </a:lnTo>
                      <a:lnTo>
                        <a:pt x="326" y="127"/>
                      </a:lnTo>
                      <a:lnTo>
                        <a:pt x="322" y="131"/>
                      </a:lnTo>
                      <a:lnTo>
                        <a:pt x="319" y="136"/>
                      </a:lnTo>
                      <a:lnTo>
                        <a:pt x="315" y="140"/>
                      </a:lnTo>
                      <a:lnTo>
                        <a:pt x="310" y="144"/>
                      </a:lnTo>
                      <a:lnTo>
                        <a:pt x="303" y="149"/>
                      </a:lnTo>
                      <a:lnTo>
                        <a:pt x="299" y="151"/>
                      </a:lnTo>
                      <a:lnTo>
                        <a:pt x="299" y="154"/>
                      </a:lnTo>
                      <a:lnTo>
                        <a:pt x="301" y="157"/>
                      </a:lnTo>
                      <a:lnTo>
                        <a:pt x="302" y="160"/>
                      </a:lnTo>
                      <a:lnTo>
                        <a:pt x="304" y="164"/>
                      </a:lnTo>
                      <a:lnTo>
                        <a:pt x="308" y="168"/>
                      </a:lnTo>
                      <a:lnTo>
                        <a:pt x="314" y="173"/>
                      </a:lnTo>
                      <a:lnTo>
                        <a:pt x="319" y="176"/>
                      </a:lnTo>
                      <a:lnTo>
                        <a:pt x="325" y="180"/>
                      </a:lnTo>
                      <a:lnTo>
                        <a:pt x="329" y="184"/>
                      </a:lnTo>
                      <a:lnTo>
                        <a:pt x="332" y="188"/>
                      </a:lnTo>
                      <a:lnTo>
                        <a:pt x="290" y="211"/>
                      </a:lnTo>
                      <a:lnTo>
                        <a:pt x="257" y="231"/>
                      </a:lnTo>
                      <a:lnTo>
                        <a:pt x="241" y="241"/>
                      </a:lnTo>
                      <a:lnTo>
                        <a:pt x="225" y="253"/>
                      </a:lnTo>
                      <a:lnTo>
                        <a:pt x="207" y="268"/>
                      </a:lnTo>
                      <a:lnTo>
                        <a:pt x="186" y="287"/>
                      </a:lnTo>
                      <a:lnTo>
                        <a:pt x="173" y="244"/>
                      </a:lnTo>
                      <a:lnTo>
                        <a:pt x="178" y="244"/>
                      </a:lnTo>
                      <a:lnTo>
                        <a:pt x="182" y="243"/>
                      </a:lnTo>
                      <a:lnTo>
                        <a:pt x="185" y="242"/>
                      </a:lnTo>
                      <a:lnTo>
                        <a:pt x="189" y="240"/>
                      </a:lnTo>
                      <a:lnTo>
                        <a:pt x="194" y="236"/>
                      </a:lnTo>
                      <a:lnTo>
                        <a:pt x="200" y="232"/>
                      </a:lnTo>
                      <a:lnTo>
                        <a:pt x="174" y="232"/>
                      </a:lnTo>
                      <a:lnTo>
                        <a:pt x="149" y="232"/>
                      </a:lnTo>
                      <a:lnTo>
                        <a:pt x="125" y="232"/>
                      </a:lnTo>
                      <a:lnTo>
                        <a:pt x="101" y="232"/>
                      </a:lnTo>
                      <a:lnTo>
                        <a:pt x="79" y="232"/>
                      </a:lnTo>
                      <a:lnTo>
                        <a:pt x="58" y="232"/>
                      </a:lnTo>
                      <a:lnTo>
                        <a:pt x="41" y="232"/>
                      </a:lnTo>
                      <a:lnTo>
                        <a:pt x="27" y="232"/>
                      </a:lnTo>
                      <a:lnTo>
                        <a:pt x="19" y="231"/>
                      </a:lnTo>
                      <a:lnTo>
                        <a:pt x="11" y="227"/>
                      </a:lnTo>
                      <a:lnTo>
                        <a:pt x="6" y="225"/>
                      </a:lnTo>
                      <a:lnTo>
                        <a:pt x="3" y="222"/>
                      </a:lnTo>
                      <a:lnTo>
                        <a:pt x="1" y="218"/>
                      </a:lnTo>
                      <a:lnTo>
                        <a:pt x="0" y="213"/>
                      </a:lnTo>
                      <a:lnTo>
                        <a:pt x="1" y="209"/>
                      </a:lnTo>
                      <a:lnTo>
                        <a:pt x="4" y="205"/>
                      </a:lnTo>
                      <a:lnTo>
                        <a:pt x="7" y="201"/>
                      </a:lnTo>
                      <a:lnTo>
                        <a:pt x="13" y="197"/>
                      </a:lnTo>
                      <a:lnTo>
                        <a:pt x="26" y="188"/>
                      </a:lnTo>
                      <a:lnTo>
                        <a:pt x="41" y="179"/>
                      </a:lnTo>
                      <a:lnTo>
                        <a:pt x="58" y="170"/>
                      </a:lnTo>
                      <a:lnTo>
                        <a:pt x="73" y="162"/>
                      </a:lnTo>
                      <a:lnTo>
                        <a:pt x="80" y="156"/>
                      </a:lnTo>
                      <a:lnTo>
                        <a:pt x="85" y="152"/>
                      </a:lnTo>
                      <a:lnTo>
                        <a:pt x="90" y="149"/>
                      </a:lnTo>
                      <a:lnTo>
                        <a:pt x="93" y="145"/>
                      </a:lnTo>
                      <a:lnTo>
                        <a:pt x="100" y="138"/>
                      </a:lnTo>
                      <a:lnTo>
                        <a:pt x="106" y="130"/>
                      </a:lnTo>
                      <a:lnTo>
                        <a:pt x="112" y="122"/>
                      </a:lnTo>
                      <a:lnTo>
                        <a:pt x="116" y="114"/>
                      </a:lnTo>
                      <a:lnTo>
                        <a:pt x="124" y="96"/>
                      </a:lnTo>
                      <a:lnTo>
                        <a:pt x="130" y="79"/>
                      </a:lnTo>
                      <a:lnTo>
                        <a:pt x="134" y="71"/>
                      </a:lnTo>
                      <a:lnTo>
                        <a:pt x="138" y="64"/>
                      </a:lnTo>
                      <a:lnTo>
                        <a:pt x="141" y="58"/>
                      </a:lnTo>
                      <a:lnTo>
                        <a:pt x="147" y="52"/>
                      </a:lnTo>
                      <a:lnTo>
                        <a:pt x="151" y="47"/>
                      </a:lnTo>
                      <a:lnTo>
                        <a:pt x="158" y="43"/>
                      </a:lnTo>
                      <a:lnTo>
                        <a:pt x="164" y="41"/>
                      </a:lnTo>
                      <a:lnTo>
                        <a:pt x="173" y="40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106" name="Freeform 428">
                  <a:extLst>
                    <a:ext uri="{FF2B5EF4-FFF2-40B4-BE49-F238E27FC236}">
                      <a16:creationId xmlns="" xmlns:a16="http://schemas.microsoft.com/office/drawing/2014/main" id="{16E910C3-297E-4ACA-9592-9FF093FAD9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02" y="1190"/>
                  <a:ext cx="111" cy="27"/>
                </a:xfrm>
                <a:custGeom>
                  <a:avLst/>
                  <a:gdLst>
                    <a:gd name="T0" fmla="*/ 0 w 345"/>
                    <a:gd name="T1" fmla="*/ 0 h 86"/>
                    <a:gd name="T2" fmla="*/ 0 w 345"/>
                    <a:gd name="T3" fmla="*/ 0 h 86"/>
                    <a:gd name="T4" fmla="*/ 1 w 345"/>
                    <a:gd name="T5" fmla="*/ 0 h 86"/>
                    <a:gd name="T6" fmla="*/ 1 w 345"/>
                    <a:gd name="T7" fmla="*/ 0 h 86"/>
                    <a:gd name="T8" fmla="*/ 1 w 345"/>
                    <a:gd name="T9" fmla="*/ 0 h 86"/>
                    <a:gd name="T10" fmla="*/ 1 w 345"/>
                    <a:gd name="T11" fmla="*/ 0 h 86"/>
                    <a:gd name="T12" fmla="*/ 1 w 345"/>
                    <a:gd name="T13" fmla="*/ 0 h 86"/>
                    <a:gd name="T14" fmla="*/ 1 w 345"/>
                    <a:gd name="T15" fmla="*/ 0 h 86"/>
                    <a:gd name="T16" fmla="*/ 1 w 345"/>
                    <a:gd name="T17" fmla="*/ 0 h 86"/>
                    <a:gd name="T18" fmla="*/ 1 w 345"/>
                    <a:gd name="T19" fmla="*/ 0 h 86"/>
                    <a:gd name="T20" fmla="*/ 1 w 345"/>
                    <a:gd name="T21" fmla="*/ 0 h 86"/>
                    <a:gd name="T22" fmla="*/ 1 w 345"/>
                    <a:gd name="T23" fmla="*/ 0 h 86"/>
                    <a:gd name="T24" fmla="*/ 1 w 345"/>
                    <a:gd name="T25" fmla="*/ 0 h 86"/>
                    <a:gd name="T26" fmla="*/ 1 w 345"/>
                    <a:gd name="T27" fmla="*/ 0 h 86"/>
                    <a:gd name="T28" fmla="*/ 1 w 345"/>
                    <a:gd name="T29" fmla="*/ 0 h 86"/>
                    <a:gd name="T30" fmla="*/ 1 w 345"/>
                    <a:gd name="T31" fmla="*/ 0 h 86"/>
                    <a:gd name="T32" fmla="*/ 1 w 345"/>
                    <a:gd name="T33" fmla="*/ 0 h 86"/>
                    <a:gd name="T34" fmla="*/ 1 w 345"/>
                    <a:gd name="T35" fmla="*/ 0 h 86"/>
                    <a:gd name="T36" fmla="*/ 1 w 345"/>
                    <a:gd name="T37" fmla="*/ 0 h 86"/>
                    <a:gd name="T38" fmla="*/ 1 w 345"/>
                    <a:gd name="T39" fmla="*/ 0 h 86"/>
                    <a:gd name="T40" fmla="*/ 1 w 345"/>
                    <a:gd name="T41" fmla="*/ 0 h 86"/>
                    <a:gd name="T42" fmla="*/ 1 w 345"/>
                    <a:gd name="T43" fmla="*/ 0 h 86"/>
                    <a:gd name="T44" fmla="*/ 1 w 345"/>
                    <a:gd name="T45" fmla="*/ 0 h 86"/>
                    <a:gd name="T46" fmla="*/ 1 w 345"/>
                    <a:gd name="T47" fmla="*/ 0 h 86"/>
                    <a:gd name="T48" fmla="*/ 1 w 345"/>
                    <a:gd name="T49" fmla="*/ 0 h 86"/>
                    <a:gd name="T50" fmla="*/ 1 w 345"/>
                    <a:gd name="T51" fmla="*/ 0 h 86"/>
                    <a:gd name="T52" fmla="*/ 1 w 345"/>
                    <a:gd name="T53" fmla="*/ 0 h 86"/>
                    <a:gd name="T54" fmla="*/ 1 w 345"/>
                    <a:gd name="T55" fmla="*/ 0 h 86"/>
                    <a:gd name="T56" fmla="*/ 0 w 345"/>
                    <a:gd name="T57" fmla="*/ 0 h 86"/>
                    <a:gd name="T58" fmla="*/ 0 w 345"/>
                    <a:gd name="T59" fmla="*/ 0 h 86"/>
                    <a:gd name="T60" fmla="*/ 0 w 345"/>
                    <a:gd name="T61" fmla="*/ 0 h 86"/>
                    <a:gd name="T62" fmla="*/ 0 w 345"/>
                    <a:gd name="T63" fmla="*/ 0 h 86"/>
                    <a:gd name="T64" fmla="*/ 0 w 345"/>
                    <a:gd name="T65" fmla="*/ 0 h 86"/>
                    <a:gd name="T66" fmla="*/ 0 w 345"/>
                    <a:gd name="T67" fmla="*/ 0 h 86"/>
                    <a:gd name="T68" fmla="*/ 0 w 345"/>
                    <a:gd name="T69" fmla="*/ 0 h 86"/>
                    <a:gd name="T70" fmla="*/ 0 w 345"/>
                    <a:gd name="T71" fmla="*/ 0 h 86"/>
                    <a:gd name="T72" fmla="*/ 0 w 345"/>
                    <a:gd name="T73" fmla="*/ 0 h 86"/>
                    <a:gd name="T74" fmla="*/ 0 w 345"/>
                    <a:gd name="T75" fmla="*/ 0 h 8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345"/>
                    <a:gd name="T115" fmla="*/ 0 h 86"/>
                    <a:gd name="T116" fmla="*/ 345 w 345"/>
                    <a:gd name="T117" fmla="*/ 86 h 86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345" h="86">
                      <a:moveTo>
                        <a:pt x="106" y="86"/>
                      </a:moveTo>
                      <a:lnTo>
                        <a:pt x="119" y="81"/>
                      </a:lnTo>
                      <a:lnTo>
                        <a:pt x="133" y="76"/>
                      </a:lnTo>
                      <a:lnTo>
                        <a:pt x="148" y="72"/>
                      </a:lnTo>
                      <a:lnTo>
                        <a:pt x="164" y="69"/>
                      </a:lnTo>
                      <a:lnTo>
                        <a:pt x="197" y="63"/>
                      </a:lnTo>
                      <a:lnTo>
                        <a:pt x="231" y="57"/>
                      </a:lnTo>
                      <a:lnTo>
                        <a:pt x="247" y="53"/>
                      </a:lnTo>
                      <a:lnTo>
                        <a:pt x="264" y="50"/>
                      </a:lnTo>
                      <a:lnTo>
                        <a:pt x="279" y="46"/>
                      </a:lnTo>
                      <a:lnTo>
                        <a:pt x="294" y="40"/>
                      </a:lnTo>
                      <a:lnTo>
                        <a:pt x="309" y="35"/>
                      </a:lnTo>
                      <a:lnTo>
                        <a:pt x="322" y="28"/>
                      </a:lnTo>
                      <a:lnTo>
                        <a:pt x="334" y="21"/>
                      </a:lnTo>
                      <a:lnTo>
                        <a:pt x="345" y="13"/>
                      </a:lnTo>
                      <a:lnTo>
                        <a:pt x="335" y="12"/>
                      </a:lnTo>
                      <a:lnTo>
                        <a:pt x="326" y="11"/>
                      </a:lnTo>
                      <a:lnTo>
                        <a:pt x="317" y="9"/>
                      </a:lnTo>
                      <a:lnTo>
                        <a:pt x="309" y="6"/>
                      </a:lnTo>
                      <a:lnTo>
                        <a:pt x="300" y="4"/>
                      </a:lnTo>
                      <a:lnTo>
                        <a:pt x="291" y="2"/>
                      </a:lnTo>
                      <a:lnTo>
                        <a:pt x="281" y="1"/>
                      </a:lnTo>
                      <a:lnTo>
                        <a:pt x="272" y="0"/>
                      </a:lnTo>
                      <a:lnTo>
                        <a:pt x="259" y="1"/>
                      </a:lnTo>
                      <a:lnTo>
                        <a:pt x="245" y="3"/>
                      </a:lnTo>
                      <a:lnTo>
                        <a:pt x="227" y="5"/>
                      </a:lnTo>
                      <a:lnTo>
                        <a:pt x="209" y="9"/>
                      </a:lnTo>
                      <a:lnTo>
                        <a:pt x="168" y="18"/>
                      </a:lnTo>
                      <a:lnTo>
                        <a:pt x="126" y="29"/>
                      </a:lnTo>
                      <a:lnTo>
                        <a:pt x="104" y="36"/>
                      </a:lnTo>
                      <a:lnTo>
                        <a:pt x="85" y="42"/>
                      </a:lnTo>
                      <a:lnTo>
                        <a:pt x="66" y="50"/>
                      </a:lnTo>
                      <a:lnTo>
                        <a:pt x="47" y="58"/>
                      </a:lnTo>
                      <a:lnTo>
                        <a:pt x="32" y="65"/>
                      </a:lnTo>
                      <a:lnTo>
                        <a:pt x="19" y="72"/>
                      </a:lnTo>
                      <a:lnTo>
                        <a:pt x="8" y="79"/>
                      </a:lnTo>
                      <a:lnTo>
                        <a:pt x="0" y="86"/>
                      </a:lnTo>
                      <a:lnTo>
                        <a:pt x="106" y="86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107" name="Freeform 429">
                  <a:extLst>
                    <a:ext uri="{FF2B5EF4-FFF2-40B4-BE49-F238E27FC236}">
                      <a16:creationId xmlns="" xmlns:a16="http://schemas.microsoft.com/office/drawing/2014/main" id="{7C70EFB8-9718-4C43-AE48-77104730FA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58" y="1199"/>
                  <a:ext cx="149" cy="43"/>
                </a:xfrm>
                <a:custGeom>
                  <a:avLst/>
                  <a:gdLst>
                    <a:gd name="T0" fmla="*/ 0 w 464"/>
                    <a:gd name="T1" fmla="*/ 0 h 130"/>
                    <a:gd name="T2" fmla="*/ 0 w 464"/>
                    <a:gd name="T3" fmla="*/ 0 h 130"/>
                    <a:gd name="T4" fmla="*/ 0 w 464"/>
                    <a:gd name="T5" fmla="*/ 0 h 130"/>
                    <a:gd name="T6" fmla="*/ 0 w 464"/>
                    <a:gd name="T7" fmla="*/ 0 h 130"/>
                    <a:gd name="T8" fmla="*/ 0 w 464"/>
                    <a:gd name="T9" fmla="*/ 0 h 130"/>
                    <a:gd name="T10" fmla="*/ 0 w 464"/>
                    <a:gd name="T11" fmla="*/ 0 h 130"/>
                    <a:gd name="T12" fmla="*/ 0 w 464"/>
                    <a:gd name="T13" fmla="*/ 0 h 130"/>
                    <a:gd name="T14" fmla="*/ 0 w 464"/>
                    <a:gd name="T15" fmla="*/ 1 h 130"/>
                    <a:gd name="T16" fmla="*/ 0 w 464"/>
                    <a:gd name="T17" fmla="*/ 1 h 130"/>
                    <a:gd name="T18" fmla="*/ 0 w 464"/>
                    <a:gd name="T19" fmla="*/ 1 h 130"/>
                    <a:gd name="T20" fmla="*/ 0 w 464"/>
                    <a:gd name="T21" fmla="*/ 1 h 130"/>
                    <a:gd name="T22" fmla="*/ 1 w 464"/>
                    <a:gd name="T23" fmla="*/ 0 h 130"/>
                    <a:gd name="T24" fmla="*/ 1 w 464"/>
                    <a:gd name="T25" fmla="*/ 0 h 130"/>
                    <a:gd name="T26" fmla="*/ 1 w 464"/>
                    <a:gd name="T27" fmla="*/ 0 h 130"/>
                    <a:gd name="T28" fmla="*/ 1 w 464"/>
                    <a:gd name="T29" fmla="*/ 0 h 130"/>
                    <a:gd name="T30" fmla="*/ 1 w 464"/>
                    <a:gd name="T31" fmla="*/ 0 h 130"/>
                    <a:gd name="T32" fmla="*/ 1 w 464"/>
                    <a:gd name="T33" fmla="*/ 0 h 130"/>
                    <a:gd name="T34" fmla="*/ 1 w 464"/>
                    <a:gd name="T35" fmla="*/ 0 h 130"/>
                    <a:gd name="T36" fmla="*/ 1 w 464"/>
                    <a:gd name="T37" fmla="*/ 0 h 130"/>
                    <a:gd name="T38" fmla="*/ 1 w 464"/>
                    <a:gd name="T39" fmla="*/ 0 h 130"/>
                    <a:gd name="T40" fmla="*/ 2 w 464"/>
                    <a:gd name="T41" fmla="*/ 0 h 130"/>
                    <a:gd name="T42" fmla="*/ 2 w 464"/>
                    <a:gd name="T43" fmla="*/ 0 h 130"/>
                    <a:gd name="T44" fmla="*/ 1 w 464"/>
                    <a:gd name="T45" fmla="*/ 0 h 130"/>
                    <a:gd name="T46" fmla="*/ 1 w 464"/>
                    <a:gd name="T47" fmla="*/ 0 h 130"/>
                    <a:gd name="T48" fmla="*/ 1 w 464"/>
                    <a:gd name="T49" fmla="*/ 0 h 130"/>
                    <a:gd name="T50" fmla="*/ 1 w 464"/>
                    <a:gd name="T51" fmla="*/ 0 h 130"/>
                    <a:gd name="T52" fmla="*/ 1 w 464"/>
                    <a:gd name="T53" fmla="*/ 0 h 130"/>
                    <a:gd name="T54" fmla="*/ 1 w 464"/>
                    <a:gd name="T55" fmla="*/ 0 h 130"/>
                    <a:gd name="T56" fmla="*/ 1 w 464"/>
                    <a:gd name="T57" fmla="*/ 0 h 130"/>
                    <a:gd name="T58" fmla="*/ 1 w 464"/>
                    <a:gd name="T59" fmla="*/ 0 h 130"/>
                    <a:gd name="T60" fmla="*/ 1 w 464"/>
                    <a:gd name="T61" fmla="*/ 0 h 130"/>
                    <a:gd name="T62" fmla="*/ 1 w 464"/>
                    <a:gd name="T63" fmla="*/ 0 h 130"/>
                    <a:gd name="T64" fmla="*/ 1 w 464"/>
                    <a:gd name="T65" fmla="*/ 0 h 130"/>
                    <a:gd name="T66" fmla="*/ 1 w 464"/>
                    <a:gd name="T67" fmla="*/ 0 h 130"/>
                    <a:gd name="T68" fmla="*/ 1 w 464"/>
                    <a:gd name="T69" fmla="*/ 0 h 130"/>
                    <a:gd name="T70" fmla="*/ 1 w 464"/>
                    <a:gd name="T71" fmla="*/ 0 h 130"/>
                    <a:gd name="T72" fmla="*/ 1 w 464"/>
                    <a:gd name="T73" fmla="*/ 0 h 130"/>
                    <a:gd name="T74" fmla="*/ 1 w 464"/>
                    <a:gd name="T75" fmla="*/ 0 h 130"/>
                    <a:gd name="T76" fmla="*/ 1 w 464"/>
                    <a:gd name="T77" fmla="*/ 0 h 130"/>
                    <a:gd name="T78" fmla="*/ 1 w 464"/>
                    <a:gd name="T79" fmla="*/ 0 h 130"/>
                    <a:gd name="T80" fmla="*/ 0 w 464"/>
                    <a:gd name="T81" fmla="*/ 0 h 130"/>
                    <a:gd name="T82" fmla="*/ 0 w 464"/>
                    <a:gd name="T83" fmla="*/ 0 h 130"/>
                    <a:gd name="T84" fmla="*/ 0 w 464"/>
                    <a:gd name="T85" fmla="*/ 0 h 130"/>
                    <a:gd name="T86" fmla="*/ 0 w 464"/>
                    <a:gd name="T87" fmla="*/ 0 h 130"/>
                    <a:gd name="T88" fmla="*/ 0 w 464"/>
                    <a:gd name="T89" fmla="*/ 0 h 130"/>
                    <a:gd name="T90" fmla="*/ 0 w 464"/>
                    <a:gd name="T91" fmla="*/ 0 h 130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464"/>
                    <a:gd name="T139" fmla="*/ 0 h 130"/>
                    <a:gd name="T140" fmla="*/ 464 w 464"/>
                    <a:gd name="T141" fmla="*/ 130 h 130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464" h="130">
                      <a:moveTo>
                        <a:pt x="0" y="86"/>
                      </a:moveTo>
                      <a:lnTo>
                        <a:pt x="19" y="86"/>
                      </a:lnTo>
                      <a:lnTo>
                        <a:pt x="48" y="83"/>
                      </a:lnTo>
                      <a:lnTo>
                        <a:pt x="77" y="81"/>
                      </a:lnTo>
                      <a:lnTo>
                        <a:pt x="106" y="80"/>
                      </a:lnTo>
                      <a:lnTo>
                        <a:pt x="103" y="81"/>
                      </a:lnTo>
                      <a:lnTo>
                        <a:pt x="97" y="84"/>
                      </a:lnTo>
                      <a:lnTo>
                        <a:pt x="92" y="89"/>
                      </a:lnTo>
                      <a:lnTo>
                        <a:pt x="86" y="94"/>
                      </a:lnTo>
                      <a:lnTo>
                        <a:pt x="81" y="100"/>
                      </a:lnTo>
                      <a:lnTo>
                        <a:pt x="76" y="106"/>
                      </a:lnTo>
                      <a:lnTo>
                        <a:pt x="73" y="112"/>
                      </a:lnTo>
                      <a:lnTo>
                        <a:pt x="72" y="117"/>
                      </a:lnTo>
                      <a:lnTo>
                        <a:pt x="73" y="119"/>
                      </a:lnTo>
                      <a:lnTo>
                        <a:pt x="75" y="121"/>
                      </a:lnTo>
                      <a:lnTo>
                        <a:pt x="79" y="124"/>
                      </a:lnTo>
                      <a:lnTo>
                        <a:pt x="83" y="126"/>
                      </a:lnTo>
                      <a:lnTo>
                        <a:pt x="92" y="129"/>
                      </a:lnTo>
                      <a:lnTo>
                        <a:pt x="99" y="130"/>
                      </a:lnTo>
                      <a:lnTo>
                        <a:pt x="109" y="129"/>
                      </a:lnTo>
                      <a:lnTo>
                        <a:pt x="119" y="129"/>
                      </a:lnTo>
                      <a:lnTo>
                        <a:pt x="128" y="127"/>
                      </a:lnTo>
                      <a:lnTo>
                        <a:pt x="138" y="125"/>
                      </a:lnTo>
                      <a:lnTo>
                        <a:pt x="157" y="119"/>
                      </a:lnTo>
                      <a:lnTo>
                        <a:pt x="176" y="114"/>
                      </a:lnTo>
                      <a:lnTo>
                        <a:pt x="196" y="108"/>
                      </a:lnTo>
                      <a:lnTo>
                        <a:pt x="216" y="103"/>
                      </a:lnTo>
                      <a:lnTo>
                        <a:pt x="226" y="101"/>
                      </a:lnTo>
                      <a:lnTo>
                        <a:pt x="237" y="100"/>
                      </a:lnTo>
                      <a:lnTo>
                        <a:pt x="248" y="99"/>
                      </a:lnTo>
                      <a:lnTo>
                        <a:pt x="259" y="99"/>
                      </a:lnTo>
                      <a:lnTo>
                        <a:pt x="266" y="99"/>
                      </a:lnTo>
                      <a:lnTo>
                        <a:pt x="285" y="99"/>
                      </a:lnTo>
                      <a:lnTo>
                        <a:pt x="304" y="99"/>
                      </a:lnTo>
                      <a:lnTo>
                        <a:pt x="311" y="99"/>
                      </a:lnTo>
                      <a:lnTo>
                        <a:pt x="333" y="98"/>
                      </a:lnTo>
                      <a:lnTo>
                        <a:pt x="355" y="96"/>
                      </a:lnTo>
                      <a:lnTo>
                        <a:pt x="376" y="93"/>
                      </a:lnTo>
                      <a:lnTo>
                        <a:pt x="396" y="89"/>
                      </a:lnTo>
                      <a:lnTo>
                        <a:pt x="415" y="83"/>
                      </a:lnTo>
                      <a:lnTo>
                        <a:pt x="432" y="76"/>
                      </a:lnTo>
                      <a:lnTo>
                        <a:pt x="449" y="66"/>
                      </a:lnTo>
                      <a:lnTo>
                        <a:pt x="464" y="55"/>
                      </a:lnTo>
                      <a:lnTo>
                        <a:pt x="455" y="51"/>
                      </a:lnTo>
                      <a:lnTo>
                        <a:pt x="446" y="49"/>
                      </a:lnTo>
                      <a:lnTo>
                        <a:pt x="439" y="48"/>
                      </a:lnTo>
                      <a:lnTo>
                        <a:pt x="430" y="48"/>
                      </a:lnTo>
                      <a:lnTo>
                        <a:pt x="413" y="48"/>
                      </a:lnTo>
                      <a:lnTo>
                        <a:pt x="392" y="49"/>
                      </a:lnTo>
                      <a:lnTo>
                        <a:pt x="396" y="46"/>
                      </a:lnTo>
                      <a:lnTo>
                        <a:pt x="401" y="42"/>
                      </a:lnTo>
                      <a:lnTo>
                        <a:pt x="406" y="36"/>
                      </a:lnTo>
                      <a:lnTo>
                        <a:pt x="410" y="29"/>
                      </a:lnTo>
                      <a:lnTo>
                        <a:pt x="413" y="22"/>
                      </a:lnTo>
                      <a:lnTo>
                        <a:pt x="416" y="15"/>
                      </a:lnTo>
                      <a:lnTo>
                        <a:pt x="418" y="7"/>
                      </a:lnTo>
                      <a:lnTo>
                        <a:pt x="418" y="0"/>
                      </a:lnTo>
                      <a:lnTo>
                        <a:pt x="378" y="0"/>
                      </a:lnTo>
                      <a:lnTo>
                        <a:pt x="368" y="8"/>
                      </a:lnTo>
                      <a:lnTo>
                        <a:pt x="360" y="19"/>
                      </a:lnTo>
                      <a:lnTo>
                        <a:pt x="352" y="30"/>
                      </a:lnTo>
                      <a:lnTo>
                        <a:pt x="343" y="41"/>
                      </a:lnTo>
                      <a:lnTo>
                        <a:pt x="334" y="51"/>
                      </a:lnTo>
                      <a:lnTo>
                        <a:pt x="323" y="59"/>
                      </a:lnTo>
                      <a:lnTo>
                        <a:pt x="318" y="63"/>
                      </a:lnTo>
                      <a:lnTo>
                        <a:pt x="312" y="65"/>
                      </a:lnTo>
                      <a:lnTo>
                        <a:pt x="306" y="68"/>
                      </a:lnTo>
                      <a:lnTo>
                        <a:pt x="298" y="68"/>
                      </a:lnTo>
                      <a:lnTo>
                        <a:pt x="287" y="68"/>
                      </a:lnTo>
                      <a:lnTo>
                        <a:pt x="278" y="66"/>
                      </a:lnTo>
                      <a:lnTo>
                        <a:pt x="270" y="65"/>
                      </a:lnTo>
                      <a:lnTo>
                        <a:pt x="262" y="63"/>
                      </a:lnTo>
                      <a:lnTo>
                        <a:pt x="250" y="59"/>
                      </a:lnTo>
                      <a:lnTo>
                        <a:pt x="239" y="54"/>
                      </a:lnTo>
                      <a:lnTo>
                        <a:pt x="222" y="42"/>
                      </a:lnTo>
                      <a:lnTo>
                        <a:pt x="205" y="31"/>
                      </a:lnTo>
                      <a:lnTo>
                        <a:pt x="193" y="29"/>
                      </a:lnTo>
                      <a:lnTo>
                        <a:pt x="180" y="29"/>
                      </a:lnTo>
                      <a:lnTo>
                        <a:pt x="165" y="29"/>
                      </a:lnTo>
                      <a:lnTo>
                        <a:pt x="150" y="31"/>
                      </a:lnTo>
                      <a:lnTo>
                        <a:pt x="133" y="33"/>
                      </a:lnTo>
                      <a:lnTo>
                        <a:pt x="117" y="37"/>
                      </a:lnTo>
                      <a:lnTo>
                        <a:pt x="101" y="40"/>
                      </a:lnTo>
                      <a:lnTo>
                        <a:pt x="85" y="45"/>
                      </a:lnTo>
                      <a:lnTo>
                        <a:pt x="70" y="49"/>
                      </a:lnTo>
                      <a:lnTo>
                        <a:pt x="54" y="54"/>
                      </a:lnTo>
                      <a:lnTo>
                        <a:pt x="41" y="60"/>
                      </a:lnTo>
                      <a:lnTo>
                        <a:pt x="29" y="65"/>
                      </a:lnTo>
                      <a:lnTo>
                        <a:pt x="18" y="71"/>
                      </a:lnTo>
                      <a:lnTo>
                        <a:pt x="9" y="77"/>
                      </a:lnTo>
                      <a:lnTo>
                        <a:pt x="3" y="82"/>
                      </a:lnTo>
                      <a:lnTo>
                        <a:pt x="0" y="86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108" name="Freeform 430">
                  <a:extLst>
                    <a:ext uri="{FF2B5EF4-FFF2-40B4-BE49-F238E27FC236}">
                      <a16:creationId xmlns="" xmlns:a16="http://schemas.microsoft.com/office/drawing/2014/main" id="{A9EA6CE8-7E40-48F5-9878-386A6DB37B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72" y="1205"/>
                  <a:ext cx="153" cy="31"/>
                </a:xfrm>
                <a:custGeom>
                  <a:avLst/>
                  <a:gdLst>
                    <a:gd name="T0" fmla="*/ 0 w 472"/>
                    <a:gd name="T1" fmla="*/ 0 h 92"/>
                    <a:gd name="T2" fmla="*/ 0 w 472"/>
                    <a:gd name="T3" fmla="*/ 0 h 92"/>
                    <a:gd name="T4" fmla="*/ 0 w 472"/>
                    <a:gd name="T5" fmla="*/ 0 h 92"/>
                    <a:gd name="T6" fmla="*/ 0 w 472"/>
                    <a:gd name="T7" fmla="*/ 0 h 92"/>
                    <a:gd name="T8" fmla="*/ 0 w 472"/>
                    <a:gd name="T9" fmla="*/ 0 h 92"/>
                    <a:gd name="T10" fmla="*/ 0 w 472"/>
                    <a:gd name="T11" fmla="*/ 0 h 92"/>
                    <a:gd name="T12" fmla="*/ 0 w 472"/>
                    <a:gd name="T13" fmla="*/ 0 h 92"/>
                    <a:gd name="T14" fmla="*/ 0 w 472"/>
                    <a:gd name="T15" fmla="*/ 0 h 92"/>
                    <a:gd name="T16" fmla="*/ 0 w 472"/>
                    <a:gd name="T17" fmla="*/ 0 h 92"/>
                    <a:gd name="T18" fmla="*/ 0 w 472"/>
                    <a:gd name="T19" fmla="*/ 0 h 92"/>
                    <a:gd name="T20" fmla="*/ 0 w 472"/>
                    <a:gd name="T21" fmla="*/ 0 h 92"/>
                    <a:gd name="T22" fmla="*/ 0 w 472"/>
                    <a:gd name="T23" fmla="*/ 0 h 92"/>
                    <a:gd name="T24" fmla="*/ 0 w 472"/>
                    <a:gd name="T25" fmla="*/ 0 h 92"/>
                    <a:gd name="T26" fmla="*/ 0 w 472"/>
                    <a:gd name="T27" fmla="*/ 0 h 92"/>
                    <a:gd name="T28" fmla="*/ 0 w 472"/>
                    <a:gd name="T29" fmla="*/ 0 h 92"/>
                    <a:gd name="T30" fmla="*/ 1 w 472"/>
                    <a:gd name="T31" fmla="*/ 0 h 92"/>
                    <a:gd name="T32" fmla="*/ 1 w 472"/>
                    <a:gd name="T33" fmla="*/ 0 h 92"/>
                    <a:gd name="T34" fmla="*/ 1 w 472"/>
                    <a:gd name="T35" fmla="*/ 0 h 92"/>
                    <a:gd name="T36" fmla="*/ 1 w 472"/>
                    <a:gd name="T37" fmla="*/ 0 h 92"/>
                    <a:gd name="T38" fmla="*/ 2 w 472"/>
                    <a:gd name="T39" fmla="*/ 0 h 92"/>
                    <a:gd name="T40" fmla="*/ 2 w 472"/>
                    <a:gd name="T41" fmla="*/ 0 h 92"/>
                    <a:gd name="T42" fmla="*/ 2 w 472"/>
                    <a:gd name="T43" fmla="*/ 0 h 92"/>
                    <a:gd name="T44" fmla="*/ 2 w 472"/>
                    <a:gd name="T45" fmla="*/ 0 h 92"/>
                    <a:gd name="T46" fmla="*/ 2 w 472"/>
                    <a:gd name="T47" fmla="*/ 0 h 92"/>
                    <a:gd name="T48" fmla="*/ 2 w 472"/>
                    <a:gd name="T49" fmla="*/ 0 h 92"/>
                    <a:gd name="T50" fmla="*/ 2 w 472"/>
                    <a:gd name="T51" fmla="*/ 0 h 92"/>
                    <a:gd name="T52" fmla="*/ 2 w 472"/>
                    <a:gd name="T53" fmla="*/ 0 h 92"/>
                    <a:gd name="T54" fmla="*/ 2 w 472"/>
                    <a:gd name="T55" fmla="*/ 0 h 92"/>
                    <a:gd name="T56" fmla="*/ 2 w 472"/>
                    <a:gd name="T57" fmla="*/ 0 h 92"/>
                    <a:gd name="T58" fmla="*/ 1 w 472"/>
                    <a:gd name="T59" fmla="*/ 0 h 92"/>
                    <a:gd name="T60" fmla="*/ 1 w 472"/>
                    <a:gd name="T61" fmla="*/ 0 h 92"/>
                    <a:gd name="T62" fmla="*/ 1 w 472"/>
                    <a:gd name="T63" fmla="*/ 0 h 92"/>
                    <a:gd name="T64" fmla="*/ 1 w 472"/>
                    <a:gd name="T65" fmla="*/ 0 h 92"/>
                    <a:gd name="T66" fmla="*/ 1 w 472"/>
                    <a:gd name="T67" fmla="*/ 0 h 92"/>
                    <a:gd name="T68" fmla="*/ 1 w 472"/>
                    <a:gd name="T69" fmla="*/ 0 h 92"/>
                    <a:gd name="T70" fmla="*/ 1 w 472"/>
                    <a:gd name="T71" fmla="*/ 0 h 92"/>
                    <a:gd name="T72" fmla="*/ 1 w 472"/>
                    <a:gd name="T73" fmla="*/ 0 h 92"/>
                    <a:gd name="T74" fmla="*/ 0 w 472"/>
                    <a:gd name="T75" fmla="*/ 0 h 92"/>
                    <a:gd name="T76" fmla="*/ 0 w 472"/>
                    <a:gd name="T77" fmla="*/ 0 h 92"/>
                    <a:gd name="T78" fmla="*/ 0 w 472"/>
                    <a:gd name="T79" fmla="*/ 0 h 92"/>
                    <a:gd name="T80" fmla="*/ 0 w 472"/>
                    <a:gd name="T81" fmla="*/ 0 h 92"/>
                    <a:gd name="T82" fmla="*/ 0 w 472"/>
                    <a:gd name="T83" fmla="*/ 0 h 92"/>
                    <a:gd name="T84" fmla="*/ 0 w 472"/>
                    <a:gd name="T85" fmla="*/ 0 h 92"/>
                    <a:gd name="T86" fmla="*/ 0 w 472"/>
                    <a:gd name="T87" fmla="*/ 0 h 92"/>
                    <a:gd name="T88" fmla="*/ 0 w 472"/>
                    <a:gd name="T89" fmla="*/ 0 h 92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472"/>
                    <a:gd name="T136" fmla="*/ 0 h 92"/>
                    <a:gd name="T137" fmla="*/ 472 w 472"/>
                    <a:gd name="T138" fmla="*/ 92 h 92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472" h="92">
                      <a:moveTo>
                        <a:pt x="73" y="0"/>
                      </a:moveTo>
                      <a:lnTo>
                        <a:pt x="63" y="0"/>
                      </a:lnTo>
                      <a:lnTo>
                        <a:pt x="53" y="0"/>
                      </a:lnTo>
                      <a:lnTo>
                        <a:pt x="44" y="0"/>
                      </a:lnTo>
                      <a:lnTo>
                        <a:pt x="34" y="0"/>
                      </a:lnTo>
                      <a:lnTo>
                        <a:pt x="24" y="0"/>
                      </a:lnTo>
                      <a:lnTo>
                        <a:pt x="15" y="1"/>
                      </a:lnTo>
                      <a:lnTo>
                        <a:pt x="12" y="3"/>
                      </a:lnTo>
                      <a:lnTo>
                        <a:pt x="8" y="5"/>
                      </a:lnTo>
                      <a:lnTo>
                        <a:pt x="7" y="8"/>
                      </a:lnTo>
                      <a:lnTo>
                        <a:pt x="6" y="12"/>
                      </a:lnTo>
                      <a:lnTo>
                        <a:pt x="7" y="16"/>
                      </a:lnTo>
                      <a:lnTo>
                        <a:pt x="7" y="20"/>
                      </a:lnTo>
                      <a:lnTo>
                        <a:pt x="10" y="23"/>
                      </a:lnTo>
                      <a:lnTo>
                        <a:pt x="11" y="26"/>
                      </a:lnTo>
                      <a:lnTo>
                        <a:pt x="15" y="32"/>
                      </a:lnTo>
                      <a:lnTo>
                        <a:pt x="19" y="36"/>
                      </a:lnTo>
                      <a:lnTo>
                        <a:pt x="14" y="41"/>
                      </a:lnTo>
                      <a:lnTo>
                        <a:pt x="7" y="46"/>
                      </a:lnTo>
                      <a:lnTo>
                        <a:pt x="4" y="50"/>
                      </a:lnTo>
                      <a:lnTo>
                        <a:pt x="2" y="53"/>
                      </a:lnTo>
                      <a:lnTo>
                        <a:pt x="1" y="57"/>
                      </a:lnTo>
                      <a:lnTo>
                        <a:pt x="0" y="61"/>
                      </a:lnTo>
                      <a:lnTo>
                        <a:pt x="2" y="64"/>
                      </a:lnTo>
                      <a:lnTo>
                        <a:pt x="6" y="66"/>
                      </a:lnTo>
                      <a:lnTo>
                        <a:pt x="14" y="69"/>
                      </a:lnTo>
                      <a:lnTo>
                        <a:pt x="24" y="71"/>
                      </a:lnTo>
                      <a:lnTo>
                        <a:pt x="48" y="76"/>
                      </a:lnTo>
                      <a:lnTo>
                        <a:pt x="78" y="81"/>
                      </a:lnTo>
                      <a:lnTo>
                        <a:pt x="109" y="85"/>
                      </a:lnTo>
                      <a:lnTo>
                        <a:pt x="140" y="89"/>
                      </a:lnTo>
                      <a:lnTo>
                        <a:pt x="167" y="91"/>
                      </a:lnTo>
                      <a:lnTo>
                        <a:pt x="186" y="92"/>
                      </a:lnTo>
                      <a:lnTo>
                        <a:pt x="365" y="92"/>
                      </a:lnTo>
                      <a:lnTo>
                        <a:pt x="370" y="86"/>
                      </a:lnTo>
                      <a:lnTo>
                        <a:pt x="374" y="81"/>
                      </a:lnTo>
                      <a:lnTo>
                        <a:pt x="380" y="78"/>
                      </a:lnTo>
                      <a:lnTo>
                        <a:pt x="385" y="75"/>
                      </a:lnTo>
                      <a:lnTo>
                        <a:pt x="391" y="74"/>
                      </a:lnTo>
                      <a:lnTo>
                        <a:pt x="397" y="73"/>
                      </a:lnTo>
                      <a:lnTo>
                        <a:pt x="404" y="73"/>
                      </a:lnTo>
                      <a:lnTo>
                        <a:pt x="411" y="73"/>
                      </a:lnTo>
                      <a:lnTo>
                        <a:pt x="426" y="75"/>
                      </a:lnTo>
                      <a:lnTo>
                        <a:pt x="441" y="76"/>
                      </a:lnTo>
                      <a:lnTo>
                        <a:pt x="449" y="77"/>
                      </a:lnTo>
                      <a:lnTo>
                        <a:pt x="456" y="76"/>
                      </a:lnTo>
                      <a:lnTo>
                        <a:pt x="464" y="75"/>
                      </a:lnTo>
                      <a:lnTo>
                        <a:pt x="472" y="73"/>
                      </a:lnTo>
                      <a:lnTo>
                        <a:pt x="472" y="36"/>
                      </a:lnTo>
                      <a:lnTo>
                        <a:pt x="465" y="33"/>
                      </a:lnTo>
                      <a:lnTo>
                        <a:pt x="459" y="30"/>
                      </a:lnTo>
                      <a:lnTo>
                        <a:pt x="453" y="26"/>
                      </a:lnTo>
                      <a:lnTo>
                        <a:pt x="449" y="22"/>
                      </a:lnTo>
                      <a:lnTo>
                        <a:pt x="443" y="18"/>
                      </a:lnTo>
                      <a:lnTo>
                        <a:pt x="438" y="15"/>
                      </a:lnTo>
                      <a:lnTo>
                        <a:pt x="432" y="13"/>
                      </a:lnTo>
                      <a:lnTo>
                        <a:pt x="426" y="12"/>
                      </a:lnTo>
                      <a:lnTo>
                        <a:pt x="416" y="12"/>
                      </a:lnTo>
                      <a:lnTo>
                        <a:pt x="406" y="13"/>
                      </a:lnTo>
                      <a:lnTo>
                        <a:pt x="396" y="15"/>
                      </a:lnTo>
                      <a:lnTo>
                        <a:pt x="386" y="17"/>
                      </a:lnTo>
                      <a:lnTo>
                        <a:pt x="367" y="22"/>
                      </a:lnTo>
                      <a:lnTo>
                        <a:pt x="348" y="27"/>
                      </a:lnTo>
                      <a:lnTo>
                        <a:pt x="328" y="33"/>
                      </a:lnTo>
                      <a:lnTo>
                        <a:pt x="308" y="38"/>
                      </a:lnTo>
                      <a:lnTo>
                        <a:pt x="298" y="39"/>
                      </a:lnTo>
                      <a:lnTo>
                        <a:pt x="287" y="41"/>
                      </a:lnTo>
                      <a:lnTo>
                        <a:pt x="276" y="42"/>
                      </a:lnTo>
                      <a:lnTo>
                        <a:pt x="265" y="42"/>
                      </a:lnTo>
                      <a:lnTo>
                        <a:pt x="236" y="42"/>
                      </a:lnTo>
                      <a:lnTo>
                        <a:pt x="212" y="42"/>
                      </a:lnTo>
                      <a:lnTo>
                        <a:pt x="191" y="42"/>
                      </a:lnTo>
                      <a:lnTo>
                        <a:pt x="173" y="42"/>
                      </a:lnTo>
                      <a:lnTo>
                        <a:pt x="156" y="42"/>
                      </a:lnTo>
                      <a:lnTo>
                        <a:pt x="139" y="42"/>
                      </a:lnTo>
                      <a:lnTo>
                        <a:pt x="120" y="42"/>
                      </a:lnTo>
                      <a:lnTo>
                        <a:pt x="100" y="42"/>
                      </a:lnTo>
                      <a:lnTo>
                        <a:pt x="91" y="41"/>
                      </a:lnTo>
                      <a:lnTo>
                        <a:pt x="83" y="39"/>
                      </a:lnTo>
                      <a:lnTo>
                        <a:pt x="78" y="36"/>
                      </a:lnTo>
                      <a:lnTo>
                        <a:pt x="73" y="32"/>
                      </a:lnTo>
                      <a:lnTo>
                        <a:pt x="70" y="27"/>
                      </a:lnTo>
                      <a:lnTo>
                        <a:pt x="68" y="22"/>
                      </a:lnTo>
                      <a:lnTo>
                        <a:pt x="67" y="17"/>
                      </a:lnTo>
                      <a:lnTo>
                        <a:pt x="67" y="12"/>
                      </a:lnTo>
                      <a:lnTo>
                        <a:pt x="69" y="8"/>
                      </a:lnTo>
                      <a:lnTo>
                        <a:pt x="72" y="4"/>
                      </a:lnTo>
                      <a:lnTo>
                        <a:pt x="74" y="2"/>
                      </a:lnTo>
                      <a:lnTo>
                        <a:pt x="75" y="1"/>
                      </a:lnTo>
                      <a:lnTo>
                        <a:pt x="74" y="0"/>
                      </a:lnTo>
                      <a:lnTo>
                        <a:pt x="73" y="0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109" name="Freeform 431">
                  <a:extLst>
                    <a:ext uri="{FF2B5EF4-FFF2-40B4-BE49-F238E27FC236}">
                      <a16:creationId xmlns="" xmlns:a16="http://schemas.microsoft.com/office/drawing/2014/main" id="{B2D47D68-C30E-49F2-8CDD-E4AF835D73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13" y="1136"/>
                  <a:ext cx="106" cy="45"/>
                </a:xfrm>
                <a:custGeom>
                  <a:avLst/>
                  <a:gdLst>
                    <a:gd name="T0" fmla="*/ 1 w 326"/>
                    <a:gd name="T1" fmla="*/ 0 h 135"/>
                    <a:gd name="T2" fmla="*/ 1 w 326"/>
                    <a:gd name="T3" fmla="*/ 0 h 135"/>
                    <a:gd name="T4" fmla="*/ 1 w 326"/>
                    <a:gd name="T5" fmla="*/ 0 h 135"/>
                    <a:gd name="T6" fmla="*/ 1 w 326"/>
                    <a:gd name="T7" fmla="*/ 0 h 135"/>
                    <a:gd name="T8" fmla="*/ 1 w 326"/>
                    <a:gd name="T9" fmla="*/ 0 h 135"/>
                    <a:gd name="T10" fmla="*/ 1 w 326"/>
                    <a:gd name="T11" fmla="*/ 0 h 135"/>
                    <a:gd name="T12" fmla="*/ 1 w 326"/>
                    <a:gd name="T13" fmla="*/ 0 h 135"/>
                    <a:gd name="T14" fmla="*/ 1 w 326"/>
                    <a:gd name="T15" fmla="*/ 0 h 135"/>
                    <a:gd name="T16" fmla="*/ 1 w 326"/>
                    <a:gd name="T17" fmla="*/ 0 h 135"/>
                    <a:gd name="T18" fmla="*/ 1 w 326"/>
                    <a:gd name="T19" fmla="*/ 0 h 135"/>
                    <a:gd name="T20" fmla="*/ 1 w 326"/>
                    <a:gd name="T21" fmla="*/ 0 h 135"/>
                    <a:gd name="T22" fmla="*/ 1 w 326"/>
                    <a:gd name="T23" fmla="*/ 0 h 135"/>
                    <a:gd name="T24" fmla="*/ 1 w 326"/>
                    <a:gd name="T25" fmla="*/ 0 h 135"/>
                    <a:gd name="T26" fmla="*/ 1 w 326"/>
                    <a:gd name="T27" fmla="*/ 0 h 135"/>
                    <a:gd name="T28" fmla="*/ 1 w 326"/>
                    <a:gd name="T29" fmla="*/ 0 h 135"/>
                    <a:gd name="T30" fmla="*/ 1 w 326"/>
                    <a:gd name="T31" fmla="*/ 0 h 135"/>
                    <a:gd name="T32" fmla="*/ 1 w 326"/>
                    <a:gd name="T33" fmla="*/ 0 h 135"/>
                    <a:gd name="T34" fmla="*/ 1 w 326"/>
                    <a:gd name="T35" fmla="*/ 0 h 135"/>
                    <a:gd name="T36" fmla="*/ 0 w 326"/>
                    <a:gd name="T37" fmla="*/ 0 h 135"/>
                    <a:gd name="T38" fmla="*/ 0 w 326"/>
                    <a:gd name="T39" fmla="*/ 0 h 135"/>
                    <a:gd name="T40" fmla="*/ 0 w 326"/>
                    <a:gd name="T41" fmla="*/ 0 h 135"/>
                    <a:gd name="T42" fmla="*/ 0 w 326"/>
                    <a:gd name="T43" fmla="*/ 0 h 135"/>
                    <a:gd name="T44" fmla="*/ 0 w 326"/>
                    <a:gd name="T45" fmla="*/ 0 h 135"/>
                    <a:gd name="T46" fmla="*/ 0 w 326"/>
                    <a:gd name="T47" fmla="*/ 0 h 135"/>
                    <a:gd name="T48" fmla="*/ 0 w 326"/>
                    <a:gd name="T49" fmla="*/ 0 h 135"/>
                    <a:gd name="T50" fmla="*/ 0 w 326"/>
                    <a:gd name="T51" fmla="*/ 0 h 135"/>
                    <a:gd name="T52" fmla="*/ 0 w 326"/>
                    <a:gd name="T53" fmla="*/ 0 h 135"/>
                    <a:gd name="T54" fmla="*/ 0 w 326"/>
                    <a:gd name="T55" fmla="*/ 0 h 135"/>
                    <a:gd name="T56" fmla="*/ 0 w 326"/>
                    <a:gd name="T57" fmla="*/ 0 h 135"/>
                    <a:gd name="T58" fmla="*/ 0 w 326"/>
                    <a:gd name="T59" fmla="*/ 1 h 135"/>
                    <a:gd name="T60" fmla="*/ 0 w 326"/>
                    <a:gd name="T61" fmla="*/ 1 h 135"/>
                    <a:gd name="T62" fmla="*/ 0 w 326"/>
                    <a:gd name="T63" fmla="*/ 1 h 135"/>
                    <a:gd name="T64" fmla="*/ 0 w 326"/>
                    <a:gd name="T65" fmla="*/ 1 h 135"/>
                    <a:gd name="T66" fmla="*/ 0 w 326"/>
                    <a:gd name="T67" fmla="*/ 1 h 135"/>
                    <a:gd name="T68" fmla="*/ 0 w 326"/>
                    <a:gd name="T69" fmla="*/ 1 h 135"/>
                    <a:gd name="T70" fmla="*/ 0 w 326"/>
                    <a:gd name="T71" fmla="*/ 0 h 135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326"/>
                    <a:gd name="T109" fmla="*/ 0 h 135"/>
                    <a:gd name="T110" fmla="*/ 326 w 326"/>
                    <a:gd name="T111" fmla="*/ 135 h 135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326" h="135">
                      <a:moveTo>
                        <a:pt x="120" y="111"/>
                      </a:moveTo>
                      <a:lnTo>
                        <a:pt x="145" y="107"/>
                      </a:lnTo>
                      <a:lnTo>
                        <a:pt x="172" y="102"/>
                      </a:lnTo>
                      <a:lnTo>
                        <a:pt x="203" y="97"/>
                      </a:lnTo>
                      <a:lnTo>
                        <a:pt x="233" y="90"/>
                      </a:lnTo>
                      <a:lnTo>
                        <a:pt x="262" y="84"/>
                      </a:lnTo>
                      <a:lnTo>
                        <a:pt x="288" y="78"/>
                      </a:lnTo>
                      <a:lnTo>
                        <a:pt x="300" y="74"/>
                      </a:lnTo>
                      <a:lnTo>
                        <a:pt x="310" y="70"/>
                      </a:lnTo>
                      <a:lnTo>
                        <a:pt x="318" y="66"/>
                      </a:lnTo>
                      <a:lnTo>
                        <a:pt x="326" y="62"/>
                      </a:lnTo>
                      <a:lnTo>
                        <a:pt x="322" y="56"/>
                      </a:lnTo>
                      <a:lnTo>
                        <a:pt x="317" y="52"/>
                      </a:lnTo>
                      <a:lnTo>
                        <a:pt x="312" y="48"/>
                      </a:lnTo>
                      <a:lnTo>
                        <a:pt x="306" y="44"/>
                      </a:lnTo>
                      <a:lnTo>
                        <a:pt x="300" y="41"/>
                      </a:lnTo>
                      <a:lnTo>
                        <a:pt x="293" y="39"/>
                      </a:lnTo>
                      <a:lnTo>
                        <a:pt x="286" y="37"/>
                      </a:lnTo>
                      <a:lnTo>
                        <a:pt x="279" y="34"/>
                      </a:lnTo>
                      <a:lnTo>
                        <a:pt x="263" y="32"/>
                      </a:lnTo>
                      <a:lnTo>
                        <a:pt x="247" y="31"/>
                      </a:lnTo>
                      <a:lnTo>
                        <a:pt x="230" y="30"/>
                      </a:lnTo>
                      <a:lnTo>
                        <a:pt x="213" y="30"/>
                      </a:lnTo>
                      <a:lnTo>
                        <a:pt x="209" y="30"/>
                      </a:lnTo>
                      <a:lnTo>
                        <a:pt x="205" y="27"/>
                      </a:lnTo>
                      <a:lnTo>
                        <a:pt x="202" y="24"/>
                      </a:lnTo>
                      <a:lnTo>
                        <a:pt x="200" y="21"/>
                      </a:lnTo>
                      <a:lnTo>
                        <a:pt x="196" y="17"/>
                      </a:lnTo>
                      <a:lnTo>
                        <a:pt x="194" y="13"/>
                      </a:lnTo>
                      <a:lnTo>
                        <a:pt x="191" y="9"/>
                      </a:lnTo>
                      <a:lnTo>
                        <a:pt x="187" y="6"/>
                      </a:lnTo>
                      <a:lnTo>
                        <a:pt x="180" y="5"/>
                      </a:lnTo>
                      <a:lnTo>
                        <a:pt x="172" y="3"/>
                      </a:lnTo>
                      <a:lnTo>
                        <a:pt x="162" y="1"/>
                      </a:lnTo>
                      <a:lnTo>
                        <a:pt x="153" y="0"/>
                      </a:lnTo>
                      <a:lnTo>
                        <a:pt x="135" y="1"/>
                      </a:lnTo>
                      <a:lnTo>
                        <a:pt x="112" y="4"/>
                      </a:lnTo>
                      <a:lnTo>
                        <a:pt x="87" y="8"/>
                      </a:lnTo>
                      <a:lnTo>
                        <a:pt x="61" y="14"/>
                      </a:lnTo>
                      <a:lnTo>
                        <a:pt x="49" y="17"/>
                      </a:lnTo>
                      <a:lnTo>
                        <a:pt x="38" y="21"/>
                      </a:lnTo>
                      <a:lnTo>
                        <a:pt x="27" y="26"/>
                      </a:lnTo>
                      <a:lnTo>
                        <a:pt x="19" y="31"/>
                      </a:lnTo>
                      <a:lnTo>
                        <a:pt x="11" y="37"/>
                      </a:lnTo>
                      <a:lnTo>
                        <a:pt x="5" y="43"/>
                      </a:lnTo>
                      <a:lnTo>
                        <a:pt x="3" y="46"/>
                      </a:lnTo>
                      <a:lnTo>
                        <a:pt x="1" y="49"/>
                      </a:lnTo>
                      <a:lnTo>
                        <a:pt x="1" y="52"/>
                      </a:lnTo>
                      <a:lnTo>
                        <a:pt x="0" y="56"/>
                      </a:lnTo>
                      <a:lnTo>
                        <a:pt x="34" y="74"/>
                      </a:lnTo>
                      <a:lnTo>
                        <a:pt x="73" y="74"/>
                      </a:lnTo>
                      <a:lnTo>
                        <a:pt x="56" y="81"/>
                      </a:lnTo>
                      <a:lnTo>
                        <a:pt x="44" y="87"/>
                      </a:lnTo>
                      <a:lnTo>
                        <a:pt x="41" y="90"/>
                      </a:lnTo>
                      <a:lnTo>
                        <a:pt x="38" y="94"/>
                      </a:lnTo>
                      <a:lnTo>
                        <a:pt x="38" y="99"/>
                      </a:lnTo>
                      <a:lnTo>
                        <a:pt x="41" y="105"/>
                      </a:lnTo>
                      <a:lnTo>
                        <a:pt x="44" y="114"/>
                      </a:lnTo>
                      <a:lnTo>
                        <a:pt x="47" y="123"/>
                      </a:lnTo>
                      <a:lnTo>
                        <a:pt x="48" y="128"/>
                      </a:lnTo>
                      <a:lnTo>
                        <a:pt x="50" y="131"/>
                      </a:lnTo>
                      <a:lnTo>
                        <a:pt x="55" y="134"/>
                      </a:lnTo>
                      <a:lnTo>
                        <a:pt x="60" y="135"/>
                      </a:lnTo>
                      <a:lnTo>
                        <a:pt x="69" y="135"/>
                      </a:lnTo>
                      <a:lnTo>
                        <a:pt x="78" y="133"/>
                      </a:lnTo>
                      <a:lnTo>
                        <a:pt x="86" y="131"/>
                      </a:lnTo>
                      <a:lnTo>
                        <a:pt x="93" y="129"/>
                      </a:lnTo>
                      <a:lnTo>
                        <a:pt x="101" y="127"/>
                      </a:lnTo>
                      <a:lnTo>
                        <a:pt x="109" y="125"/>
                      </a:lnTo>
                      <a:lnTo>
                        <a:pt x="117" y="124"/>
                      </a:lnTo>
                      <a:lnTo>
                        <a:pt x="126" y="123"/>
                      </a:lnTo>
                      <a:lnTo>
                        <a:pt x="120" y="111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110" name="Freeform 432">
                  <a:extLst>
                    <a:ext uri="{FF2B5EF4-FFF2-40B4-BE49-F238E27FC236}">
                      <a16:creationId xmlns="" xmlns:a16="http://schemas.microsoft.com/office/drawing/2014/main" id="{D57DC716-B592-4288-927D-BC14E90B96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84" y="1245"/>
                  <a:ext cx="51" cy="18"/>
                </a:xfrm>
                <a:custGeom>
                  <a:avLst/>
                  <a:gdLst>
                    <a:gd name="T0" fmla="*/ 0 w 159"/>
                    <a:gd name="T1" fmla="*/ 0 h 56"/>
                    <a:gd name="T2" fmla="*/ 0 w 159"/>
                    <a:gd name="T3" fmla="*/ 0 h 56"/>
                    <a:gd name="T4" fmla="*/ 0 w 159"/>
                    <a:gd name="T5" fmla="*/ 0 h 56"/>
                    <a:gd name="T6" fmla="*/ 0 w 159"/>
                    <a:gd name="T7" fmla="*/ 0 h 56"/>
                    <a:gd name="T8" fmla="*/ 0 w 159"/>
                    <a:gd name="T9" fmla="*/ 0 h 56"/>
                    <a:gd name="T10" fmla="*/ 0 w 159"/>
                    <a:gd name="T11" fmla="*/ 0 h 56"/>
                    <a:gd name="T12" fmla="*/ 0 w 159"/>
                    <a:gd name="T13" fmla="*/ 0 h 56"/>
                    <a:gd name="T14" fmla="*/ 0 w 159"/>
                    <a:gd name="T15" fmla="*/ 0 h 56"/>
                    <a:gd name="T16" fmla="*/ 0 w 159"/>
                    <a:gd name="T17" fmla="*/ 0 h 56"/>
                    <a:gd name="T18" fmla="*/ 0 w 159"/>
                    <a:gd name="T19" fmla="*/ 0 h 56"/>
                    <a:gd name="T20" fmla="*/ 0 w 159"/>
                    <a:gd name="T21" fmla="*/ 0 h 56"/>
                    <a:gd name="T22" fmla="*/ 0 w 159"/>
                    <a:gd name="T23" fmla="*/ 0 h 56"/>
                    <a:gd name="T24" fmla="*/ 0 w 159"/>
                    <a:gd name="T25" fmla="*/ 0 h 56"/>
                    <a:gd name="T26" fmla="*/ 0 w 159"/>
                    <a:gd name="T27" fmla="*/ 0 h 56"/>
                    <a:gd name="T28" fmla="*/ 0 w 159"/>
                    <a:gd name="T29" fmla="*/ 0 h 56"/>
                    <a:gd name="T30" fmla="*/ 0 w 159"/>
                    <a:gd name="T31" fmla="*/ 0 h 56"/>
                    <a:gd name="T32" fmla="*/ 0 w 159"/>
                    <a:gd name="T33" fmla="*/ 0 h 56"/>
                    <a:gd name="T34" fmla="*/ 0 w 159"/>
                    <a:gd name="T35" fmla="*/ 0 h 56"/>
                    <a:gd name="T36" fmla="*/ 0 w 159"/>
                    <a:gd name="T37" fmla="*/ 0 h 56"/>
                    <a:gd name="T38" fmla="*/ 0 w 159"/>
                    <a:gd name="T39" fmla="*/ 0 h 56"/>
                    <a:gd name="T40" fmla="*/ 1 w 159"/>
                    <a:gd name="T41" fmla="*/ 0 h 56"/>
                    <a:gd name="T42" fmla="*/ 1 w 159"/>
                    <a:gd name="T43" fmla="*/ 0 h 56"/>
                    <a:gd name="T44" fmla="*/ 1 w 159"/>
                    <a:gd name="T45" fmla="*/ 0 h 56"/>
                    <a:gd name="T46" fmla="*/ 1 w 159"/>
                    <a:gd name="T47" fmla="*/ 0 h 56"/>
                    <a:gd name="T48" fmla="*/ 1 w 159"/>
                    <a:gd name="T49" fmla="*/ 0 h 56"/>
                    <a:gd name="T50" fmla="*/ 1 w 159"/>
                    <a:gd name="T51" fmla="*/ 0 h 56"/>
                    <a:gd name="T52" fmla="*/ 1 w 159"/>
                    <a:gd name="T53" fmla="*/ 0 h 56"/>
                    <a:gd name="T54" fmla="*/ 1 w 159"/>
                    <a:gd name="T55" fmla="*/ 0 h 56"/>
                    <a:gd name="T56" fmla="*/ 1 w 159"/>
                    <a:gd name="T57" fmla="*/ 0 h 56"/>
                    <a:gd name="T58" fmla="*/ 0 w 159"/>
                    <a:gd name="T59" fmla="*/ 0 h 56"/>
                    <a:gd name="T60" fmla="*/ 0 w 159"/>
                    <a:gd name="T61" fmla="*/ 0 h 56"/>
                    <a:gd name="T62" fmla="*/ 0 w 159"/>
                    <a:gd name="T63" fmla="*/ 0 h 56"/>
                    <a:gd name="T64" fmla="*/ 0 w 159"/>
                    <a:gd name="T65" fmla="*/ 0 h 56"/>
                    <a:gd name="T66" fmla="*/ 0 w 159"/>
                    <a:gd name="T67" fmla="*/ 0 h 56"/>
                    <a:gd name="T68" fmla="*/ 0 w 159"/>
                    <a:gd name="T69" fmla="*/ 0 h 5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159"/>
                    <a:gd name="T106" fmla="*/ 0 h 56"/>
                    <a:gd name="T107" fmla="*/ 159 w 159"/>
                    <a:gd name="T108" fmla="*/ 56 h 5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159" h="56">
                      <a:moveTo>
                        <a:pt x="46" y="53"/>
                      </a:moveTo>
                      <a:lnTo>
                        <a:pt x="40" y="52"/>
                      </a:lnTo>
                      <a:lnTo>
                        <a:pt x="34" y="49"/>
                      </a:lnTo>
                      <a:lnTo>
                        <a:pt x="26" y="45"/>
                      </a:lnTo>
                      <a:lnTo>
                        <a:pt x="18" y="38"/>
                      </a:lnTo>
                      <a:lnTo>
                        <a:pt x="10" y="31"/>
                      </a:lnTo>
                      <a:lnTo>
                        <a:pt x="5" y="24"/>
                      </a:lnTo>
                      <a:lnTo>
                        <a:pt x="3" y="21"/>
                      </a:lnTo>
                      <a:lnTo>
                        <a:pt x="1" y="17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21" y="10"/>
                      </a:lnTo>
                      <a:lnTo>
                        <a:pt x="39" y="10"/>
                      </a:lnTo>
                      <a:lnTo>
                        <a:pt x="52" y="10"/>
                      </a:lnTo>
                      <a:lnTo>
                        <a:pt x="59" y="10"/>
                      </a:lnTo>
                      <a:lnTo>
                        <a:pt x="83" y="6"/>
                      </a:lnTo>
                      <a:lnTo>
                        <a:pt x="117" y="0"/>
                      </a:lnTo>
                      <a:lnTo>
                        <a:pt x="125" y="0"/>
                      </a:lnTo>
                      <a:lnTo>
                        <a:pt x="132" y="0"/>
                      </a:lnTo>
                      <a:lnTo>
                        <a:pt x="140" y="0"/>
                      </a:lnTo>
                      <a:lnTo>
                        <a:pt x="147" y="2"/>
                      </a:lnTo>
                      <a:lnTo>
                        <a:pt x="151" y="5"/>
                      </a:lnTo>
                      <a:lnTo>
                        <a:pt x="155" y="9"/>
                      </a:lnTo>
                      <a:lnTo>
                        <a:pt x="158" y="15"/>
                      </a:lnTo>
                      <a:lnTo>
                        <a:pt x="159" y="22"/>
                      </a:lnTo>
                      <a:lnTo>
                        <a:pt x="158" y="30"/>
                      </a:lnTo>
                      <a:lnTo>
                        <a:pt x="155" y="37"/>
                      </a:lnTo>
                      <a:lnTo>
                        <a:pt x="151" y="44"/>
                      </a:lnTo>
                      <a:lnTo>
                        <a:pt x="146" y="48"/>
                      </a:lnTo>
                      <a:lnTo>
                        <a:pt x="139" y="52"/>
                      </a:lnTo>
                      <a:lnTo>
                        <a:pt x="132" y="54"/>
                      </a:lnTo>
                      <a:lnTo>
                        <a:pt x="124" y="55"/>
                      </a:lnTo>
                      <a:lnTo>
                        <a:pt x="115" y="56"/>
                      </a:lnTo>
                      <a:lnTo>
                        <a:pt x="77" y="55"/>
                      </a:lnTo>
                      <a:lnTo>
                        <a:pt x="46" y="53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111" name="Freeform 433">
                  <a:extLst>
                    <a:ext uri="{FF2B5EF4-FFF2-40B4-BE49-F238E27FC236}">
                      <a16:creationId xmlns="" xmlns:a16="http://schemas.microsoft.com/office/drawing/2014/main" id="{EC58FE4A-E3A2-4EFA-8C12-EA7644DEC6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4" y="1280"/>
                  <a:ext cx="1205" cy="539"/>
                </a:xfrm>
                <a:custGeom>
                  <a:avLst/>
                  <a:gdLst>
                    <a:gd name="T0" fmla="*/ 10 w 3734"/>
                    <a:gd name="T1" fmla="*/ 5 h 1644"/>
                    <a:gd name="T2" fmla="*/ 9 w 3734"/>
                    <a:gd name="T3" fmla="*/ 6 h 1644"/>
                    <a:gd name="T4" fmla="*/ 8 w 3734"/>
                    <a:gd name="T5" fmla="*/ 6 h 1644"/>
                    <a:gd name="T6" fmla="*/ 8 w 3734"/>
                    <a:gd name="T7" fmla="*/ 6 h 1644"/>
                    <a:gd name="T8" fmla="*/ 8 w 3734"/>
                    <a:gd name="T9" fmla="*/ 6 h 1644"/>
                    <a:gd name="T10" fmla="*/ 8 w 3734"/>
                    <a:gd name="T11" fmla="*/ 6 h 1644"/>
                    <a:gd name="T12" fmla="*/ 8 w 3734"/>
                    <a:gd name="T13" fmla="*/ 5 h 1644"/>
                    <a:gd name="T14" fmla="*/ 7 w 3734"/>
                    <a:gd name="T15" fmla="*/ 5 h 1644"/>
                    <a:gd name="T16" fmla="*/ 7 w 3734"/>
                    <a:gd name="T17" fmla="*/ 5 h 1644"/>
                    <a:gd name="T18" fmla="*/ 6 w 3734"/>
                    <a:gd name="T19" fmla="*/ 5 h 1644"/>
                    <a:gd name="T20" fmla="*/ 1 w 3734"/>
                    <a:gd name="T21" fmla="*/ 5 h 1644"/>
                    <a:gd name="T22" fmla="*/ 0 w 3734"/>
                    <a:gd name="T23" fmla="*/ 4 h 1644"/>
                    <a:gd name="T24" fmla="*/ 1 w 3734"/>
                    <a:gd name="T25" fmla="*/ 4 h 1644"/>
                    <a:gd name="T26" fmla="*/ 1 w 3734"/>
                    <a:gd name="T27" fmla="*/ 4 h 1644"/>
                    <a:gd name="T28" fmla="*/ 1 w 3734"/>
                    <a:gd name="T29" fmla="*/ 3 h 1644"/>
                    <a:gd name="T30" fmla="*/ 1 w 3734"/>
                    <a:gd name="T31" fmla="*/ 3 h 1644"/>
                    <a:gd name="T32" fmla="*/ 0 w 3734"/>
                    <a:gd name="T33" fmla="*/ 3 h 1644"/>
                    <a:gd name="T34" fmla="*/ 2 w 3734"/>
                    <a:gd name="T35" fmla="*/ 0 h 1644"/>
                    <a:gd name="T36" fmla="*/ 4 w 3734"/>
                    <a:gd name="T37" fmla="*/ 0 h 1644"/>
                    <a:gd name="T38" fmla="*/ 5 w 3734"/>
                    <a:gd name="T39" fmla="*/ 0 h 1644"/>
                    <a:gd name="T40" fmla="*/ 6 w 3734"/>
                    <a:gd name="T41" fmla="*/ 1 h 1644"/>
                    <a:gd name="T42" fmla="*/ 6 w 3734"/>
                    <a:gd name="T43" fmla="*/ 1 h 1644"/>
                    <a:gd name="T44" fmla="*/ 7 w 3734"/>
                    <a:gd name="T45" fmla="*/ 1 h 1644"/>
                    <a:gd name="T46" fmla="*/ 8 w 3734"/>
                    <a:gd name="T47" fmla="*/ 1 h 1644"/>
                    <a:gd name="T48" fmla="*/ 8 w 3734"/>
                    <a:gd name="T49" fmla="*/ 1 h 1644"/>
                    <a:gd name="T50" fmla="*/ 9 w 3734"/>
                    <a:gd name="T51" fmla="*/ 0 h 1644"/>
                    <a:gd name="T52" fmla="*/ 9 w 3734"/>
                    <a:gd name="T53" fmla="*/ 0 h 1644"/>
                    <a:gd name="T54" fmla="*/ 9 w 3734"/>
                    <a:gd name="T55" fmla="*/ 0 h 1644"/>
                    <a:gd name="T56" fmla="*/ 9 w 3734"/>
                    <a:gd name="T57" fmla="*/ 1 h 1644"/>
                    <a:gd name="T58" fmla="*/ 9 w 3734"/>
                    <a:gd name="T59" fmla="*/ 1 h 1644"/>
                    <a:gd name="T60" fmla="*/ 10 w 3734"/>
                    <a:gd name="T61" fmla="*/ 0 h 1644"/>
                    <a:gd name="T62" fmla="*/ 11 w 3734"/>
                    <a:gd name="T63" fmla="*/ 1 h 1644"/>
                    <a:gd name="T64" fmla="*/ 10 w 3734"/>
                    <a:gd name="T65" fmla="*/ 1 h 1644"/>
                    <a:gd name="T66" fmla="*/ 10 w 3734"/>
                    <a:gd name="T67" fmla="*/ 1 h 1644"/>
                    <a:gd name="T68" fmla="*/ 9 w 3734"/>
                    <a:gd name="T69" fmla="*/ 1 h 1644"/>
                    <a:gd name="T70" fmla="*/ 9 w 3734"/>
                    <a:gd name="T71" fmla="*/ 2 h 1644"/>
                    <a:gd name="T72" fmla="*/ 8 w 3734"/>
                    <a:gd name="T73" fmla="*/ 2 h 1644"/>
                    <a:gd name="T74" fmla="*/ 7 w 3734"/>
                    <a:gd name="T75" fmla="*/ 2 h 1644"/>
                    <a:gd name="T76" fmla="*/ 7 w 3734"/>
                    <a:gd name="T77" fmla="*/ 3 h 1644"/>
                    <a:gd name="T78" fmla="*/ 8 w 3734"/>
                    <a:gd name="T79" fmla="*/ 3 h 1644"/>
                    <a:gd name="T80" fmla="*/ 8 w 3734"/>
                    <a:gd name="T81" fmla="*/ 4 h 1644"/>
                    <a:gd name="T82" fmla="*/ 9 w 3734"/>
                    <a:gd name="T83" fmla="*/ 4 h 1644"/>
                    <a:gd name="T84" fmla="*/ 10 w 3734"/>
                    <a:gd name="T85" fmla="*/ 3 h 1644"/>
                    <a:gd name="T86" fmla="*/ 10 w 3734"/>
                    <a:gd name="T87" fmla="*/ 2 h 1644"/>
                    <a:gd name="T88" fmla="*/ 11 w 3734"/>
                    <a:gd name="T89" fmla="*/ 2 h 1644"/>
                    <a:gd name="T90" fmla="*/ 11 w 3734"/>
                    <a:gd name="T91" fmla="*/ 2 h 1644"/>
                    <a:gd name="T92" fmla="*/ 11 w 3734"/>
                    <a:gd name="T93" fmla="*/ 3 h 1644"/>
                    <a:gd name="T94" fmla="*/ 12 w 3734"/>
                    <a:gd name="T95" fmla="*/ 2 h 1644"/>
                    <a:gd name="T96" fmla="*/ 12 w 3734"/>
                    <a:gd name="T97" fmla="*/ 3 h 1644"/>
                    <a:gd name="T98" fmla="*/ 13 w 3734"/>
                    <a:gd name="T99" fmla="*/ 3 h 1644"/>
                    <a:gd name="T100" fmla="*/ 13 w 3734"/>
                    <a:gd name="T101" fmla="*/ 4 h 1644"/>
                    <a:gd name="T102" fmla="*/ 13 w 3734"/>
                    <a:gd name="T103" fmla="*/ 4 h 1644"/>
                    <a:gd name="T104" fmla="*/ 12 w 3734"/>
                    <a:gd name="T105" fmla="*/ 4 h 1644"/>
                    <a:gd name="T106" fmla="*/ 11 w 3734"/>
                    <a:gd name="T107" fmla="*/ 4 h 1644"/>
                    <a:gd name="T108" fmla="*/ 10 w 3734"/>
                    <a:gd name="T109" fmla="*/ 5 h 1644"/>
                    <a:gd name="T110" fmla="*/ 10 w 3734"/>
                    <a:gd name="T111" fmla="*/ 5 h 1644"/>
                    <a:gd name="T112" fmla="*/ 11 w 3734"/>
                    <a:gd name="T113" fmla="*/ 5 h 1644"/>
                    <a:gd name="T114" fmla="*/ 11 w 3734"/>
                    <a:gd name="T115" fmla="*/ 5 h 1644"/>
                    <a:gd name="T116" fmla="*/ 11 w 3734"/>
                    <a:gd name="T117" fmla="*/ 5 h 1644"/>
                    <a:gd name="T118" fmla="*/ 11 w 3734"/>
                    <a:gd name="T119" fmla="*/ 6 h 1644"/>
                    <a:gd name="T120" fmla="*/ 11 w 3734"/>
                    <a:gd name="T121" fmla="*/ 6 h 1644"/>
                    <a:gd name="T122" fmla="*/ 11 w 3734"/>
                    <a:gd name="T123" fmla="*/ 6 h 1644"/>
                    <a:gd name="T124" fmla="*/ 11 w 3734"/>
                    <a:gd name="T125" fmla="*/ 6 h 1644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3734"/>
                    <a:gd name="T190" fmla="*/ 0 h 1644"/>
                    <a:gd name="T191" fmla="*/ 3734 w 3734"/>
                    <a:gd name="T192" fmla="*/ 1644 h 1644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3734" h="1644">
                      <a:moveTo>
                        <a:pt x="3010" y="1478"/>
                      </a:moveTo>
                      <a:lnTo>
                        <a:pt x="3010" y="1410"/>
                      </a:lnTo>
                      <a:lnTo>
                        <a:pt x="3013" y="1407"/>
                      </a:lnTo>
                      <a:lnTo>
                        <a:pt x="3016" y="1400"/>
                      </a:lnTo>
                      <a:lnTo>
                        <a:pt x="3021" y="1391"/>
                      </a:lnTo>
                      <a:lnTo>
                        <a:pt x="3025" y="1382"/>
                      </a:lnTo>
                      <a:lnTo>
                        <a:pt x="3029" y="1370"/>
                      </a:lnTo>
                      <a:lnTo>
                        <a:pt x="3033" y="1360"/>
                      </a:lnTo>
                      <a:lnTo>
                        <a:pt x="3036" y="1351"/>
                      </a:lnTo>
                      <a:lnTo>
                        <a:pt x="3036" y="1343"/>
                      </a:lnTo>
                      <a:lnTo>
                        <a:pt x="3032" y="1345"/>
                      </a:lnTo>
                      <a:lnTo>
                        <a:pt x="3026" y="1345"/>
                      </a:lnTo>
                      <a:lnTo>
                        <a:pt x="3021" y="1346"/>
                      </a:lnTo>
                      <a:lnTo>
                        <a:pt x="3014" y="1345"/>
                      </a:lnTo>
                      <a:lnTo>
                        <a:pt x="2997" y="1344"/>
                      </a:lnTo>
                      <a:lnTo>
                        <a:pt x="2977" y="1343"/>
                      </a:lnTo>
                      <a:lnTo>
                        <a:pt x="2967" y="1343"/>
                      </a:lnTo>
                      <a:lnTo>
                        <a:pt x="2958" y="1345"/>
                      </a:lnTo>
                      <a:lnTo>
                        <a:pt x="2950" y="1348"/>
                      </a:lnTo>
                      <a:lnTo>
                        <a:pt x="2943" y="1352"/>
                      </a:lnTo>
                      <a:lnTo>
                        <a:pt x="2936" y="1356"/>
                      </a:lnTo>
                      <a:lnTo>
                        <a:pt x="2931" y="1362"/>
                      </a:lnTo>
                      <a:lnTo>
                        <a:pt x="2925" y="1368"/>
                      </a:lnTo>
                      <a:lnTo>
                        <a:pt x="2920" y="1374"/>
                      </a:lnTo>
                      <a:lnTo>
                        <a:pt x="2909" y="1388"/>
                      </a:lnTo>
                      <a:lnTo>
                        <a:pt x="2899" y="1403"/>
                      </a:lnTo>
                      <a:lnTo>
                        <a:pt x="2889" y="1416"/>
                      </a:lnTo>
                      <a:lnTo>
                        <a:pt x="2877" y="1429"/>
                      </a:lnTo>
                      <a:lnTo>
                        <a:pt x="2867" y="1438"/>
                      </a:lnTo>
                      <a:lnTo>
                        <a:pt x="2857" y="1445"/>
                      </a:lnTo>
                      <a:lnTo>
                        <a:pt x="2847" y="1451"/>
                      </a:lnTo>
                      <a:lnTo>
                        <a:pt x="2836" y="1456"/>
                      </a:lnTo>
                      <a:lnTo>
                        <a:pt x="2826" y="1460"/>
                      </a:lnTo>
                      <a:lnTo>
                        <a:pt x="2815" y="1463"/>
                      </a:lnTo>
                      <a:lnTo>
                        <a:pt x="2803" y="1465"/>
                      </a:lnTo>
                      <a:lnTo>
                        <a:pt x="2792" y="1467"/>
                      </a:lnTo>
                      <a:lnTo>
                        <a:pt x="2767" y="1470"/>
                      </a:lnTo>
                      <a:lnTo>
                        <a:pt x="2741" y="1472"/>
                      </a:lnTo>
                      <a:lnTo>
                        <a:pt x="2711" y="1474"/>
                      </a:lnTo>
                      <a:lnTo>
                        <a:pt x="2678" y="1478"/>
                      </a:lnTo>
                      <a:lnTo>
                        <a:pt x="2591" y="1478"/>
                      </a:lnTo>
                      <a:lnTo>
                        <a:pt x="2580" y="1494"/>
                      </a:lnTo>
                      <a:lnTo>
                        <a:pt x="2569" y="1508"/>
                      </a:lnTo>
                      <a:lnTo>
                        <a:pt x="2556" y="1522"/>
                      </a:lnTo>
                      <a:lnTo>
                        <a:pt x="2543" y="1534"/>
                      </a:lnTo>
                      <a:lnTo>
                        <a:pt x="2530" y="1547"/>
                      </a:lnTo>
                      <a:lnTo>
                        <a:pt x="2514" y="1558"/>
                      </a:lnTo>
                      <a:lnTo>
                        <a:pt x="2500" y="1568"/>
                      </a:lnTo>
                      <a:lnTo>
                        <a:pt x="2485" y="1577"/>
                      </a:lnTo>
                      <a:lnTo>
                        <a:pt x="2492" y="1571"/>
                      </a:lnTo>
                      <a:lnTo>
                        <a:pt x="2498" y="1565"/>
                      </a:lnTo>
                      <a:lnTo>
                        <a:pt x="2502" y="1559"/>
                      </a:lnTo>
                      <a:lnTo>
                        <a:pt x="2504" y="1553"/>
                      </a:lnTo>
                      <a:lnTo>
                        <a:pt x="2478" y="1546"/>
                      </a:lnTo>
                      <a:lnTo>
                        <a:pt x="2445" y="1559"/>
                      </a:lnTo>
                      <a:lnTo>
                        <a:pt x="2408" y="1562"/>
                      </a:lnTo>
                      <a:lnTo>
                        <a:pt x="2364" y="1565"/>
                      </a:lnTo>
                      <a:lnTo>
                        <a:pt x="2353" y="1567"/>
                      </a:lnTo>
                      <a:lnTo>
                        <a:pt x="2343" y="1569"/>
                      </a:lnTo>
                      <a:lnTo>
                        <a:pt x="2334" y="1572"/>
                      </a:lnTo>
                      <a:lnTo>
                        <a:pt x="2328" y="1575"/>
                      </a:lnTo>
                      <a:lnTo>
                        <a:pt x="2321" y="1579"/>
                      </a:lnTo>
                      <a:lnTo>
                        <a:pt x="2316" y="1583"/>
                      </a:lnTo>
                      <a:lnTo>
                        <a:pt x="2315" y="1586"/>
                      </a:lnTo>
                      <a:lnTo>
                        <a:pt x="2313" y="1589"/>
                      </a:lnTo>
                      <a:lnTo>
                        <a:pt x="2312" y="1592"/>
                      </a:lnTo>
                      <a:lnTo>
                        <a:pt x="2312" y="1595"/>
                      </a:lnTo>
                      <a:lnTo>
                        <a:pt x="2312" y="1598"/>
                      </a:lnTo>
                      <a:lnTo>
                        <a:pt x="2313" y="1602"/>
                      </a:lnTo>
                      <a:lnTo>
                        <a:pt x="2316" y="1604"/>
                      </a:lnTo>
                      <a:lnTo>
                        <a:pt x="2318" y="1605"/>
                      </a:lnTo>
                      <a:lnTo>
                        <a:pt x="2324" y="1608"/>
                      </a:lnTo>
                      <a:lnTo>
                        <a:pt x="2332" y="1609"/>
                      </a:lnTo>
                      <a:lnTo>
                        <a:pt x="2351" y="1609"/>
                      </a:lnTo>
                      <a:lnTo>
                        <a:pt x="2372" y="1608"/>
                      </a:lnTo>
                      <a:lnTo>
                        <a:pt x="2388" y="1607"/>
                      </a:lnTo>
                      <a:lnTo>
                        <a:pt x="2405" y="1605"/>
                      </a:lnTo>
                      <a:lnTo>
                        <a:pt x="2421" y="1602"/>
                      </a:lnTo>
                      <a:lnTo>
                        <a:pt x="2438" y="1597"/>
                      </a:lnTo>
                      <a:lnTo>
                        <a:pt x="2425" y="1602"/>
                      </a:lnTo>
                      <a:lnTo>
                        <a:pt x="2414" y="1605"/>
                      </a:lnTo>
                      <a:lnTo>
                        <a:pt x="2402" y="1607"/>
                      </a:lnTo>
                      <a:lnTo>
                        <a:pt x="2391" y="1608"/>
                      </a:lnTo>
                      <a:lnTo>
                        <a:pt x="2319" y="1626"/>
                      </a:lnTo>
                      <a:lnTo>
                        <a:pt x="2313" y="1629"/>
                      </a:lnTo>
                      <a:lnTo>
                        <a:pt x="2307" y="1631"/>
                      </a:lnTo>
                      <a:lnTo>
                        <a:pt x="2300" y="1633"/>
                      </a:lnTo>
                      <a:lnTo>
                        <a:pt x="2294" y="1634"/>
                      </a:lnTo>
                      <a:lnTo>
                        <a:pt x="2296" y="1633"/>
                      </a:lnTo>
                      <a:lnTo>
                        <a:pt x="2299" y="1632"/>
                      </a:lnTo>
                      <a:lnTo>
                        <a:pt x="2290" y="1625"/>
                      </a:lnTo>
                      <a:lnTo>
                        <a:pt x="2283" y="1620"/>
                      </a:lnTo>
                      <a:lnTo>
                        <a:pt x="2273" y="1617"/>
                      </a:lnTo>
                      <a:lnTo>
                        <a:pt x="2263" y="1614"/>
                      </a:lnTo>
                      <a:lnTo>
                        <a:pt x="2253" y="1613"/>
                      </a:lnTo>
                      <a:lnTo>
                        <a:pt x="2243" y="1614"/>
                      </a:lnTo>
                      <a:lnTo>
                        <a:pt x="2233" y="1615"/>
                      </a:lnTo>
                      <a:lnTo>
                        <a:pt x="2224" y="1616"/>
                      </a:lnTo>
                      <a:lnTo>
                        <a:pt x="2207" y="1621"/>
                      </a:lnTo>
                      <a:lnTo>
                        <a:pt x="2193" y="1626"/>
                      </a:lnTo>
                      <a:lnTo>
                        <a:pt x="2183" y="1630"/>
                      </a:lnTo>
                      <a:lnTo>
                        <a:pt x="2179" y="1632"/>
                      </a:lnTo>
                      <a:lnTo>
                        <a:pt x="2172" y="1634"/>
                      </a:lnTo>
                      <a:lnTo>
                        <a:pt x="2162" y="1637"/>
                      </a:lnTo>
                      <a:lnTo>
                        <a:pt x="2150" y="1641"/>
                      </a:lnTo>
                      <a:lnTo>
                        <a:pt x="2137" y="1644"/>
                      </a:lnTo>
                      <a:lnTo>
                        <a:pt x="2147" y="1632"/>
                      </a:lnTo>
                      <a:lnTo>
                        <a:pt x="2156" y="1623"/>
                      </a:lnTo>
                      <a:lnTo>
                        <a:pt x="2167" y="1614"/>
                      </a:lnTo>
                      <a:lnTo>
                        <a:pt x="2177" y="1607"/>
                      </a:lnTo>
                      <a:lnTo>
                        <a:pt x="2187" y="1599"/>
                      </a:lnTo>
                      <a:lnTo>
                        <a:pt x="2196" y="1592"/>
                      </a:lnTo>
                      <a:lnTo>
                        <a:pt x="2200" y="1587"/>
                      </a:lnTo>
                      <a:lnTo>
                        <a:pt x="2205" y="1582"/>
                      </a:lnTo>
                      <a:lnTo>
                        <a:pt x="2209" y="1577"/>
                      </a:lnTo>
                      <a:lnTo>
                        <a:pt x="2212" y="1571"/>
                      </a:lnTo>
                      <a:lnTo>
                        <a:pt x="2219" y="1558"/>
                      </a:lnTo>
                      <a:lnTo>
                        <a:pt x="2222" y="1544"/>
                      </a:lnTo>
                      <a:lnTo>
                        <a:pt x="2224" y="1533"/>
                      </a:lnTo>
                      <a:lnTo>
                        <a:pt x="2228" y="1522"/>
                      </a:lnTo>
                      <a:lnTo>
                        <a:pt x="2230" y="1511"/>
                      </a:lnTo>
                      <a:lnTo>
                        <a:pt x="2234" y="1501"/>
                      </a:lnTo>
                      <a:lnTo>
                        <a:pt x="2238" y="1495"/>
                      </a:lnTo>
                      <a:lnTo>
                        <a:pt x="2242" y="1490"/>
                      </a:lnTo>
                      <a:lnTo>
                        <a:pt x="2246" y="1484"/>
                      </a:lnTo>
                      <a:lnTo>
                        <a:pt x="2252" y="1478"/>
                      </a:lnTo>
                      <a:lnTo>
                        <a:pt x="2265" y="1478"/>
                      </a:lnTo>
                      <a:lnTo>
                        <a:pt x="2266" y="1485"/>
                      </a:lnTo>
                      <a:lnTo>
                        <a:pt x="2267" y="1492"/>
                      </a:lnTo>
                      <a:lnTo>
                        <a:pt x="2271" y="1497"/>
                      </a:lnTo>
                      <a:lnTo>
                        <a:pt x="2273" y="1502"/>
                      </a:lnTo>
                      <a:lnTo>
                        <a:pt x="2279" y="1512"/>
                      </a:lnTo>
                      <a:lnTo>
                        <a:pt x="2286" y="1521"/>
                      </a:lnTo>
                      <a:lnTo>
                        <a:pt x="2298" y="1517"/>
                      </a:lnTo>
                      <a:lnTo>
                        <a:pt x="2310" y="1512"/>
                      </a:lnTo>
                      <a:lnTo>
                        <a:pt x="2324" y="1508"/>
                      </a:lnTo>
                      <a:lnTo>
                        <a:pt x="2345" y="1503"/>
                      </a:lnTo>
                      <a:lnTo>
                        <a:pt x="2345" y="1478"/>
                      </a:lnTo>
                      <a:lnTo>
                        <a:pt x="2331" y="1462"/>
                      </a:lnTo>
                      <a:lnTo>
                        <a:pt x="2317" y="1444"/>
                      </a:lnTo>
                      <a:lnTo>
                        <a:pt x="2309" y="1436"/>
                      </a:lnTo>
                      <a:lnTo>
                        <a:pt x="2300" y="1428"/>
                      </a:lnTo>
                      <a:lnTo>
                        <a:pt x="2296" y="1426"/>
                      </a:lnTo>
                      <a:lnTo>
                        <a:pt x="2290" y="1424"/>
                      </a:lnTo>
                      <a:lnTo>
                        <a:pt x="2285" y="1423"/>
                      </a:lnTo>
                      <a:lnTo>
                        <a:pt x="2279" y="1422"/>
                      </a:lnTo>
                      <a:lnTo>
                        <a:pt x="2249" y="1423"/>
                      </a:lnTo>
                      <a:lnTo>
                        <a:pt x="2215" y="1424"/>
                      </a:lnTo>
                      <a:lnTo>
                        <a:pt x="2199" y="1424"/>
                      </a:lnTo>
                      <a:lnTo>
                        <a:pt x="2185" y="1423"/>
                      </a:lnTo>
                      <a:lnTo>
                        <a:pt x="2178" y="1422"/>
                      </a:lnTo>
                      <a:lnTo>
                        <a:pt x="2173" y="1420"/>
                      </a:lnTo>
                      <a:lnTo>
                        <a:pt x="2168" y="1419"/>
                      </a:lnTo>
                      <a:lnTo>
                        <a:pt x="2166" y="1416"/>
                      </a:lnTo>
                      <a:lnTo>
                        <a:pt x="2163" y="1413"/>
                      </a:lnTo>
                      <a:lnTo>
                        <a:pt x="2161" y="1409"/>
                      </a:lnTo>
                      <a:lnTo>
                        <a:pt x="2159" y="1405"/>
                      </a:lnTo>
                      <a:lnTo>
                        <a:pt x="2159" y="1401"/>
                      </a:lnTo>
                      <a:lnTo>
                        <a:pt x="2159" y="1392"/>
                      </a:lnTo>
                      <a:lnTo>
                        <a:pt x="2160" y="1382"/>
                      </a:lnTo>
                      <a:lnTo>
                        <a:pt x="2161" y="1372"/>
                      </a:lnTo>
                      <a:lnTo>
                        <a:pt x="2161" y="1362"/>
                      </a:lnTo>
                      <a:lnTo>
                        <a:pt x="2160" y="1357"/>
                      </a:lnTo>
                      <a:lnTo>
                        <a:pt x="2159" y="1352"/>
                      </a:lnTo>
                      <a:lnTo>
                        <a:pt x="2155" y="1347"/>
                      </a:lnTo>
                      <a:lnTo>
                        <a:pt x="2153" y="1343"/>
                      </a:lnTo>
                      <a:lnTo>
                        <a:pt x="2149" y="1339"/>
                      </a:lnTo>
                      <a:lnTo>
                        <a:pt x="2144" y="1335"/>
                      </a:lnTo>
                      <a:lnTo>
                        <a:pt x="2139" y="1332"/>
                      </a:lnTo>
                      <a:lnTo>
                        <a:pt x="2133" y="1329"/>
                      </a:lnTo>
                      <a:lnTo>
                        <a:pt x="2122" y="1323"/>
                      </a:lnTo>
                      <a:lnTo>
                        <a:pt x="2111" y="1315"/>
                      </a:lnTo>
                      <a:lnTo>
                        <a:pt x="2107" y="1311"/>
                      </a:lnTo>
                      <a:lnTo>
                        <a:pt x="2102" y="1307"/>
                      </a:lnTo>
                      <a:lnTo>
                        <a:pt x="2097" y="1301"/>
                      </a:lnTo>
                      <a:lnTo>
                        <a:pt x="2094" y="1295"/>
                      </a:lnTo>
                      <a:lnTo>
                        <a:pt x="2091" y="1288"/>
                      </a:lnTo>
                      <a:lnTo>
                        <a:pt x="2088" y="1279"/>
                      </a:lnTo>
                      <a:lnTo>
                        <a:pt x="2087" y="1269"/>
                      </a:lnTo>
                      <a:lnTo>
                        <a:pt x="2086" y="1256"/>
                      </a:lnTo>
                      <a:lnTo>
                        <a:pt x="2060" y="1256"/>
                      </a:lnTo>
                      <a:lnTo>
                        <a:pt x="2046" y="1259"/>
                      </a:lnTo>
                      <a:lnTo>
                        <a:pt x="2027" y="1261"/>
                      </a:lnTo>
                      <a:lnTo>
                        <a:pt x="2017" y="1262"/>
                      </a:lnTo>
                      <a:lnTo>
                        <a:pt x="2007" y="1265"/>
                      </a:lnTo>
                      <a:lnTo>
                        <a:pt x="2003" y="1267"/>
                      </a:lnTo>
                      <a:lnTo>
                        <a:pt x="1999" y="1270"/>
                      </a:lnTo>
                      <a:lnTo>
                        <a:pt x="1996" y="1272"/>
                      </a:lnTo>
                      <a:lnTo>
                        <a:pt x="1993" y="1275"/>
                      </a:lnTo>
                      <a:lnTo>
                        <a:pt x="1985" y="1287"/>
                      </a:lnTo>
                      <a:lnTo>
                        <a:pt x="1976" y="1301"/>
                      </a:lnTo>
                      <a:lnTo>
                        <a:pt x="1974" y="1304"/>
                      </a:lnTo>
                      <a:lnTo>
                        <a:pt x="1971" y="1307"/>
                      </a:lnTo>
                      <a:lnTo>
                        <a:pt x="1968" y="1310"/>
                      </a:lnTo>
                      <a:lnTo>
                        <a:pt x="1963" y="1313"/>
                      </a:lnTo>
                      <a:lnTo>
                        <a:pt x="1959" y="1315"/>
                      </a:lnTo>
                      <a:lnTo>
                        <a:pt x="1953" y="1316"/>
                      </a:lnTo>
                      <a:lnTo>
                        <a:pt x="1947" y="1317"/>
                      </a:lnTo>
                      <a:lnTo>
                        <a:pt x="1940" y="1318"/>
                      </a:lnTo>
                      <a:lnTo>
                        <a:pt x="1930" y="1317"/>
                      </a:lnTo>
                      <a:lnTo>
                        <a:pt x="1920" y="1315"/>
                      </a:lnTo>
                      <a:lnTo>
                        <a:pt x="1910" y="1313"/>
                      </a:lnTo>
                      <a:lnTo>
                        <a:pt x="1901" y="1309"/>
                      </a:lnTo>
                      <a:lnTo>
                        <a:pt x="1892" y="1305"/>
                      </a:lnTo>
                      <a:lnTo>
                        <a:pt x="1883" y="1300"/>
                      </a:lnTo>
                      <a:lnTo>
                        <a:pt x="1874" y="1294"/>
                      </a:lnTo>
                      <a:lnTo>
                        <a:pt x="1867" y="1287"/>
                      </a:lnTo>
                      <a:lnTo>
                        <a:pt x="1864" y="1289"/>
                      </a:lnTo>
                      <a:lnTo>
                        <a:pt x="1860" y="1293"/>
                      </a:lnTo>
                      <a:lnTo>
                        <a:pt x="1853" y="1298"/>
                      </a:lnTo>
                      <a:lnTo>
                        <a:pt x="1847" y="1299"/>
                      </a:lnTo>
                      <a:lnTo>
                        <a:pt x="1840" y="1299"/>
                      </a:lnTo>
                      <a:lnTo>
                        <a:pt x="1833" y="1297"/>
                      </a:lnTo>
                      <a:lnTo>
                        <a:pt x="1826" y="1294"/>
                      </a:lnTo>
                      <a:lnTo>
                        <a:pt x="1819" y="1290"/>
                      </a:lnTo>
                      <a:lnTo>
                        <a:pt x="1813" y="1287"/>
                      </a:lnTo>
                      <a:lnTo>
                        <a:pt x="1805" y="1284"/>
                      </a:lnTo>
                      <a:lnTo>
                        <a:pt x="1796" y="1282"/>
                      </a:lnTo>
                      <a:lnTo>
                        <a:pt x="1787" y="1281"/>
                      </a:lnTo>
                      <a:lnTo>
                        <a:pt x="1771" y="1281"/>
                      </a:lnTo>
                      <a:lnTo>
                        <a:pt x="1761" y="1281"/>
                      </a:lnTo>
                      <a:lnTo>
                        <a:pt x="1756" y="1281"/>
                      </a:lnTo>
                      <a:lnTo>
                        <a:pt x="1751" y="1280"/>
                      </a:lnTo>
                      <a:lnTo>
                        <a:pt x="1747" y="1279"/>
                      </a:lnTo>
                      <a:lnTo>
                        <a:pt x="1742" y="1277"/>
                      </a:lnTo>
                      <a:lnTo>
                        <a:pt x="1734" y="1272"/>
                      </a:lnTo>
                      <a:lnTo>
                        <a:pt x="1727" y="1264"/>
                      </a:lnTo>
                      <a:lnTo>
                        <a:pt x="1722" y="1256"/>
                      </a:lnTo>
                      <a:lnTo>
                        <a:pt x="1717" y="1247"/>
                      </a:lnTo>
                      <a:lnTo>
                        <a:pt x="1715" y="1237"/>
                      </a:lnTo>
                      <a:lnTo>
                        <a:pt x="1714" y="1226"/>
                      </a:lnTo>
                      <a:lnTo>
                        <a:pt x="1681" y="1226"/>
                      </a:lnTo>
                      <a:lnTo>
                        <a:pt x="1682" y="1231"/>
                      </a:lnTo>
                      <a:lnTo>
                        <a:pt x="1684" y="1239"/>
                      </a:lnTo>
                      <a:lnTo>
                        <a:pt x="1686" y="1247"/>
                      </a:lnTo>
                      <a:lnTo>
                        <a:pt x="1688" y="1256"/>
                      </a:lnTo>
                      <a:lnTo>
                        <a:pt x="259" y="1256"/>
                      </a:lnTo>
                      <a:lnTo>
                        <a:pt x="263" y="1245"/>
                      </a:lnTo>
                      <a:lnTo>
                        <a:pt x="265" y="1239"/>
                      </a:lnTo>
                      <a:lnTo>
                        <a:pt x="265" y="1237"/>
                      </a:lnTo>
                      <a:lnTo>
                        <a:pt x="263" y="1236"/>
                      </a:lnTo>
                      <a:lnTo>
                        <a:pt x="261" y="1235"/>
                      </a:lnTo>
                      <a:lnTo>
                        <a:pt x="258" y="1233"/>
                      </a:lnTo>
                      <a:lnTo>
                        <a:pt x="256" y="1229"/>
                      </a:lnTo>
                      <a:lnTo>
                        <a:pt x="252" y="1220"/>
                      </a:lnTo>
                      <a:lnTo>
                        <a:pt x="247" y="1214"/>
                      </a:lnTo>
                      <a:lnTo>
                        <a:pt x="240" y="1207"/>
                      </a:lnTo>
                      <a:lnTo>
                        <a:pt x="235" y="1200"/>
                      </a:lnTo>
                      <a:lnTo>
                        <a:pt x="233" y="1195"/>
                      </a:lnTo>
                      <a:lnTo>
                        <a:pt x="226" y="1194"/>
                      </a:lnTo>
                      <a:lnTo>
                        <a:pt x="217" y="1190"/>
                      </a:lnTo>
                      <a:lnTo>
                        <a:pt x="213" y="1188"/>
                      </a:lnTo>
                      <a:lnTo>
                        <a:pt x="210" y="1184"/>
                      </a:lnTo>
                      <a:lnTo>
                        <a:pt x="206" y="1181"/>
                      </a:lnTo>
                      <a:lnTo>
                        <a:pt x="206" y="1176"/>
                      </a:lnTo>
                      <a:lnTo>
                        <a:pt x="195" y="1173"/>
                      </a:lnTo>
                      <a:lnTo>
                        <a:pt x="182" y="1168"/>
                      </a:lnTo>
                      <a:lnTo>
                        <a:pt x="169" y="1161"/>
                      </a:lnTo>
                      <a:lnTo>
                        <a:pt x="156" y="1153"/>
                      </a:lnTo>
                      <a:lnTo>
                        <a:pt x="145" y="1145"/>
                      </a:lnTo>
                      <a:lnTo>
                        <a:pt x="135" y="1136"/>
                      </a:lnTo>
                      <a:lnTo>
                        <a:pt x="132" y="1132"/>
                      </a:lnTo>
                      <a:lnTo>
                        <a:pt x="128" y="1128"/>
                      </a:lnTo>
                      <a:lnTo>
                        <a:pt x="127" y="1125"/>
                      </a:lnTo>
                      <a:lnTo>
                        <a:pt x="126" y="1121"/>
                      </a:lnTo>
                      <a:lnTo>
                        <a:pt x="127" y="1116"/>
                      </a:lnTo>
                      <a:lnTo>
                        <a:pt x="128" y="1111"/>
                      </a:lnTo>
                      <a:lnTo>
                        <a:pt x="132" y="1106"/>
                      </a:lnTo>
                      <a:lnTo>
                        <a:pt x="136" y="1102"/>
                      </a:lnTo>
                      <a:lnTo>
                        <a:pt x="146" y="1094"/>
                      </a:lnTo>
                      <a:lnTo>
                        <a:pt x="157" y="1088"/>
                      </a:lnTo>
                      <a:lnTo>
                        <a:pt x="169" y="1083"/>
                      </a:lnTo>
                      <a:lnTo>
                        <a:pt x="180" y="1077"/>
                      </a:lnTo>
                      <a:lnTo>
                        <a:pt x="184" y="1075"/>
                      </a:lnTo>
                      <a:lnTo>
                        <a:pt x="188" y="1072"/>
                      </a:lnTo>
                      <a:lnTo>
                        <a:pt x="191" y="1069"/>
                      </a:lnTo>
                      <a:lnTo>
                        <a:pt x="193" y="1066"/>
                      </a:lnTo>
                      <a:lnTo>
                        <a:pt x="183" y="1065"/>
                      </a:lnTo>
                      <a:lnTo>
                        <a:pt x="170" y="1064"/>
                      </a:lnTo>
                      <a:lnTo>
                        <a:pt x="164" y="1063"/>
                      </a:lnTo>
                      <a:lnTo>
                        <a:pt x="158" y="1060"/>
                      </a:lnTo>
                      <a:lnTo>
                        <a:pt x="156" y="1059"/>
                      </a:lnTo>
                      <a:lnTo>
                        <a:pt x="155" y="1057"/>
                      </a:lnTo>
                      <a:lnTo>
                        <a:pt x="154" y="1056"/>
                      </a:lnTo>
                      <a:lnTo>
                        <a:pt x="153" y="1053"/>
                      </a:lnTo>
                      <a:lnTo>
                        <a:pt x="151" y="1040"/>
                      </a:lnTo>
                      <a:lnTo>
                        <a:pt x="148" y="1029"/>
                      </a:lnTo>
                      <a:lnTo>
                        <a:pt x="147" y="1024"/>
                      </a:lnTo>
                      <a:lnTo>
                        <a:pt x="147" y="1019"/>
                      </a:lnTo>
                      <a:lnTo>
                        <a:pt x="149" y="1015"/>
                      </a:lnTo>
                      <a:lnTo>
                        <a:pt x="153" y="1010"/>
                      </a:lnTo>
                      <a:lnTo>
                        <a:pt x="126" y="1010"/>
                      </a:lnTo>
                      <a:lnTo>
                        <a:pt x="133" y="992"/>
                      </a:lnTo>
                      <a:lnTo>
                        <a:pt x="120" y="989"/>
                      </a:lnTo>
                      <a:lnTo>
                        <a:pt x="106" y="985"/>
                      </a:lnTo>
                      <a:lnTo>
                        <a:pt x="108" y="979"/>
                      </a:lnTo>
                      <a:lnTo>
                        <a:pt x="110" y="973"/>
                      </a:lnTo>
                      <a:lnTo>
                        <a:pt x="112" y="969"/>
                      </a:lnTo>
                      <a:lnTo>
                        <a:pt x="114" y="965"/>
                      </a:lnTo>
                      <a:lnTo>
                        <a:pt x="121" y="958"/>
                      </a:lnTo>
                      <a:lnTo>
                        <a:pt x="127" y="954"/>
                      </a:lnTo>
                      <a:lnTo>
                        <a:pt x="134" y="950"/>
                      </a:lnTo>
                      <a:lnTo>
                        <a:pt x="140" y="947"/>
                      </a:lnTo>
                      <a:lnTo>
                        <a:pt x="147" y="942"/>
                      </a:lnTo>
                      <a:lnTo>
                        <a:pt x="153" y="936"/>
                      </a:lnTo>
                      <a:lnTo>
                        <a:pt x="149" y="932"/>
                      </a:lnTo>
                      <a:lnTo>
                        <a:pt x="148" y="929"/>
                      </a:lnTo>
                      <a:lnTo>
                        <a:pt x="147" y="927"/>
                      </a:lnTo>
                      <a:lnTo>
                        <a:pt x="147" y="925"/>
                      </a:lnTo>
                      <a:lnTo>
                        <a:pt x="148" y="923"/>
                      </a:lnTo>
                      <a:lnTo>
                        <a:pt x="149" y="921"/>
                      </a:lnTo>
                      <a:lnTo>
                        <a:pt x="151" y="919"/>
                      </a:lnTo>
                      <a:lnTo>
                        <a:pt x="155" y="917"/>
                      </a:lnTo>
                      <a:lnTo>
                        <a:pt x="161" y="914"/>
                      </a:lnTo>
                      <a:lnTo>
                        <a:pt x="170" y="910"/>
                      </a:lnTo>
                      <a:lnTo>
                        <a:pt x="178" y="905"/>
                      </a:lnTo>
                      <a:lnTo>
                        <a:pt x="187" y="899"/>
                      </a:lnTo>
                      <a:lnTo>
                        <a:pt x="191" y="901"/>
                      </a:lnTo>
                      <a:lnTo>
                        <a:pt x="196" y="902"/>
                      </a:lnTo>
                      <a:lnTo>
                        <a:pt x="203" y="901"/>
                      </a:lnTo>
                      <a:lnTo>
                        <a:pt x="209" y="900"/>
                      </a:lnTo>
                      <a:lnTo>
                        <a:pt x="215" y="898"/>
                      </a:lnTo>
                      <a:lnTo>
                        <a:pt x="221" y="896"/>
                      </a:lnTo>
                      <a:lnTo>
                        <a:pt x="227" y="893"/>
                      </a:lnTo>
                      <a:lnTo>
                        <a:pt x="233" y="889"/>
                      </a:lnTo>
                      <a:lnTo>
                        <a:pt x="243" y="881"/>
                      </a:lnTo>
                      <a:lnTo>
                        <a:pt x="251" y="872"/>
                      </a:lnTo>
                      <a:lnTo>
                        <a:pt x="255" y="868"/>
                      </a:lnTo>
                      <a:lnTo>
                        <a:pt x="257" y="863"/>
                      </a:lnTo>
                      <a:lnTo>
                        <a:pt x="259" y="859"/>
                      </a:lnTo>
                      <a:lnTo>
                        <a:pt x="259" y="856"/>
                      </a:lnTo>
                      <a:lnTo>
                        <a:pt x="259" y="851"/>
                      </a:lnTo>
                      <a:lnTo>
                        <a:pt x="258" y="847"/>
                      </a:lnTo>
                      <a:lnTo>
                        <a:pt x="256" y="843"/>
                      </a:lnTo>
                      <a:lnTo>
                        <a:pt x="254" y="840"/>
                      </a:lnTo>
                      <a:lnTo>
                        <a:pt x="248" y="832"/>
                      </a:lnTo>
                      <a:lnTo>
                        <a:pt x="243" y="826"/>
                      </a:lnTo>
                      <a:lnTo>
                        <a:pt x="236" y="818"/>
                      </a:lnTo>
                      <a:lnTo>
                        <a:pt x="232" y="811"/>
                      </a:lnTo>
                      <a:lnTo>
                        <a:pt x="229" y="807"/>
                      </a:lnTo>
                      <a:lnTo>
                        <a:pt x="227" y="803"/>
                      </a:lnTo>
                      <a:lnTo>
                        <a:pt x="226" y="799"/>
                      </a:lnTo>
                      <a:lnTo>
                        <a:pt x="226" y="794"/>
                      </a:lnTo>
                      <a:lnTo>
                        <a:pt x="226" y="789"/>
                      </a:lnTo>
                      <a:lnTo>
                        <a:pt x="227" y="784"/>
                      </a:lnTo>
                      <a:lnTo>
                        <a:pt x="228" y="780"/>
                      </a:lnTo>
                      <a:lnTo>
                        <a:pt x="231" y="776"/>
                      </a:lnTo>
                      <a:lnTo>
                        <a:pt x="234" y="770"/>
                      </a:lnTo>
                      <a:lnTo>
                        <a:pt x="239" y="763"/>
                      </a:lnTo>
                      <a:lnTo>
                        <a:pt x="244" y="757"/>
                      </a:lnTo>
                      <a:lnTo>
                        <a:pt x="248" y="751"/>
                      </a:lnTo>
                      <a:lnTo>
                        <a:pt x="250" y="747"/>
                      </a:lnTo>
                      <a:lnTo>
                        <a:pt x="251" y="743"/>
                      </a:lnTo>
                      <a:lnTo>
                        <a:pt x="252" y="738"/>
                      </a:lnTo>
                      <a:lnTo>
                        <a:pt x="252" y="733"/>
                      </a:lnTo>
                      <a:lnTo>
                        <a:pt x="252" y="724"/>
                      </a:lnTo>
                      <a:lnTo>
                        <a:pt x="251" y="716"/>
                      </a:lnTo>
                      <a:lnTo>
                        <a:pt x="249" y="707"/>
                      </a:lnTo>
                      <a:lnTo>
                        <a:pt x="247" y="700"/>
                      </a:lnTo>
                      <a:lnTo>
                        <a:pt x="242" y="686"/>
                      </a:lnTo>
                      <a:lnTo>
                        <a:pt x="234" y="674"/>
                      </a:lnTo>
                      <a:lnTo>
                        <a:pt x="218" y="653"/>
                      </a:lnTo>
                      <a:lnTo>
                        <a:pt x="206" y="634"/>
                      </a:lnTo>
                      <a:lnTo>
                        <a:pt x="200" y="634"/>
                      </a:lnTo>
                      <a:lnTo>
                        <a:pt x="194" y="635"/>
                      </a:lnTo>
                      <a:lnTo>
                        <a:pt x="190" y="637"/>
                      </a:lnTo>
                      <a:lnTo>
                        <a:pt x="186" y="639"/>
                      </a:lnTo>
                      <a:lnTo>
                        <a:pt x="177" y="644"/>
                      </a:lnTo>
                      <a:lnTo>
                        <a:pt x="168" y="649"/>
                      </a:lnTo>
                      <a:lnTo>
                        <a:pt x="159" y="656"/>
                      </a:lnTo>
                      <a:lnTo>
                        <a:pt x="148" y="661"/>
                      </a:lnTo>
                      <a:lnTo>
                        <a:pt x="142" y="662"/>
                      </a:lnTo>
                      <a:lnTo>
                        <a:pt x="135" y="664"/>
                      </a:lnTo>
                      <a:lnTo>
                        <a:pt x="128" y="665"/>
                      </a:lnTo>
                      <a:lnTo>
                        <a:pt x="120" y="665"/>
                      </a:lnTo>
                      <a:lnTo>
                        <a:pt x="113" y="663"/>
                      </a:lnTo>
                      <a:lnTo>
                        <a:pt x="104" y="658"/>
                      </a:lnTo>
                      <a:lnTo>
                        <a:pt x="100" y="656"/>
                      </a:lnTo>
                      <a:lnTo>
                        <a:pt x="97" y="652"/>
                      </a:lnTo>
                      <a:lnTo>
                        <a:pt x="94" y="649"/>
                      </a:lnTo>
                      <a:lnTo>
                        <a:pt x="93" y="646"/>
                      </a:lnTo>
                      <a:lnTo>
                        <a:pt x="93" y="640"/>
                      </a:lnTo>
                      <a:lnTo>
                        <a:pt x="95" y="633"/>
                      </a:lnTo>
                      <a:lnTo>
                        <a:pt x="98" y="628"/>
                      </a:lnTo>
                      <a:lnTo>
                        <a:pt x="100" y="622"/>
                      </a:lnTo>
                      <a:lnTo>
                        <a:pt x="102" y="616"/>
                      </a:lnTo>
                      <a:lnTo>
                        <a:pt x="104" y="610"/>
                      </a:lnTo>
                      <a:lnTo>
                        <a:pt x="105" y="604"/>
                      </a:lnTo>
                      <a:lnTo>
                        <a:pt x="106" y="597"/>
                      </a:lnTo>
                      <a:lnTo>
                        <a:pt x="86" y="597"/>
                      </a:lnTo>
                      <a:lnTo>
                        <a:pt x="64" y="597"/>
                      </a:lnTo>
                      <a:lnTo>
                        <a:pt x="35" y="597"/>
                      </a:lnTo>
                      <a:lnTo>
                        <a:pt x="0" y="597"/>
                      </a:lnTo>
                      <a:lnTo>
                        <a:pt x="585" y="117"/>
                      </a:lnTo>
                      <a:lnTo>
                        <a:pt x="594" y="116"/>
                      </a:lnTo>
                      <a:lnTo>
                        <a:pt x="602" y="114"/>
                      </a:lnTo>
                      <a:lnTo>
                        <a:pt x="612" y="112"/>
                      </a:lnTo>
                      <a:lnTo>
                        <a:pt x="625" y="111"/>
                      </a:lnTo>
                      <a:lnTo>
                        <a:pt x="635" y="111"/>
                      </a:lnTo>
                      <a:lnTo>
                        <a:pt x="643" y="113"/>
                      </a:lnTo>
                      <a:lnTo>
                        <a:pt x="651" y="116"/>
                      </a:lnTo>
                      <a:lnTo>
                        <a:pt x="659" y="119"/>
                      </a:lnTo>
                      <a:lnTo>
                        <a:pt x="674" y="128"/>
                      </a:lnTo>
                      <a:lnTo>
                        <a:pt x="687" y="138"/>
                      </a:lnTo>
                      <a:lnTo>
                        <a:pt x="702" y="148"/>
                      </a:lnTo>
                      <a:lnTo>
                        <a:pt x="716" y="158"/>
                      </a:lnTo>
                      <a:lnTo>
                        <a:pt x="724" y="161"/>
                      </a:lnTo>
                      <a:lnTo>
                        <a:pt x="732" y="164"/>
                      </a:lnTo>
                      <a:lnTo>
                        <a:pt x="741" y="166"/>
                      </a:lnTo>
                      <a:lnTo>
                        <a:pt x="751" y="166"/>
                      </a:lnTo>
                      <a:lnTo>
                        <a:pt x="943" y="111"/>
                      </a:lnTo>
                      <a:lnTo>
                        <a:pt x="1096" y="111"/>
                      </a:lnTo>
                      <a:lnTo>
                        <a:pt x="1103" y="112"/>
                      </a:lnTo>
                      <a:lnTo>
                        <a:pt x="1110" y="113"/>
                      </a:lnTo>
                      <a:lnTo>
                        <a:pt x="1117" y="113"/>
                      </a:lnTo>
                      <a:lnTo>
                        <a:pt x="1123" y="113"/>
                      </a:lnTo>
                      <a:lnTo>
                        <a:pt x="1135" y="110"/>
                      </a:lnTo>
                      <a:lnTo>
                        <a:pt x="1146" y="105"/>
                      </a:lnTo>
                      <a:lnTo>
                        <a:pt x="1157" y="100"/>
                      </a:lnTo>
                      <a:lnTo>
                        <a:pt x="1169" y="93"/>
                      </a:lnTo>
                      <a:lnTo>
                        <a:pt x="1181" y="89"/>
                      </a:lnTo>
                      <a:lnTo>
                        <a:pt x="1196" y="85"/>
                      </a:lnTo>
                      <a:lnTo>
                        <a:pt x="1195" y="90"/>
                      </a:lnTo>
                      <a:lnTo>
                        <a:pt x="1195" y="94"/>
                      </a:lnTo>
                      <a:lnTo>
                        <a:pt x="1195" y="100"/>
                      </a:lnTo>
                      <a:lnTo>
                        <a:pt x="1196" y="104"/>
                      </a:lnTo>
                      <a:lnTo>
                        <a:pt x="1198" y="112"/>
                      </a:lnTo>
                      <a:lnTo>
                        <a:pt x="1202" y="120"/>
                      </a:lnTo>
                      <a:lnTo>
                        <a:pt x="1208" y="126"/>
                      </a:lnTo>
                      <a:lnTo>
                        <a:pt x="1214" y="131"/>
                      </a:lnTo>
                      <a:lnTo>
                        <a:pt x="1218" y="132"/>
                      </a:lnTo>
                      <a:lnTo>
                        <a:pt x="1222" y="134"/>
                      </a:lnTo>
                      <a:lnTo>
                        <a:pt x="1225" y="135"/>
                      </a:lnTo>
                      <a:lnTo>
                        <a:pt x="1230" y="135"/>
                      </a:lnTo>
                      <a:lnTo>
                        <a:pt x="1238" y="134"/>
                      </a:lnTo>
                      <a:lnTo>
                        <a:pt x="1247" y="133"/>
                      </a:lnTo>
                      <a:lnTo>
                        <a:pt x="1255" y="131"/>
                      </a:lnTo>
                      <a:lnTo>
                        <a:pt x="1263" y="128"/>
                      </a:lnTo>
                      <a:lnTo>
                        <a:pt x="1278" y="122"/>
                      </a:lnTo>
                      <a:lnTo>
                        <a:pt x="1296" y="117"/>
                      </a:lnTo>
                      <a:lnTo>
                        <a:pt x="1298" y="119"/>
                      </a:lnTo>
                      <a:lnTo>
                        <a:pt x="1300" y="120"/>
                      </a:lnTo>
                      <a:lnTo>
                        <a:pt x="1303" y="122"/>
                      </a:lnTo>
                      <a:lnTo>
                        <a:pt x="1308" y="123"/>
                      </a:lnTo>
                      <a:lnTo>
                        <a:pt x="1319" y="124"/>
                      </a:lnTo>
                      <a:lnTo>
                        <a:pt x="1331" y="124"/>
                      </a:lnTo>
                      <a:lnTo>
                        <a:pt x="1343" y="123"/>
                      </a:lnTo>
                      <a:lnTo>
                        <a:pt x="1355" y="121"/>
                      </a:lnTo>
                      <a:lnTo>
                        <a:pt x="1367" y="119"/>
                      </a:lnTo>
                      <a:lnTo>
                        <a:pt x="1376" y="117"/>
                      </a:lnTo>
                      <a:lnTo>
                        <a:pt x="1386" y="116"/>
                      </a:lnTo>
                      <a:lnTo>
                        <a:pt x="1397" y="114"/>
                      </a:lnTo>
                      <a:lnTo>
                        <a:pt x="1405" y="112"/>
                      </a:lnTo>
                      <a:lnTo>
                        <a:pt x="1409" y="111"/>
                      </a:lnTo>
                      <a:lnTo>
                        <a:pt x="1424" y="112"/>
                      </a:lnTo>
                      <a:lnTo>
                        <a:pt x="1450" y="117"/>
                      </a:lnTo>
                      <a:lnTo>
                        <a:pt x="1483" y="123"/>
                      </a:lnTo>
                      <a:lnTo>
                        <a:pt x="1520" y="131"/>
                      </a:lnTo>
                      <a:lnTo>
                        <a:pt x="1557" y="140"/>
                      </a:lnTo>
                      <a:lnTo>
                        <a:pt x="1592" y="149"/>
                      </a:lnTo>
                      <a:lnTo>
                        <a:pt x="1621" y="159"/>
                      </a:lnTo>
                      <a:lnTo>
                        <a:pt x="1641" y="166"/>
                      </a:lnTo>
                      <a:lnTo>
                        <a:pt x="1632" y="174"/>
                      </a:lnTo>
                      <a:lnTo>
                        <a:pt x="1623" y="179"/>
                      </a:lnTo>
                      <a:lnTo>
                        <a:pt x="1615" y="183"/>
                      </a:lnTo>
                      <a:lnTo>
                        <a:pt x="1607" y="187"/>
                      </a:lnTo>
                      <a:lnTo>
                        <a:pt x="1601" y="189"/>
                      </a:lnTo>
                      <a:lnTo>
                        <a:pt x="1592" y="193"/>
                      </a:lnTo>
                      <a:lnTo>
                        <a:pt x="1584" y="197"/>
                      </a:lnTo>
                      <a:lnTo>
                        <a:pt x="1574" y="202"/>
                      </a:lnTo>
                      <a:lnTo>
                        <a:pt x="1591" y="209"/>
                      </a:lnTo>
                      <a:lnTo>
                        <a:pt x="1606" y="215"/>
                      </a:lnTo>
                      <a:lnTo>
                        <a:pt x="1621" y="219"/>
                      </a:lnTo>
                      <a:lnTo>
                        <a:pt x="1635" y="222"/>
                      </a:lnTo>
                      <a:lnTo>
                        <a:pt x="1648" y="225"/>
                      </a:lnTo>
                      <a:lnTo>
                        <a:pt x="1662" y="226"/>
                      </a:lnTo>
                      <a:lnTo>
                        <a:pt x="1678" y="227"/>
                      </a:lnTo>
                      <a:lnTo>
                        <a:pt x="1694" y="228"/>
                      </a:lnTo>
                      <a:lnTo>
                        <a:pt x="1711" y="227"/>
                      </a:lnTo>
                      <a:lnTo>
                        <a:pt x="1725" y="224"/>
                      </a:lnTo>
                      <a:lnTo>
                        <a:pt x="1737" y="220"/>
                      </a:lnTo>
                      <a:lnTo>
                        <a:pt x="1749" y="216"/>
                      </a:lnTo>
                      <a:lnTo>
                        <a:pt x="1760" y="211"/>
                      </a:lnTo>
                      <a:lnTo>
                        <a:pt x="1771" y="206"/>
                      </a:lnTo>
                      <a:lnTo>
                        <a:pt x="1782" y="203"/>
                      </a:lnTo>
                      <a:lnTo>
                        <a:pt x="1794" y="202"/>
                      </a:lnTo>
                      <a:lnTo>
                        <a:pt x="1800" y="203"/>
                      </a:lnTo>
                      <a:lnTo>
                        <a:pt x="1805" y="204"/>
                      </a:lnTo>
                      <a:lnTo>
                        <a:pt x="1811" y="206"/>
                      </a:lnTo>
                      <a:lnTo>
                        <a:pt x="1816" y="209"/>
                      </a:lnTo>
                      <a:lnTo>
                        <a:pt x="1825" y="217"/>
                      </a:lnTo>
                      <a:lnTo>
                        <a:pt x="1833" y="225"/>
                      </a:lnTo>
                      <a:lnTo>
                        <a:pt x="1841" y="232"/>
                      </a:lnTo>
                      <a:lnTo>
                        <a:pt x="1849" y="239"/>
                      </a:lnTo>
                      <a:lnTo>
                        <a:pt x="1853" y="242"/>
                      </a:lnTo>
                      <a:lnTo>
                        <a:pt x="1858" y="244"/>
                      </a:lnTo>
                      <a:lnTo>
                        <a:pt x="1862" y="245"/>
                      </a:lnTo>
                      <a:lnTo>
                        <a:pt x="1867" y="246"/>
                      </a:lnTo>
                      <a:lnTo>
                        <a:pt x="1880" y="202"/>
                      </a:lnTo>
                      <a:lnTo>
                        <a:pt x="2006" y="178"/>
                      </a:lnTo>
                      <a:lnTo>
                        <a:pt x="2016" y="179"/>
                      </a:lnTo>
                      <a:lnTo>
                        <a:pt x="2026" y="180"/>
                      </a:lnTo>
                      <a:lnTo>
                        <a:pt x="2035" y="181"/>
                      </a:lnTo>
                      <a:lnTo>
                        <a:pt x="2043" y="183"/>
                      </a:lnTo>
                      <a:lnTo>
                        <a:pt x="2060" y="188"/>
                      </a:lnTo>
                      <a:lnTo>
                        <a:pt x="2076" y="193"/>
                      </a:lnTo>
                      <a:lnTo>
                        <a:pt x="2093" y="199"/>
                      </a:lnTo>
                      <a:lnTo>
                        <a:pt x="2109" y="204"/>
                      </a:lnTo>
                      <a:lnTo>
                        <a:pt x="2118" y="206"/>
                      </a:lnTo>
                      <a:lnTo>
                        <a:pt x="2127" y="207"/>
                      </a:lnTo>
                      <a:lnTo>
                        <a:pt x="2137" y="208"/>
                      </a:lnTo>
                      <a:lnTo>
                        <a:pt x="2147" y="208"/>
                      </a:lnTo>
                      <a:lnTo>
                        <a:pt x="2162" y="208"/>
                      </a:lnTo>
                      <a:lnTo>
                        <a:pt x="2173" y="207"/>
                      </a:lnTo>
                      <a:lnTo>
                        <a:pt x="2183" y="205"/>
                      </a:lnTo>
                      <a:lnTo>
                        <a:pt x="2190" y="202"/>
                      </a:lnTo>
                      <a:lnTo>
                        <a:pt x="2198" y="200"/>
                      </a:lnTo>
                      <a:lnTo>
                        <a:pt x="2206" y="198"/>
                      </a:lnTo>
                      <a:lnTo>
                        <a:pt x="2215" y="197"/>
                      </a:lnTo>
                      <a:lnTo>
                        <a:pt x="2226" y="196"/>
                      </a:lnTo>
                      <a:lnTo>
                        <a:pt x="2235" y="197"/>
                      </a:lnTo>
                      <a:lnTo>
                        <a:pt x="2244" y="199"/>
                      </a:lnTo>
                      <a:lnTo>
                        <a:pt x="2253" y="202"/>
                      </a:lnTo>
                      <a:lnTo>
                        <a:pt x="2261" y="205"/>
                      </a:lnTo>
                      <a:lnTo>
                        <a:pt x="2267" y="209"/>
                      </a:lnTo>
                      <a:lnTo>
                        <a:pt x="2274" y="213"/>
                      </a:lnTo>
                      <a:lnTo>
                        <a:pt x="2280" y="215"/>
                      </a:lnTo>
                      <a:lnTo>
                        <a:pt x="2286" y="216"/>
                      </a:lnTo>
                      <a:lnTo>
                        <a:pt x="2290" y="215"/>
                      </a:lnTo>
                      <a:lnTo>
                        <a:pt x="2296" y="213"/>
                      </a:lnTo>
                      <a:lnTo>
                        <a:pt x="2300" y="211"/>
                      </a:lnTo>
                      <a:lnTo>
                        <a:pt x="2305" y="206"/>
                      </a:lnTo>
                      <a:lnTo>
                        <a:pt x="2309" y="202"/>
                      </a:lnTo>
                      <a:lnTo>
                        <a:pt x="2312" y="197"/>
                      </a:lnTo>
                      <a:lnTo>
                        <a:pt x="2316" y="191"/>
                      </a:lnTo>
                      <a:lnTo>
                        <a:pt x="2319" y="184"/>
                      </a:lnTo>
                      <a:lnTo>
                        <a:pt x="2326" y="183"/>
                      </a:lnTo>
                      <a:lnTo>
                        <a:pt x="2334" y="180"/>
                      </a:lnTo>
                      <a:lnTo>
                        <a:pt x="2339" y="179"/>
                      </a:lnTo>
                      <a:lnTo>
                        <a:pt x="2342" y="177"/>
                      </a:lnTo>
                      <a:lnTo>
                        <a:pt x="2344" y="174"/>
                      </a:lnTo>
                      <a:lnTo>
                        <a:pt x="2345" y="172"/>
                      </a:lnTo>
                      <a:lnTo>
                        <a:pt x="2378" y="172"/>
                      </a:lnTo>
                      <a:lnTo>
                        <a:pt x="2376" y="178"/>
                      </a:lnTo>
                      <a:lnTo>
                        <a:pt x="2372" y="185"/>
                      </a:lnTo>
                      <a:lnTo>
                        <a:pt x="2369" y="189"/>
                      </a:lnTo>
                      <a:lnTo>
                        <a:pt x="2367" y="193"/>
                      </a:lnTo>
                      <a:lnTo>
                        <a:pt x="2366" y="198"/>
                      </a:lnTo>
                      <a:lnTo>
                        <a:pt x="2365" y="202"/>
                      </a:lnTo>
                      <a:lnTo>
                        <a:pt x="2365" y="216"/>
                      </a:lnTo>
                      <a:lnTo>
                        <a:pt x="2365" y="228"/>
                      </a:lnTo>
                      <a:lnTo>
                        <a:pt x="2405" y="228"/>
                      </a:lnTo>
                      <a:lnTo>
                        <a:pt x="2401" y="213"/>
                      </a:lnTo>
                      <a:lnTo>
                        <a:pt x="2400" y="203"/>
                      </a:lnTo>
                      <a:lnTo>
                        <a:pt x="2401" y="195"/>
                      </a:lnTo>
                      <a:lnTo>
                        <a:pt x="2405" y="184"/>
                      </a:lnTo>
                      <a:lnTo>
                        <a:pt x="2430" y="184"/>
                      </a:lnTo>
                      <a:lnTo>
                        <a:pt x="2454" y="182"/>
                      </a:lnTo>
                      <a:lnTo>
                        <a:pt x="2465" y="180"/>
                      </a:lnTo>
                      <a:lnTo>
                        <a:pt x="2476" y="178"/>
                      </a:lnTo>
                      <a:lnTo>
                        <a:pt x="2487" y="175"/>
                      </a:lnTo>
                      <a:lnTo>
                        <a:pt x="2497" y="172"/>
                      </a:lnTo>
                      <a:lnTo>
                        <a:pt x="2506" y="168"/>
                      </a:lnTo>
                      <a:lnTo>
                        <a:pt x="2513" y="164"/>
                      </a:lnTo>
                      <a:lnTo>
                        <a:pt x="2521" y="159"/>
                      </a:lnTo>
                      <a:lnTo>
                        <a:pt x="2526" y="153"/>
                      </a:lnTo>
                      <a:lnTo>
                        <a:pt x="2532" y="146"/>
                      </a:lnTo>
                      <a:lnTo>
                        <a:pt x="2535" y="139"/>
                      </a:lnTo>
                      <a:lnTo>
                        <a:pt x="2537" y="131"/>
                      </a:lnTo>
                      <a:lnTo>
                        <a:pt x="2539" y="123"/>
                      </a:lnTo>
                      <a:lnTo>
                        <a:pt x="2532" y="123"/>
                      </a:lnTo>
                      <a:lnTo>
                        <a:pt x="2518" y="123"/>
                      </a:lnTo>
                      <a:lnTo>
                        <a:pt x="2501" y="123"/>
                      </a:lnTo>
                      <a:lnTo>
                        <a:pt x="2491" y="123"/>
                      </a:lnTo>
                      <a:lnTo>
                        <a:pt x="2487" y="120"/>
                      </a:lnTo>
                      <a:lnTo>
                        <a:pt x="2483" y="115"/>
                      </a:lnTo>
                      <a:lnTo>
                        <a:pt x="2479" y="110"/>
                      </a:lnTo>
                      <a:lnTo>
                        <a:pt x="2477" y="105"/>
                      </a:lnTo>
                      <a:lnTo>
                        <a:pt x="2473" y="93"/>
                      </a:lnTo>
                      <a:lnTo>
                        <a:pt x="2472" y="85"/>
                      </a:lnTo>
                      <a:lnTo>
                        <a:pt x="2473" y="81"/>
                      </a:lnTo>
                      <a:lnTo>
                        <a:pt x="2476" y="75"/>
                      </a:lnTo>
                      <a:lnTo>
                        <a:pt x="2480" y="69"/>
                      </a:lnTo>
                      <a:lnTo>
                        <a:pt x="2487" y="62"/>
                      </a:lnTo>
                      <a:lnTo>
                        <a:pt x="2495" y="55"/>
                      </a:lnTo>
                      <a:lnTo>
                        <a:pt x="2503" y="48"/>
                      </a:lnTo>
                      <a:lnTo>
                        <a:pt x="2512" y="40"/>
                      </a:lnTo>
                      <a:lnTo>
                        <a:pt x="2523" y="33"/>
                      </a:lnTo>
                      <a:lnTo>
                        <a:pt x="2534" y="26"/>
                      </a:lnTo>
                      <a:lnTo>
                        <a:pt x="2545" y="20"/>
                      </a:lnTo>
                      <a:lnTo>
                        <a:pt x="2556" y="15"/>
                      </a:lnTo>
                      <a:lnTo>
                        <a:pt x="2567" y="10"/>
                      </a:lnTo>
                      <a:lnTo>
                        <a:pt x="2577" y="6"/>
                      </a:lnTo>
                      <a:lnTo>
                        <a:pt x="2587" y="2"/>
                      </a:lnTo>
                      <a:lnTo>
                        <a:pt x="2597" y="0"/>
                      </a:lnTo>
                      <a:lnTo>
                        <a:pt x="2604" y="0"/>
                      </a:lnTo>
                      <a:lnTo>
                        <a:pt x="2611" y="0"/>
                      </a:lnTo>
                      <a:lnTo>
                        <a:pt x="2621" y="0"/>
                      </a:lnTo>
                      <a:lnTo>
                        <a:pt x="2631" y="0"/>
                      </a:lnTo>
                      <a:lnTo>
                        <a:pt x="2637" y="0"/>
                      </a:lnTo>
                      <a:lnTo>
                        <a:pt x="2638" y="8"/>
                      </a:lnTo>
                      <a:lnTo>
                        <a:pt x="2638" y="16"/>
                      </a:lnTo>
                      <a:lnTo>
                        <a:pt x="2640" y="24"/>
                      </a:lnTo>
                      <a:lnTo>
                        <a:pt x="2642" y="30"/>
                      </a:lnTo>
                      <a:lnTo>
                        <a:pt x="2646" y="42"/>
                      </a:lnTo>
                      <a:lnTo>
                        <a:pt x="2651" y="53"/>
                      </a:lnTo>
                      <a:lnTo>
                        <a:pt x="2656" y="62"/>
                      </a:lnTo>
                      <a:lnTo>
                        <a:pt x="2660" y="71"/>
                      </a:lnTo>
                      <a:lnTo>
                        <a:pt x="2663" y="81"/>
                      </a:lnTo>
                      <a:lnTo>
                        <a:pt x="2664" y="91"/>
                      </a:lnTo>
                      <a:lnTo>
                        <a:pt x="2664" y="95"/>
                      </a:lnTo>
                      <a:lnTo>
                        <a:pt x="2663" y="97"/>
                      </a:lnTo>
                      <a:lnTo>
                        <a:pt x="2660" y="100"/>
                      </a:lnTo>
                      <a:lnTo>
                        <a:pt x="2658" y="101"/>
                      </a:lnTo>
                      <a:lnTo>
                        <a:pt x="2652" y="103"/>
                      </a:lnTo>
                      <a:lnTo>
                        <a:pt x="2644" y="105"/>
                      </a:lnTo>
                      <a:lnTo>
                        <a:pt x="2635" y="106"/>
                      </a:lnTo>
                      <a:lnTo>
                        <a:pt x="2627" y="108"/>
                      </a:lnTo>
                      <a:lnTo>
                        <a:pt x="2624" y="109"/>
                      </a:lnTo>
                      <a:lnTo>
                        <a:pt x="2622" y="111"/>
                      </a:lnTo>
                      <a:lnTo>
                        <a:pt x="2620" y="114"/>
                      </a:lnTo>
                      <a:lnTo>
                        <a:pt x="2618" y="117"/>
                      </a:lnTo>
                      <a:lnTo>
                        <a:pt x="2627" y="118"/>
                      </a:lnTo>
                      <a:lnTo>
                        <a:pt x="2637" y="120"/>
                      </a:lnTo>
                      <a:lnTo>
                        <a:pt x="2647" y="122"/>
                      </a:lnTo>
                      <a:lnTo>
                        <a:pt x="2657" y="123"/>
                      </a:lnTo>
                      <a:lnTo>
                        <a:pt x="2653" y="127"/>
                      </a:lnTo>
                      <a:lnTo>
                        <a:pt x="2649" y="132"/>
                      </a:lnTo>
                      <a:lnTo>
                        <a:pt x="2647" y="137"/>
                      </a:lnTo>
                      <a:lnTo>
                        <a:pt x="2646" y="142"/>
                      </a:lnTo>
                      <a:lnTo>
                        <a:pt x="2644" y="153"/>
                      </a:lnTo>
                      <a:lnTo>
                        <a:pt x="2644" y="166"/>
                      </a:lnTo>
                      <a:lnTo>
                        <a:pt x="2645" y="168"/>
                      </a:lnTo>
                      <a:lnTo>
                        <a:pt x="2646" y="169"/>
                      </a:lnTo>
                      <a:lnTo>
                        <a:pt x="2648" y="169"/>
                      </a:lnTo>
                      <a:lnTo>
                        <a:pt x="2652" y="168"/>
                      </a:lnTo>
                      <a:lnTo>
                        <a:pt x="2658" y="167"/>
                      </a:lnTo>
                      <a:lnTo>
                        <a:pt x="2664" y="166"/>
                      </a:lnTo>
                      <a:lnTo>
                        <a:pt x="2664" y="160"/>
                      </a:lnTo>
                      <a:lnTo>
                        <a:pt x="2664" y="153"/>
                      </a:lnTo>
                      <a:lnTo>
                        <a:pt x="2672" y="151"/>
                      </a:lnTo>
                      <a:lnTo>
                        <a:pt x="2680" y="148"/>
                      </a:lnTo>
                      <a:lnTo>
                        <a:pt x="2685" y="145"/>
                      </a:lnTo>
                      <a:lnTo>
                        <a:pt x="2689" y="142"/>
                      </a:lnTo>
                      <a:lnTo>
                        <a:pt x="2692" y="139"/>
                      </a:lnTo>
                      <a:lnTo>
                        <a:pt x="2696" y="137"/>
                      </a:lnTo>
                      <a:lnTo>
                        <a:pt x="2700" y="135"/>
                      </a:lnTo>
                      <a:lnTo>
                        <a:pt x="2704" y="135"/>
                      </a:lnTo>
                      <a:lnTo>
                        <a:pt x="2709" y="137"/>
                      </a:lnTo>
                      <a:lnTo>
                        <a:pt x="2715" y="138"/>
                      </a:lnTo>
                      <a:lnTo>
                        <a:pt x="2724" y="139"/>
                      </a:lnTo>
                      <a:lnTo>
                        <a:pt x="2733" y="140"/>
                      </a:lnTo>
                      <a:lnTo>
                        <a:pt x="2749" y="141"/>
                      </a:lnTo>
                      <a:lnTo>
                        <a:pt x="2757" y="141"/>
                      </a:lnTo>
                      <a:lnTo>
                        <a:pt x="2752" y="153"/>
                      </a:lnTo>
                      <a:lnTo>
                        <a:pt x="2745" y="164"/>
                      </a:lnTo>
                      <a:lnTo>
                        <a:pt x="2738" y="173"/>
                      </a:lnTo>
                      <a:lnTo>
                        <a:pt x="2731" y="180"/>
                      </a:lnTo>
                      <a:lnTo>
                        <a:pt x="2723" y="188"/>
                      </a:lnTo>
                      <a:lnTo>
                        <a:pt x="2716" y="196"/>
                      </a:lnTo>
                      <a:lnTo>
                        <a:pt x="2710" y="204"/>
                      </a:lnTo>
                      <a:lnTo>
                        <a:pt x="2704" y="216"/>
                      </a:lnTo>
                      <a:lnTo>
                        <a:pt x="2712" y="217"/>
                      </a:lnTo>
                      <a:lnTo>
                        <a:pt x="2719" y="218"/>
                      </a:lnTo>
                      <a:lnTo>
                        <a:pt x="2725" y="218"/>
                      </a:lnTo>
                      <a:lnTo>
                        <a:pt x="2732" y="218"/>
                      </a:lnTo>
                      <a:lnTo>
                        <a:pt x="2744" y="216"/>
                      </a:lnTo>
                      <a:lnTo>
                        <a:pt x="2750" y="216"/>
                      </a:lnTo>
                      <a:lnTo>
                        <a:pt x="2780" y="194"/>
                      </a:lnTo>
                      <a:lnTo>
                        <a:pt x="2810" y="172"/>
                      </a:lnTo>
                      <a:lnTo>
                        <a:pt x="2817" y="167"/>
                      </a:lnTo>
                      <a:lnTo>
                        <a:pt x="2825" y="163"/>
                      </a:lnTo>
                      <a:lnTo>
                        <a:pt x="2834" y="159"/>
                      </a:lnTo>
                      <a:lnTo>
                        <a:pt x="2843" y="155"/>
                      </a:lnTo>
                      <a:lnTo>
                        <a:pt x="2853" y="151"/>
                      </a:lnTo>
                      <a:lnTo>
                        <a:pt x="2862" y="149"/>
                      </a:lnTo>
                      <a:lnTo>
                        <a:pt x="2872" y="147"/>
                      </a:lnTo>
                      <a:lnTo>
                        <a:pt x="2883" y="147"/>
                      </a:lnTo>
                      <a:lnTo>
                        <a:pt x="2884" y="139"/>
                      </a:lnTo>
                      <a:lnTo>
                        <a:pt x="2885" y="132"/>
                      </a:lnTo>
                      <a:lnTo>
                        <a:pt x="2888" y="126"/>
                      </a:lnTo>
                      <a:lnTo>
                        <a:pt x="2891" y="121"/>
                      </a:lnTo>
                      <a:lnTo>
                        <a:pt x="2895" y="116"/>
                      </a:lnTo>
                      <a:lnTo>
                        <a:pt x="2900" y="111"/>
                      </a:lnTo>
                      <a:lnTo>
                        <a:pt x="2905" y="107"/>
                      </a:lnTo>
                      <a:lnTo>
                        <a:pt x="2912" y="104"/>
                      </a:lnTo>
                      <a:lnTo>
                        <a:pt x="2918" y="101"/>
                      </a:lnTo>
                      <a:lnTo>
                        <a:pt x="2925" y="98"/>
                      </a:lnTo>
                      <a:lnTo>
                        <a:pt x="2932" y="96"/>
                      </a:lnTo>
                      <a:lnTo>
                        <a:pt x="2939" y="94"/>
                      </a:lnTo>
                      <a:lnTo>
                        <a:pt x="2955" y="92"/>
                      </a:lnTo>
                      <a:lnTo>
                        <a:pt x="2970" y="91"/>
                      </a:lnTo>
                      <a:lnTo>
                        <a:pt x="2978" y="92"/>
                      </a:lnTo>
                      <a:lnTo>
                        <a:pt x="2984" y="93"/>
                      </a:lnTo>
                      <a:lnTo>
                        <a:pt x="2993" y="95"/>
                      </a:lnTo>
                      <a:lnTo>
                        <a:pt x="3001" y="98"/>
                      </a:lnTo>
                      <a:lnTo>
                        <a:pt x="3008" y="101"/>
                      </a:lnTo>
                      <a:lnTo>
                        <a:pt x="3017" y="103"/>
                      </a:lnTo>
                      <a:lnTo>
                        <a:pt x="3026" y="104"/>
                      </a:lnTo>
                      <a:lnTo>
                        <a:pt x="3036" y="105"/>
                      </a:lnTo>
                      <a:lnTo>
                        <a:pt x="3036" y="110"/>
                      </a:lnTo>
                      <a:lnTo>
                        <a:pt x="3036" y="117"/>
                      </a:lnTo>
                      <a:lnTo>
                        <a:pt x="3036" y="126"/>
                      </a:lnTo>
                      <a:lnTo>
                        <a:pt x="3036" y="135"/>
                      </a:lnTo>
                      <a:lnTo>
                        <a:pt x="3036" y="139"/>
                      </a:lnTo>
                      <a:lnTo>
                        <a:pt x="3035" y="143"/>
                      </a:lnTo>
                      <a:lnTo>
                        <a:pt x="3033" y="147"/>
                      </a:lnTo>
                      <a:lnTo>
                        <a:pt x="3030" y="150"/>
                      </a:lnTo>
                      <a:lnTo>
                        <a:pt x="3025" y="157"/>
                      </a:lnTo>
                      <a:lnTo>
                        <a:pt x="3018" y="162"/>
                      </a:lnTo>
                      <a:lnTo>
                        <a:pt x="3003" y="170"/>
                      </a:lnTo>
                      <a:lnTo>
                        <a:pt x="2990" y="178"/>
                      </a:lnTo>
                      <a:lnTo>
                        <a:pt x="2982" y="196"/>
                      </a:lnTo>
                      <a:lnTo>
                        <a:pt x="2973" y="214"/>
                      </a:lnTo>
                      <a:lnTo>
                        <a:pt x="2968" y="222"/>
                      </a:lnTo>
                      <a:lnTo>
                        <a:pt x="2963" y="229"/>
                      </a:lnTo>
                      <a:lnTo>
                        <a:pt x="2958" y="236"/>
                      </a:lnTo>
                      <a:lnTo>
                        <a:pt x="2951" y="243"/>
                      </a:lnTo>
                      <a:lnTo>
                        <a:pt x="2945" y="249"/>
                      </a:lnTo>
                      <a:lnTo>
                        <a:pt x="2938" y="254"/>
                      </a:lnTo>
                      <a:lnTo>
                        <a:pt x="2931" y="259"/>
                      </a:lnTo>
                      <a:lnTo>
                        <a:pt x="2923" y="263"/>
                      </a:lnTo>
                      <a:lnTo>
                        <a:pt x="2914" y="267"/>
                      </a:lnTo>
                      <a:lnTo>
                        <a:pt x="2904" y="269"/>
                      </a:lnTo>
                      <a:lnTo>
                        <a:pt x="2894" y="271"/>
                      </a:lnTo>
                      <a:lnTo>
                        <a:pt x="2883" y="271"/>
                      </a:lnTo>
                      <a:lnTo>
                        <a:pt x="2878" y="271"/>
                      </a:lnTo>
                      <a:lnTo>
                        <a:pt x="2872" y="270"/>
                      </a:lnTo>
                      <a:lnTo>
                        <a:pt x="2867" y="268"/>
                      </a:lnTo>
                      <a:lnTo>
                        <a:pt x="2861" y="266"/>
                      </a:lnTo>
                      <a:lnTo>
                        <a:pt x="2856" y="263"/>
                      </a:lnTo>
                      <a:lnTo>
                        <a:pt x="2850" y="260"/>
                      </a:lnTo>
                      <a:lnTo>
                        <a:pt x="2847" y="256"/>
                      </a:lnTo>
                      <a:lnTo>
                        <a:pt x="2844" y="252"/>
                      </a:lnTo>
                      <a:lnTo>
                        <a:pt x="2838" y="257"/>
                      </a:lnTo>
                      <a:lnTo>
                        <a:pt x="2835" y="264"/>
                      </a:lnTo>
                      <a:lnTo>
                        <a:pt x="2834" y="268"/>
                      </a:lnTo>
                      <a:lnTo>
                        <a:pt x="2834" y="272"/>
                      </a:lnTo>
                      <a:lnTo>
                        <a:pt x="2835" y="275"/>
                      </a:lnTo>
                      <a:lnTo>
                        <a:pt x="2837" y="277"/>
                      </a:lnTo>
                      <a:lnTo>
                        <a:pt x="2829" y="278"/>
                      </a:lnTo>
                      <a:lnTo>
                        <a:pt x="2823" y="279"/>
                      </a:lnTo>
                      <a:lnTo>
                        <a:pt x="2817" y="281"/>
                      </a:lnTo>
                      <a:lnTo>
                        <a:pt x="2811" y="283"/>
                      </a:lnTo>
                      <a:lnTo>
                        <a:pt x="2805" y="285"/>
                      </a:lnTo>
                      <a:lnTo>
                        <a:pt x="2801" y="287"/>
                      </a:lnTo>
                      <a:lnTo>
                        <a:pt x="2795" y="289"/>
                      </a:lnTo>
                      <a:lnTo>
                        <a:pt x="2790" y="289"/>
                      </a:lnTo>
                      <a:lnTo>
                        <a:pt x="2783" y="288"/>
                      </a:lnTo>
                      <a:lnTo>
                        <a:pt x="2777" y="286"/>
                      </a:lnTo>
                      <a:lnTo>
                        <a:pt x="2770" y="283"/>
                      </a:lnTo>
                      <a:lnTo>
                        <a:pt x="2765" y="279"/>
                      </a:lnTo>
                      <a:lnTo>
                        <a:pt x="2754" y="271"/>
                      </a:lnTo>
                      <a:lnTo>
                        <a:pt x="2744" y="264"/>
                      </a:lnTo>
                      <a:lnTo>
                        <a:pt x="2730" y="272"/>
                      </a:lnTo>
                      <a:lnTo>
                        <a:pt x="2717" y="281"/>
                      </a:lnTo>
                      <a:lnTo>
                        <a:pt x="2707" y="290"/>
                      </a:lnTo>
                      <a:lnTo>
                        <a:pt x="2696" y="299"/>
                      </a:lnTo>
                      <a:lnTo>
                        <a:pt x="2685" y="307"/>
                      </a:lnTo>
                      <a:lnTo>
                        <a:pt x="2671" y="313"/>
                      </a:lnTo>
                      <a:lnTo>
                        <a:pt x="2664" y="316"/>
                      </a:lnTo>
                      <a:lnTo>
                        <a:pt x="2656" y="318"/>
                      </a:lnTo>
                      <a:lnTo>
                        <a:pt x="2647" y="319"/>
                      </a:lnTo>
                      <a:lnTo>
                        <a:pt x="2637" y="319"/>
                      </a:lnTo>
                      <a:lnTo>
                        <a:pt x="2626" y="319"/>
                      </a:lnTo>
                      <a:lnTo>
                        <a:pt x="2615" y="317"/>
                      </a:lnTo>
                      <a:lnTo>
                        <a:pt x="2602" y="315"/>
                      </a:lnTo>
                      <a:lnTo>
                        <a:pt x="2590" y="312"/>
                      </a:lnTo>
                      <a:lnTo>
                        <a:pt x="2579" y="308"/>
                      </a:lnTo>
                      <a:lnTo>
                        <a:pt x="2569" y="304"/>
                      </a:lnTo>
                      <a:lnTo>
                        <a:pt x="2562" y="300"/>
                      </a:lnTo>
                      <a:lnTo>
                        <a:pt x="2558" y="295"/>
                      </a:lnTo>
                      <a:lnTo>
                        <a:pt x="2518" y="295"/>
                      </a:lnTo>
                      <a:lnTo>
                        <a:pt x="2521" y="303"/>
                      </a:lnTo>
                      <a:lnTo>
                        <a:pt x="2525" y="309"/>
                      </a:lnTo>
                      <a:lnTo>
                        <a:pt x="2530" y="314"/>
                      </a:lnTo>
                      <a:lnTo>
                        <a:pt x="2536" y="318"/>
                      </a:lnTo>
                      <a:lnTo>
                        <a:pt x="2542" y="322"/>
                      </a:lnTo>
                      <a:lnTo>
                        <a:pt x="2550" y="324"/>
                      </a:lnTo>
                      <a:lnTo>
                        <a:pt x="2557" y="326"/>
                      </a:lnTo>
                      <a:lnTo>
                        <a:pt x="2565" y="327"/>
                      </a:lnTo>
                      <a:lnTo>
                        <a:pt x="2601" y="328"/>
                      </a:lnTo>
                      <a:lnTo>
                        <a:pt x="2637" y="326"/>
                      </a:lnTo>
                      <a:lnTo>
                        <a:pt x="2637" y="335"/>
                      </a:lnTo>
                      <a:lnTo>
                        <a:pt x="2638" y="342"/>
                      </a:lnTo>
                      <a:lnTo>
                        <a:pt x="2641" y="349"/>
                      </a:lnTo>
                      <a:lnTo>
                        <a:pt x="2644" y="357"/>
                      </a:lnTo>
                      <a:lnTo>
                        <a:pt x="2619" y="363"/>
                      </a:lnTo>
                      <a:lnTo>
                        <a:pt x="2590" y="371"/>
                      </a:lnTo>
                      <a:lnTo>
                        <a:pt x="2562" y="382"/>
                      </a:lnTo>
                      <a:lnTo>
                        <a:pt x="2531" y="392"/>
                      </a:lnTo>
                      <a:lnTo>
                        <a:pt x="2501" y="402"/>
                      </a:lnTo>
                      <a:lnTo>
                        <a:pt x="2473" y="410"/>
                      </a:lnTo>
                      <a:lnTo>
                        <a:pt x="2458" y="414"/>
                      </a:lnTo>
                      <a:lnTo>
                        <a:pt x="2444" y="416"/>
                      </a:lnTo>
                      <a:lnTo>
                        <a:pt x="2431" y="418"/>
                      </a:lnTo>
                      <a:lnTo>
                        <a:pt x="2419" y="418"/>
                      </a:lnTo>
                      <a:lnTo>
                        <a:pt x="2339" y="400"/>
                      </a:lnTo>
                      <a:lnTo>
                        <a:pt x="2319" y="400"/>
                      </a:lnTo>
                      <a:lnTo>
                        <a:pt x="2340" y="408"/>
                      </a:lnTo>
                      <a:lnTo>
                        <a:pt x="2361" y="416"/>
                      </a:lnTo>
                      <a:lnTo>
                        <a:pt x="2372" y="420"/>
                      </a:lnTo>
                      <a:lnTo>
                        <a:pt x="2382" y="425"/>
                      </a:lnTo>
                      <a:lnTo>
                        <a:pt x="2390" y="430"/>
                      </a:lnTo>
                      <a:lnTo>
                        <a:pt x="2398" y="437"/>
                      </a:lnTo>
                      <a:lnTo>
                        <a:pt x="2394" y="444"/>
                      </a:lnTo>
                      <a:lnTo>
                        <a:pt x="2388" y="449"/>
                      </a:lnTo>
                      <a:lnTo>
                        <a:pt x="2384" y="454"/>
                      </a:lnTo>
                      <a:lnTo>
                        <a:pt x="2378" y="457"/>
                      </a:lnTo>
                      <a:lnTo>
                        <a:pt x="2373" y="461"/>
                      </a:lnTo>
                      <a:lnTo>
                        <a:pt x="2368" y="463"/>
                      </a:lnTo>
                      <a:lnTo>
                        <a:pt x="2363" y="465"/>
                      </a:lnTo>
                      <a:lnTo>
                        <a:pt x="2357" y="467"/>
                      </a:lnTo>
                      <a:lnTo>
                        <a:pt x="2333" y="471"/>
                      </a:lnTo>
                      <a:lnTo>
                        <a:pt x="2306" y="474"/>
                      </a:lnTo>
                      <a:lnTo>
                        <a:pt x="2296" y="477"/>
                      </a:lnTo>
                      <a:lnTo>
                        <a:pt x="2286" y="481"/>
                      </a:lnTo>
                      <a:lnTo>
                        <a:pt x="2277" y="486"/>
                      </a:lnTo>
                      <a:lnTo>
                        <a:pt x="2268" y="492"/>
                      </a:lnTo>
                      <a:lnTo>
                        <a:pt x="2260" y="497"/>
                      </a:lnTo>
                      <a:lnTo>
                        <a:pt x="2251" y="501"/>
                      </a:lnTo>
                      <a:lnTo>
                        <a:pt x="2242" y="504"/>
                      </a:lnTo>
                      <a:lnTo>
                        <a:pt x="2232" y="505"/>
                      </a:lnTo>
                      <a:lnTo>
                        <a:pt x="2232" y="517"/>
                      </a:lnTo>
                      <a:lnTo>
                        <a:pt x="2232" y="529"/>
                      </a:lnTo>
                      <a:lnTo>
                        <a:pt x="2220" y="532"/>
                      </a:lnTo>
                      <a:lnTo>
                        <a:pt x="2208" y="537"/>
                      </a:lnTo>
                      <a:lnTo>
                        <a:pt x="2194" y="542"/>
                      </a:lnTo>
                      <a:lnTo>
                        <a:pt x="2181" y="550"/>
                      </a:lnTo>
                      <a:lnTo>
                        <a:pt x="2166" y="559"/>
                      </a:lnTo>
                      <a:lnTo>
                        <a:pt x="2151" y="568"/>
                      </a:lnTo>
                      <a:lnTo>
                        <a:pt x="2138" y="578"/>
                      </a:lnTo>
                      <a:lnTo>
                        <a:pt x="2123" y="588"/>
                      </a:lnTo>
                      <a:lnTo>
                        <a:pt x="2110" y="601"/>
                      </a:lnTo>
                      <a:lnTo>
                        <a:pt x="2098" y="613"/>
                      </a:lnTo>
                      <a:lnTo>
                        <a:pt x="2087" y="625"/>
                      </a:lnTo>
                      <a:lnTo>
                        <a:pt x="2078" y="637"/>
                      </a:lnTo>
                      <a:lnTo>
                        <a:pt x="2071" y="650"/>
                      </a:lnTo>
                      <a:lnTo>
                        <a:pt x="2064" y="664"/>
                      </a:lnTo>
                      <a:lnTo>
                        <a:pt x="2062" y="670"/>
                      </a:lnTo>
                      <a:lnTo>
                        <a:pt x="2061" y="677"/>
                      </a:lnTo>
                      <a:lnTo>
                        <a:pt x="2060" y="683"/>
                      </a:lnTo>
                      <a:lnTo>
                        <a:pt x="2060" y="689"/>
                      </a:lnTo>
                      <a:lnTo>
                        <a:pt x="2106" y="689"/>
                      </a:lnTo>
                      <a:lnTo>
                        <a:pt x="2104" y="714"/>
                      </a:lnTo>
                      <a:lnTo>
                        <a:pt x="2102" y="736"/>
                      </a:lnTo>
                      <a:lnTo>
                        <a:pt x="2100" y="745"/>
                      </a:lnTo>
                      <a:lnTo>
                        <a:pt x="2100" y="753"/>
                      </a:lnTo>
                      <a:lnTo>
                        <a:pt x="2102" y="757"/>
                      </a:lnTo>
                      <a:lnTo>
                        <a:pt x="2103" y="759"/>
                      </a:lnTo>
                      <a:lnTo>
                        <a:pt x="2104" y="762"/>
                      </a:lnTo>
                      <a:lnTo>
                        <a:pt x="2106" y="763"/>
                      </a:lnTo>
                      <a:lnTo>
                        <a:pt x="2086" y="776"/>
                      </a:lnTo>
                      <a:lnTo>
                        <a:pt x="2087" y="780"/>
                      </a:lnTo>
                      <a:lnTo>
                        <a:pt x="2089" y="784"/>
                      </a:lnTo>
                      <a:lnTo>
                        <a:pt x="2093" y="787"/>
                      </a:lnTo>
                      <a:lnTo>
                        <a:pt x="2097" y="790"/>
                      </a:lnTo>
                      <a:lnTo>
                        <a:pt x="2106" y="793"/>
                      </a:lnTo>
                      <a:lnTo>
                        <a:pt x="2112" y="794"/>
                      </a:lnTo>
                      <a:lnTo>
                        <a:pt x="2193" y="776"/>
                      </a:lnTo>
                      <a:lnTo>
                        <a:pt x="2204" y="782"/>
                      </a:lnTo>
                      <a:lnTo>
                        <a:pt x="2214" y="789"/>
                      </a:lnTo>
                      <a:lnTo>
                        <a:pt x="2223" y="796"/>
                      </a:lnTo>
                      <a:lnTo>
                        <a:pt x="2232" y="803"/>
                      </a:lnTo>
                      <a:lnTo>
                        <a:pt x="2250" y="819"/>
                      </a:lnTo>
                      <a:lnTo>
                        <a:pt x="2266" y="836"/>
                      </a:lnTo>
                      <a:lnTo>
                        <a:pt x="2284" y="852"/>
                      </a:lnTo>
                      <a:lnTo>
                        <a:pt x="2301" y="866"/>
                      </a:lnTo>
                      <a:lnTo>
                        <a:pt x="2311" y="872"/>
                      </a:lnTo>
                      <a:lnTo>
                        <a:pt x="2322" y="878"/>
                      </a:lnTo>
                      <a:lnTo>
                        <a:pt x="2333" y="883"/>
                      </a:lnTo>
                      <a:lnTo>
                        <a:pt x="2345" y="887"/>
                      </a:lnTo>
                      <a:lnTo>
                        <a:pt x="2345" y="891"/>
                      </a:lnTo>
                      <a:lnTo>
                        <a:pt x="2346" y="895"/>
                      </a:lnTo>
                      <a:lnTo>
                        <a:pt x="2347" y="898"/>
                      </a:lnTo>
                      <a:lnTo>
                        <a:pt x="2350" y="901"/>
                      </a:lnTo>
                      <a:lnTo>
                        <a:pt x="2352" y="903"/>
                      </a:lnTo>
                      <a:lnTo>
                        <a:pt x="2354" y="905"/>
                      </a:lnTo>
                      <a:lnTo>
                        <a:pt x="2356" y="906"/>
                      </a:lnTo>
                      <a:lnTo>
                        <a:pt x="2360" y="907"/>
                      </a:lnTo>
                      <a:lnTo>
                        <a:pt x="2367" y="909"/>
                      </a:lnTo>
                      <a:lnTo>
                        <a:pt x="2375" y="908"/>
                      </a:lnTo>
                      <a:lnTo>
                        <a:pt x="2383" y="907"/>
                      </a:lnTo>
                      <a:lnTo>
                        <a:pt x="2391" y="905"/>
                      </a:lnTo>
                      <a:lnTo>
                        <a:pt x="2409" y="900"/>
                      </a:lnTo>
                      <a:lnTo>
                        <a:pt x="2423" y="894"/>
                      </a:lnTo>
                      <a:lnTo>
                        <a:pt x="2434" y="889"/>
                      </a:lnTo>
                      <a:lnTo>
                        <a:pt x="2439" y="887"/>
                      </a:lnTo>
                      <a:lnTo>
                        <a:pt x="2485" y="905"/>
                      </a:lnTo>
                      <a:lnTo>
                        <a:pt x="2479" y="917"/>
                      </a:lnTo>
                      <a:lnTo>
                        <a:pt x="2474" y="925"/>
                      </a:lnTo>
                      <a:lnTo>
                        <a:pt x="2467" y="931"/>
                      </a:lnTo>
                      <a:lnTo>
                        <a:pt x="2458" y="936"/>
                      </a:lnTo>
                      <a:lnTo>
                        <a:pt x="2472" y="949"/>
                      </a:lnTo>
                      <a:lnTo>
                        <a:pt x="2461" y="971"/>
                      </a:lnTo>
                      <a:lnTo>
                        <a:pt x="2450" y="995"/>
                      </a:lnTo>
                      <a:lnTo>
                        <a:pt x="2445" y="1006"/>
                      </a:lnTo>
                      <a:lnTo>
                        <a:pt x="2442" y="1018"/>
                      </a:lnTo>
                      <a:lnTo>
                        <a:pt x="2440" y="1029"/>
                      </a:lnTo>
                      <a:lnTo>
                        <a:pt x="2439" y="1040"/>
                      </a:lnTo>
                      <a:lnTo>
                        <a:pt x="2440" y="1049"/>
                      </a:lnTo>
                      <a:lnTo>
                        <a:pt x="2443" y="1059"/>
                      </a:lnTo>
                      <a:lnTo>
                        <a:pt x="2447" y="1070"/>
                      </a:lnTo>
                      <a:lnTo>
                        <a:pt x="2454" y="1081"/>
                      </a:lnTo>
                      <a:lnTo>
                        <a:pt x="2462" y="1092"/>
                      </a:lnTo>
                      <a:lnTo>
                        <a:pt x="2469" y="1101"/>
                      </a:lnTo>
                      <a:lnTo>
                        <a:pt x="2473" y="1104"/>
                      </a:lnTo>
                      <a:lnTo>
                        <a:pt x="2477" y="1107"/>
                      </a:lnTo>
                      <a:lnTo>
                        <a:pt x="2481" y="1108"/>
                      </a:lnTo>
                      <a:lnTo>
                        <a:pt x="2485" y="1109"/>
                      </a:lnTo>
                      <a:lnTo>
                        <a:pt x="2487" y="1114"/>
                      </a:lnTo>
                      <a:lnTo>
                        <a:pt x="2492" y="1121"/>
                      </a:lnTo>
                      <a:lnTo>
                        <a:pt x="2499" y="1128"/>
                      </a:lnTo>
                      <a:lnTo>
                        <a:pt x="2504" y="1133"/>
                      </a:lnTo>
                      <a:lnTo>
                        <a:pt x="2528" y="1113"/>
                      </a:lnTo>
                      <a:lnTo>
                        <a:pt x="2548" y="1091"/>
                      </a:lnTo>
                      <a:lnTo>
                        <a:pt x="2559" y="1080"/>
                      </a:lnTo>
                      <a:lnTo>
                        <a:pt x="2569" y="1068"/>
                      </a:lnTo>
                      <a:lnTo>
                        <a:pt x="2578" y="1057"/>
                      </a:lnTo>
                      <a:lnTo>
                        <a:pt x="2587" y="1043"/>
                      </a:lnTo>
                      <a:lnTo>
                        <a:pt x="2595" y="1031"/>
                      </a:lnTo>
                      <a:lnTo>
                        <a:pt x="2602" y="1017"/>
                      </a:lnTo>
                      <a:lnTo>
                        <a:pt x="2609" y="1003"/>
                      </a:lnTo>
                      <a:lnTo>
                        <a:pt x="2614" y="987"/>
                      </a:lnTo>
                      <a:lnTo>
                        <a:pt x="2619" y="971"/>
                      </a:lnTo>
                      <a:lnTo>
                        <a:pt x="2622" y="955"/>
                      </a:lnTo>
                      <a:lnTo>
                        <a:pt x="2624" y="937"/>
                      </a:lnTo>
                      <a:lnTo>
                        <a:pt x="2624" y="917"/>
                      </a:lnTo>
                      <a:lnTo>
                        <a:pt x="2638" y="917"/>
                      </a:lnTo>
                      <a:lnTo>
                        <a:pt x="2655" y="914"/>
                      </a:lnTo>
                      <a:lnTo>
                        <a:pt x="2672" y="911"/>
                      </a:lnTo>
                      <a:lnTo>
                        <a:pt x="2690" y="906"/>
                      </a:lnTo>
                      <a:lnTo>
                        <a:pt x="2709" y="900"/>
                      </a:lnTo>
                      <a:lnTo>
                        <a:pt x="2727" y="892"/>
                      </a:lnTo>
                      <a:lnTo>
                        <a:pt x="2746" y="884"/>
                      </a:lnTo>
                      <a:lnTo>
                        <a:pt x="2765" y="873"/>
                      </a:lnTo>
                      <a:lnTo>
                        <a:pt x="2782" y="863"/>
                      </a:lnTo>
                      <a:lnTo>
                        <a:pt x="2798" y="852"/>
                      </a:lnTo>
                      <a:lnTo>
                        <a:pt x="2813" y="840"/>
                      </a:lnTo>
                      <a:lnTo>
                        <a:pt x="2825" y="827"/>
                      </a:lnTo>
                      <a:lnTo>
                        <a:pt x="2831" y="819"/>
                      </a:lnTo>
                      <a:lnTo>
                        <a:pt x="2836" y="813"/>
                      </a:lnTo>
                      <a:lnTo>
                        <a:pt x="2839" y="806"/>
                      </a:lnTo>
                      <a:lnTo>
                        <a:pt x="2844" y="799"/>
                      </a:lnTo>
                      <a:lnTo>
                        <a:pt x="2846" y="792"/>
                      </a:lnTo>
                      <a:lnTo>
                        <a:pt x="2848" y="785"/>
                      </a:lnTo>
                      <a:lnTo>
                        <a:pt x="2849" y="777"/>
                      </a:lnTo>
                      <a:lnTo>
                        <a:pt x="2850" y="770"/>
                      </a:lnTo>
                      <a:lnTo>
                        <a:pt x="2849" y="763"/>
                      </a:lnTo>
                      <a:lnTo>
                        <a:pt x="2848" y="757"/>
                      </a:lnTo>
                      <a:lnTo>
                        <a:pt x="2846" y="752"/>
                      </a:lnTo>
                      <a:lnTo>
                        <a:pt x="2843" y="747"/>
                      </a:lnTo>
                      <a:lnTo>
                        <a:pt x="2835" y="738"/>
                      </a:lnTo>
                      <a:lnTo>
                        <a:pt x="2827" y="731"/>
                      </a:lnTo>
                      <a:lnTo>
                        <a:pt x="2819" y="725"/>
                      </a:lnTo>
                      <a:lnTo>
                        <a:pt x="2811" y="718"/>
                      </a:lnTo>
                      <a:lnTo>
                        <a:pt x="2808" y="715"/>
                      </a:lnTo>
                      <a:lnTo>
                        <a:pt x="2805" y="711"/>
                      </a:lnTo>
                      <a:lnTo>
                        <a:pt x="2804" y="706"/>
                      </a:lnTo>
                      <a:lnTo>
                        <a:pt x="2804" y="702"/>
                      </a:lnTo>
                      <a:lnTo>
                        <a:pt x="2804" y="698"/>
                      </a:lnTo>
                      <a:lnTo>
                        <a:pt x="2808" y="694"/>
                      </a:lnTo>
                      <a:lnTo>
                        <a:pt x="2812" y="688"/>
                      </a:lnTo>
                      <a:lnTo>
                        <a:pt x="2819" y="680"/>
                      </a:lnTo>
                      <a:lnTo>
                        <a:pt x="2833" y="664"/>
                      </a:lnTo>
                      <a:lnTo>
                        <a:pt x="2850" y="645"/>
                      </a:lnTo>
                      <a:lnTo>
                        <a:pt x="2882" y="612"/>
                      </a:lnTo>
                      <a:lnTo>
                        <a:pt x="2896" y="597"/>
                      </a:lnTo>
                      <a:lnTo>
                        <a:pt x="2894" y="593"/>
                      </a:lnTo>
                      <a:lnTo>
                        <a:pt x="2892" y="589"/>
                      </a:lnTo>
                      <a:lnTo>
                        <a:pt x="2891" y="585"/>
                      </a:lnTo>
                      <a:lnTo>
                        <a:pt x="2890" y="581"/>
                      </a:lnTo>
                      <a:lnTo>
                        <a:pt x="2890" y="573"/>
                      </a:lnTo>
                      <a:lnTo>
                        <a:pt x="2892" y="566"/>
                      </a:lnTo>
                      <a:lnTo>
                        <a:pt x="2896" y="558"/>
                      </a:lnTo>
                      <a:lnTo>
                        <a:pt x="2902" y="551"/>
                      </a:lnTo>
                      <a:lnTo>
                        <a:pt x="2909" y="544"/>
                      </a:lnTo>
                      <a:lnTo>
                        <a:pt x="2916" y="535"/>
                      </a:lnTo>
                      <a:lnTo>
                        <a:pt x="2934" y="520"/>
                      </a:lnTo>
                      <a:lnTo>
                        <a:pt x="2951" y="505"/>
                      </a:lnTo>
                      <a:lnTo>
                        <a:pt x="2959" y="498"/>
                      </a:lnTo>
                      <a:lnTo>
                        <a:pt x="2966" y="490"/>
                      </a:lnTo>
                      <a:lnTo>
                        <a:pt x="2972" y="482"/>
                      </a:lnTo>
                      <a:lnTo>
                        <a:pt x="2977" y="474"/>
                      </a:lnTo>
                      <a:lnTo>
                        <a:pt x="3149" y="480"/>
                      </a:lnTo>
                      <a:lnTo>
                        <a:pt x="3149" y="485"/>
                      </a:lnTo>
                      <a:lnTo>
                        <a:pt x="3150" y="490"/>
                      </a:lnTo>
                      <a:lnTo>
                        <a:pt x="3151" y="494"/>
                      </a:lnTo>
                      <a:lnTo>
                        <a:pt x="3153" y="497"/>
                      </a:lnTo>
                      <a:lnTo>
                        <a:pt x="3156" y="500"/>
                      </a:lnTo>
                      <a:lnTo>
                        <a:pt x="3159" y="502"/>
                      </a:lnTo>
                      <a:lnTo>
                        <a:pt x="3161" y="503"/>
                      </a:lnTo>
                      <a:lnTo>
                        <a:pt x="3165" y="504"/>
                      </a:lnTo>
                      <a:lnTo>
                        <a:pt x="3180" y="505"/>
                      </a:lnTo>
                      <a:lnTo>
                        <a:pt x="3196" y="505"/>
                      </a:lnTo>
                      <a:lnTo>
                        <a:pt x="3201" y="509"/>
                      </a:lnTo>
                      <a:lnTo>
                        <a:pt x="3204" y="514"/>
                      </a:lnTo>
                      <a:lnTo>
                        <a:pt x="3208" y="521"/>
                      </a:lnTo>
                      <a:lnTo>
                        <a:pt x="3210" y="529"/>
                      </a:lnTo>
                      <a:lnTo>
                        <a:pt x="3215" y="545"/>
                      </a:lnTo>
                      <a:lnTo>
                        <a:pt x="3216" y="554"/>
                      </a:lnTo>
                      <a:lnTo>
                        <a:pt x="3221" y="556"/>
                      </a:lnTo>
                      <a:lnTo>
                        <a:pt x="3229" y="557"/>
                      </a:lnTo>
                      <a:lnTo>
                        <a:pt x="3238" y="557"/>
                      </a:lnTo>
                      <a:lnTo>
                        <a:pt x="3247" y="557"/>
                      </a:lnTo>
                      <a:lnTo>
                        <a:pt x="3268" y="555"/>
                      </a:lnTo>
                      <a:lnTo>
                        <a:pt x="3288" y="554"/>
                      </a:lnTo>
                      <a:lnTo>
                        <a:pt x="3292" y="566"/>
                      </a:lnTo>
                      <a:lnTo>
                        <a:pt x="3295" y="572"/>
                      </a:lnTo>
                      <a:lnTo>
                        <a:pt x="3288" y="579"/>
                      </a:lnTo>
                      <a:lnTo>
                        <a:pt x="3282" y="585"/>
                      </a:lnTo>
                      <a:lnTo>
                        <a:pt x="3276" y="592"/>
                      </a:lnTo>
                      <a:lnTo>
                        <a:pt x="3272" y="601"/>
                      </a:lnTo>
                      <a:lnTo>
                        <a:pt x="3264" y="616"/>
                      </a:lnTo>
                      <a:lnTo>
                        <a:pt x="3257" y="632"/>
                      </a:lnTo>
                      <a:lnTo>
                        <a:pt x="3251" y="646"/>
                      </a:lnTo>
                      <a:lnTo>
                        <a:pt x="3245" y="660"/>
                      </a:lnTo>
                      <a:lnTo>
                        <a:pt x="3241" y="666"/>
                      </a:lnTo>
                      <a:lnTo>
                        <a:pt x="3238" y="671"/>
                      </a:lnTo>
                      <a:lnTo>
                        <a:pt x="3234" y="675"/>
                      </a:lnTo>
                      <a:lnTo>
                        <a:pt x="3229" y="677"/>
                      </a:lnTo>
                      <a:lnTo>
                        <a:pt x="3238" y="677"/>
                      </a:lnTo>
                      <a:lnTo>
                        <a:pt x="3246" y="677"/>
                      </a:lnTo>
                      <a:lnTo>
                        <a:pt x="3253" y="677"/>
                      </a:lnTo>
                      <a:lnTo>
                        <a:pt x="3262" y="677"/>
                      </a:lnTo>
                      <a:lnTo>
                        <a:pt x="3262" y="683"/>
                      </a:lnTo>
                      <a:lnTo>
                        <a:pt x="3261" y="688"/>
                      </a:lnTo>
                      <a:lnTo>
                        <a:pt x="3259" y="693"/>
                      </a:lnTo>
                      <a:lnTo>
                        <a:pt x="3257" y="697"/>
                      </a:lnTo>
                      <a:lnTo>
                        <a:pt x="3251" y="705"/>
                      </a:lnTo>
                      <a:lnTo>
                        <a:pt x="3245" y="714"/>
                      </a:lnTo>
                      <a:lnTo>
                        <a:pt x="3238" y="721"/>
                      </a:lnTo>
                      <a:lnTo>
                        <a:pt x="3231" y="729"/>
                      </a:lnTo>
                      <a:lnTo>
                        <a:pt x="3226" y="736"/>
                      </a:lnTo>
                      <a:lnTo>
                        <a:pt x="3223" y="745"/>
                      </a:lnTo>
                      <a:lnTo>
                        <a:pt x="3229" y="742"/>
                      </a:lnTo>
                      <a:lnTo>
                        <a:pt x="3237" y="738"/>
                      </a:lnTo>
                      <a:lnTo>
                        <a:pt x="3245" y="734"/>
                      </a:lnTo>
                      <a:lnTo>
                        <a:pt x="3251" y="730"/>
                      </a:lnTo>
                      <a:lnTo>
                        <a:pt x="3264" y="721"/>
                      </a:lnTo>
                      <a:lnTo>
                        <a:pt x="3275" y="715"/>
                      </a:lnTo>
                      <a:lnTo>
                        <a:pt x="3280" y="717"/>
                      </a:lnTo>
                      <a:lnTo>
                        <a:pt x="3284" y="718"/>
                      </a:lnTo>
                      <a:lnTo>
                        <a:pt x="3290" y="718"/>
                      </a:lnTo>
                      <a:lnTo>
                        <a:pt x="3295" y="718"/>
                      </a:lnTo>
                      <a:lnTo>
                        <a:pt x="3307" y="715"/>
                      </a:lnTo>
                      <a:lnTo>
                        <a:pt x="3320" y="709"/>
                      </a:lnTo>
                      <a:lnTo>
                        <a:pt x="3336" y="703"/>
                      </a:lnTo>
                      <a:lnTo>
                        <a:pt x="3351" y="695"/>
                      </a:lnTo>
                      <a:lnTo>
                        <a:pt x="3368" y="685"/>
                      </a:lnTo>
                      <a:lnTo>
                        <a:pt x="3384" y="675"/>
                      </a:lnTo>
                      <a:lnTo>
                        <a:pt x="3417" y="653"/>
                      </a:lnTo>
                      <a:lnTo>
                        <a:pt x="3447" y="632"/>
                      </a:lnTo>
                      <a:lnTo>
                        <a:pt x="3471" y="615"/>
                      </a:lnTo>
                      <a:lnTo>
                        <a:pt x="3488" y="604"/>
                      </a:lnTo>
                      <a:lnTo>
                        <a:pt x="3492" y="613"/>
                      </a:lnTo>
                      <a:lnTo>
                        <a:pt x="3495" y="621"/>
                      </a:lnTo>
                      <a:lnTo>
                        <a:pt x="3496" y="629"/>
                      </a:lnTo>
                      <a:lnTo>
                        <a:pt x="3496" y="637"/>
                      </a:lnTo>
                      <a:lnTo>
                        <a:pt x="3496" y="653"/>
                      </a:lnTo>
                      <a:lnTo>
                        <a:pt x="3495" y="671"/>
                      </a:lnTo>
                      <a:lnTo>
                        <a:pt x="3521" y="671"/>
                      </a:lnTo>
                      <a:lnTo>
                        <a:pt x="3522" y="680"/>
                      </a:lnTo>
                      <a:lnTo>
                        <a:pt x="3523" y="687"/>
                      </a:lnTo>
                      <a:lnTo>
                        <a:pt x="3521" y="692"/>
                      </a:lnTo>
                      <a:lnTo>
                        <a:pt x="3519" y="698"/>
                      </a:lnTo>
                      <a:lnTo>
                        <a:pt x="3514" y="708"/>
                      </a:lnTo>
                      <a:lnTo>
                        <a:pt x="3508" y="721"/>
                      </a:lnTo>
                      <a:lnTo>
                        <a:pt x="3521" y="721"/>
                      </a:lnTo>
                      <a:lnTo>
                        <a:pt x="3534" y="721"/>
                      </a:lnTo>
                      <a:lnTo>
                        <a:pt x="3534" y="732"/>
                      </a:lnTo>
                      <a:lnTo>
                        <a:pt x="3534" y="741"/>
                      </a:lnTo>
                      <a:lnTo>
                        <a:pt x="3534" y="749"/>
                      </a:lnTo>
                      <a:lnTo>
                        <a:pt x="3534" y="757"/>
                      </a:lnTo>
                      <a:lnTo>
                        <a:pt x="3536" y="762"/>
                      </a:lnTo>
                      <a:lnTo>
                        <a:pt x="3540" y="769"/>
                      </a:lnTo>
                      <a:lnTo>
                        <a:pt x="3542" y="772"/>
                      </a:lnTo>
                      <a:lnTo>
                        <a:pt x="3545" y="774"/>
                      </a:lnTo>
                      <a:lnTo>
                        <a:pt x="3550" y="776"/>
                      </a:lnTo>
                      <a:lnTo>
                        <a:pt x="3554" y="776"/>
                      </a:lnTo>
                      <a:lnTo>
                        <a:pt x="3551" y="786"/>
                      </a:lnTo>
                      <a:lnTo>
                        <a:pt x="3548" y="794"/>
                      </a:lnTo>
                      <a:lnTo>
                        <a:pt x="3542" y="800"/>
                      </a:lnTo>
                      <a:lnTo>
                        <a:pt x="3537" y="804"/>
                      </a:lnTo>
                      <a:lnTo>
                        <a:pt x="3526" y="811"/>
                      </a:lnTo>
                      <a:lnTo>
                        <a:pt x="3515" y="818"/>
                      </a:lnTo>
                      <a:lnTo>
                        <a:pt x="3522" y="828"/>
                      </a:lnTo>
                      <a:lnTo>
                        <a:pt x="3530" y="836"/>
                      </a:lnTo>
                      <a:lnTo>
                        <a:pt x="3539" y="844"/>
                      </a:lnTo>
                      <a:lnTo>
                        <a:pt x="3546" y="851"/>
                      </a:lnTo>
                      <a:lnTo>
                        <a:pt x="3556" y="857"/>
                      </a:lnTo>
                      <a:lnTo>
                        <a:pt x="3565" y="863"/>
                      </a:lnTo>
                      <a:lnTo>
                        <a:pt x="3575" y="869"/>
                      </a:lnTo>
                      <a:lnTo>
                        <a:pt x="3584" y="874"/>
                      </a:lnTo>
                      <a:lnTo>
                        <a:pt x="3605" y="885"/>
                      </a:lnTo>
                      <a:lnTo>
                        <a:pt x="3627" y="894"/>
                      </a:lnTo>
                      <a:lnTo>
                        <a:pt x="3650" y="902"/>
                      </a:lnTo>
                      <a:lnTo>
                        <a:pt x="3674" y="911"/>
                      </a:lnTo>
                      <a:lnTo>
                        <a:pt x="3668" y="918"/>
                      </a:lnTo>
                      <a:lnTo>
                        <a:pt x="3662" y="924"/>
                      </a:lnTo>
                      <a:lnTo>
                        <a:pt x="3652" y="930"/>
                      </a:lnTo>
                      <a:lnTo>
                        <a:pt x="3640" y="936"/>
                      </a:lnTo>
                      <a:lnTo>
                        <a:pt x="3615" y="946"/>
                      </a:lnTo>
                      <a:lnTo>
                        <a:pt x="3588" y="954"/>
                      </a:lnTo>
                      <a:lnTo>
                        <a:pt x="3563" y="961"/>
                      </a:lnTo>
                      <a:lnTo>
                        <a:pt x="3545" y="966"/>
                      </a:lnTo>
                      <a:lnTo>
                        <a:pt x="3540" y="968"/>
                      </a:lnTo>
                      <a:lnTo>
                        <a:pt x="3537" y="970"/>
                      </a:lnTo>
                      <a:lnTo>
                        <a:pt x="3537" y="971"/>
                      </a:lnTo>
                      <a:lnTo>
                        <a:pt x="3537" y="972"/>
                      </a:lnTo>
                      <a:lnTo>
                        <a:pt x="3539" y="972"/>
                      </a:lnTo>
                      <a:lnTo>
                        <a:pt x="3541" y="973"/>
                      </a:lnTo>
                      <a:lnTo>
                        <a:pt x="3548" y="974"/>
                      </a:lnTo>
                      <a:lnTo>
                        <a:pt x="3554" y="974"/>
                      </a:lnTo>
                      <a:lnTo>
                        <a:pt x="3560" y="974"/>
                      </a:lnTo>
                      <a:lnTo>
                        <a:pt x="3564" y="972"/>
                      </a:lnTo>
                      <a:lnTo>
                        <a:pt x="3570" y="970"/>
                      </a:lnTo>
                      <a:lnTo>
                        <a:pt x="3575" y="969"/>
                      </a:lnTo>
                      <a:lnTo>
                        <a:pt x="3581" y="967"/>
                      </a:lnTo>
                      <a:lnTo>
                        <a:pt x="3588" y="967"/>
                      </a:lnTo>
                      <a:lnTo>
                        <a:pt x="3598" y="965"/>
                      </a:lnTo>
                      <a:lnTo>
                        <a:pt x="3616" y="961"/>
                      </a:lnTo>
                      <a:lnTo>
                        <a:pt x="3637" y="957"/>
                      </a:lnTo>
                      <a:lnTo>
                        <a:pt x="3654" y="955"/>
                      </a:lnTo>
                      <a:lnTo>
                        <a:pt x="3673" y="955"/>
                      </a:lnTo>
                      <a:lnTo>
                        <a:pt x="3686" y="956"/>
                      </a:lnTo>
                      <a:lnTo>
                        <a:pt x="3695" y="958"/>
                      </a:lnTo>
                      <a:lnTo>
                        <a:pt x="3701" y="959"/>
                      </a:lnTo>
                      <a:lnTo>
                        <a:pt x="3707" y="960"/>
                      </a:lnTo>
                      <a:lnTo>
                        <a:pt x="3713" y="960"/>
                      </a:lnTo>
                      <a:lnTo>
                        <a:pt x="3721" y="958"/>
                      </a:lnTo>
                      <a:lnTo>
                        <a:pt x="3734" y="955"/>
                      </a:lnTo>
                      <a:lnTo>
                        <a:pt x="3734" y="964"/>
                      </a:lnTo>
                      <a:lnTo>
                        <a:pt x="3734" y="972"/>
                      </a:lnTo>
                      <a:lnTo>
                        <a:pt x="3734" y="979"/>
                      </a:lnTo>
                      <a:lnTo>
                        <a:pt x="3734" y="985"/>
                      </a:lnTo>
                      <a:lnTo>
                        <a:pt x="3734" y="998"/>
                      </a:lnTo>
                      <a:lnTo>
                        <a:pt x="3733" y="1007"/>
                      </a:lnTo>
                      <a:lnTo>
                        <a:pt x="3732" y="1014"/>
                      </a:lnTo>
                      <a:lnTo>
                        <a:pt x="3729" y="1018"/>
                      </a:lnTo>
                      <a:lnTo>
                        <a:pt x="3724" y="1022"/>
                      </a:lnTo>
                      <a:lnTo>
                        <a:pt x="3717" y="1024"/>
                      </a:lnTo>
                      <a:lnTo>
                        <a:pt x="3707" y="1026"/>
                      </a:lnTo>
                      <a:lnTo>
                        <a:pt x="3694" y="1028"/>
                      </a:lnTo>
                      <a:lnTo>
                        <a:pt x="3699" y="1037"/>
                      </a:lnTo>
                      <a:lnTo>
                        <a:pt x="3704" y="1047"/>
                      </a:lnTo>
                      <a:lnTo>
                        <a:pt x="3709" y="1054"/>
                      </a:lnTo>
                      <a:lnTo>
                        <a:pt x="3713" y="1059"/>
                      </a:lnTo>
                      <a:lnTo>
                        <a:pt x="3706" y="1068"/>
                      </a:lnTo>
                      <a:lnTo>
                        <a:pt x="3697" y="1076"/>
                      </a:lnTo>
                      <a:lnTo>
                        <a:pt x="3687" y="1083"/>
                      </a:lnTo>
                      <a:lnTo>
                        <a:pt x="3676" y="1087"/>
                      </a:lnTo>
                      <a:lnTo>
                        <a:pt x="3672" y="1089"/>
                      </a:lnTo>
                      <a:lnTo>
                        <a:pt x="3666" y="1090"/>
                      </a:lnTo>
                      <a:lnTo>
                        <a:pt x="3661" y="1091"/>
                      </a:lnTo>
                      <a:lnTo>
                        <a:pt x="3655" y="1091"/>
                      </a:lnTo>
                      <a:lnTo>
                        <a:pt x="3650" y="1090"/>
                      </a:lnTo>
                      <a:lnTo>
                        <a:pt x="3644" y="1089"/>
                      </a:lnTo>
                      <a:lnTo>
                        <a:pt x="3639" y="1087"/>
                      </a:lnTo>
                      <a:lnTo>
                        <a:pt x="3634" y="1084"/>
                      </a:lnTo>
                      <a:lnTo>
                        <a:pt x="3627" y="1089"/>
                      </a:lnTo>
                      <a:lnTo>
                        <a:pt x="3617" y="1093"/>
                      </a:lnTo>
                      <a:lnTo>
                        <a:pt x="3608" y="1096"/>
                      </a:lnTo>
                      <a:lnTo>
                        <a:pt x="3598" y="1099"/>
                      </a:lnTo>
                      <a:lnTo>
                        <a:pt x="3577" y="1104"/>
                      </a:lnTo>
                      <a:lnTo>
                        <a:pt x="3556" y="1108"/>
                      </a:lnTo>
                      <a:lnTo>
                        <a:pt x="3546" y="1110"/>
                      </a:lnTo>
                      <a:lnTo>
                        <a:pt x="3538" y="1113"/>
                      </a:lnTo>
                      <a:lnTo>
                        <a:pt x="3529" y="1116"/>
                      </a:lnTo>
                      <a:lnTo>
                        <a:pt x="3522" y="1120"/>
                      </a:lnTo>
                      <a:lnTo>
                        <a:pt x="3516" y="1124"/>
                      </a:lnTo>
                      <a:lnTo>
                        <a:pt x="3511" y="1130"/>
                      </a:lnTo>
                      <a:lnTo>
                        <a:pt x="3509" y="1137"/>
                      </a:lnTo>
                      <a:lnTo>
                        <a:pt x="3508" y="1145"/>
                      </a:lnTo>
                      <a:lnTo>
                        <a:pt x="3501" y="1145"/>
                      </a:lnTo>
                      <a:lnTo>
                        <a:pt x="3489" y="1159"/>
                      </a:lnTo>
                      <a:lnTo>
                        <a:pt x="3480" y="1168"/>
                      </a:lnTo>
                      <a:lnTo>
                        <a:pt x="3474" y="1172"/>
                      </a:lnTo>
                      <a:lnTo>
                        <a:pt x="3467" y="1174"/>
                      </a:lnTo>
                      <a:lnTo>
                        <a:pt x="3459" y="1176"/>
                      </a:lnTo>
                      <a:lnTo>
                        <a:pt x="3448" y="1176"/>
                      </a:lnTo>
                      <a:lnTo>
                        <a:pt x="3336" y="1164"/>
                      </a:lnTo>
                      <a:lnTo>
                        <a:pt x="3301" y="1164"/>
                      </a:lnTo>
                      <a:lnTo>
                        <a:pt x="3264" y="1164"/>
                      </a:lnTo>
                      <a:lnTo>
                        <a:pt x="3228" y="1164"/>
                      </a:lnTo>
                      <a:lnTo>
                        <a:pt x="3189" y="1164"/>
                      </a:lnTo>
                      <a:lnTo>
                        <a:pt x="3169" y="1165"/>
                      </a:lnTo>
                      <a:lnTo>
                        <a:pt x="3151" y="1168"/>
                      </a:lnTo>
                      <a:lnTo>
                        <a:pt x="3135" y="1172"/>
                      </a:lnTo>
                      <a:lnTo>
                        <a:pt x="3119" y="1177"/>
                      </a:lnTo>
                      <a:lnTo>
                        <a:pt x="3105" y="1183"/>
                      </a:lnTo>
                      <a:lnTo>
                        <a:pt x="3093" y="1191"/>
                      </a:lnTo>
                      <a:lnTo>
                        <a:pt x="3081" y="1198"/>
                      </a:lnTo>
                      <a:lnTo>
                        <a:pt x="3070" y="1207"/>
                      </a:lnTo>
                      <a:lnTo>
                        <a:pt x="3047" y="1225"/>
                      </a:lnTo>
                      <a:lnTo>
                        <a:pt x="3025" y="1242"/>
                      </a:lnTo>
                      <a:lnTo>
                        <a:pt x="3013" y="1250"/>
                      </a:lnTo>
                      <a:lnTo>
                        <a:pt x="3000" y="1257"/>
                      </a:lnTo>
                      <a:lnTo>
                        <a:pt x="2985" y="1263"/>
                      </a:lnTo>
                      <a:lnTo>
                        <a:pt x="2970" y="1269"/>
                      </a:lnTo>
                      <a:lnTo>
                        <a:pt x="2959" y="1272"/>
                      </a:lnTo>
                      <a:lnTo>
                        <a:pt x="2948" y="1276"/>
                      </a:lnTo>
                      <a:lnTo>
                        <a:pt x="2936" y="1281"/>
                      </a:lnTo>
                      <a:lnTo>
                        <a:pt x="2924" y="1286"/>
                      </a:lnTo>
                      <a:lnTo>
                        <a:pt x="2912" y="1293"/>
                      </a:lnTo>
                      <a:lnTo>
                        <a:pt x="2900" y="1300"/>
                      </a:lnTo>
                      <a:lnTo>
                        <a:pt x="2887" y="1308"/>
                      </a:lnTo>
                      <a:lnTo>
                        <a:pt x="2876" y="1316"/>
                      </a:lnTo>
                      <a:lnTo>
                        <a:pt x="2864" y="1326"/>
                      </a:lnTo>
                      <a:lnTo>
                        <a:pt x="2853" y="1335"/>
                      </a:lnTo>
                      <a:lnTo>
                        <a:pt x="2843" y="1344"/>
                      </a:lnTo>
                      <a:lnTo>
                        <a:pt x="2834" y="1354"/>
                      </a:lnTo>
                      <a:lnTo>
                        <a:pt x="2825" y="1363"/>
                      </a:lnTo>
                      <a:lnTo>
                        <a:pt x="2819" y="1373"/>
                      </a:lnTo>
                      <a:lnTo>
                        <a:pt x="2814" y="1383"/>
                      </a:lnTo>
                      <a:lnTo>
                        <a:pt x="2811" y="1392"/>
                      </a:lnTo>
                      <a:lnTo>
                        <a:pt x="2819" y="1392"/>
                      </a:lnTo>
                      <a:lnTo>
                        <a:pt x="2825" y="1391"/>
                      </a:lnTo>
                      <a:lnTo>
                        <a:pt x="2832" y="1389"/>
                      </a:lnTo>
                      <a:lnTo>
                        <a:pt x="2836" y="1387"/>
                      </a:lnTo>
                      <a:lnTo>
                        <a:pt x="2840" y="1385"/>
                      </a:lnTo>
                      <a:lnTo>
                        <a:pt x="2845" y="1382"/>
                      </a:lnTo>
                      <a:lnTo>
                        <a:pt x="2847" y="1379"/>
                      </a:lnTo>
                      <a:lnTo>
                        <a:pt x="2850" y="1375"/>
                      </a:lnTo>
                      <a:lnTo>
                        <a:pt x="2855" y="1369"/>
                      </a:lnTo>
                      <a:lnTo>
                        <a:pt x="2859" y="1363"/>
                      </a:lnTo>
                      <a:lnTo>
                        <a:pt x="2861" y="1361"/>
                      </a:lnTo>
                      <a:lnTo>
                        <a:pt x="2864" y="1358"/>
                      </a:lnTo>
                      <a:lnTo>
                        <a:pt x="2867" y="1356"/>
                      </a:lnTo>
                      <a:lnTo>
                        <a:pt x="2870" y="1355"/>
                      </a:lnTo>
                      <a:lnTo>
                        <a:pt x="2888" y="1346"/>
                      </a:lnTo>
                      <a:lnTo>
                        <a:pt x="2905" y="1337"/>
                      </a:lnTo>
                      <a:lnTo>
                        <a:pt x="2923" y="1327"/>
                      </a:lnTo>
                      <a:lnTo>
                        <a:pt x="2940" y="1315"/>
                      </a:lnTo>
                      <a:lnTo>
                        <a:pt x="2976" y="1293"/>
                      </a:lnTo>
                      <a:lnTo>
                        <a:pt x="3012" y="1271"/>
                      </a:lnTo>
                      <a:lnTo>
                        <a:pt x="3029" y="1260"/>
                      </a:lnTo>
                      <a:lnTo>
                        <a:pt x="3048" y="1251"/>
                      </a:lnTo>
                      <a:lnTo>
                        <a:pt x="3067" y="1242"/>
                      </a:lnTo>
                      <a:lnTo>
                        <a:pt x="3085" y="1235"/>
                      </a:lnTo>
                      <a:lnTo>
                        <a:pt x="3104" y="1228"/>
                      </a:lnTo>
                      <a:lnTo>
                        <a:pt x="3123" y="1224"/>
                      </a:lnTo>
                      <a:lnTo>
                        <a:pt x="3142" y="1221"/>
                      </a:lnTo>
                      <a:lnTo>
                        <a:pt x="3162" y="1220"/>
                      </a:lnTo>
                      <a:lnTo>
                        <a:pt x="3171" y="1220"/>
                      </a:lnTo>
                      <a:lnTo>
                        <a:pt x="3179" y="1222"/>
                      </a:lnTo>
                      <a:lnTo>
                        <a:pt x="3189" y="1225"/>
                      </a:lnTo>
                      <a:lnTo>
                        <a:pt x="3196" y="1229"/>
                      </a:lnTo>
                      <a:lnTo>
                        <a:pt x="3204" y="1234"/>
                      </a:lnTo>
                      <a:lnTo>
                        <a:pt x="3210" y="1240"/>
                      </a:lnTo>
                      <a:lnTo>
                        <a:pt x="3213" y="1244"/>
                      </a:lnTo>
                      <a:lnTo>
                        <a:pt x="3214" y="1248"/>
                      </a:lnTo>
                      <a:lnTo>
                        <a:pt x="3215" y="1252"/>
                      </a:lnTo>
                      <a:lnTo>
                        <a:pt x="3216" y="1256"/>
                      </a:lnTo>
                      <a:lnTo>
                        <a:pt x="3215" y="1265"/>
                      </a:lnTo>
                      <a:lnTo>
                        <a:pt x="3213" y="1274"/>
                      </a:lnTo>
                      <a:lnTo>
                        <a:pt x="3208" y="1281"/>
                      </a:lnTo>
                      <a:lnTo>
                        <a:pt x="3203" y="1287"/>
                      </a:lnTo>
                      <a:lnTo>
                        <a:pt x="3197" y="1293"/>
                      </a:lnTo>
                      <a:lnTo>
                        <a:pt x="3191" y="1296"/>
                      </a:lnTo>
                      <a:lnTo>
                        <a:pt x="3183" y="1299"/>
                      </a:lnTo>
                      <a:lnTo>
                        <a:pt x="3175" y="1299"/>
                      </a:lnTo>
                      <a:lnTo>
                        <a:pt x="3165" y="1299"/>
                      </a:lnTo>
                      <a:lnTo>
                        <a:pt x="3156" y="1298"/>
                      </a:lnTo>
                      <a:lnTo>
                        <a:pt x="3146" y="1296"/>
                      </a:lnTo>
                      <a:lnTo>
                        <a:pt x="3136" y="1293"/>
                      </a:lnTo>
                      <a:lnTo>
                        <a:pt x="3126" y="1291"/>
                      </a:lnTo>
                      <a:lnTo>
                        <a:pt x="3116" y="1289"/>
                      </a:lnTo>
                      <a:lnTo>
                        <a:pt x="3106" y="1288"/>
                      </a:lnTo>
                      <a:lnTo>
                        <a:pt x="3096" y="1287"/>
                      </a:lnTo>
                      <a:lnTo>
                        <a:pt x="3089" y="1288"/>
                      </a:lnTo>
                      <a:lnTo>
                        <a:pt x="3082" y="1289"/>
                      </a:lnTo>
                      <a:lnTo>
                        <a:pt x="3077" y="1290"/>
                      </a:lnTo>
                      <a:lnTo>
                        <a:pt x="3072" y="1292"/>
                      </a:lnTo>
                      <a:lnTo>
                        <a:pt x="3068" y="1294"/>
                      </a:lnTo>
                      <a:lnTo>
                        <a:pt x="3066" y="1298"/>
                      </a:lnTo>
                      <a:lnTo>
                        <a:pt x="3063" y="1301"/>
                      </a:lnTo>
                      <a:lnTo>
                        <a:pt x="3063" y="1306"/>
                      </a:lnTo>
                      <a:lnTo>
                        <a:pt x="3129" y="1331"/>
                      </a:lnTo>
                      <a:lnTo>
                        <a:pt x="3140" y="1329"/>
                      </a:lnTo>
                      <a:lnTo>
                        <a:pt x="3152" y="1325"/>
                      </a:lnTo>
                      <a:lnTo>
                        <a:pt x="3159" y="1324"/>
                      </a:lnTo>
                      <a:lnTo>
                        <a:pt x="3164" y="1323"/>
                      </a:lnTo>
                      <a:lnTo>
                        <a:pt x="3171" y="1323"/>
                      </a:lnTo>
                      <a:lnTo>
                        <a:pt x="3175" y="1325"/>
                      </a:lnTo>
                      <a:lnTo>
                        <a:pt x="3170" y="1333"/>
                      </a:lnTo>
                      <a:lnTo>
                        <a:pt x="3164" y="1340"/>
                      </a:lnTo>
                      <a:lnTo>
                        <a:pt x="3158" y="1346"/>
                      </a:lnTo>
                      <a:lnTo>
                        <a:pt x="3151" y="1351"/>
                      </a:lnTo>
                      <a:lnTo>
                        <a:pt x="3145" y="1356"/>
                      </a:lnTo>
                      <a:lnTo>
                        <a:pt x="3140" y="1361"/>
                      </a:lnTo>
                      <a:lnTo>
                        <a:pt x="3138" y="1364"/>
                      </a:lnTo>
                      <a:lnTo>
                        <a:pt x="3137" y="1367"/>
                      </a:lnTo>
                      <a:lnTo>
                        <a:pt x="3136" y="1370"/>
                      </a:lnTo>
                      <a:lnTo>
                        <a:pt x="3136" y="1373"/>
                      </a:lnTo>
                      <a:lnTo>
                        <a:pt x="3136" y="1380"/>
                      </a:lnTo>
                      <a:lnTo>
                        <a:pt x="3137" y="1386"/>
                      </a:lnTo>
                      <a:lnTo>
                        <a:pt x="3138" y="1391"/>
                      </a:lnTo>
                      <a:lnTo>
                        <a:pt x="3140" y="1396"/>
                      </a:lnTo>
                      <a:lnTo>
                        <a:pt x="3144" y="1401"/>
                      </a:lnTo>
                      <a:lnTo>
                        <a:pt x="3146" y="1405"/>
                      </a:lnTo>
                      <a:lnTo>
                        <a:pt x="3149" y="1410"/>
                      </a:lnTo>
                      <a:lnTo>
                        <a:pt x="3153" y="1413"/>
                      </a:lnTo>
                      <a:lnTo>
                        <a:pt x="3162" y="1420"/>
                      </a:lnTo>
                      <a:lnTo>
                        <a:pt x="3173" y="1426"/>
                      </a:lnTo>
                      <a:lnTo>
                        <a:pt x="3184" y="1431"/>
                      </a:lnTo>
                      <a:lnTo>
                        <a:pt x="3196" y="1436"/>
                      </a:lnTo>
                      <a:lnTo>
                        <a:pt x="3209" y="1439"/>
                      </a:lnTo>
                      <a:lnTo>
                        <a:pt x="3224" y="1441"/>
                      </a:lnTo>
                      <a:lnTo>
                        <a:pt x="3237" y="1442"/>
                      </a:lnTo>
                      <a:lnTo>
                        <a:pt x="3251" y="1443"/>
                      </a:lnTo>
                      <a:lnTo>
                        <a:pt x="3277" y="1443"/>
                      </a:lnTo>
                      <a:lnTo>
                        <a:pt x="3302" y="1442"/>
                      </a:lnTo>
                      <a:lnTo>
                        <a:pt x="3302" y="1466"/>
                      </a:lnTo>
                      <a:lnTo>
                        <a:pt x="3292" y="1469"/>
                      </a:lnTo>
                      <a:lnTo>
                        <a:pt x="3283" y="1471"/>
                      </a:lnTo>
                      <a:lnTo>
                        <a:pt x="3274" y="1472"/>
                      </a:lnTo>
                      <a:lnTo>
                        <a:pt x="3265" y="1472"/>
                      </a:lnTo>
                      <a:lnTo>
                        <a:pt x="3257" y="1472"/>
                      </a:lnTo>
                      <a:lnTo>
                        <a:pt x="3248" y="1473"/>
                      </a:lnTo>
                      <a:lnTo>
                        <a:pt x="3239" y="1474"/>
                      </a:lnTo>
                      <a:lnTo>
                        <a:pt x="3229" y="1478"/>
                      </a:lnTo>
                      <a:lnTo>
                        <a:pt x="3213" y="1485"/>
                      </a:lnTo>
                      <a:lnTo>
                        <a:pt x="3198" y="1494"/>
                      </a:lnTo>
                      <a:lnTo>
                        <a:pt x="3184" y="1502"/>
                      </a:lnTo>
                      <a:lnTo>
                        <a:pt x="3172" y="1510"/>
                      </a:lnTo>
                      <a:lnTo>
                        <a:pt x="3158" y="1519"/>
                      </a:lnTo>
                      <a:lnTo>
                        <a:pt x="3144" y="1527"/>
                      </a:lnTo>
                      <a:lnTo>
                        <a:pt x="3128" y="1536"/>
                      </a:lnTo>
                      <a:lnTo>
                        <a:pt x="3109" y="1546"/>
                      </a:lnTo>
                      <a:lnTo>
                        <a:pt x="3099" y="1550"/>
                      </a:lnTo>
                      <a:lnTo>
                        <a:pt x="3088" y="1553"/>
                      </a:lnTo>
                      <a:lnTo>
                        <a:pt x="3077" y="1555"/>
                      </a:lnTo>
                      <a:lnTo>
                        <a:pt x="3066" y="1556"/>
                      </a:lnTo>
                      <a:lnTo>
                        <a:pt x="3056" y="1558"/>
                      </a:lnTo>
                      <a:lnTo>
                        <a:pt x="3047" y="1561"/>
                      </a:lnTo>
                      <a:lnTo>
                        <a:pt x="3044" y="1563"/>
                      </a:lnTo>
                      <a:lnTo>
                        <a:pt x="3040" y="1565"/>
                      </a:lnTo>
                      <a:lnTo>
                        <a:pt x="3038" y="1568"/>
                      </a:lnTo>
                      <a:lnTo>
                        <a:pt x="3036" y="1571"/>
                      </a:lnTo>
                      <a:lnTo>
                        <a:pt x="3026" y="1567"/>
                      </a:lnTo>
                      <a:lnTo>
                        <a:pt x="3018" y="1564"/>
                      </a:lnTo>
                      <a:lnTo>
                        <a:pt x="3015" y="1562"/>
                      </a:lnTo>
                      <a:lnTo>
                        <a:pt x="3012" y="1560"/>
                      </a:lnTo>
                      <a:lnTo>
                        <a:pt x="3011" y="1557"/>
                      </a:lnTo>
                      <a:lnTo>
                        <a:pt x="3010" y="1553"/>
                      </a:lnTo>
                      <a:lnTo>
                        <a:pt x="3010" y="1546"/>
                      </a:lnTo>
                      <a:lnTo>
                        <a:pt x="3012" y="1539"/>
                      </a:lnTo>
                      <a:lnTo>
                        <a:pt x="3013" y="1533"/>
                      </a:lnTo>
                      <a:lnTo>
                        <a:pt x="3016" y="1528"/>
                      </a:lnTo>
                      <a:lnTo>
                        <a:pt x="3019" y="1524"/>
                      </a:lnTo>
                      <a:lnTo>
                        <a:pt x="3024" y="1519"/>
                      </a:lnTo>
                      <a:lnTo>
                        <a:pt x="3028" y="1516"/>
                      </a:lnTo>
                      <a:lnTo>
                        <a:pt x="3033" y="1512"/>
                      </a:lnTo>
                      <a:lnTo>
                        <a:pt x="3045" y="1506"/>
                      </a:lnTo>
                      <a:lnTo>
                        <a:pt x="3058" y="1501"/>
                      </a:lnTo>
                      <a:lnTo>
                        <a:pt x="3072" y="1497"/>
                      </a:lnTo>
                      <a:lnTo>
                        <a:pt x="3086" y="1493"/>
                      </a:lnTo>
                      <a:lnTo>
                        <a:pt x="3117" y="1487"/>
                      </a:lnTo>
                      <a:lnTo>
                        <a:pt x="3147" y="1482"/>
                      </a:lnTo>
                      <a:lnTo>
                        <a:pt x="3160" y="1479"/>
                      </a:lnTo>
                      <a:lnTo>
                        <a:pt x="3172" y="1475"/>
                      </a:lnTo>
                      <a:lnTo>
                        <a:pt x="3182" y="1471"/>
                      </a:lnTo>
                      <a:lnTo>
                        <a:pt x="3189" y="1466"/>
                      </a:lnTo>
                      <a:lnTo>
                        <a:pt x="3178" y="1463"/>
                      </a:lnTo>
                      <a:lnTo>
                        <a:pt x="3169" y="1460"/>
                      </a:lnTo>
                      <a:lnTo>
                        <a:pt x="3160" y="1456"/>
                      </a:lnTo>
                      <a:lnTo>
                        <a:pt x="3153" y="1451"/>
                      </a:lnTo>
                      <a:lnTo>
                        <a:pt x="3147" y="1448"/>
                      </a:lnTo>
                      <a:lnTo>
                        <a:pt x="3139" y="1445"/>
                      </a:lnTo>
                      <a:lnTo>
                        <a:pt x="3131" y="1442"/>
                      </a:lnTo>
                      <a:lnTo>
                        <a:pt x="3123" y="1442"/>
                      </a:lnTo>
                      <a:lnTo>
                        <a:pt x="3117" y="1442"/>
                      </a:lnTo>
                      <a:lnTo>
                        <a:pt x="3113" y="1443"/>
                      </a:lnTo>
                      <a:lnTo>
                        <a:pt x="3107" y="1445"/>
                      </a:lnTo>
                      <a:lnTo>
                        <a:pt x="3103" y="1446"/>
                      </a:lnTo>
                      <a:lnTo>
                        <a:pt x="3093" y="1452"/>
                      </a:lnTo>
                      <a:lnTo>
                        <a:pt x="3083" y="1458"/>
                      </a:lnTo>
                      <a:lnTo>
                        <a:pt x="3074" y="1464"/>
                      </a:lnTo>
                      <a:lnTo>
                        <a:pt x="3066" y="1470"/>
                      </a:lnTo>
                      <a:lnTo>
                        <a:pt x="3057" y="1475"/>
                      </a:lnTo>
                      <a:lnTo>
                        <a:pt x="3049" y="1478"/>
                      </a:lnTo>
                      <a:lnTo>
                        <a:pt x="3044" y="1479"/>
                      </a:lnTo>
                      <a:lnTo>
                        <a:pt x="3036" y="1481"/>
                      </a:lnTo>
                      <a:lnTo>
                        <a:pt x="3026" y="1483"/>
                      </a:lnTo>
                      <a:lnTo>
                        <a:pt x="3016" y="1484"/>
                      </a:lnTo>
                      <a:lnTo>
                        <a:pt x="3010" y="1478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112" name="Freeform 434">
                <a:extLst>
                  <a:ext uri="{FF2B5EF4-FFF2-40B4-BE49-F238E27FC236}">
                    <a16:creationId xmlns="" xmlns:a16="http://schemas.microsoft.com/office/drawing/2014/main" id="{E93C13F8-4831-432E-9396-5864B83CCCA4}"/>
                  </a:ext>
                </a:extLst>
              </p:cNvPr>
              <p:cNvSpPr>
                <a:spLocks/>
              </p:cNvSpPr>
              <p:nvPr>
                <p:custDataLst>
                  <p:tags r:id="rId275"/>
                </p:custDataLst>
              </p:nvPr>
            </p:nvSpPr>
            <p:spPr bwMode="auto">
              <a:xfrm>
                <a:off x="4757738" y="3541713"/>
                <a:ext cx="127000" cy="158750"/>
              </a:xfrm>
              <a:custGeom>
                <a:avLst/>
                <a:gdLst>
                  <a:gd name="T0" fmla="*/ 2147483646 w 292"/>
                  <a:gd name="T1" fmla="*/ 2147483646 h 308"/>
                  <a:gd name="T2" fmla="*/ 2147483646 w 292"/>
                  <a:gd name="T3" fmla="*/ 2147483646 h 308"/>
                  <a:gd name="T4" fmla="*/ 2147483646 w 292"/>
                  <a:gd name="T5" fmla="*/ 2147483646 h 308"/>
                  <a:gd name="T6" fmla="*/ 2147483646 w 292"/>
                  <a:gd name="T7" fmla="*/ 2147483646 h 308"/>
                  <a:gd name="T8" fmla="*/ 2147483646 w 292"/>
                  <a:gd name="T9" fmla="*/ 2147483646 h 308"/>
                  <a:gd name="T10" fmla="*/ 2147483646 w 292"/>
                  <a:gd name="T11" fmla="*/ 2147483646 h 308"/>
                  <a:gd name="T12" fmla="*/ 2147483646 w 292"/>
                  <a:gd name="T13" fmla="*/ 2147483646 h 308"/>
                  <a:gd name="T14" fmla="*/ 2147483646 w 292"/>
                  <a:gd name="T15" fmla="*/ 2147483646 h 308"/>
                  <a:gd name="T16" fmla="*/ 2147483646 w 292"/>
                  <a:gd name="T17" fmla="*/ 2147483646 h 308"/>
                  <a:gd name="T18" fmla="*/ 2147483646 w 292"/>
                  <a:gd name="T19" fmla="*/ 2147483646 h 308"/>
                  <a:gd name="T20" fmla="*/ 2147483646 w 292"/>
                  <a:gd name="T21" fmla="*/ 2147483646 h 308"/>
                  <a:gd name="T22" fmla="*/ 2147483646 w 292"/>
                  <a:gd name="T23" fmla="*/ 2147483646 h 308"/>
                  <a:gd name="T24" fmla="*/ 2147483646 w 292"/>
                  <a:gd name="T25" fmla="*/ 2147483646 h 308"/>
                  <a:gd name="T26" fmla="*/ 2147483646 w 292"/>
                  <a:gd name="T27" fmla="*/ 2147483646 h 308"/>
                  <a:gd name="T28" fmla="*/ 2147483646 w 292"/>
                  <a:gd name="T29" fmla="*/ 2147483646 h 308"/>
                  <a:gd name="T30" fmla="*/ 2147483646 w 292"/>
                  <a:gd name="T31" fmla="*/ 2147483646 h 308"/>
                  <a:gd name="T32" fmla="*/ 2147483646 w 292"/>
                  <a:gd name="T33" fmla="*/ 2147483646 h 308"/>
                  <a:gd name="T34" fmla="*/ 0 w 292"/>
                  <a:gd name="T35" fmla="*/ 2147483646 h 308"/>
                  <a:gd name="T36" fmla="*/ 2147483646 w 292"/>
                  <a:gd name="T37" fmla="*/ 2147483646 h 308"/>
                  <a:gd name="T38" fmla="*/ 2147483646 w 292"/>
                  <a:gd name="T39" fmla="*/ 2147483646 h 308"/>
                  <a:gd name="T40" fmla="*/ 2147483646 w 292"/>
                  <a:gd name="T41" fmla="*/ 2147483646 h 308"/>
                  <a:gd name="T42" fmla="*/ 2147483646 w 292"/>
                  <a:gd name="T43" fmla="*/ 2147483646 h 308"/>
                  <a:gd name="T44" fmla="*/ 2147483646 w 292"/>
                  <a:gd name="T45" fmla="*/ 2147483646 h 308"/>
                  <a:gd name="T46" fmla="*/ 2147483646 w 292"/>
                  <a:gd name="T47" fmla="*/ 2147483646 h 308"/>
                  <a:gd name="T48" fmla="*/ 2147483646 w 292"/>
                  <a:gd name="T49" fmla="*/ 2147483646 h 308"/>
                  <a:gd name="T50" fmla="*/ 2147483646 w 292"/>
                  <a:gd name="T51" fmla="*/ 2147483646 h 308"/>
                  <a:gd name="T52" fmla="*/ 2147483646 w 292"/>
                  <a:gd name="T53" fmla="*/ 2147483646 h 308"/>
                  <a:gd name="T54" fmla="*/ 2147483646 w 292"/>
                  <a:gd name="T55" fmla="*/ 2147483646 h 308"/>
                  <a:gd name="T56" fmla="*/ 2147483646 w 292"/>
                  <a:gd name="T57" fmla="*/ 2147483646 h 308"/>
                  <a:gd name="T58" fmla="*/ 2147483646 w 292"/>
                  <a:gd name="T59" fmla="*/ 2147483646 h 308"/>
                  <a:gd name="T60" fmla="*/ 2147483646 w 292"/>
                  <a:gd name="T61" fmla="*/ 2147483646 h 308"/>
                  <a:gd name="T62" fmla="*/ 2147483646 w 292"/>
                  <a:gd name="T63" fmla="*/ 2147483646 h 308"/>
                  <a:gd name="T64" fmla="*/ 2147483646 w 292"/>
                  <a:gd name="T65" fmla="*/ 2147483646 h 308"/>
                  <a:gd name="T66" fmla="*/ 2147483646 w 292"/>
                  <a:gd name="T67" fmla="*/ 2147483646 h 308"/>
                  <a:gd name="T68" fmla="*/ 2147483646 w 292"/>
                  <a:gd name="T69" fmla="*/ 2147483646 h 308"/>
                  <a:gd name="T70" fmla="*/ 2147483646 w 292"/>
                  <a:gd name="T71" fmla="*/ 0 h 30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292"/>
                  <a:gd name="T109" fmla="*/ 0 h 308"/>
                  <a:gd name="T110" fmla="*/ 292 w 292"/>
                  <a:gd name="T111" fmla="*/ 308 h 30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292" h="308">
                    <a:moveTo>
                      <a:pt x="259" y="0"/>
                    </a:moveTo>
                    <a:lnTo>
                      <a:pt x="265" y="10"/>
                    </a:lnTo>
                    <a:lnTo>
                      <a:pt x="271" y="23"/>
                    </a:lnTo>
                    <a:lnTo>
                      <a:pt x="276" y="37"/>
                    </a:lnTo>
                    <a:lnTo>
                      <a:pt x="280" y="54"/>
                    </a:lnTo>
                    <a:lnTo>
                      <a:pt x="286" y="91"/>
                    </a:lnTo>
                    <a:lnTo>
                      <a:pt x="292" y="135"/>
                    </a:lnTo>
                    <a:lnTo>
                      <a:pt x="292" y="144"/>
                    </a:lnTo>
                    <a:lnTo>
                      <a:pt x="292" y="153"/>
                    </a:lnTo>
                    <a:lnTo>
                      <a:pt x="291" y="161"/>
                    </a:lnTo>
                    <a:lnTo>
                      <a:pt x="289" y="168"/>
                    </a:lnTo>
                    <a:lnTo>
                      <a:pt x="286" y="179"/>
                    </a:lnTo>
                    <a:lnTo>
                      <a:pt x="281" y="189"/>
                    </a:lnTo>
                    <a:lnTo>
                      <a:pt x="269" y="206"/>
                    </a:lnTo>
                    <a:lnTo>
                      <a:pt x="258" y="225"/>
                    </a:lnTo>
                    <a:lnTo>
                      <a:pt x="231" y="185"/>
                    </a:lnTo>
                    <a:lnTo>
                      <a:pt x="192" y="222"/>
                    </a:lnTo>
                    <a:lnTo>
                      <a:pt x="165" y="258"/>
                    </a:lnTo>
                    <a:lnTo>
                      <a:pt x="152" y="246"/>
                    </a:lnTo>
                    <a:lnTo>
                      <a:pt x="132" y="278"/>
                    </a:lnTo>
                    <a:lnTo>
                      <a:pt x="132" y="296"/>
                    </a:lnTo>
                    <a:lnTo>
                      <a:pt x="59" y="296"/>
                    </a:lnTo>
                    <a:lnTo>
                      <a:pt x="46" y="302"/>
                    </a:lnTo>
                    <a:lnTo>
                      <a:pt x="32" y="308"/>
                    </a:lnTo>
                    <a:lnTo>
                      <a:pt x="19" y="308"/>
                    </a:lnTo>
                    <a:lnTo>
                      <a:pt x="6" y="308"/>
                    </a:lnTo>
                    <a:lnTo>
                      <a:pt x="8" y="302"/>
                    </a:lnTo>
                    <a:lnTo>
                      <a:pt x="9" y="297"/>
                    </a:lnTo>
                    <a:lnTo>
                      <a:pt x="11" y="291"/>
                    </a:lnTo>
                    <a:lnTo>
                      <a:pt x="11" y="286"/>
                    </a:lnTo>
                    <a:lnTo>
                      <a:pt x="9" y="276"/>
                    </a:lnTo>
                    <a:lnTo>
                      <a:pt x="7" y="265"/>
                    </a:lnTo>
                    <a:lnTo>
                      <a:pt x="5" y="256"/>
                    </a:lnTo>
                    <a:lnTo>
                      <a:pt x="2" y="246"/>
                    </a:lnTo>
                    <a:lnTo>
                      <a:pt x="0" y="237"/>
                    </a:lnTo>
                    <a:lnTo>
                      <a:pt x="0" y="228"/>
                    </a:lnTo>
                    <a:lnTo>
                      <a:pt x="0" y="216"/>
                    </a:lnTo>
                    <a:lnTo>
                      <a:pt x="3" y="205"/>
                    </a:lnTo>
                    <a:lnTo>
                      <a:pt x="6" y="196"/>
                    </a:lnTo>
                    <a:lnTo>
                      <a:pt x="12" y="188"/>
                    </a:lnTo>
                    <a:lnTo>
                      <a:pt x="18" y="180"/>
                    </a:lnTo>
                    <a:lnTo>
                      <a:pt x="26" y="174"/>
                    </a:lnTo>
                    <a:lnTo>
                      <a:pt x="34" y="167"/>
                    </a:lnTo>
                    <a:lnTo>
                      <a:pt x="42" y="161"/>
                    </a:lnTo>
                    <a:lnTo>
                      <a:pt x="60" y="148"/>
                    </a:lnTo>
                    <a:lnTo>
                      <a:pt x="77" y="135"/>
                    </a:lnTo>
                    <a:lnTo>
                      <a:pt x="85" y="128"/>
                    </a:lnTo>
                    <a:lnTo>
                      <a:pt x="93" y="119"/>
                    </a:lnTo>
                    <a:lnTo>
                      <a:pt x="99" y="110"/>
                    </a:lnTo>
                    <a:lnTo>
                      <a:pt x="105" y="98"/>
                    </a:lnTo>
                    <a:lnTo>
                      <a:pt x="102" y="98"/>
                    </a:lnTo>
                    <a:lnTo>
                      <a:pt x="98" y="96"/>
                    </a:lnTo>
                    <a:lnTo>
                      <a:pt x="95" y="94"/>
                    </a:lnTo>
                    <a:lnTo>
                      <a:pt x="92" y="91"/>
                    </a:lnTo>
                    <a:lnTo>
                      <a:pt x="86" y="83"/>
                    </a:lnTo>
                    <a:lnTo>
                      <a:pt x="82" y="73"/>
                    </a:lnTo>
                    <a:lnTo>
                      <a:pt x="77" y="62"/>
                    </a:lnTo>
                    <a:lnTo>
                      <a:pt x="74" y="50"/>
                    </a:lnTo>
                    <a:lnTo>
                      <a:pt x="73" y="36"/>
                    </a:lnTo>
                    <a:lnTo>
                      <a:pt x="72" y="24"/>
                    </a:lnTo>
                    <a:lnTo>
                      <a:pt x="82" y="21"/>
                    </a:lnTo>
                    <a:lnTo>
                      <a:pt x="90" y="19"/>
                    </a:lnTo>
                    <a:lnTo>
                      <a:pt x="97" y="19"/>
                    </a:lnTo>
                    <a:lnTo>
                      <a:pt x="105" y="20"/>
                    </a:lnTo>
                    <a:lnTo>
                      <a:pt x="118" y="23"/>
                    </a:lnTo>
                    <a:lnTo>
                      <a:pt x="132" y="24"/>
                    </a:lnTo>
                    <a:lnTo>
                      <a:pt x="149" y="23"/>
                    </a:lnTo>
                    <a:lnTo>
                      <a:pt x="169" y="21"/>
                    </a:lnTo>
                    <a:lnTo>
                      <a:pt x="189" y="17"/>
                    </a:lnTo>
                    <a:lnTo>
                      <a:pt x="210" y="12"/>
                    </a:lnTo>
                    <a:lnTo>
                      <a:pt x="244" y="4"/>
                    </a:lnTo>
                    <a:lnTo>
                      <a:pt x="259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13" name="Freeform 435">
                <a:extLst>
                  <a:ext uri="{FF2B5EF4-FFF2-40B4-BE49-F238E27FC236}">
                    <a16:creationId xmlns="" xmlns:a16="http://schemas.microsoft.com/office/drawing/2014/main" id="{91CAA7FF-352A-4913-B908-643A9CCDF350}"/>
                  </a:ext>
                </a:extLst>
              </p:cNvPr>
              <p:cNvSpPr>
                <a:spLocks/>
              </p:cNvSpPr>
              <p:nvPr>
                <p:custDataLst>
                  <p:tags r:id="rId276"/>
                </p:custDataLst>
              </p:nvPr>
            </p:nvSpPr>
            <p:spPr bwMode="auto">
              <a:xfrm>
                <a:off x="4864100" y="3692525"/>
                <a:ext cx="6350" cy="57150"/>
              </a:xfrm>
              <a:custGeom>
                <a:avLst/>
                <a:gdLst>
                  <a:gd name="T0" fmla="*/ 2147483646 w 14"/>
                  <a:gd name="T1" fmla="*/ 0 h 7"/>
                  <a:gd name="T2" fmla="*/ 2147483646 w 14"/>
                  <a:gd name="T3" fmla="*/ 2147483646 h 7"/>
                  <a:gd name="T4" fmla="*/ 2147483646 w 14"/>
                  <a:gd name="T5" fmla="*/ 2147483646 h 7"/>
                  <a:gd name="T6" fmla="*/ 0 w 14"/>
                  <a:gd name="T7" fmla="*/ 2147483646 h 7"/>
                  <a:gd name="T8" fmla="*/ 2147483646 w 14"/>
                  <a:gd name="T9" fmla="*/ 0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"/>
                  <a:gd name="T16" fmla="*/ 0 h 7"/>
                  <a:gd name="T17" fmla="*/ 14 w 14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" h="7">
                    <a:moveTo>
                      <a:pt x="11" y="0"/>
                    </a:moveTo>
                    <a:lnTo>
                      <a:pt x="13" y="3"/>
                    </a:lnTo>
                    <a:lnTo>
                      <a:pt x="14" y="7"/>
                    </a:lnTo>
                    <a:lnTo>
                      <a:pt x="0" y="7"/>
                    </a:lnTo>
                    <a:lnTo>
                      <a:pt x="11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14" name="Freeform 436">
                <a:extLst>
                  <a:ext uri="{FF2B5EF4-FFF2-40B4-BE49-F238E27FC236}">
                    <a16:creationId xmlns="" xmlns:a16="http://schemas.microsoft.com/office/drawing/2014/main" id="{273ED057-63B4-49B4-B8AF-9CEFB0591856}"/>
                  </a:ext>
                </a:extLst>
              </p:cNvPr>
              <p:cNvSpPr>
                <a:spLocks/>
              </p:cNvSpPr>
              <p:nvPr>
                <p:custDataLst>
                  <p:tags r:id="rId277"/>
                </p:custDataLst>
              </p:nvPr>
            </p:nvSpPr>
            <p:spPr bwMode="auto">
              <a:xfrm>
                <a:off x="4354513" y="2928938"/>
                <a:ext cx="249237" cy="500062"/>
              </a:xfrm>
              <a:custGeom>
                <a:avLst/>
                <a:gdLst>
                  <a:gd name="T0" fmla="*/ 2147483646 w 581"/>
                  <a:gd name="T1" fmla="*/ 2147483646 h 955"/>
                  <a:gd name="T2" fmla="*/ 2147483646 w 581"/>
                  <a:gd name="T3" fmla="*/ 2147483646 h 955"/>
                  <a:gd name="T4" fmla="*/ 2147483646 w 581"/>
                  <a:gd name="T5" fmla="*/ 2147483646 h 955"/>
                  <a:gd name="T6" fmla="*/ 2147483646 w 581"/>
                  <a:gd name="T7" fmla="*/ 2147483646 h 955"/>
                  <a:gd name="T8" fmla="*/ 2147483646 w 581"/>
                  <a:gd name="T9" fmla="*/ 2147483646 h 955"/>
                  <a:gd name="T10" fmla="*/ 2147483646 w 581"/>
                  <a:gd name="T11" fmla="*/ 2147483646 h 955"/>
                  <a:gd name="T12" fmla="*/ 2147483646 w 581"/>
                  <a:gd name="T13" fmla="*/ 2147483646 h 955"/>
                  <a:gd name="T14" fmla="*/ 2147483646 w 581"/>
                  <a:gd name="T15" fmla="*/ 2147483646 h 955"/>
                  <a:gd name="T16" fmla="*/ 2147483646 w 581"/>
                  <a:gd name="T17" fmla="*/ 2147483646 h 955"/>
                  <a:gd name="T18" fmla="*/ 2147483646 w 581"/>
                  <a:gd name="T19" fmla="*/ 2147483646 h 955"/>
                  <a:gd name="T20" fmla="*/ 2147483646 w 581"/>
                  <a:gd name="T21" fmla="*/ 2147483646 h 955"/>
                  <a:gd name="T22" fmla="*/ 2147483646 w 581"/>
                  <a:gd name="T23" fmla="*/ 2147483646 h 955"/>
                  <a:gd name="T24" fmla="*/ 2147483646 w 581"/>
                  <a:gd name="T25" fmla="*/ 2147483646 h 955"/>
                  <a:gd name="T26" fmla="*/ 2147483646 w 581"/>
                  <a:gd name="T27" fmla="*/ 2147483646 h 955"/>
                  <a:gd name="T28" fmla="*/ 2147483646 w 581"/>
                  <a:gd name="T29" fmla="*/ 2147483646 h 955"/>
                  <a:gd name="T30" fmla="*/ 2147483646 w 581"/>
                  <a:gd name="T31" fmla="*/ 2147483646 h 955"/>
                  <a:gd name="T32" fmla="*/ 2147483646 w 581"/>
                  <a:gd name="T33" fmla="*/ 2147483646 h 955"/>
                  <a:gd name="T34" fmla="*/ 2147483646 w 581"/>
                  <a:gd name="T35" fmla="*/ 2147483646 h 955"/>
                  <a:gd name="T36" fmla="*/ 2147483646 w 581"/>
                  <a:gd name="T37" fmla="*/ 2147483646 h 955"/>
                  <a:gd name="T38" fmla="*/ 2147483646 w 581"/>
                  <a:gd name="T39" fmla="*/ 2147483646 h 955"/>
                  <a:gd name="T40" fmla="*/ 2147483646 w 581"/>
                  <a:gd name="T41" fmla="*/ 2147483646 h 955"/>
                  <a:gd name="T42" fmla="*/ 2147483646 w 581"/>
                  <a:gd name="T43" fmla="*/ 2147483646 h 955"/>
                  <a:gd name="T44" fmla="*/ 2147483646 w 581"/>
                  <a:gd name="T45" fmla="*/ 2147483646 h 955"/>
                  <a:gd name="T46" fmla="*/ 2147483646 w 581"/>
                  <a:gd name="T47" fmla="*/ 2147483646 h 955"/>
                  <a:gd name="T48" fmla="*/ 2147483646 w 581"/>
                  <a:gd name="T49" fmla="*/ 2147483646 h 955"/>
                  <a:gd name="T50" fmla="*/ 2147483646 w 581"/>
                  <a:gd name="T51" fmla="*/ 2147483646 h 955"/>
                  <a:gd name="T52" fmla="*/ 2147483646 w 581"/>
                  <a:gd name="T53" fmla="*/ 2147483646 h 955"/>
                  <a:gd name="T54" fmla="*/ 2147483646 w 581"/>
                  <a:gd name="T55" fmla="*/ 2147483646 h 955"/>
                  <a:gd name="T56" fmla="*/ 2147483646 w 581"/>
                  <a:gd name="T57" fmla="*/ 2147483646 h 955"/>
                  <a:gd name="T58" fmla="*/ 2147483646 w 581"/>
                  <a:gd name="T59" fmla="*/ 2147483646 h 955"/>
                  <a:gd name="T60" fmla="*/ 2147483646 w 581"/>
                  <a:gd name="T61" fmla="*/ 2147483646 h 955"/>
                  <a:gd name="T62" fmla="*/ 2147483646 w 581"/>
                  <a:gd name="T63" fmla="*/ 2147483646 h 955"/>
                  <a:gd name="T64" fmla="*/ 2147483646 w 581"/>
                  <a:gd name="T65" fmla="*/ 2147483646 h 955"/>
                  <a:gd name="T66" fmla="*/ 2147483646 w 581"/>
                  <a:gd name="T67" fmla="*/ 2147483646 h 955"/>
                  <a:gd name="T68" fmla="*/ 2147483646 w 581"/>
                  <a:gd name="T69" fmla="*/ 2147483646 h 955"/>
                  <a:gd name="T70" fmla="*/ 2147483646 w 581"/>
                  <a:gd name="T71" fmla="*/ 2147483646 h 955"/>
                  <a:gd name="T72" fmla="*/ 2147483646 w 581"/>
                  <a:gd name="T73" fmla="*/ 2147483646 h 955"/>
                  <a:gd name="T74" fmla="*/ 2147483646 w 581"/>
                  <a:gd name="T75" fmla="*/ 2147483646 h 955"/>
                  <a:gd name="T76" fmla="*/ 2147483646 w 581"/>
                  <a:gd name="T77" fmla="*/ 2147483646 h 955"/>
                  <a:gd name="T78" fmla="*/ 2147483646 w 581"/>
                  <a:gd name="T79" fmla="*/ 2147483646 h 955"/>
                  <a:gd name="T80" fmla="*/ 2147483646 w 581"/>
                  <a:gd name="T81" fmla="*/ 2147483646 h 955"/>
                  <a:gd name="T82" fmla="*/ 2147483646 w 581"/>
                  <a:gd name="T83" fmla="*/ 2147483646 h 955"/>
                  <a:gd name="T84" fmla="*/ 2147483646 w 581"/>
                  <a:gd name="T85" fmla="*/ 2147483646 h 955"/>
                  <a:gd name="T86" fmla="*/ 2147483646 w 581"/>
                  <a:gd name="T87" fmla="*/ 2147483646 h 955"/>
                  <a:gd name="T88" fmla="*/ 2147483646 w 581"/>
                  <a:gd name="T89" fmla="*/ 2147483646 h 955"/>
                  <a:gd name="T90" fmla="*/ 2147483646 w 581"/>
                  <a:gd name="T91" fmla="*/ 2147483646 h 955"/>
                  <a:gd name="T92" fmla="*/ 2147483646 w 581"/>
                  <a:gd name="T93" fmla="*/ 2147483646 h 955"/>
                  <a:gd name="T94" fmla="*/ 2147483646 w 581"/>
                  <a:gd name="T95" fmla="*/ 2147483646 h 955"/>
                  <a:gd name="T96" fmla="*/ 2147483646 w 581"/>
                  <a:gd name="T97" fmla="*/ 2147483646 h 955"/>
                  <a:gd name="T98" fmla="*/ 2147483646 w 581"/>
                  <a:gd name="T99" fmla="*/ 2147483646 h 955"/>
                  <a:gd name="T100" fmla="*/ 2147483646 w 581"/>
                  <a:gd name="T101" fmla="*/ 0 h 955"/>
                  <a:gd name="T102" fmla="*/ 2147483646 w 581"/>
                  <a:gd name="T103" fmla="*/ 2147483646 h 955"/>
                  <a:gd name="T104" fmla="*/ 2147483646 w 581"/>
                  <a:gd name="T105" fmla="*/ 2147483646 h 955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581"/>
                  <a:gd name="T160" fmla="*/ 0 h 955"/>
                  <a:gd name="T161" fmla="*/ 581 w 581"/>
                  <a:gd name="T162" fmla="*/ 955 h 955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581" h="955">
                    <a:moveTo>
                      <a:pt x="69" y="24"/>
                    </a:moveTo>
                    <a:lnTo>
                      <a:pt x="69" y="97"/>
                    </a:lnTo>
                    <a:lnTo>
                      <a:pt x="81" y="115"/>
                    </a:lnTo>
                    <a:lnTo>
                      <a:pt x="91" y="129"/>
                    </a:lnTo>
                    <a:lnTo>
                      <a:pt x="99" y="141"/>
                    </a:lnTo>
                    <a:lnTo>
                      <a:pt x="104" y="152"/>
                    </a:lnTo>
                    <a:lnTo>
                      <a:pt x="107" y="163"/>
                    </a:lnTo>
                    <a:lnTo>
                      <a:pt x="110" y="172"/>
                    </a:lnTo>
                    <a:lnTo>
                      <a:pt x="111" y="180"/>
                    </a:lnTo>
                    <a:lnTo>
                      <a:pt x="110" y="186"/>
                    </a:lnTo>
                    <a:lnTo>
                      <a:pt x="102" y="209"/>
                    </a:lnTo>
                    <a:lnTo>
                      <a:pt x="95" y="234"/>
                    </a:lnTo>
                    <a:lnTo>
                      <a:pt x="96" y="276"/>
                    </a:lnTo>
                    <a:lnTo>
                      <a:pt x="96" y="309"/>
                    </a:lnTo>
                    <a:lnTo>
                      <a:pt x="96" y="325"/>
                    </a:lnTo>
                    <a:lnTo>
                      <a:pt x="96" y="339"/>
                    </a:lnTo>
                    <a:lnTo>
                      <a:pt x="95" y="351"/>
                    </a:lnTo>
                    <a:lnTo>
                      <a:pt x="93" y="363"/>
                    </a:lnTo>
                    <a:lnTo>
                      <a:pt x="91" y="374"/>
                    </a:lnTo>
                    <a:lnTo>
                      <a:pt x="87" y="386"/>
                    </a:lnTo>
                    <a:lnTo>
                      <a:pt x="82" y="396"/>
                    </a:lnTo>
                    <a:lnTo>
                      <a:pt x="76" y="407"/>
                    </a:lnTo>
                    <a:lnTo>
                      <a:pt x="69" y="418"/>
                    </a:lnTo>
                    <a:lnTo>
                      <a:pt x="59" y="429"/>
                    </a:lnTo>
                    <a:lnTo>
                      <a:pt x="48" y="442"/>
                    </a:lnTo>
                    <a:lnTo>
                      <a:pt x="36" y="455"/>
                    </a:lnTo>
                    <a:lnTo>
                      <a:pt x="31" y="461"/>
                    </a:lnTo>
                    <a:lnTo>
                      <a:pt x="26" y="467"/>
                    </a:lnTo>
                    <a:lnTo>
                      <a:pt x="22" y="474"/>
                    </a:lnTo>
                    <a:lnTo>
                      <a:pt x="17" y="481"/>
                    </a:lnTo>
                    <a:lnTo>
                      <a:pt x="12" y="496"/>
                    </a:lnTo>
                    <a:lnTo>
                      <a:pt x="8" y="512"/>
                    </a:lnTo>
                    <a:lnTo>
                      <a:pt x="2" y="542"/>
                    </a:lnTo>
                    <a:lnTo>
                      <a:pt x="0" y="568"/>
                    </a:lnTo>
                    <a:lnTo>
                      <a:pt x="29" y="578"/>
                    </a:lnTo>
                    <a:lnTo>
                      <a:pt x="69" y="616"/>
                    </a:lnTo>
                    <a:lnTo>
                      <a:pt x="51" y="632"/>
                    </a:lnTo>
                    <a:lnTo>
                      <a:pt x="60" y="633"/>
                    </a:lnTo>
                    <a:lnTo>
                      <a:pt x="69" y="634"/>
                    </a:lnTo>
                    <a:lnTo>
                      <a:pt x="70" y="643"/>
                    </a:lnTo>
                    <a:lnTo>
                      <a:pt x="72" y="653"/>
                    </a:lnTo>
                    <a:lnTo>
                      <a:pt x="74" y="665"/>
                    </a:lnTo>
                    <a:lnTo>
                      <a:pt x="76" y="677"/>
                    </a:lnTo>
                    <a:lnTo>
                      <a:pt x="74" y="686"/>
                    </a:lnTo>
                    <a:lnTo>
                      <a:pt x="74" y="696"/>
                    </a:lnTo>
                    <a:lnTo>
                      <a:pt x="74" y="705"/>
                    </a:lnTo>
                    <a:lnTo>
                      <a:pt x="76" y="715"/>
                    </a:lnTo>
                    <a:lnTo>
                      <a:pt x="78" y="733"/>
                    </a:lnTo>
                    <a:lnTo>
                      <a:pt x="82" y="749"/>
                    </a:lnTo>
                    <a:lnTo>
                      <a:pt x="88" y="764"/>
                    </a:lnTo>
                    <a:lnTo>
                      <a:pt x="94" y="778"/>
                    </a:lnTo>
                    <a:lnTo>
                      <a:pt x="98" y="783"/>
                    </a:lnTo>
                    <a:lnTo>
                      <a:pt x="102" y="788"/>
                    </a:lnTo>
                    <a:lnTo>
                      <a:pt x="105" y="792"/>
                    </a:lnTo>
                    <a:lnTo>
                      <a:pt x="109" y="794"/>
                    </a:lnTo>
                    <a:lnTo>
                      <a:pt x="92" y="794"/>
                    </a:lnTo>
                    <a:lnTo>
                      <a:pt x="68" y="794"/>
                    </a:lnTo>
                    <a:lnTo>
                      <a:pt x="56" y="796"/>
                    </a:lnTo>
                    <a:lnTo>
                      <a:pt x="46" y="799"/>
                    </a:lnTo>
                    <a:lnTo>
                      <a:pt x="42" y="802"/>
                    </a:lnTo>
                    <a:lnTo>
                      <a:pt x="38" y="805"/>
                    </a:lnTo>
                    <a:lnTo>
                      <a:pt x="36" y="808"/>
                    </a:lnTo>
                    <a:lnTo>
                      <a:pt x="36" y="812"/>
                    </a:lnTo>
                    <a:lnTo>
                      <a:pt x="36" y="824"/>
                    </a:lnTo>
                    <a:lnTo>
                      <a:pt x="38" y="834"/>
                    </a:lnTo>
                    <a:lnTo>
                      <a:pt x="42" y="842"/>
                    </a:lnTo>
                    <a:lnTo>
                      <a:pt x="46" y="850"/>
                    </a:lnTo>
                    <a:lnTo>
                      <a:pt x="57" y="863"/>
                    </a:lnTo>
                    <a:lnTo>
                      <a:pt x="69" y="876"/>
                    </a:lnTo>
                    <a:lnTo>
                      <a:pt x="76" y="884"/>
                    </a:lnTo>
                    <a:lnTo>
                      <a:pt x="81" y="891"/>
                    </a:lnTo>
                    <a:lnTo>
                      <a:pt x="87" y="899"/>
                    </a:lnTo>
                    <a:lnTo>
                      <a:pt x="92" y="907"/>
                    </a:lnTo>
                    <a:lnTo>
                      <a:pt x="96" y="917"/>
                    </a:lnTo>
                    <a:lnTo>
                      <a:pt x="100" y="927"/>
                    </a:lnTo>
                    <a:lnTo>
                      <a:pt x="102" y="941"/>
                    </a:lnTo>
                    <a:lnTo>
                      <a:pt x="102" y="955"/>
                    </a:lnTo>
                    <a:lnTo>
                      <a:pt x="156" y="955"/>
                    </a:lnTo>
                    <a:lnTo>
                      <a:pt x="166" y="949"/>
                    </a:lnTo>
                    <a:lnTo>
                      <a:pt x="177" y="945"/>
                    </a:lnTo>
                    <a:lnTo>
                      <a:pt x="189" y="942"/>
                    </a:lnTo>
                    <a:lnTo>
                      <a:pt x="201" y="939"/>
                    </a:lnTo>
                    <a:lnTo>
                      <a:pt x="225" y="935"/>
                    </a:lnTo>
                    <a:lnTo>
                      <a:pt x="248" y="929"/>
                    </a:lnTo>
                    <a:lnTo>
                      <a:pt x="259" y="927"/>
                    </a:lnTo>
                    <a:lnTo>
                      <a:pt x="270" y="924"/>
                    </a:lnTo>
                    <a:lnTo>
                      <a:pt x="279" y="921"/>
                    </a:lnTo>
                    <a:lnTo>
                      <a:pt x="286" y="916"/>
                    </a:lnTo>
                    <a:lnTo>
                      <a:pt x="293" y="911"/>
                    </a:lnTo>
                    <a:lnTo>
                      <a:pt x="297" y="904"/>
                    </a:lnTo>
                    <a:lnTo>
                      <a:pt x="300" y="901"/>
                    </a:lnTo>
                    <a:lnTo>
                      <a:pt x="301" y="896"/>
                    </a:lnTo>
                    <a:lnTo>
                      <a:pt x="302" y="892"/>
                    </a:lnTo>
                    <a:lnTo>
                      <a:pt x="302" y="887"/>
                    </a:lnTo>
                    <a:lnTo>
                      <a:pt x="302" y="877"/>
                    </a:lnTo>
                    <a:lnTo>
                      <a:pt x="302" y="868"/>
                    </a:lnTo>
                    <a:lnTo>
                      <a:pt x="315" y="870"/>
                    </a:lnTo>
                    <a:lnTo>
                      <a:pt x="327" y="871"/>
                    </a:lnTo>
                    <a:lnTo>
                      <a:pt x="338" y="871"/>
                    </a:lnTo>
                    <a:lnTo>
                      <a:pt x="348" y="870"/>
                    </a:lnTo>
                    <a:lnTo>
                      <a:pt x="358" y="868"/>
                    </a:lnTo>
                    <a:lnTo>
                      <a:pt x="367" y="866"/>
                    </a:lnTo>
                    <a:lnTo>
                      <a:pt x="374" y="863"/>
                    </a:lnTo>
                    <a:lnTo>
                      <a:pt x="382" y="860"/>
                    </a:lnTo>
                    <a:lnTo>
                      <a:pt x="389" y="856"/>
                    </a:lnTo>
                    <a:lnTo>
                      <a:pt x="394" y="852"/>
                    </a:lnTo>
                    <a:lnTo>
                      <a:pt x="401" y="847"/>
                    </a:lnTo>
                    <a:lnTo>
                      <a:pt x="405" y="842"/>
                    </a:lnTo>
                    <a:lnTo>
                      <a:pt x="415" y="831"/>
                    </a:lnTo>
                    <a:lnTo>
                      <a:pt x="424" y="818"/>
                    </a:lnTo>
                    <a:lnTo>
                      <a:pt x="432" y="807"/>
                    </a:lnTo>
                    <a:lnTo>
                      <a:pt x="440" y="795"/>
                    </a:lnTo>
                    <a:lnTo>
                      <a:pt x="449" y="783"/>
                    </a:lnTo>
                    <a:lnTo>
                      <a:pt x="460" y="773"/>
                    </a:lnTo>
                    <a:lnTo>
                      <a:pt x="465" y="769"/>
                    </a:lnTo>
                    <a:lnTo>
                      <a:pt x="471" y="764"/>
                    </a:lnTo>
                    <a:lnTo>
                      <a:pt x="477" y="760"/>
                    </a:lnTo>
                    <a:lnTo>
                      <a:pt x="485" y="757"/>
                    </a:lnTo>
                    <a:lnTo>
                      <a:pt x="493" y="754"/>
                    </a:lnTo>
                    <a:lnTo>
                      <a:pt x="502" y="752"/>
                    </a:lnTo>
                    <a:lnTo>
                      <a:pt x="510" y="751"/>
                    </a:lnTo>
                    <a:lnTo>
                      <a:pt x="521" y="751"/>
                    </a:lnTo>
                    <a:lnTo>
                      <a:pt x="521" y="745"/>
                    </a:lnTo>
                    <a:lnTo>
                      <a:pt x="511" y="729"/>
                    </a:lnTo>
                    <a:lnTo>
                      <a:pt x="505" y="713"/>
                    </a:lnTo>
                    <a:lnTo>
                      <a:pt x="499" y="697"/>
                    </a:lnTo>
                    <a:lnTo>
                      <a:pt x="494" y="682"/>
                    </a:lnTo>
                    <a:lnTo>
                      <a:pt x="490" y="667"/>
                    </a:lnTo>
                    <a:lnTo>
                      <a:pt x="484" y="653"/>
                    </a:lnTo>
                    <a:lnTo>
                      <a:pt x="476" y="640"/>
                    </a:lnTo>
                    <a:lnTo>
                      <a:pt x="468" y="628"/>
                    </a:lnTo>
                    <a:lnTo>
                      <a:pt x="472" y="623"/>
                    </a:lnTo>
                    <a:lnTo>
                      <a:pt x="476" y="619"/>
                    </a:lnTo>
                    <a:lnTo>
                      <a:pt x="479" y="614"/>
                    </a:lnTo>
                    <a:lnTo>
                      <a:pt x="481" y="610"/>
                    </a:lnTo>
                    <a:lnTo>
                      <a:pt x="484" y="599"/>
                    </a:lnTo>
                    <a:lnTo>
                      <a:pt x="486" y="589"/>
                    </a:lnTo>
                    <a:lnTo>
                      <a:pt x="487" y="579"/>
                    </a:lnTo>
                    <a:lnTo>
                      <a:pt x="488" y="567"/>
                    </a:lnTo>
                    <a:lnTo>
                      <a:pt x="491" y="555"/>
                    </a:lnTo>
                    <a:lnTo>
                      <a:pt x="494" y="541"/>
                    </a:lnTo>
                    <a:lnTo>
                      <a:pt x="497" y="533"/>
                    </a:lnTo>
                    <a:lnTo>
                      <a:pt x="501" y="526"/>
                    </a:lnTo>
                    <a:lnTo>
                      <a:pt x="505" y="519"/>
                    </a:lnTo>
                    <a:lnTo>
                      <a:pt x="509" y="512"/>
                    </a:lnTo>
                    <a:lnTo>
                      <a:pt x="520" y="499"/>
                    </a:lnTo>
                    <a:lnTo>
                      <a:pt x="532" y="486"/>
                    </a:lnTo>
                    <a:lnTo>
                      <a:pt x="546" y="476"/>
                    </a:lnTo>
                    <a:lnTo>
                      <a:pt x="558" y="468"/>
                    </a:lnTo>
                    <a:lnTo>
                      <a:pt x="570" y="461"/>
                    </a:lnTo>
                    <a:lnTo>
                      <a:pt x="581" y="455"/>
                    </a:lnTo>
                    <a:lnTo>
                      <a:pt x="581" y="234"/>
                    </a:lnTo>
                    <a:lnTo>
                      <a:pt x="129" y="0"/>
                    </a:lnTo>
                    <a:lnTo>
                      <a:pt x="116" y="1"/>
                    </a:lnTo>
                    <a:lnTo>
                      <a:pt x="106" y="3"/>
                    </a:lnTo>
                    <a:lnTo>
                      <a:pt x="98" y="5"/>
                    </a:lnTo>
                    <a:lnTo>
                      <a:pt x="89" y="6"/>
                    </a:lnTo>
                    <a:lnTo>
                      <a:pt x="79" y="15"/>
                    </a:lnTo>
                    <a:lnTo>
                      <a:pt x="69" y="24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15" name="Freeform 437">
                <a:extLst>
                  <a:ext uri="{FF2B5EF4-FFF2-40B4-BE49-F238E27FC236}">
                    <a16:creationId xmlns="" xmlns:a16="http://schemas.microsoft.com/office/drawing/2014/main" id="{4719A4E0-649D-4B57-8BD2-8B8A6C2BEEAC}"/>
                  </a:ext>
                </a:extLst>
              </p:cNvPr>
              <p:cNvSpPr>
                <a:spLocks/>
              </p:cNvSpPr>
              <p:nvPr>
                <p:custDataLst>
                  <p:tags r:id="rId278"/>
                </p:custDataLst>
              </p:nvPr>
            </p:nvSpPr>
            <p:spPr bwMode="auto">
              <a:xfrm>
                <a:off x="4030663" y="2311400"/>
                <a:ext cx="15875" cy="57150"/>
              </a:xfrm>
              <a:custGeom>
                <a:avLst/>
                <a:gdLst>
                  <a:gd name="T0" fmla="*/ 2147483646 w 45"/>
                  <a:gd name="T1" fmla="*/ 0 h 36"/>
                  <a:gd name="T2" fmla="*/ 0 w 45"/>
                  <a:gd name="T3" fmla="*/ 2147483646 h 36"/>
                  <a:gd name="T4" fmla="*/ 2147483646 w 45"/>
                  <a:gd name="T5" fmla="*/ 2147483646 h 36"/>
                  <a:gd name="T6" fmla="*/ 2147483646 w 45"/>
                  <a:gd name="T7" fmla="*/ 2147483646 h 36"/>
                  <a:gd name="T8" fmla="*/ 2147483646 w 45"/>
                  <a:gd name="T9" fmla="*/ 0 h 3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5"/>
                  <a:gd name="T16" fmla="*/ 0 h 36"/>
                  <a:gd name="T17" fmla="*/ 45 w 45"/>
                  <a:gd name="T18" fmla="*/ 36 h 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5" h="36">
                    <a:moveTo>
                      <a:pt x="26" y="0"/>
                    </a:moveTo>
                    <a:lnTo>
                      <a:pt x="0" y="18"/>
                    </a:lnTo>
                    <a:lnTo>
                      <a:pt x="23" y="36"/>
                    </a:lnTo>
                    <a:lnTo>
                      <a:pt x="45" y="15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2116" name="Group 438">
                <a:extLst>
                  <a:ext uri="{FF2B5EF4-FFF2-40B4-BE49-F238E27FC236}">
                    <a16:creationId xmlns="" xmlns:a16="http://schemas.microsoft.com/office/drawing/2014/main" id="{3741C176-F530-48D7-8F4E-38F3D710945D}"/>
                  </a:ext>
                </a:extLst>
              </p:cNvPr>
              <p:cNvGrpSpPr>
                <a:grpSpLocks/>
              </p:cNvGrpSpPr>
              <p:nvPr>
                <p:custDataLst>
                  <p:tags r:id="rId279"/>
                </p:custDataLst>
              </p:nvPr>
            </p:nvGrpSpPr>
            <p:grpSpPr bwMode="auto">
              <a:xfrm>
                <a:off x="2330450" y="4371975"/>
                <a:ext cx="384175" cy="1031875"/>
                <a:chOff x="1589" y="3126"/>
                <a:chExt cx="290" cy="657"/>
              </a:xfrm>
              <a:solidFill>
                <a:srgbClr val="00B0F0"/>
              </a:solidFill>
            </p:grpSpPr>
            <p:sp>
              <p:nvSpPr>
                <p:cNvPr id="2117" name="Freeform 439">
                  <a:extLst>
                    <a:ext uri="{FF2B5EF4-FFF2-40B4-BE49-F238E27FC236}">
                      <a16:creationId xmlns="" xmlns:a16="http://schemas.microsoft.com/office/drawing/2014/main" id="{D577A5C3-9B40-43F1-A05D-E16B1FB1ED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48" y="3531"/>
                  <a:ext cx="15" cy="17"/>
                </a:xfrm>
                <a:custGeom>
                  <a:avLst/>
                  <a:gdLst>
                    <a:gd name="T0" fmla="*/ 0 w 46"/>
                    <a:gd name="T1" fmla="*/ 0 h 51"/>
                    <a:gd name="T2" fmla="*/ 0 w 46"/>
                    <a:gd name="T3" fmla="*/ 0 h 51"/>
                    <a:gd name="T4" fmla="*/ 0 w 46"/>
                    <a:gd name="T5" fmla="*/ 0 h 51"/>
                    <a:gd name="T6" fmla="*/ 0 w 46"/>
                    <a:gd name="T7" fmla="*/ 0 h 51"/>
                    <a:gd name="T8" fmla="*/ 0 w 46"/>
                    <a:gd name="T9" fmla="*/ 0 h 51"/>
                    <a:gd name="T10" fmla="*/ 0 w 46"/>
                    <a:gd name="T11" fmla="*/ 0 h 51"/>
                    <a:gd name="T12" fmla="*/ 0 w 46"/>
                    <a:gd name="T13" fmla="*/ 0 h 51"/>
                    <a:gd name="T14" fmla="*/ 0 w 46"/>
                    <a:gd name="T15" fmla="*/ 0 h 51"/>
                    <a:gd name="T16" fmla="*/ 0 w 46"/>
                    <a:gd name="T17" fmla="*/ 0 h 51"/>
                    <a:gd name="T18" fmla="*/ 0 w 46"/>
                    <a:gd name="T19" fmla="*/ 0 h 51"/>
                    <a:gd name="T20" fmla="*/ 0 w 46"/>
                    <a:gd name="T21" fmla="*/ 0 h 51"/>
                    <a:gd name="T22" fmla="*/ 0 w 46"/>
                    <a:gd name="T23" fmla="*/ 0 h 51"/>
                    <a:gd name="T24" fmla="*/ 0 w 46"/>
                    <a:gd name="T25" fmla="*/ 0 h 51"/>
                    <a:gd name="T26" fmla="*/ 0 w 46"/>
                    <a:gd name="T27" fmla="*/ 0 h 51"/>
                    <a:gd name="T28" fmla="*/ 0 w 46"/>
                    <a:gd name="T29" fmla="*/ 0 h 51"/>
                    <a:gd name="T30" fmla="*/ 0 w 46"/>
                    <a:gd name="T31" fmla="*/ 0 h 51"/>
                    <a:gd name="T32" fmla="*/ 0 w 46"/>
                    <a:gd name="T33" fmla="*/ 0 h 51"/>
                    <a:gd name="T34" fmla="*/ 0 w 46"/>
                    <a:gd name="T35" fmla="*/ 0 h 51"/>
                    <a:gd name="T36" fmla="*/ 0 w 46"/>
                    <a:gd name="T37" fmla="*/ 0 h 51"/>
                    <a:gd name="T38" fmla="*/ 0 w 46"/>
                    <a:gd name="T39" fmla="*/ 0 h 51"/>
                    <a:gd name="T40" fmla="*/ 0 w 46"/>
                    <a:gd name="T41" fmla="*/ 0 h 51"/>
                    <a:gd name="T42" fmla="*/ 0 w 46"/>
                    <a:gd name="T43" fmla="*/ 0 h 51"/>
                    <a:gd name="T44" fmla="*/ 0 w 46"/>
                    <a:gd name="T45" fmla="*/ 0 h 51"/>
                    <a:gd name="T46" fmla="*/ 0 w 46"/>
                    <a:gd name="T47" fmla="*/ 0 h 51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46"/>
                    <a:gd name="T73" fmla="*/ 0 h 51"/>
                    <a:gd name="T74" fmla="*/ 46 w 46"/>
                    <a:gd name="T75" fmla="*/ 51 h 51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46" h="51">
                      <a:moveTo>
                        <a:pt x="46" y="12"/>
                      </a:moveTo>
                      <a:lnTo>
                        <a:pt x="19" y="0"/>
                      </a:lnTo>
                      <a:lnTo>
                        <a:pt x="13" y="5"/>
                      </a:lnTo>
                      <a:lnTo>
                        <a:pt x="7" y="9"/>
                      </a:lnTo>
                      <a:lnTo>
                        <a:pt x="4" y="12"/>
                      </a:lnTo>
                      <a:lnTo>
                        <a:pt x="2" y="14"/>
                      </a:lnTo>
                      <a:lnTo>
                        <a:pt x="0" y="16"/>
                      </a:lnTo>
                      <a:lnTo>
                        <a:pt x="0" y="19"/>
                      </a:lnTo>
                      <a:lnTo>
                        <a:pt x="0" y="24"/>
                      </a:lnTo>
                      <a:lnTo>
                        <a:pt x="2" y="29"/>
                      </a:lnTo>
                      <a:lnTo>
                        <a:pt x="4" y="36"/>
                      </a:lnTo>
                      <a:lnTo>
                        <a:pt x="7" y="41"/>
                      </a:lnTo>
                      <a:lnTo>
                        <a:pt x="10" y="46"/>
                      </a:lnTo>
                      <a:lnTo>
                        <a:pt x="13" y="49"/>
                      </a:lnTo>
                      <a:lnTo>
                        <a:pt x="15" y="50"/>
                      </a:lnTo>
                      <a:lnTo>
                        <a:pt x="16" y="51"/>
                      </a:lnTo>
                      <a:lnTo>
                        <a:pt x="18" y="51"/>
                      </a:lnTo>
                      <a:lnTo>
                        <a:pt x="19" y="50"/>
                      </a:lnTo>
                      <a:lnTo>
                        <a:pt x="35" y="50"/>
                      </a:lnTo>
                      <a:lnTo>
                        <a:pt x="46" y="50"/>
                      </a:lnTo>
                      <a:lnTo>
                        <a:pt x="46" y="37"/>
                      </a:lnTo>
                      <a:lnTo>
                        <a:pt x="46" y="26"/>
                      </a:lnTo>
                      <a:lnTo>
                        <a:pt x="46" y="18"/>
                      </a:lnTo>
                      <a:lnTo>
                        <a:pt x="46" y="12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s-ES" sz="1800" kern="1200"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118" name="Freeform 440">
                  <a:extLst>
                    <a:ext uri="{FF2B5EF4-FFF2-40B4-BE49-F238E27FC236}">
                      <a16:creationId xmlns="" xmlns:a16="http://schemas.microsoft.com/office/drawing/2014/main" id="{F839D969-5D73-47DB-967C-F50120F0B7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59" y="3730"/>
                  <a:ext cx="63" cy="53"/>
                </a:xfrm>
                <a:custGeom>
                  <a:avLst/>
                  <a:gdLst>
                    <a:gd name="T0" fmla="*/ 0 w 192"/>
                    <a:gd name="T1" fmla="*/ 0 h 158"/>
                    <a:gd name="T2" fmla="*/ 0 w 192"/>
                    <a:gd name="T3" fmla="*/ 0 h 158"/>
                    <a:gd name="T4" fmla="*/ 0 w 192"/>
                    <a:gd name="T5" fmla="*/ 0 h 158"/>
                    <a:gd name="T6" fmla="*/ 0 w 192"/>
                    <a:gd name="T7" fmla="*/ 0 h 158"/>
                    <a:gd name="T8" fmla="*/ 0 w 192"/>
                    <a:gd name="T9" fmla="*/ 0 h 158"/>
                    <a:gd name="T10" fmla="*/ 0 w 192"/>
                    <a:gd name="T11" fmla="*/ 0 h 158"/>
                    <a:gd name="T12" fmla="*/ 0 w 192"/>
                    <a:gd name="T13" fmla="*/ 0 h 158"/>
                    <a:gd name="T14" fmla="*/ 0 w 192"/>
                    <a:gd name="T15" fmla="*/ 0 h 158"/>
                    <a:gd name="T16" fmla="*/ 0 w 192"/>
                    <a:gd name="T17" fmla="*/ 0 h 158"/>
                    <a:gd name="T18" fmla="*/ 0 w 192"/>
                    <a:gd name="T19" fmla="*/ 1 h 158"/>
                    <a:gd name="T20" fmla="*/ 0 w 192"/>
                    <a:gd name="T21" fmla="*/ 1 h 158"/>
                    <a:gd name="T22" fmla="*/ 0 w 192"/>
                    <a:gd name="T23" fmla="*/ 1 h 158"/>
                    <a:gd name="T24" fmla="*/ 0 w 192"/>
                    <a:gd name="T25" fmla="*/ 1 h 158"/>
                    <a:gd name="T26" fmla="*/ 0 w 192"/>
                    <a:gd name="T27" fmla="*/ 1 h 158"/>
                    <a:gd name="T28" fmla="*/ 0 w 192"/>
                    <a:gd name="T29" fmla="*/ 1 h 158"/>
                    <a:gd name="T30" fmla="*/ 0 w 192"/>
                    <a:gd name="T31" fmla="*/ 1 h 158"/>
                    <a:gd name="T32" fmla="*/ 0 w 192"/>
                    <a:gd name="T33" fmla="*/ 1 h 158"/>
                    <a:gd name="T34" fmla="*/ 1 w 192"/>
                    <a:gd name="T35" fmla="*/ 1 h 158"/>
                    <a:gd name="T36" fmla="*/ 1 w 192"/>
                    <a:gd name="T37" fmla="*/ 1 h 158"/>
                    <a:gd name="T38" fmla="*/ 1 w 192"/>
                    <a:gd name="T39" fmla="*/ 1 h 158"/>
                    <a:gd name="T40" fmla="*/ 1 w 192"/>
                    <a:gd name="T41" fmla="*/ 1 h 158"/>
                    <a:gd name="T42" fmla="*/ 1 w 192"/>
                    <a:gd name="T43" fmla="*/ 1 h 158"/>
                    <a:gd name="T44" fmla="*/ 1 w 192"/>
                    <a:gd name="T45" fmla="*/ 1 h 158"/>
                    <a:gd name="T46" fmla="*/ 1 w 192"/>
                    <a:gd name="T47" fmla="*/ 1 h 158"/>
                    <a:gd name="T48" fmla="*/ 1 w 192"/>
                    <a:gd name="T49" fmla="*/ 1 h 158"/>
                    <a:gd name="T50" fmla="*/ 0 w 192"/>
                    <a:gd name="T51" fmla="*/ 1 h 158"/>
                    <a:gd name="T52" fmla="*/ 0 w 192"/>
                    <a:gd name="T53" fmla="*/ 0 h 158"/>
                    <a:gd name="T54" fmla="*/ 0 w 192"/>
                    <a:gd name="T55" fmla="*/ 0 h 158"/>
                    <a:gd name="T56" fmla="*/ 0 w 192"/>
                    <a:gd name="T57" fmla="*/ 0 h 158"/>
                    <a:gd name="T58" fmla="*/ 0 w 192"/>
                    <a:gd name="T59" fmla="*/ 0 h 158"/>
                    <a:gd name="T60" fmla="*/ 0 w 192"/>
                    <a:gd name="T61" fmla="*/ 0 h 158"/>
                    <a:gd name="T62" fmla="*/ 0 w 192"/>
                    <a:gd name="T63" fmla="*/ 0 h 158"/>
                    <a:gd name="T64" fmla="*/ 0 w 192"/>
                    <a:gd name="T65" fmla="*/ 0 h 158"/>
                    <a:gd name="T66" fmla="*/ 0 w 192"/>
                    <a:gd name="T67" fmla="*/ 0 h 158"/>
                    <a:gd name="T68" fmla="*/ 0 w 192"/>
                    <a:gd name="T69" fmla="*/ 0 h 158"/>
                    <a:gd name="T70" fmla="*/ 0 w 192"/>
                    <a:gd name="T71" fmla="*/ 0 h 158"/>
                    <a:gd name="T72" fmla="*/ 0 w 192"/>
                    <a:gd name="T73" fmla="*/ 0 h 158"/>
                    <a:gd name="T74" fmla="*/ 0 w 192"/>
                    <a:gd name="T75" fmla="*/ 0 h 158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192"/>
                    <a:gd name="T115" fmla="*/ 0 h 158"/>
                    <a:gd name="T116" fmla="*/ 192 w 192"/>
                    <a:gd name="T117" fmla="*/ 158 h 158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192" h="158">
                      <a:moveTo>
                        <a:pt x="0" y="0"/>
                      </a:moveTo>
                      <a:lnTo>
                        <a:pt x="0" y="14"/>
                      </a:lnTo>
                      <a:lnTo>
                        <a:pt x="2" y="26"/>
                      </a:lnTo>
                      <a:lnTo>
                        <a:pt x="4" y="38"/>
                      </a:lnTo>
                      <a:lnTo>
                        <a:pt x="7" y="50"/>
                      </a:lnTo>
                      <a:lnTo>
                        <a:pt x="11" y="61"/>
                      </a:lnTo>
                      <a:lnTo>
                        <a:pt x="15" y="71"/>
                      </a:lnTo>
                      <a:lnTo>
                        <a:pt x="21" y="81"/>
                      </a:lnTo>
                      <a:lnTo>
                        <a:pt x="25" y="90"/>
                      </a:lnTo>
                      <a:lnTo>
                        <a:pt x="47" y="122"/>
                      </a:lnTo>
                      <a:lnTo>
                        <a:pt x="66" y="148"/>
                      </a:lnTo>
                      <a:lnTo>
                        <a:pt x="72" y="151"/>
                      </a:lnTo>
                      <a:lnTo>
                        <a:pt x="79" y="153"/>
                      </a:lnTo>
                      <a:lnTo>
                        <a:pt x="85" y="155"/>
                      </a:lnTo>
                      <a:lnTo>
                        <a:pt x="92" y="156"/>
                      </a:lnTo>
                      <a:lnTo>
                        <a:pt x="105" y="158"/>
                      </a:lnTo>
                      <a:lnTo>
                        <a:pt x="119" y="158"/>
                      </a:lnTo>
                      <a:lnTo>
                        <a:pt x="152" y="155"/>
                      </a:lnTo>
                      <a:lnTo>
                        <a:pt x="192" y="154"/>
                      </a:lnTo>
                      <a:lnTo>
                        <a:pt x="184" y="153"/>
                      </a:lnTo>
                      <a:lnTo>
                        <a:pt x="176" y="152"/>
                      </a:lnTo>
                      <a:lnTo>
                        <a:pt x="168" y="151"/>
                      </a:lnTo>
                      <a:lnTo>
                        <a:pt x="160" y="149"/>
                      </a:lnTo>
                      <a:lnTo>
                        <a:pt x="145" y="144"/>
                      </a:lnTo>
                      <a:lnTo>
                        <a:pt x="129" y="138"/>
                      </a:lnTo>
                      <a:lnTo>
                        <a:pt x="115" y="130"/>
                      </a:lnTo>
                      <a:lnTo>
                        <a:pt x="101" y="120"/>
                      </a:lnTo>
                      <a:lnTo>
                        <a:pt x="87" y="110"/>
                      </a:lnTo>
                      <a:lnTo>
                        <a:pt x="75" y="98"/>
                      </a:lnTo>
                      <a:lnTo>
                        <a:pt x="63" y="87"/>
                      </a:lnTo>
                      <a:lnTo>
                        <a:pt x="52" y="75"/>
                      </a:lnTo>
                      <a:lnTo>
                        <a:pt x="42" y="63"/>
                      </a:lnTo>
                      <a:lnTo>
                        <a:pt x="35" y="50"/>
                      </a:lnTo>
                      <a:lnTo>
                        <a:pt x="27" y="38"/>
                      </a:lnTo>
                      <a:lnTo>
                        <a:pt x="21" y="26"/>
                      </a:lnTo>
                      <a:lnTo>
                        <a:pt x="16" y="16"/>
                      </a:lnTo>
                      <a:lnTo>
                        <a:pt x="13" y="6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s-ES" sz="1800" kern="1200"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119" name="Freeform 441">
                  <a:extLst>
                    <a:ext uri="{FF2B5EF4-FFF2-40B4-BE49-F238E27FC236}">
                      <a16:creationId xmlns="" xmlns:a16="http://schemas.microsoft.com/office/drawing/2014/main" id="{462EF0A6-CE0F-49C9-A87D-171F543739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89" y="3126"/>
                  <a:ext cx="290" cy="606"/>
                </a:xfrm>
                <a:custGeom>
                  <a:avLst/>
                  <a:gdLst>
                    <a:gd name="T0" fmla="*/ 3 w 884"/>
                    <a:gd name="T1" fmla="*/ 2 h 1818"/>
                    <a:gd name="T2" fmla="*/ 3 w 884"/>
                    <a:gd name="T3" fmla="*/ 1 h 1818"/>
                    <a:gd name="T4" fmla="*/ 3 w 884"/>
                    <a:gd name="T5" fmla="*/ 1 h 1818"/>
                    <a:gd name="T6" fmla="*/ 3 w 884"/>
                    <a:gd name="T7" fmla="*/ 1 h 1818"/>
                    <a:gd name="T8" fmla="*/ 3 w 884"/>
                    <a:gd name="T9" fmla="*/ 1 h 1818"/>
                    <a:gd name="T10" fmla="*/ 3 w 884"/>
                    <a:gd name="T11" fmla="*/ 1 h 1818"/>
                    <a:gd name="T12" fmla="*/ 3 w 884"/>
                    <a:gd name="T13" fmla="*/ 1 h 1818"/>
                    <a:gd name="T14" fmla="*/ 2 w 884"/>
                    <a:gd name="T15" fmla="*/ 1 h 1818"/>
                    <a:gd name="T16" fmla="*/ 3 w 884"/>
                    <a:gd name="T17" fmla="*/ 1 h 1818"/>
                    <a:gd name="T18" fmla="*/ 2 w 884"/>
                    <a:gd name="T19" fmla="*/ 1 h 1818"/>
                    <a:gd name="T20" fmla="*/ 2 w 884"/>
                    <a:gd name="T21" fmla="*/ 0 h 1818"/>
                    <a:gd name="T22" fmla="*/ 1 w 884"/>
                    <a:gd name="T23" fmla="*/ 0 h 1818"/>
                    <a:gd name="T24" fmla="*/ 1 w 884"/>
                    <a:gd name="T25" fmla="*/ 0 h 1818"/>
                    <a:gd name="T26" fmla="*/ 1 w 884"/>
                    <a:gd name="T27" fmla="*/ 0 h 1818"/>
                    <a:gd name="T28" fmla="*/ 1 w 884"/>
                    <a:gd name="T29" fmla="*/ 0 h 1818"/>
                    <a:gd name="T30" fmla="*/ 0 w 884"/>
                    <a:gd name="T31" fmla="*/ 0 h 1818"/>
                    <a:gd name="T32" fmla="*/ 0 w 884"/>
                    <a:gd name="T33" fmla="*/ 0 h 1818"/>
                    <a:gd name="T34" fmla="*/ 0 w 884"/>
                    <a:gd name="T35" fmla="*/ 1 h 1818"/>
                    <a:gd name="T36" fmla="*/ 0 w 884"/>
                    <a:gd name="T37" fmla="*/ 1 h 1818"/>
                    <a:gd name="T38" fmla="*/ 0 w 884"/>
                    <a:gd name="T39" fmla="*/ 1 h 1818"/>
                    <a:gd name="T40" fmla="*/ 0 w 884"/>
                    <a:gd name="T41" fmla="*/ 2 h 1818"/>
                    <a:gd name="T42" fmla="*/ 0 w 884"/>
                    <a:gd name="T43" fmla="*/ 3 h 1818"/>
                    <a:gd name="T44" fmla="*/ 0 w 884"/>
                    <a:gd name="T45" fmla="*/ 3 h 1818"/>
                    <a:gd name="T46" fmla="*/ 0 w 884"/>
                    <a:gd name="T47" fmla="*/ 3 h 1818"/>
                    <a:gd name="T48" fmla="*/ 0 w 884"/>
                    <a:gd name="T49" fmla="*/ 3 h 1818"/>
                    <a:gd name="T50" fmla="*/ 0 w 884"/>
                    <a:gd name="T51" fmla="*/ 3 h 1818"/>
                    <a:gd name="T52" fmla="*/ 0 w 884"/>
                    <a:gd name="T53" fmla="*/ 4 h 1818"/>
                    <a:gd name="T54" fmla="*/ 0 w 884"/>
                    <a:gd name="T55" fmla="*/ 4 h 1818"/>
                    <a:gd name="T56" fmla="*/ 0 w 884"/>
                    <a:gd name="T57" fmla="*/ 4 h 1818"/>
                    <a:gd name="T58" fmla="*/ 0 w 884"/>
                    <a:gd name="T59" fmla="*/ 5 h 1818"/>
                    <a:gd name="T60" fmla="*/ 1 w 884"/>
                    <a:gd name="T61" fmla="*/ 5 h 1818"/>
                    <a:gd name="T62" fmla="*/ 1 w 884"/>
                    <a:gd name="T63" fmla="*/ 6 h 1818"/>
                    <a:gd name="T64" fmla="*/ 1 w 884"/>
                    <a:gd name="T65" fmla="*/ 6 h 1818"/>
                    <a:gd name="T66" fmla="*/ 1 w 884"/>
                    <a:gd name="T67" fmla="*/ 6 h 1818"/>
                    <a:gd name="T68" fmla="*/ 1 w 884"/>
                    <a:gd name="T69" fmla="*/ 7 h 1818"/>
                    <a:gd name="T70" fmla="*/ 1 w 884"/>
                    <a:gd name="T71" fmla="*/ 7 h 1818"/>
                    <a:gd name="T72" fmla="*/ 1 w 884"/>
                    <a:gd name="T73" fmla="*/ 7 h 1818"/>
                    <a:gd name="T74" fmla="*/ 1 w 884"/>
                    <a:gd name="T75" fmla="*/ 7 h 1818"/>
                    <a:gd name="T76" fmla="*/ 2 w 884"/>
                    <a:gd name="T77" fmla="*/ 7 h 1818"/>
                    <a:gd name="T78" fmla="*/ 2 w 884"/>
                    <a:gd name="T79" fmla="*/ 7 h 1818"/>
                    <a:gd name="T80" fmla="*/ 2 w 884"/>
                    <a:gd name="T81" fmla="*/ 7 h 1818"/>
                    <a:gd name="T82" fmla="*/ 2 w 884"/>
                    <a:gd name="T83" fmla="*/ 7 h 1818"/>
                    <a:gd name="T84" fmla="*/ 2 w 884"/>
                    <a:gd name="T85" fmla="*/ 6 h 1818"/>
                    <a:gd name="T86" fmla="*/ 2 w 884"/>
                    <a:gd name="T87" fmla="*/ 6 h 1818"/>
                    <a:gd name="T88" fmla="*/ 2 w 884"/>
                    <a:gd name="T89" fmla="*/ 6 h 1818"/>
                    <a:gd name="T90" fmla="*/ 2 w 884"/>
                    <a:gd name="T91" fmla="*/ 6 h 1818"/>
                    <a:gd name="T92" fmla="*/ 2 w 884"/>
                    <a:gd name="T93" fmla="*/ 5 h 1818"/>
                    <a:gd name="T94" fmla="*/ 2 w 884"/>
                    <a:gd name="T95" fmla="*/ 5 h 1818"/>
                    <a:gd name="T96" fmla="*/ 2 w 884"/>
                    <a:gd name="T97" fmla="*/ 5 h 1818"/>
                    <a:gd name="T98" fmla="*/ 2 w 884"/>
                    <a:gd name="T99" fmla="*/ 5 h 1818"/>
                    <a:gd name="T100" fmla="*/ 2 w 884"/>
                    <a:gd name="T101" fmla="*/ 5 h 1818"/>
                    <a:gd name="T102" fmla="*/ 2 w 884"/>
                    <a:gd name="T103" fmla="*/ 4 h 1818"/>
                    <a:gd name="T104" fmla="*/ 2 w 884"/>
                    <a:gd name="T105" fmla="*/ 4 h 1818"/>
                    <a:gd name="T106" fmla="*/ 3 w 884"/>
                    <a:gd name="T107" fmla="*/ 4 h 1818"/>
                    <a:gd name="T108" fmla="*/ 3 w 884"/>
                    <a:gd name="T109" fmla="*/ 4 h 1818"/>
                    <a:gd name="T110" fmla="*/ 3 w 884"/>
                    <a:gd name="T111" fmla="*/ 4 h 1818"/>
                    <a:gd name="T112" fmla="*/ 3 w 884"/>
                    <a:gd name="T113" fmla="*/ 4 h 1818"/>
                    <a:gd name="T114" fmla="*/ 3 w 884"/>
                    <a:gd name="T115" fmla="*/ 3 h 1818"/>
                    <a:gd name="T116" fmla="*/ 3 w 884"/>
                    <a:gd name="T117" fmla="*/ 3 h 1818"/>
                    <a:gd name="T118" fmla="*/ 3 w 884"/>
                    <a:gd name="T119" fmla="*/ 2 h 1818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884"/>
                    <a:gd name="T181" fmla="*/ 0 h 1818"/>
                    <a:gd name="T182" fmla="*/ 884 w 884"/>
                    <a:gd name="T183" fmla="*/ 1818 h 1818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884" h="1818">
                      <a:moveTo>
                        <a:pt x="725" y="493"/>
                      </a:moveTo>
                      <a:lnTo>
                        <a:pt x="726" y="484"/>
                      </a:lnTo>
                      <a:lnTo>
                        <a:pt x="729" y="474"/>
                      </a:lnTo>
                      <a:lnTo>
                        <a:pt x="735" y="462"/>
                      </a:lnTo>
                      <a:lnTo>
                        <a:pt x="742" y="450"/>
                      </a:lnTo>
                      <a:lnTo>
                        <a:pt x="750" y="438"/>
                      </a:lnTo>
                      <a:lnTo>
                        <a:pt x="761" y="427"/>
                      </a:lnTo>
                      <a:lnTo>
                        <a:pt x="772" y="415"/>
                      </a:lnTo>
                      <a:lnTo>
                        <a:pt x="784" y="402"/>
                      </a:lnTo>
                      <a:lnTo>
                        <a:pt x="798" y="391"/>
                      </a:lnTo>
                      <a:lnTo>
                        <a:pt x="811" y="381"/>
                      </a:lnTo>
                      <a:lnTo>
                        <a:pt x="824" y="371"/>
                      </a:lnTo>
                      <a:lnTo>
                        <a:pt x="837" y="362"/>
                      </a:lnTo>
                      <a:lnTo>
                        <a:pt x="849" y="353"/>
                      </a:lnTo>
                      <a:lnTo>
                        <a:pt x="862" y="347"/>
                      </a:lnTo>
                      <a:lnTo>
                        <a:pt x="873" y="342"/>
                      </a:lnTo>
                      <a:lnTo>
                        <a:pt x="884" y="339"/>
                      </a:lnTo>
                      <a:lnTo>
                        <a:pt x="884" y="329"/>
                      </a:lnTo>
                      <a:lnTo>
                        <a:pt x="884" y="310"/>
                      </a:lnTo>
                      <a:lnTo>
                        <a:pt x="884" y="289"/>
                      </a:lnTo>
                      <a:lnTo>
                        <a:pt x="884" y="272"/>
                      </a:lnTo>
                      <a:lnTo>
                        <a:pt x="884" y="259"/>
                      </a:lnTo>
                      <a:lnTo>
                        <a:pt x="884" y="247"/>
                      </a:lnTo>
                      <a:lnTo>
                        <a:pt x="884" y="232"/>
                      </a:lnTo>
                      <a:lnTo>
                        <a:pt x="884" y="216"/>
                      </a:lnTo>
                      <a:lnTo>
                        <a:pt x="874" y="216"/>
                      </a:lnTo>
                      <a:lnTo>
                        <a:pt x="867" y="214"/>
                      </a:lnTo>
                      <a:lnTo>
                        <a:pt x="859" y="211"/>
                      </a:lnTo>
                      <a:lnTo>
                        <a:pt x="854" y="208"/>
                      </a:lnTo>
                      <a:lnTo>
                        <a:pt x="848" y="203"/>
                      </a:lnTo>
                      <a:lnTo>
                        <a:pt x="844" y="198"/>
                      </a:lnTo>
                      <a:lnTo>
                        <a:pt x="840" y="192"/>
                      </a:lnTo>
                      <a:lnTo>
                        <a:pt x="837" y="185"/>
                      </a:lnTo>
                      <a:lnTo>
                        <a:pt x="837" y="222"/>
                      </a:lnTo>
                      <a:lnTo>
                        <a:pt x="840" y="227"/>
                      </a:lnTo>
                      <a:lnTo>
                        <a:pt x="843" y="231"/>
                      </a:lnTo>
                      <a:lnTo>
                        <a:pt x="844" y="236"/>
                      </a:lnTo>
                      <a:lnTo>
                        <a:pt x="845" y="241"/>
                      </a:lnTo>
                      <a:lnTo>
                        <a:pt x="844" y="252"/>
                      </a:lnTo>
                      <a:lnTo>
                        <a:pt x="841" y="262"/>
                      </a:lnTo>
                      <a:lnTo>
                        <a:pt x="837" y="271"/>
                      </a:lnTo>
                      <a:lnTo>
                        <a:pt x="832" y="281"/>
                      </a:lnTo>
                      <a:lnTo>
                        <a:pt x="824" y="290"/>
                      </a:lnTo>
                      <a:lnTo>
                        <a:pt x="815" y="299"/>
                      </a:lnTo>
                      <a:lnTo>
                        <a:pt x="805" y="308"/>
                      </a:lnTo>
                      <a:lnTo>
                        <a:pt x="795" y="316"/>
                      </a:lnTo>
                      <a:lnTo>
                        <a:pt x="785" y="322"/>
                      </a:lnTo>
                      <a:lnTo>
                        <a:pt x="774" y="328"/>
                      </a:lnTo>
                      <a:lnTo>
                        <a:pt x="765" y="333"/>
                      </a:lnTo>
                      <a:lnTo>
                        <a:pt x="755" y="336"/>
                      </a:lnTo>
                      <a:lnTo>
                        <a:pt x="746" y="338"/>
                      </a:lnTo>
                      <a:lnTo>
                        <a:pt x="738" y="339"/>
                      </a:lnTo>
                      <a:lnTo>
                        <a:pt x="722" y="339"/>
                      </a:lnTo>
                      <a:lnTo>
                        <a:pt x="703" y="338"/>
                      </a:lnTo>
                      <a:lnTo>
                        <a:pt x="684" y="335"/>
                      </a:lnTo>
                      <a:lnTo>
                        <a:pt x="667" y="331"/>
                      </a:lnTo>
                      <a:lnTo>
                        <a:pt x="658" y="328"/>
                      </a:lnTo>
                      <a:lnTo>
                        <a:pt x="650" y="325"/>
                      </a:lnTo>
                      <a:lnTo>
                        <a:pt x="643" y="321"/>
                      </a:lnTo>
                      <a:lnTo>
                        <a:pt x="637" y="316"/>
                      </a:lnTo>
                      <a:lnTo>
                        <a:pt x="632" y="311"/>
                      </a:lnTo>
                      <a:lnTo>
                        <a:pt x="628" y="305"/>
                      </a:lnTo>
                      <a:lnTo>
                        <a:pt x="625" y="297"/>
                      </a:lnTo>
                      <a:lnTo>
                        <a:pt x="625" y="290"/>
                      </a:lnTo>
                      <a:lnTo>
                        <a:pt x="625" y="283"/>
                      </a:lnTo>
                      <a:lnTo>
                        <a:pt x="626" y="277"/>
                      </a:lnTo>
                      <a:lnTo>
                        <a:pt x="628" y="270"/>
                      </a:lnTo>
                      <a:lnTo>
                        <a:pt x="631" y="264"/>
                      </a:lnTo>
                      <a:lnTo>
                        <a:pt x="636" y="252"/>
                      </a:lnTo>
                      <a:lnTo>
                        <a:pt x="643" y="240"/>
                      </a:lnTo>
                      <a:lnTo>
                        <a:pt x="650" y="228"/>
                      </a:lnTo>
                      <a:lnTo>
                        <a:pt x="658" y="215"/>
                      </a:lnTo>
                      <a:lnTo>
                        <a:pt x="666" y="201"/>
                      </a:lnTo>
                      <a:lnTo>
                        <a:pt x="671" y="185"/>
                      </a:lnTo>
                      <a:lnTo>
                        <a:pt x="654" y="178"/>
                      </a:lnTo>
                      <a:lnTo>
                        <a:pt x="637" y="172"/>
                      </a:lnTo>
                      <a:lnTo>
                        <a:pt x="621" y="166"/>
                      </a:lnTo>
                      <a:lnTo>
                        <a:pt x="605" y="162"/>
                      </a:lnTo>
                      <a:lnTo>
                        <a:pt x="574" y="155"/>
                      </a:lnTo>
                      <a:lnTo>
                        <a:pt x="544" y="148"/>
                      </a:lnTo>
                      <a:lnTo>
                        <a:pt x="529" y="144"/>
                      </a:lnTo>
                      <a:lnTo>
                        <a:pt x="514" y="139"/>
                      </a:lnTo>
                      <a:lnTo>
                        <a:pt x="499" y="133"/>
                      </a:lnTo>
                      <a:lnTo>
                        <a:pt x="485" y="127"/>
                      </a:lnTo>
                      <a:lnTo>
                        <a:pt x="470" y="119"/>
                      </a:lnTo>
                      <a:lnTo>
                        <a:pt x="455" y="110"/>
                      </a:lnTo>
                      <a:lnTo>
                        <a:pt x="441" y="100"/>
                      </a:lnTo>
                      <a:lnTo>
                        <a:pt x="425" y="87"/>
                      </a:lnTo>
                      <a:lnTo>
                        <a:pt x="417" y="76"/>
                      </a:lnTo>
                      <a:lnTo>
                        <a:pt x="410" y="66"/>
                      </a:lnTo>
                      <a:lnTo>
                        <a:pt x="403" y="55"/>
                      </a:lnTo>
                      <a:lnTo>
                        <a:pt x="398" y="44"/>
                      </a:lnTo>
                      <a:lnTo>
                        <a:pt x="390" y="32"/>
                      </a:lnTo>
                      <a:lnTo>
                        <a:pt x="383" y="20"/>
                      </a:lnTo>
                      <a:lnTo>
                        <a:pt x="378" y="15"/>
                      </a:lnTo>
                      <a:lnTo>
                        <a:pt x="373" y="10"/>
                      </a:lnTo>
                      <a:lnTo>
                        <a:pt x="366" y="5"/>
                      </a:lnTo>
                      <a:lnTo>
                        <a:pt x="359" y="0"/>
                      </a:lnTo>
                      <a:lnTo>
                        <a:pt x="332" y="6"/>
                      </a:lnTo>
                      <a:lnTo>
                        <a:pt x="308" y="11"/>
                      </a:lnTo>
                      <a:lnTo>
                        <a:pt x="302" y="13"/>
                      </a:lnTo>
                      <a:lnTo>
                        <a:pt x="297" y="15"/>
                      </a:lnTo>
                      <a:lnTo>
                        <a:pt x="291" y="19"/>
                      </a:lnTo>
                      <a:lnTo>
                        <a:pt x="286" y="22"/>
                      </a:lnTo>
                      <a:lnTo>
                        <a:pt x="281" y="28"/>
                      </a:lnTo>
                      <a:lnTo>
                        <a:pt x="276" y="34"/>
                      </a:lnTo>
                      <a:lnTo>
                        <a:pt x="272" y="41"/>
                      </a:lnTo>
                      <a:lnTo>
                        <a:pt x="266" y="50"/>
                      </a:lnTo>
                      <a:lnTo>
                        <a:pt x="257" y="44"/>
                      </a:lnTo>
                      <a:lnTo>
                        <a:pt x="249" y="38"/>
                      </a:lnTo>
                      <a:lnTo>
                        <a:pt x="242" y="31"/>
                      </a:lnTo>
                      <a:lnTo>
                        <a:pt x="234" y="24"/>
                      </a:lnTo>
                      <a:lnTo>
                        <a:pt x="225" y="17"/>
                      </a:lnTo>
                      <a:lnTo>
                        <a:pt x="215" y="11"/>
                      </a:lnTo>
                      <a:lnTo>
                        <a:pt x="209" y="9"/>
                      </a:lnTo>
                      <a:lnTo>
                        <a:pt x="202" y="8"/>
                      </a:lnTo>
                      <a:lnTo>
                        <a:pt x="195" y="7"/>
                      </a:lnTo>
                      <a:lnTo>
                        <a:pt x="186" y="6"/>
                      </a:lnTo>
                      <a:lnTo>
                        <a:pt x="178" y="7"/>
                      </a:lnTo>
                      <a:lnTo>
                        <a:pt x="171" y="8"/>
                      </a:lnTo>
                      <a:lnTo>
                        <a:pt x="163" y="11"/>
                      </a:lnTo>
                      <a:lnTo>
                        <a:pt x="156" y="14"/>
                      </a:lnTo>
                      <a:lnTo>
                        <a:pt x="143" y="22"/>
                      </a:lnTo>
                      <a:lnTo>
                        <a:pt x="132" y="32"/>
                      </a:lnTo>
                      <a:lnTo>
                        <a:pt x="120" y="41"/>
                      </a:lnTo>
                      <a:lnTo>
                        <a:pt x="110" y="48"/>
                      </a:lnTo>
                      <a:lnTo>
                        <a:pt x="105" y="51"/>
                      </a:lnTo>
                      <a:lnTo>
                        <a:pt x="98" y="54"/>
                      </a:lnTo>
                      <a:lnTo>
                        <a:pt x="93" y="55"/>
                      </a:lnTo>
                      <a:lnTo>
                        <a:pt x="87" y="56"/>
                      </a:lnTo>
                      <a:lnTo>
                        <a:pt x="86" y="69"/>
                      </a:lnTo>
                      <a:lnTo>
                        <a:pt x="84" y="81"/>
                      </a:lnTo>
                      <a:lnTo>
                        <a:pt x="82" y="91"/>
                      </a:lnTo>
                      <a:lnTo>
                        <a:pt x="77" y="100"/>
                      </a:lnTo>
                      <a:lnTo>
                        <a:pt x="73" y="109"/>
                      </a:lnTo>
                      <a:lnTo>
                        <a:pt x="67" y="116"/>
                      </a:lnTo>
                      <a:lnTo>
                        <a:pt x="62" y="123"/>
                      </a:lnTo>
                      <a:lnTo>
                        <a:pt x="56" y="129"/>
                      </a:lnTo>
                      <a:lnTo>
                        <a:pt x="45" y="141"/>
                      </a:lnTo>
                      <a:lnTo>
                        <a:pt x="37" y="152"/>
                      </a:lnTo>
                      <a:lnTo>
                        <a:pt x="32" y="158"/>
                      </a:lnTo>
                      <a:lnTo>
                        <a:pt x="30" y="164"/>
                      </a:lnTo>
                      <a:lnTo>
                        <a:pt x="28" y="171"/>
                      </a:lnTo>
                      <a:lnTo>
                        <a:pt x="27" y="179"/>
                      </a:lnTo>
                      <a:lnTo>
                        <a:pt x="28" y="186"/>
                      </a:lnTo>
                      <a:lnTo>
                        <a:pt x="28" y="194"/>
                      </a:lnTo>
                      <a:lnTo>
                        <a:pt x="30" y="201"/>
                      </a:lnTo>
                      <a:lnTo>
                        <a:pt x="32" y="207"/>
                      </a:lnTo>
                      <a:lnTo>
                        <a:pt x="38" y="218"/>
                      </a:lnTo>
                      <a:lnTo>
                        <a:pt x="43" y="228"/>
                      </a:lnTo>
                      <a:lnTo>
                        <a:pt x="50" y="239"/>
                      </a:lnTo>
                      <a:lnTo>
                        <a:pt x="55" y="251"/>
                      </a:lnTo>
                      <a:lnTo>
                        <a:pt x="57" y="257"/>
                      </a:lnTo>
                      <a:lnTo>
                        <a:pt x="59" y="263"/>
                      </a:lnTo>
                      <a:lnTo>
                        <a:pt x="60" y="270"/>
                      </a:lnTo>
                      <a:lnTo>
                        <a:pt x="60" y="278"/>
                      </a:lnTo>
                      <a:lnTo>
                        <a:pt x="60" y="289"/>
                      </a:lnTo>
                      <a:lnTo>
                        <a:pt x="57" y="299"/>
                      </a:lnTo>
                      <a:lnTo>
                        <a:pt x="54" y="310"/>
                      </a:lnTo>
                      <a:lnTo>
                        <a:pt x="51" y="319"/>
                      </a:lnTo>
                      <a:lnTo>
                        <a:pt x="41" y="337"/>
                      </a:lnTo>
                      <a:lnTo>
                        <a:pt x="30" y="354"/>
                      </a:lnTo>
                      <a:lnTo>
                        <a:pt x="19" y="372"/>
                      </a:lnTo>
                      <a:lnTo>
                        <a:pt x="9" y="390"/>
                      </a:lnTo>
                      <a:lnTo>
                        <a:pt x="6" y="400"/>
                      </a:lnTo>
                      <a:lnTo>
                        <a:pt x="3" y="410"/>
                      </a:lnTo>
                      <a:lnTo>
                        <a:pt x="2" y="421"/>
                      </a:lnTo>
                      <a:lnTo>
                        <a:pt x="0" y="432"/>
                      </a:lnTo>
                      <a:lnTo>
                        <a:pt x="0" y="471"/>
                      </a:lnTo>
                      <a:lnTo>
                        <a:pt x="0" y="501"/>
                      </a:lnTo>
                      <a:lnTo>
                        <a:pt x="0" y="529"/>
                      </a:lnTo>
                      <a:lnTo>
                        <a:pt x="0" y="561"/>
                      </a:lnTo>
                      <a:lnTo>
                        <a:pt x="2" y="574"/>
                      </a:lnTo>
                      <a:lnTo>
                        <a:pt x="4" y="587"/>
                      </a:lnTo>
                      <a:lnTo>
                        <a:pt x="8" y="598"/>
                      </a:lnTo>
                      <a:lnTo>
                        <a:pt x="12" y="609"/>
                      </a:lnTo>
                      <a:lnTo>
                        <a:pt x="19" y="618"/>
                      </a:lnTo>
                      <a:lnTo>
                        <a:pt x="26" y="627"/>
                      </a:lnTo>
                      <a:lnTo>
                        <a:pt x="33" y="637"/>
                      </a:lnTo>
                      <a:lnTo>
                        <a:pt x="40" y="645"/>
                      </a:lnTo>
                      <a:lnTo>
                        <a:pt x="55" y="662"/>
                      </a:lnTo>
                      <a:lnTo>
                        <a:pt x="67" y="678"/>
                      </a:lnTo>
                      <a:lnTo>
                        <a:pt x="73" y="686"/>
                      </a:lnTo>
                      <a:lnTo>
                        <a:pt x="76" y="696"/>
                      </a:lnTo>
                      <a:lnTo>
                        <a:pt x="79" y="705"/>
                      </a:lnTo>
                      <a:lnTo>
                        <a:pt x="81" y="715"/>
                      </a:lnTo>
                      <a:lnTo>
                        <a:pt x="79" y="722"/>
                      </a:lnTo>
                      <a:lnTo>
                        <a:pt x="78" y="728"/>
                      </a:lnTo>
                      <a:lnTo>
                        <a:pt x="75" y="733"/>
                      </a:lnTo>
                      <a:lnTo>
                        <a:pt x="73" y="738"/>
                      </a:lnTo>
                      <a:lnTo>
                        <a:pt x="66" y="747"/>
                      </a:lnTo>
                      <a:lnTo>
                        <a:pt x="60" y="753"/>
                      </a:lnTo>
                      <a:lnTo>
                        <a:pt x="71" y="753"/>
                      </a:lnTo>
                      <a:lnTo>
                        <a:pt x="81" y="753"/>
                      </a:lnTo>
                      <a:lnTo>
                        <a:pt x="79" y="760"/>
                      </a:lnTo>
                      <a:lnTo>
                        <a:pt x="77" y="768"/>
                      </a:lnTo>
                      <a:lnTo>
                        <a:pt x="74" y="776"/>
                      </a:lnTo>
                      <a:lnTo>
                        <a:pt x="71" y="784"/>
                      </a:lnTo>
                      <a:lnTo>
                        <a:pt x="63" y="799"/>
                      </a:lnTo>
                      <a:lnTo>
                        <a:pt x="60" y="808"/>
                      </a:lnTo>
                      <a:lnTo>
                        <a:pt x="61" y="813"/>
                      </a:lnTo>
                      <a:lnTo>
                        <a:pt x="63" y="817"/>
                      </a:lnTo>
                      <a:lnTo>
                        <a:pt x="66" y="822"/>
                      </a:lnTo>
                      <a:lnTo>
                        <a:pt x="71" y="827"/>
                      </a:lnTo>
                      <a:lnTo>
                        <a:pt x="74" y="832"/>
                      </a:lnTo>
                      <a:lnTo>
                        <a:pt x="77" y="838"/>
                      </a:lnTo>
                      <a:lnTo>
                        <a:pt x="79" y="844"/>
                      </a:lnTo>
                      <a:lnTo>
                        <a:pt x="81" y="850"/>
                      </a:lnTo>
                      <a:lnTo>
                        <a:pt x="79" y="858"/>
                      </a:lnTo>
                      <a:lnTo>
                        <a:pt x="76" y="864"/>
                      </a:lnTo>
                      <a:lnTo>
                        <a:pt x="72" y="870"/>
                      </a:lnTo>
                      <a:lnTo>
                        <a:pt x="67" y="876"/>
                      </a:lnTo>
                      <a:lnTo>
                        <a:pt x="62" y="881"/>
                      </a:lnTo>
                      <a:lnTo>
                        <a:pt x="57" y="887"/>
                      </a:lnTo>
                      <a:lnTo>
                        <a:pt x="54" y="893"/>
                      </a:lnTo>
                      <a:lnTo>
                        <a:pt x="53" y="900"/>
                      </a:lnTo>
                      <a:lnTo>
                        <a:pt x="54" y="909"/>
                      </a:lnTo>
                      <a:lnTo>
                        <a:pt x="55" y="918"/>
                      </a:lnTo>
                      <a:lnTo>
                        <a:pt x="56" y="925"/>
                      </a:lnTo>
                      <a:lnTo>
                        <a:pt x="59" y="932"/>
                      </a:lnTo>
                      <a:lnTo>
                        <a:pt x="64" y="945"/>
                      </a:lnTo>
                      <a:lnTo>
                        <a:pt x="71" y="958"/>
                      </a:lnTo>
                      <a:lnTo>
                        <a:pt x="76" y="970"/>
                      </a:lnTo>
                      <a:lnTo>
                        <a:pt x="82" y="983"/>
                      </a:lnTo>
                      <a:lnTo>
                        <a:pt x="84" y="989"/>
                      </a:lnTo>
                      <a:lnTo>
                        <a:pt x="85" y="996"/>
                      </a:lnTo>
                      <a:lnTo>
                        <a:pt x="86" y="1003"/>
                      </a:lnTo>
                      <a:lnTo>
                        <a:pt x="87" y="1011"/>
                      </a:lnTo>
                      <a:lnTo>
                        <a:pt x="86" y="1022"/>
                      </a:lnTo>
                      <a:lnTo>
                        <a:pt x="85" y="1034"/>
                      </a:lnTo>
                      <a:lnTo>
                        <a:pt x="83" y="1044"/>
                      </a:lnTo>
                      <a:lnTo>
                        <a:pt x="81" y="1055"/>
                      </a:lnTo>
                      <a:lnTo>
                        <a:pt x="77" y="1066"/>
                      </a:lnTo>
                      <a:lnTo>
                        <a:pt x="75" y="1077"/>
                      </a:lnTo>
                      <a:lnTo>
                        <a:pt x="74" y="1090"/>
                      </a:lnTo>
                      <a:lnTo>
                        <a:pt x="74" y="1103"/>
                      </a:lnTo>
                      <a:lnTo>
                        <a:pt x="74" y="1116"/>
                      </a:lnTo>
                      <a:lnTo>
                        <a:pt x="75" y="1128"/>
                      </a:lnTo>
                      <a:lnTo>
                        <a:pt x="76" y="1141"/>
                      </a:lnTo>
                      <a:lnTo>
                        <a:pt x="78" y="1152"/>
                      </a:lnTo>
                      <a:lnTo>
                        <a:pt x="82" y="1163"/>
                      </a:lnTo>
                      <a:lnTo>
                        <a:pt x="85" y="1174"/>
                      </a:lnTo>
                      <a:lnTo>
                        <a:pt x="89" y="1184"/>
                      </a:lnTo>
                      <a:lnTo>
                        <a:pt x="94" y="1195"/>
                      </a:lnTo>
                      <a:lnTo>
                        <a:pt x="103" y="1213"/>
                      </a:lnTo>
                      <a:lnTo>
                        <a:pt x="113" y="1231"/>
                      </a:lnTo>
                      <a:lnTo>
                        <a:pt x="124" y="1249"/>
                      </a:lnTo>
                      <a:lnTo>
                        <a:pt x="137" y="1265"/>
                      </a:lnTo>
                      <a:lnTo>
                        <a:pt x="149" y="1282"/>
                      </a:lnTo>
                      <a:lnTo>
                        <a:pt x="160" y="1298"/>
                      </a:lnTo>
                      <a:lnTo>
                        <a:pt x="171" y="1316"/>
                      </a:lnTo>
                      <a:lnTo>
                        <a:pt x="180" y="1334"/>
                      </a:lnTo>
                      <a:lnTo>
                        <a:pt x="188" y="1352"/>
                      </a:lnTo>
                      <a:lnTo>
                        <a:pt x="195" y="1373"/>
                      </a:lnTo>
                      <a:lnTo>
                        <a:pt x="197" y="1383"/>
                      </a:lnTo>
                      <a:lnTo>
                        <a:pt x="198" y="1394"/>
                      </a:lnTo>
                      <a:lnTo>
                        <a:pt x="199" y="1405"/>
                      </a:lnTo>
                      <a:lnTo>
                        <a:pt x="200" y="1418"/>
                      </a:lnTo>
                      <a:lnTo>
                        <a:pt x="200" y="1425"/>
                      </a:lnTo>
                      <a:lnTo>
                        <a:pt x="201" y="1431"/>
                      </a:lnTo>
                      <a:lnTo>
                        <a:pt x="202" y="1437"/>
                      </a:lnTo>
                      <a:lnTo>
                        <a:pt x="205" y="1442"/>
                      </a:lnTo>
                      <a:lnTo>
                        <a:pt x="210" y="1453"/>
                      </a:lnTo>
                      <a:lnTo>
                        <a:pt x="217" y="1463"/>
                      </a:lnTo>
                      <a:lnTo>
                        <a:pt x="222" y="1475"/>
                      </a:lnTo>
                      <a:lnTo>
                        <a:pt x="228" y="1485"/>
                      </a:lnTo>
                      <a:lnTo>
                        <a:pt x="230" y="1491"/>
                      </a:lnTo>
                      <a:lnTo>
                        <a:pt x="231" y="1497"/>
                      </a:lnTo>
                      <a:lnTo>
                        <a:pt x="232" y="1503"/>
                      </a:lnTo>
                      <a:lnTo>
                        <a:pt x="233" y="1510"/>
                      </a:lnTo>
                      <a:lnTo>
                        <a:pt x="232" y="1518"/>
                      </a:lnTo>
                      <a:lnTo>
                        <a:pt x="230" y="1526"/>
                      </a:lnTo>
                      <a:lnTo>
                        <a:pt x="227" y="1532"/>
                      </a:lnTo>
                      <a:lnTo>
                        <a:pt x="223" y="1537"/>
                      </a:lnTo>
                      <a:lnTo>
                        <a:pt x="219" y="1542"/>
                      </a:lnTo>
                      <a:lnTo>
                        <a:pt x="216" y="1547"/>
                      </a:lnTo>
                      <a:lnTo>
                        <a:pt x="213" y="1553"/>
                      </a:lnTo>
                      <a:lnTo>
                        <a:pt x="213" y="1559"/>
                      </a:lnTo>
                      <a:lnTo>
                        <a:pt x="213" y="1578"/>
                      </a:lnTo>
                      <a:lnTo>
                        <a:pt x="213" y="1590"/>
                      </a:lnTo>
                      <a:lnTo>
                        <a:pt x="213" y="1598"/>
                      </a:lnTo>
                      <a:lnTo>
                        <a:pt x="213" y="1603"/>
                      </a:lnTo>
                      <a:lnTo>
                        <a:pt x="212" y="1609"/>
                      </a:lnTo>
                      <a:lnTo>
                        <a:pt x="211" y="1615"/>
                      </a:lnTo>
                      <a:lnTo>
                        <a:pt x="209" y="1622"/>
                      </a:lnTo>
                      <a:lnTo>
                        <a:pt x="207" y="1628"/>
                      </a:lnTo>
                      <a:lnTo>
                        <a:pt x="204" y="1635"/>
                      </a:lnTo>
                      <a:lnTo>
                        <a:pt x="201" y="1644"/>
                      </a:lnTo>
                      <a:lnTo>
                        <a:pt x="200" y="1654"/>
                      </a:lnTo>
                      <a:lnTo>
                        <a:pt x="200" y="1664"/>
                      </a:lnTo>
                      <a:lnTo>
                        <a:pt x="200" y="1672"/>
                      </a:lnTo>
                      <a:lnTo>
                        <a:pt x="204" y="1681"/>
                      </a:lnTo>
                      <a:lnTo>
                        <a:pt x="207" y="1690"/>
                      </a:lnTo>
                      <a:lnTo>
                        <a:pt x="213" y="1700"/>
                      </a:lnTo>
                      <a:lnTo>
                        <a:pt x="220" y="1709"/>
                      </a:lnTo>
                      <a:lnTo>
                        <a:pt x="228" y="1718"/>
                      </a:lnTo>
                      <a:lnTo>
                        <a:pt x="236" y="1727"/>
                      </a:lnTo>
                      <a:lnTo>
                        <a:pt x="246" y="1735"/>
                      </a:lnTo>
                      <a:lnTo>
                        <a:pt x="256" y="1743"/>
                      </a:lnTo>
                      <a:lnTo>
                        <a:pt x="267" y="1752"/>
                      </a:lnTo>
                      <a:lnTo>
                        <a:pt x="278" y="1758"/>
                      </a:lnTo>
                      <a:lnTo>
                        <a:pt x="289" y="1764"/>
                      </a:lnTo>
                      <a:lnTo>
                        <a:pt x="300" y="1769"/>
                      </a:lnTo>
                      <a:lnTo>
                        <a:pt x="311" y="1772"/>
                      </a:lnTo>
                      <a:lnTo>
                        <a:pt x="322" y="1774"/>
                      </a:lnTo>
                      <a:lnTo>
                        <a:pt x="333" y="1775"/>
                      </a:lnTo>
                      <a:lnTo>
                        <a:pt x="342" y="1776"/>
                      </a:lnTo>
                      <a:lnTo>
                        <a:pt x="351" y="1779"/>
                      </a:lnTo>
                      <a:lnTo>
                        <a:pt x="358" y="1781"/>
                      </a:lnTo>
                      <a:lnTo>
                        <a:pt x="366" y="1784"/>
                      </a:lnTo>
                      <a:lnTo>
                        <a:pt x="380" y="1791"/>
                      </a:lnTo>
                      <a:lnTo>
                        <a:pt x="392" y="1798"/>
                      </a:lnTo>
                      <a:lnTo>
                        <a:pt x="404" y="1807"/>
                      </a:lnTo>
                      <a:lnTo>
                        <a:pt x="419" y="1813"/>
                      </a:lnTo>
                      <a:lnTo>
                        <a:pt x="426" y="1815"/>
                      </a:lnTo>
                      <a:lnTo>
                        <a:pt x="434" y="1817"/>
                      </a:lnTo>
                      <a:lnTo>
                        <a:pt x="443" y="1818"/>
                      </a:lnTo>
                      <a:lnTo>
                        <a:pt x="452" y="1818"/>
                      </a:lnTo>
                      <a:lnTo>
                        <a:pt x="452" y="1803"/>
                      </a:lnTo>
                      <a:lnTo>
                        <a:pt x="451" y="1786"/>
                      </a:lnTo>
                      <a:lnTo>
                        <a:pt x="448" y="1772"/>
                      </a:lnTo>
                      <a:lnTo>
                        <a:pt x="445" y="1758"/>
                      </a:lnTo>
                      <a:lnTo>
                        <a:pt x="441" y="1736"/>
                      </a:lnTo>
                      <a:lnTo>
                        <a:pt x="439" y="1726"/>
                      </a:lnTo>
                      <a:lnTo>
                        <a:pt x="440" y="1721"/>
                      </a:lnTo>
                      <a:lnTo>
                        <a:pt x="443" y="1715"/>
                      </a:lnTo>
                      <a:lnTo>
                        <a:pt x="448" y="1709"/>
                      </a:lnTo>
                      <a:lnTo>
                        <a:pt x="454" y="1703"/>
                      </a:lnTo>
                      <a:lnTo>
                        <a:pt x="460" y="1698"/>
                      </a:lnTo>
                      <a:lnTo>
                        <a:pt x="467" y="1693"/>
                      </a:lnTo>
                      <a:lnTo>
                        <a:pt x="474" y="1689"/>
                      </a:lnTo>
                      <a:lnTo>
                        <a:pt x="479" y="1688"/>
                      </a:lnTo>
                      <a:lnTo>
                        <a:pt x="466" y="1633"/>
                      </a:lnTo>
                      <a:lnTo>
                        <a:pt x="459" y="1633"/>
                      </a:lnTo>
                      <a:lnTo>
                        <a:pt x="459" y="1615"/>
                      </a:lnTo>
                      <a:lnTo>
                        <a:pt x="470" y="1612"/>
                      </a:lnTo>
                      <a:lnTo>
                        <a:pt x="479" y="1610"/>
                      </a:lnTo>
                      <a:lnTo>
                        <a:pt x="487" y="1608"/>
                      </a:lnTo>
                      <a:lnTo>
                        <a:pt x="493" y="1605"/>
                      </a:lnTo>
                      <a:lnTo>
                        <a:pt x="505" y="1599"/>
                      </a:lnTo>
                      <a:lnTo>
                        <a:pt x="519" y="1590"/>
                      </a:lnTo>
                      <a:lnTo>
                        <a:pt x="519" y="1510"/>
                      </a:lnTo>
                      <a:lnTo>
                        <a:pt x="507" y="1510"/>
                      </a:lnTo>
                      <a:lnTo>
                        <a:pt x="495" y="1509"/>
                      </a:lnTo>
                      <a:lnTo>
                        <a:pt x="482" y="1508"/>
                      </a:lnTo>
                      <a:lnTo>
                        <a:pt x="471" y="1506"/>
                      </a:lnTo>
                      <a:lnTo>
                        <a:pt x="462" y="1504"/>
                      </a:lnTo>
                      <a:lnTo>
                        <a:pt x="452" y="1502"/>
                      </a:lnTo>
                      <a:lnTo>
                        <a:pt x="443" y="1498"/>
                      </a:lnTo>
                      <a:lnTo>
                        <a:pt x="434" y="1495"/>
                      </a:lnTo>
                      <a:lnTo>
                        <a:pt x="426" y="1490"/>
                      </a:lnTo>
                      <a:lnTo>
                        <a:pt x="420" y="1486"/>
                      </a:lnTo>
                      <a:lnTo>
                        <a:pt x="413" y="1480"/>
                      </a:lnTo>
                      <a:lnTo>
                        <a:pt x="409" y="1474"/>
                      </a:lnTo>
                      <a:lnTo>
                        <a:pt x="404" y="1466"/>
                      </a:lnTo>
                      <a:lnTo>
                        <a:pt x="401" y="1459"/>
                      </a:lnTo>
                      <a:lnTo>
                        <a:pt x="400" y="1451"/>
                      </a:lnTo>
                      <a:lnTo>
                        <a:pt x="399" y="1442"/>
                      </a:lnTo>
                      <a:lnTo>
                        <a:pt x="400" y="1436"/>
                      </a:lnTo>
                      <a:lnTo>
                        <a:pt x="401" y="1430"/>
                      </a:lnTo>
                      <a:lnTo>
                        <a:pt x="404" y="1424"/>
                      </a:lnTo>
                      <a:lnTo>
                        <a:pt x="408" y="1419"/>
                      </a:lnTo>
                      <a:lnTo>
                        <a:pt x="412" y="1415"/>
                      </a:lnTo>
                      <a:lnTo>
                        <a:pt x="417" y="1410"/>
                      </a:lnTo>
                      <a:lnTo>
                        <a:pt x="422" y="1407"/>
                      </a:lnTo>
                      <a:lnTo>
                        <a:pt x="429" y="1403"/>
                      </a:lnTo>
                      <a:lnTo>
                        <a:pt x="441" y="1399"/>
                      </a:lnTo>
                      <a:lnTo>
                        <a:pt x="453" y="1395"/>
                      </a:lnTo>
                      <a:lnTo>
                        <a:pt x="464" y="1393"/>
                      </a:lnTo>
                      <a:lnTo>
                        <a:pt x="473" y="1393"/>
                      </a:lnTo>
                      <a:lnTo>
                        <a:pt x="473" y="1384"/>
                      </a:lnTo>
                      <a:lnTo>
                        <a:pt x="474" y="1374"/>
                      </a:lnTo>
                      <a:lnTo>
                        <a:pt x="476" y="1364"/>
                      </a:lnTo>
                      <a:lnTo>
                        <a:pt x="479" y="1353"/>
                      </a:lnTo>
                      <a:lnTo>
                        <a:pt x="481" y="1342"/>
                      </a:lnTo>
                      <a:lnTo>
                        <a:pt x="484" y="1332"/>
                      </a:lnTo>
                      <a:lnTo>
                        <a:pt x="485" y="1323"/>
                      </a:lnTo>
                      <a:lnTo>
                        <a:pt x="486" y="1313"/>
                      </a:lnTo>
                      <a:lnTo>
                        <a:pt x="485" y="1301"/>
                      </a:lnTo>
                      <a:lnTo>
                        <a:pt x="482" y="1290"/>
                      </a:lnTo>
                      <a:lnTo>
                        <a:pt x="480" y="1278"/>
                      </a:lnTo>
                      <a:lnTo>
                        <a:pt x="476" y="1267"/>
                      </a:lnTo>
                      <a:lnTo>
                        <a:pt x="466" y="1245"/>
                      </a:lnTo>
                      <a:lnTo>
                        <a:pt x="455" y="1224"/>
                      </a:lnTo>
                      <a:lnTo>
                        <a:pt x="444" y="1205"/>
                      </a:lnTo>
                      <a:lnTo>
                        <a:pt x="435" y="1187"/>
                      </a:lnTo>
                      <a:lnTo>
                        <a:pt x="431" y="1179"/>
                      </a:lnTo>
                      <a:lnTo>
                        <a:pt x="429" y="1172"/>
                      </a:lnTo>
                      <a:lnTo>
                        <a:pt x="426" y="1165"/>
                      </a:lnTo>
                      <a:lnTo>
                        <a:pt x="425" y="1159"/>
                      </a:lnTo>
                      <a:lnTo>
                        <a:pt x="425" y="1148"/>
                      </a:lnTo>
                      <a:lnTo>
                        <a:pt x="425" y="1141"/>
                      </a:lnTo>
                      <a:lnTo>
                        <a:pt x="433" y="1141"/>
                      </a:lnTo>
                      <a:lnTo>
                        <a:pt x="441" y="1142"/>
                      </a:lnTo>
                      <a:lnTo>
                        <a:pt x="448" y="1144"/>
                      </a:lnTo>
                      <a:lnTo>
                        <a:pt x="456" y="1145"/>
                      </a:lnTo>
                      <a:lnTo>
                        <a:pt x="473" y="1150"/>
                      </a:lnTo>
                      <a:lnTo>
                        <a:pt x="488" y="1156"/>
                      </a:lnTo>
                      <a:lnTo>
                        <a:pt x="503" y="1161"/>
                      </a:lnTo>
                      <a:lnTo>
                        <a:pt x="518" y="1166"/>
                      </a:lnTo>
                      <a:lnTo>
                        <a:pt x="532" y="1170"/>
                      </a:lnTo>
                      <a:lnTo>
                        <a:pt x="545" y="1171"/>
                      </a:lnTo>
                      <a:lnTo>
                        <a:pt x="549" y="1171"/>
                      </a:lnTo>
                      <a:lnTo>
                        <a:pt x="554" y="1169"/>
                      </a:lnTo>
                      <a:lnTo>
                        <a:pt x="557" y="1168"/>
                      </a:lnTo>
                      <a:lnTo>
                        <a:pt x="560" y="1165"/>
                      </a:lnTo>
                      <a:lnTo>
                        <a:pt x="565" y="1159"/>
                      </a:lnTo>
                      <a:lnTo>
                        <a:pt x="568" y="1151"/>
                      </a:lnTo>
                      <a:lnTo>
                        <a:pt x="570" y="1142"/>
                      </a:lnTo>
                      <a:lnTo>
                        <a:pt x="571" y="1132"/>
                      </a:lnTo>
                      <a:lnTo>
                        <a:pt x="571" y="1123"/>
                      </a:lnTo>
                      <a:lnTo>
                        <a:pt x="571" y="1116"/>
                      </a:lnTo>
                      <a:lnTo>
                        <a:pt x="569" y="1112"/>
                      </a:lnTo>
                      <a:lnTo>
                        <a:pt x="565" y="1102"/>
                      </a:lnTo>
                      <a:lnTo>
                        <a:pt x="560" y="1090"/>
                      </a:lnTo>
                      <a:lnTo>
                        <a:pt x="558" y="1078"/>
                      </a:lnTo>
                      <a:lnTo>
                        <a:pt x="552" y="1066"/>
                      </a:lnTo>
                      <a:lnTo>
                        <a:pt x="545" y="1054"/>
                      </a:lnTo>
                      <a:lnTo>
                        <a:pt x="546" y="1049"/>
                      </a:lnTo>
                      <a:lnTo>
                        <a:pt x="548" y="1044"/>
                      </a:lnTo>
                      <a:lnTo>
                        <a:pt x="551" y="1040"/>
                      </a:lnTo>
                      <a:lnTo>
                        <a:pt x="555" y="1036"/>
                      </a:lnTo>
                      <a:lnTo>
                        <a:pt x="559" y="1032"/>
                      </a:lnTo>
                      <a:lnTo>
                        <a:pt x="565" y="1030"/>
                      </a:lnTo>
                      <a:lnTo>
                        <a:pt x="571" y="1027"/>
                      </a:lnTo>
                      <a:lnTo>
                        <a:pt x="578" y="1025"/>
                      </a:lnTo>
                      <a:lnTo>
                        <a:pt x="591" y="1022"/>
                      </a:lnTo>
                      <a:lnTo>
                        <a:pt x="604" y="1021"/>
                      </a:lnTo>
                      <a:lnTo>
                        <a:pt x="615" y="1021"/>
                      </a:lnTo>
                      <a:lnTo>
                        <a:pt x="625" y="1023"/>
                      </a:lnTo>
                      <a:lnTo>
                        <a:pt x="652" y="1023"/>
                      </a:lnTo>
                      <a:lnTo>
                        <a:pt x="676" y="1023"/>
                      </a:lnTo>
                      <a:lnTo>
                        <a:pt x="697" y="1021"/>
                      </a:lnTo>
                      <a:lnTo>
                        <a:pt x="716" y="1017"/>
                      </a:lnTo>
                      <a:lnTo>
                        <a:pt x="734" y="1013"/>
                      </a:lnTo>
                      <a:lnTo>
                        <a:pt x="750" y="1007"/>
                      </a:lnTo>
                      <a:lnTo>
                        <a:pt x="764" y="1001"/>
                      </a:lnTo>
                      <a:lnTo>
                        <a:pt x="776" y="993"/>
                      </a:lnTo>
                      <a:lnTo>
                        <a:pt x="787" y="984"/>
                      </a:lnTo>
                      <a:lnTo>
                        <a:pt x="795" y="973"/>
                      </a:lnTo>
                      <a:lnTo>
                        <a:pt x="802" y="961"/>
                      </a:lnTo>
                      <a:lnTo>
                        <a:pt x="809" y="949"/>
                      </a:lnTo>
                      <a:lnTo>
                        <a:pt x="812" y="935"/>
                      </a:lnTo>
                      <a:lnTo>
                        <a:pt x="815" y="921"/>
                      </a:lnTo>
                      <a:lnTo>
                        <a:pt x="817" y="904"/>
                      </a:lnTo>
                      <a:lnTo>
                        <a:pt x="817" y="888"/>
                      </a:lnTo>
                      <a:lnTo>
                        <a:pt x="817" y="884"/>
                      </a:lnTo>
                      <a:lnTo>
                        <a:pt x="816" y="882"/>
                      </a:lnTo>
                      <a:lnTo>
                        <a:pt x="815" y="879"/>
                      </a:lnTo>
                      <a:lnTo>
                        <a:pt x="813" y="877"/>
                      </a:lnTo>
                      <a:lnTo>
                        <a:pt x="809" y="874"/>
                      </a:lnTo>
                      <a:lnTo>
                        <a:pt x="803" y="871"/>
                      </a:lnTo>
                      <a:lnTo>
                        <a:pt x="792" y="867"/>
                      </a:lnTo>
                      <a:lnTo>
                        <a:pt x="784" y="863"/>
                      </a:lnTo>
                      <a:lnTo>
                        <a:pt x="782" y="859"/>
                      </a:lnTo>
                      <a:lnTo>
                        <a:pt x="781" y="852"/>
                      </a:lnTo>
                      <a:lnTo>
                        <a:pt x="780" y="847"/>
                      </a:lnTo>
                      <a:lnTo>
                        <a:pt x="779" y="841"/>
                      </a:lnTo>
                      <a:lnTo>
                        <a:pt x="780" y="836"/>
                      </a:lnTo>
                      <a:lnTo>
                        <a:pt x="781" y="830"/>
                      </a:lnTo>
                      <a:lnTo>
                        <a:pt x="782" y="825"/>
                      </a:lnTo>
                      <a:lnTo>
                        <a:pt x="784" y="820"/>
                      </a:lnTo>
                      <a:lnTo>
                        <a:pt x="772" y="816"/>
                      </a:lnTo>
                      <a:lnTo>
                        <a:pt x="758" y="810"/>
                      </a:lnTo>
                      <a:lnTo>
                        <a:pt x="742" y="800"/>
                      </a:lnTo>
                      <a:lnTo>
                        <a:pt x="725" y="789"/>
                      </a:lnTo>
                      <a:lnTo>
                        <a:pt x="717" y="783"/>
                      </a:lnTo>
                      <a:lnTo>
                        <a:pt x="711" y="777"/>
                      </a:lnTo>
                      <a:lnTo>
                        <a:pt x="704" y="771"/>
                      </a:lnTo>
                      <a:lnTo>
                        <a:pt x="700" y="765"/>
                      </a:lnTo>
                      <a:lnTo>
                        <a:pt x="695" y="758"/>
                      </a:lnTo>
                      <a:lnTo>
                        <a:pt x="692" y="752"/>
                      </a:lnTo>
                      <a:lnTo>
                        <a:pt x="691" y="745"/>
                      </a:lnTo>
                      <a:lnTo>
                        <a:pt x="691" y="739"/>
                      </a:lnTo>
                      <a:lnTo>
                        <a:pt x="698" y="616"/>
                      </a:lnTo>
                      <a:lnTo>
                        <a:pt x="697" y="585"/>
                      </a:lnTo>
                      <a:lnTo>
                        <a:pt x="697" y="553"/>
                      </a:lnTo>
                      <a:lnTo>
                        <a:pt x="698" y="546"/>
                      </a:lnTo>
                      <a:lnTo>
                        <a:pt x="699" y="539"/>
                      </a:lnTo>
                      <a:lnTo>
                        <a:pt x="701" y="532"/>
                      </a:lnTo>
                      <a:lnTo>
                        <a:pt x="703" y="525"/>
                      </a:lnTo>
                      <a:lnTo>
                        <a:pt x="708" y="518"/>
                      </a:lnTo>
                      <a:lnTo>
                        <a:pt x="712" y="511"/>
                      </a:lnTo>
                      <a:lnTo>
                        <a:pt x="717" y="505"/>
                      </a:lnTo>
                      <a:lnTo>
                        <a:pt x="725" y="499"/>
                      </a:lnTo>
                      <a:lnTo>
                        <a:pt x="725" y="493"/>
                      </a:lnTo>
                    </a:path>
                  </a:pathLst>
                </a:custGeom>
                <a:solidFill>
                  <a:schemeClr val="accent1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s-ES" sz="1800" kern="1200"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120" name="Freeform 442">
                <a:extLst>
                  <a:ext uri="{FF2B5EF4-FFF2-40B4-BE49-F238E27FC236}">
                    <a16:creationId xmlns="" xmlns:a16="http://schemas.microsoft.com/office/drawing/2014/main" id="{8A100E2E-DEDC-4B1C-BC0C-BE25E21B5F8A}"/>
                  </a:ext>
                </a:extLst>
              </p:cNvPr>
              <p:cNvSpPr>
                <a:spLocks/>
              </p:cNvSpPr>
              <p:nvPr>
                <p:custDataLst>
                  <p:tags r:id="rId280"/>
                </p:custDataLst>
              </p:nvPr>
            </p:nvSpPr>
            <p:spPr bwMode="auto">
              <a:xfrm>
                <a:off x="5040313" y="2324100"/>
                <a:ext cx="123825" cy="109538"/>
              </a:xfrm>
              <a:custGeom>
                <a:avLst/>
                <a:gdLst>
                  <a:gd name="T0" fmla="*/ 2147483646 w 279"/>
                  <a:gd name="T1" fmla="*/ 2147483646 h 204"/>
                  <a:gd name="T2" fmla="*/ 2147483646 w 279"/>
                  <a:gd name="T3" fmla="*/ 2147483646 h 204"/>
                  <a:gd name="T4" fmla="*/ 2147483646 w 279"/>
                  <a:gd name="T5" fmla="*/ 2147483646 h 204"/>
                  <a:gd name="T6" fmla="*/ 2147483646 w 279"/>
                  <a:gd name="T7" fmla="*/ 2147483646 h 204"/>
                  <a:gd name="T8" fmla="*/ 2147483646 w 279"/>
                  <a:gd name="T9" fmla="*/ 2147483646 h 204"/>
                  <a:gd name="T10" fmla="*/ 2147483646 w 279"/>
                  <a:gd name="T11" fmla="*/ 2147483646 h 204"/>
                  <a:gd name="T12" fmla="*/ 2147483646 w 279"/>
                  <a:gd name="T13" fmla="*/ 2147483646 h 204"/>
                  <a:gd name="T14" fmla="*/ 2147483646 w 279"/>
                  <a:gd name="T15" fmla="*/ 2147483646 h 204"/>
                  <a:gd name="T16" fmla="*/ 2147483646 w 279"/>
                  <a:gd name="T17" fmla="*/ 2147483646 h 204"/>
                  <a:gd name="T18" fmla="*/ 2147483646 w 279"/>
                  <a:gd name="T19" fmla="*/ 2147483646 h 204"/>
                  <a:gd name="T20" fmla="*/ 2147483646 w 279"/>
                  <a:gd name="T21" fmla="*/ 2147483646 h 204"/>
                  <a:gd name="T22" fmla="*/ 2147483646 w 279"/>
                  <a:gd name="T23" fmla="*/ 2147483646 h 204"/>
                  <a:gd name="T24" fmla="*/ 2147483646 w 279"/>
                  <a:gd name="T25" fmla="*/ 2147483646 h 204"/>
                  <a:gd name="T26" fmla="*/ 2147483646 w 279"/>
                  <a:gd name="T27" fmla="*/ 2147483646 h 204"/>
                  <a:gd name="T28" fmla="*/ 2147483646 w 279"/>
                  <a:gd name="T29" fmla="*/ 2147483646 h 204"/>
                  <a:gd name="T30" fmla="*/ 2147483646 w 279"/>
                  <a:gd name="T31" fmla="*/ 2147483646 h 204"/>
                  <a:gd name="T32" fmla="*/ 2147483646 w 279"/>
                  <a:gd name="T33" fmla="*/ 2147483646 h 204"/>
                  <a:gd name="T34" fmla="*/ 2147483646 w 279"/>
                  <a:gd name="T35" fmla="*/ 2147483646 h 204"/>
                  <a:gd name="T36" fmla="*/ 2147483646 w 279"/>
                  <a:gd name="T37" fmla="*/ 2147483646 h 204"/>
                  <a:gd name="T38" fmla="*/ 2147483646 w 279"/>
                  <a:gd name="T39" fmla="*/ 2147483646 h 204"/>
                  <a:gd name="T40" fmla="*/ 2147483646 w 279"/>
                  <a:gd name="T41" fmla="*/ 2147483646 h 204"/>
                  <a:gd name="T42" fmla="*/ 2147483646 w 279"/>
                  <a:gd name="T43" fmla="*/ 2147483646 h 204"/>
                  <a:gd name="T44" fmla="*/ 2147483646 w 279"/>
                  <a:gd name="T45" fmla="*/ 2147483646 h 204"/>
                  <a:gd name="T46" fmla="*/ 2147483646 w 279"/>
                  <a:gd name="T47" fmla="*/ 2147483646 h 204"/>
                  <a:gd name="T48" fmla="*/ 2147483646 w 279"/>
                  <a:gd name="T49" fmla="*/ 2147483646 h 204"/>
                  <a:gd name="T50" fmla="*/ 2147483646 w 279"/>
                  <a:gd name="T51" fmla="*/ 2147483646 h 204"/>
                  <a:gd name="T52" fmla="*/ 2147483646 w 279"/>
                  <a:gd name="T53" fmla="*/ 2147483646 h 204"/>
                  <a:gd name="T54" fmla="*/ 2147483646 w 279"/>
                  <a:gd name="T55" fmla="*/ 2147483646 h 204"/>
                  <a:gd name="T56" fmla="*/ 2147483646 w 279"/>
                  <a:gd name="T57" fmla="*/ 2147483646 h 204"/>
                  <a:gd name="T58" fmla="*/ 2147483646 w 279"/>
                  <a:gd name="T59" fmla="*/ 2147483646 h 204"/>
                  <a:gd name="T60" fmla="*/ 2147483646 w 279"/>
                  <a:gd name="T61" fmla="*/ 2147483646 h 204"/>
                  <a:gd name="T62" fmla="*/ 2147483646 w 279"/>
                  <a:gd name="T63" fmla="*/ 2147483646 h 204"/>
                  <a:gd name="T64" fmla="*/ 0 w 279"/>
                  <a:gd name="T65" fmla="*/ 2147483646 h 20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79"/>
                  <a:gd name="T100" fmla="*/ 0 h 204"/>
                  <a:gd name="T101" fmla="*/ 279 w 279"/>
                  <a:gd name="T102" fmla="*/ 204 h 204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79" h="204">
                    <a:moveTo>
                      <a:pt x="0" y="56"/>
                    </a:moveTo>
                    <a:lnTo>
                      <a:pt x="33" y="87"/>
                    </a:lnTo>
                    <a:lnTo>
                      <a:pt x="46" y="123"/>
                    </a:lnTo>
                    <a:lnTo>
                      <a:pt x="59" y="142"/>
                    </a:lnTo>
                    <a:lnTo>
                      <a:pt x="59" y="173"/>
                    </a:lnTo>
                    <a:lnTo>
                      <a:pt x="59" y="179"/>
                    </a:lnTo>
                    <a:lnTo>
                      <a:pt x="80" y="188"/>
                    </a:lnTo>
                    <a:lnTo>
                      <a:pt x="102" y="196"/>
                    </a:lnTo>
                    <a:lnTo>
                      <a:pt x="112" y="199"/>
                    </a:lnTo>
                    <a:lnTo>
                      <a:pt x="122" y="202"/>
                    </a:lnTo>
                    <a:lnTo>
                      <a:pt x="130" y="203"/>
                    </a:lnTo>
                    <a:lnTo>
                      <a:pt x="139" y="204"/>
                    </a:lnTo>
                    <a:lnTo>
                      <a:pt x="142" y="203"/>
                    </a:lnTo>
                    <a:lnTo>
                      <a:pt x="146" y="201"/>
                    </a:lnTo>
                    <a:lnTo>
                      <a:pt x="148" y="198"/>
                    </a:lnTo>
                    <a:lnTo>
                      <a:pt x="151" y="194"/>
                    </a:lnTo>
                    <a:lnTo>
                      <a:pt x="156" y="183"/>
                    </a:lnTo>
                    <a:lnTo>
                      <a:pt x="160" y="172"/>
                    </a:lnTo>
                    <a:lnTo>
                      <a:pt x="165" y="160"/>
                    </a:lnTo>
                    <a:lnTo>
                      <a:pt x="172" y="149"/>
                    </a:lnTo>
                    <a:lnTo>
                      <a:pt x="176" y="145"/>
                    </a:lnTo>
                    <a:lnTo>
                      <a:pt x="181" y="141"/>
                    </a:lnTo>
                    <a:lnTo>
                      <a:pt x="186" y="138"/>
                    </a:lnTo>
                    <a:lnTo>
                      <a:pt x="192" y="136"/>
                    </a:lnTo>
                    <a:lnTo>
                      <a:pt x="201" y="137"/>
                    </a:lnTo>
                    <a:lnTo>
                      <a:pt x="209" y="138"/>
                    </a:lnTo>
                    <a:lnTo>
                      <a:pt x="215" y="140"/>
                    </a:lnTo>
                    <a:lnTo>
                      <a:pt x="220" y="142"/>
                    </a:lnTo>
                    <a:lnTo>
                      <a:pt x="225" y="145"/>
                    </a:lnTo>
                    <a:lnTo>
                      <a:pt x="228" y="148"/>
                    </a:lnTo>
                    <a:lnTo>
                      <a:pt x="230" y="151"/>
                    </a:lnTo>
                    <a:lnTo>
                      <a:pt x="231" y="154"/>
                    </a:lnTo>
                    <a:lnTo>
                      <a:pt x="234" y="160"/>
                    </a:lnTo>
                    <a:lnTo>
                      <a:pt x="234" y="164"/>
                    </a:lnTo>
                    <a:lnTo>
                      <a:pt x="232" y="167"/>
                    </a:lnTo>
                    <a:lnTo>
                      <a:pt x="231" y="167"/>
                    </a:lnTo>
                    <a:lnTo>
                      <a:pt x="232" y="160"/>
                    </a:lnTo>
                    <a:lnTo>
                      <a:pt x="234" y="153"/>
                    </a:lnTo>
                    <a:lnTo>
                      <a:pt x="236" y="147"/>
                    </a:lnTo>
                    <a:lnTo>
                      <a:pt x="238" y="140"/>
                    </a:lnTo>
                    <a:lnTo>
                      <a:pt x="243" y="127"/>
                    </a:lnTo>
                    <a:lnTo>
                      <a:pt x="245" y="117"/>
                    </a:lnTo>
                    <a:lnTo>
                      <a:pt x="250" y="117"/>
                    </a:lnTo>
                    <a:lnTo>
                      <a:pt x="254" y="115"/>
                    </a:lnTo>
                    <a:lnTo>
                      <a:pt x="260" y="113"/>
                    </a:lnTo>
                    <a:lnTo>
                      <a:pt x="264" y="110"/>
                    </a:lnTo>
                    <a:lnTo>
                      <a:pt x="272" y="104"/>
                    </a:lnTo>
                    <a:lnTo>
                      <a:pt x="279" y="99"/>
                    </a:lnTo>
                    <a:lnTo>
                      <a:pt x="265" y="87"/>
                    </a:lnTo>
                    <a:lnTo>
                      <a:pt x="252" y="75"/>
                    </a:lnTo>
                    <a:lnTo>
                      <a:pt x="239" y="66"/>
                    </a:lnTo>
                    <a:lnTo>
                      <a:pt x="227" y="58"/>
                    </a:lnTo>
                    <a:lnTo>
                      <a:pt x="215" y="51"/>
                    </a:lnTo>
                    <a:lnTo>
                      <a:pt x="204" y="44"/>
                    </a:lnTo>
                    <a:lnTo>
                      <a:pt x="194" y="38"/>
                    </a:lnTo>
                    <a:lnTo>
                      <a:pt x="185" y="31"/>
                    </a:lnTo>
                    <a:lnTo>
                      <a:pt x="172" y="31"/>
                    </a:lnTo>
                    <a:lnTo>
                      <a:pt x="146" y="68"/>
                    </a:lnTo>
                    <a:lnTo>
                      <a:pt x="112" y="50"/>
                    </a:lnTo>
                    <a:lnTo>
                      <a:pt x="79" y="25"/>
                    </a:lnTo>
                    <a:lnTo>
                      <a:pt x="33" y="0"/>
                    </a:lnTo>
                    <a:lnTo>
                      <a:pt x="52" y="12"/>
                    </a:lnTo>
                    <a:lnTo>
                      <a:pt x="72" y="74"/>
                    </a:lnTo>
                    <a:lnTo>
                      <a:pt x="46" y="62"/>
                    </a:lnTo>
                    <a:lnTo>
                      <a:pt x="19" y="50"/>
                    </a:lnTo>
                    <a:lnTo>
                      <a:pt x="0" y="56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21" name="Freeform 443">
                <a:extLst>
                  <a:ext uri="{FF2B5EF4-FFF2-40B4-BE49-F238E27FC236}">
                    <a16:creationId xmlns="" xmlns:a16="http://schemas.microsoft.com/office/drawing/2014/main" id="{E2ADA040-2E56-4EE1-B67D-EE6BCE5DA991}"/>
                  </a:ext>
                </a:extLst>
              </p:cNvPr>
              <p:cNvSpPr>
                <a:spLocks/>
              </p:cNvSpPr>
              <p:nvPr>
                <p:custDataLst>
                  <p:tags r:id="rId281"/>
                </p:custDataLst>
              </p:nvPr>
            </p:nvSpPr>
            <p:spPr bwMode="auto">
              <a:xfrm>
                <a:off x="4506913" y="1897063"/>
                <a:ext cx="209550" cy="150812"/>
              </a:xfrm>
              <a:custGeom>
                <a:avLst/>
                <a:gdLst>
                  <a:gd name="T0" fmla="*/ 2147483646 w 485"/>
                  <a:gd name="T1" fmla="*/ 2147483646 h 291"/>
                  <a:gd name="T2" fmla="*/ 2147483646 w 485"/>
                  <a:gd name="T3" fmla="*/ 2147483646 h 291"/>
                  <a:gd name="T4" fmla="*/ 2147483646 w 485"/>
                  <a:gd name="T5" fmla="*/ 2147483646 h 291"/>
                  <a:gd name="T6" fmla="*/ 2147483646 w 485"/>
                  <a:gd name="T7" fmla="*/ 2147483646 h 291"/>
                  <a:gd name="T8" fmla="*/ 2147483646 w 485"/>
                  <a:gd name="T9" fmla="*/ 2147483646 h 291"/>
                  <a:gd name="T10" fmla="*/ 2147483646 w 485"/>
                  <a:gd name="T11" fmla="*/ 2147483646 h 291"/>
                  <a:gd name="T12" fmla="*/ 2147483646 w 485"/>
                  <a:gd name="T13" fmla="*/ 2147483646 h 291"/>
                  <a:gd name="T14" fmla="*/ 2147483646 w 485"/>
                  <a:gd name="T15" fmla="*/ 2147483646 h 291"/>
                  <a:gd name="T16" fmla="*/ 2147483646 w 485"/>
                  <a:gd name="T17" fmla="*/ 2147483646 h 291"/>
                  <a:gd name="T18" fmla="*/ 2147483646 w 485"/>
                  <a:gd name="T19" fmla="*/ 2147483646 h 291"/>
                  <a:gd name="T20" fmla="*/ 2147483646 w 485"/>
                  <a:gd name="T21" fmla="*/ 2147483646 h 291"/>
                  <a:gd name="T22" fmla="*/ 2147483646 w 485"/>
                  <a:gd name="T23" fmla="*/ 2147483646 h 291"/>
                  <a:gd name="T24" fmla="*/ 2147483646 w 485"/>
                  <a:gd name="T25" fmla="*/ 2147483646 h 291"/>
                  <a:gd name="T26" fmla="*/ 2147483646 w 485"/>
                  <a:gd name="T27" fmla="*/ 2147483646 h 291"/>
                  <a:gd name="T28" fmla="*/ 2147483646 w 485"/>
                  <a:gd name="T29" fmla="*/ 2147483646 h 291"/>
                  <a:gd name="T30" fmla="*/ 0 w 485"/>
                  <a:gd name="T31" fmla="*/ 2147483646 h 291"/>
                  <a:gd name="T32" fmla="*/ 2147483646 w 485"/>
                  <a:gd name="T33" fmla="*/ 2147483646 h 291"/>
                  <a:gd name="T34" fmla="*/ 2147483646 w 485"/>
                  <a:gd name="T35" fmla="*/ 2147483646 h 291"/>
                  <a:gd name="T36" fmla="*/ 2147483646 w 485"/>
                  <a:gd name="T37" fmla="*/ 2147483646 h 291"/>
                  <a:gd name="T38" fmla="*/ 2147483646 w 485"/>
                  <a:gd name="T39" fmla="*/ 2147483646 h 291"/>
                  <a:gd name="T40" fmla="*/ 2147483646 w 485"/>
                  <a:gd name="T41" fmla="*/ 2147483646 h 291"/>
                  <a:gd name="T42" fmla="*/ 2147483646 w 485"/>
                  <a:gd name="T43" fmla="*/ 2147483646 h 291"/>
                  <a:gd name="T44" fmla="*/ 2147483646 w 485"/>
                  <a:gd name="T45" fmla="*/ 2147483646 h 291"/>
                  <a:gd name="T46" fmla="*/ 2147483646 w 485"/>
                  <a:gd name="T47" fmla="*/ 2147483646 h 291"/>
                  <a:gd name="T48" fmla="*/ 2147483646 w 485"/>
                  <a:gd name="T49" fmla="*/ 2147483646 h 291"/>
                  <a:gd name="T50" fmla="*/ 2147483646 w 485"/>
                  <a:gd name="T51" fmla="*/ 2147483646 h 291"/>
                  <a:gd name="T52" fmla="*/ 2147483646 w 485"/>
                  <a:gd name="T53" fmla="*/ 2147483646 h 291"/>
                  <a:gd name="T54" fmla="*/ 2147483646 w 485"/>
                  <a:gd name="T55" fmla="*/ 2147483646 h 291"/>
                  <a:gd name="T56" fmla="*/ 2147483646 w 485"/>
                  <a:gd name="T57" fmla="*/ 2147483646 h 291"/>
                  <a:gd name="T58" fmla="*/ 2147483646 w 485"/>
                  <a:gd name="T59" fmla="*/ 2147483646 h 291"/>
                  <a:gd name="T60" fmla="*/ 2147483646 w 485"/>
                  <a:gd name="T61" fmla="*/ 2147483646 h 291"/>
                  <a:gd name="T62" fmla="*/ 2147483646 w 485"/>
                  <a:gd name="T63" fmla="*/ 2147483646 h 291"/>
                  <a:gd name="T64" fmla="*/ 2147483646 w 485"/>
                  <a:gd name="T65" fmla="*/ 2147483646 h 291"/>
                  <a:gd name="T66" fmla="*/ 2147483646 w 485"/>
                  <a:gd name="T67" fmla="*/ 2147483646 h 291"/>
                  <a:gd name="T68" fmla="*/ 2147483646 w 485"/>
                  <a:gd name="T69" fmla="*/ 2147483646 h 291"/>
                  <a:gd name="T70" fmla="*/ 2147483646 w 485"/>
                  <a:gd name="T71" fmla="*/ 2147483646 h 291"/>
                  <a:gd name="T72" fmla="*/ 2147483646 w 485"/>
                  <a:gd name="T73" fmla="*/ 2147483646 h 291"/>
                  <a:gd name="T74" fmla="*/ 2147483646 w 485"/>
                  <a:gd name="T75" fmla="*/ 0 h 291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485"/>
                  <a:gd name="T115" fmla="*/ 0 h 291"/>
                  <a:gd name="T116" fmla="*/ 485 w 485"/>
                  <a:gd name="T117" fmla="*/ 291 h 291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485" h="291">
                    <a:moveTo>
                      <a:pt x="206" y="6"/>
                    </a:moveTo>
                    <a:lnTo>
                      <a:pt x="252" y="20"/>
                    </a:lnTo>
                    <a:lnTo>
                      <a:pt x="292" y="20"/>
                    </a:lnTo>
                    <a:lnTo>
                      <a:pt x="300" y="44"/>
                    </a:lnTo>
                    <a:lnTo>
                      <a:pt x="339" y="32"/>
                    </a:lnTo>
                    <a:lnTo>
                      <a:pt x="372" y="44"/>
                    </a:lnTo>
                    <a:lnTo>
                      <a:pt x="379" y="93"/>
                    </a:lnTo>
                    <a:lnTo>
                      <a:pt x="425" y="131"/>
                    </a:lnTo>
                    <a:lnTo>
                      <a:pt x="459" y="149"/>
                    </a:lnTo>
                    <a:lnTo>
                      <a:pt x="485" y="167"/>
                    </a:lnTo>
                    <a:lnTo>
                      <a:pt x="459" y="186"/>
                    </a:lnTo>
                    <a:lnTo>
                      <a:pt x="412" y="173"/>
                    </a:lnTo>
                    <a:lnTo>
                      <a:pt x="418" y="198"/>
                    </a:lnTo>
                    <a:lnTo>
                      <a:pt x="433" y="210"/>
                    </a:lnTo>
                    <a:lnTo>
                      <a:pt x="433" y="241"/>
                    </a:lnTo>
                    <a:lnTo>
                      <a:pt x="392" y="241"/>
                    </a:lnTo>
                    <a:lnTo>
                      <a:pt x="385" y="266"/>
                    </a:lnTo>
                    <a:lnTo>
                      <a:pt x="385" y="291"/>
                    </a:lnTo>
                    <a:lnTo>
                      <a:pt x="339" y="278"/>
                    </a:lnTo>
                    <a:lnTo>
                      <a:pt x="285" y="266"/>
                    </a:lnTo>
                    <a:lnTo>
                      <a:pt x="239" y="272"/>
                    </a:lnTo>
                    <a:lnTo>
                      <a:pt x="173" y="254"/>
                    </a:lnTo>
                    <a:lnTo>
                      <a:pt x="113" y="254"/>
                    </a:lnTo>
                    <a:lnTo>
                      <a:pt x="60" y="266"/>
                    </a:lnTo>
                    <a:lnTo>
                      <a:pt x="20" y="278"/>
                    </a:lnTo>
                    <a:lnTo>
                      <a:pt x="15" y="271"/>
                    </a:lnTo>
                    <a:lnTo>
                      <a:pt x="11" y="264"/>
                    </a:lnTo>
                    <a:lnTo>
                      <a:pt x="8" y="257"/>
                    </a:lnTo>
                    <a:lnTo>
                      <a:pt x="5" y="251"/>
                    </a:lnTo>
                    <a:lnTo>
                      <a:pt x="3" y="244"/>
                    </a:lnTo>
                    <a:lnTo>
                      <a:pt x="1" y="237"/>
                    </a:lnTo>
                    <a:lnTo>
                      <a:pt x="0" y="229"/>
                    </a:lnTo>
                    <a:lnTo>
                      <a:pt x="0" y="222"/>
                    </a:lnTo>
                    <a:lnTo>
                      <a:pt x="5" y="219"/>
                    </a:lnTo>
                    <a:lnTo>
                      <a:pt x="10" y="214"/>
                    </a:lnTo>
                    <a:lnTo>
                      <a:pt x="14" y="207"/>
                    </a:lnTo>
                    <a:lnTo>
                      <a:pt x="20" y="198"/>
                    </a:lnTo>
                    <a:lnTo>
                      <a:pt x="23" y="189"/>
                    </a:lnTo>
                    <a:lnTo>
                      <a:pt x="27" y="178"/>
                    </a:lnTo>
                    <a:lnTo>
                      <a:pt x="31" y="166"/>
                    </a:lnTo>
                    <a:lnTo>
                      <a:pt x="33" y="155"/>
                    </a:lnTo>
                    <a:lnTo>
                      <a:pt x="41" y="137"/>
                    </a:lnTo>
                    <a:lnTo>
                      <a:pt x="44" y="131"/>
                    </a:lnTo>
                    <a:lnTo>
                      <a:pt x="48" y="126"/>
                    </a:lnTo>
                    <a:lnTo>
                      <a:pt x="54" y="123"/>
                    </a:lnTo>
                    <a:lnTo>
                      <a:pt x="60" y="119"/>
                    </a:lnTo>
                    <a:lnTo>
                      <a:pt x="75" y="115"/>
                    </a:lnTo>
                    <a:lnTo>
                      <a:pt x="87" y="111"/>
                    </a:lnTo>
                    <a:lnTo>
                      <a:pt x="87" y="109"/>
                    </a:lnTo>
                    <a:lnTo>
                      <a:pt x="89" y="106"/>
                    </a:lnTo>
                    <a:lnTo>
                      <a:pt x="91" y="103"/>
                    </a:lnTo>
                    <a:lnTo>
                      <a:pt x="94" y="100"/>
                    </a:lnTo>
                    <a:lnTo>
                      <a:pt x="98" y="97"/>
                    </a:lnTo>
                    <a:lnTo>
                      <a:pt x="101" y="95"/>
                    </a:lnTo>
                    <a:lnTo>
                      <a:pt x="103" y="94"/>
                    </a:lnTo>
                    <a:lnTo>
                      <a:pt x="106" y="93"/>
                    </a:lnTo>
                    <a:lnTo>
                      <a:pt x="106" y="81"/>
                    </a:lnTo>
                    <a:lnTo>
                      <a:pt x="106" y="76"/>
                    </a:lnTo>
                    <a:lnTo>
                      <a:pt x="107" y="72"/>
                    </a:lnTo>
                    <a:lnTo>
                      <a:pt x="109" y="70"/>
                    </a:lnTo>
                    <a:lnTo>
                      <a:pt x="110" y="68"/>
                    </a:lnTo>
                    <a:lnTo>
                      <a:pt x="113" y="67"/>
                    </a:lnTo>
                    <a:lnTo>
                      <a:pt x="117" y="68"/>
                    </a:lnTo>
                    <a:lnTo>
                      <a:pt x="122" y="69"/>
                    </a:lnTo>
                    <a:lnTo>
                      <a:pt x="126" y="69"/>
                    </a:lnTo>
                    <a:lnTo>
                      <a:pt x="128" y="69"/>
                    </a:lnTo>
                    <a:lnTo>
                      <a:pt x="129" y="68"/>
                    </a:lnTo>
                    <a:lnTo>
                      <a:pt x="132" y="66"/>
                    </a:lnTo>
                    <a:lnTo>
                      <a:pt x="133" y="62"/>
                    </a:lnTo>
                    <a:lnTo>
                      <a:pt x="134" y="56"/>
                    </a:lnTo>
                    <a:lnTo>
                      <a:pt x="137" y="48"/>
                    </a:lnTo>
                    <a:lnTo>
                      <a:pt x="139" y="44"/>
                    </a:lnTo>
                    <a:lnTo>
                      <a:pt x="142" y="41"/>
                    </a:lnTo>
                    <a:lnTo>
                      <a:pt x="144" y="39"/>
                    </a:lnTo>
                    <a:lnTo>
                      <a:pt x="146" y="38"/>
                    </a:lnTo>
                    <a:lnTo>
                      <a:pt x="213" y="0"/>
                    </a:lnTo>
                    <a:lnTo>
                      <a:pt x="206" y="6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22" name="Freeform 444">
                <a:extLst>
                  <a:ext uri="{FF2B5EF4-FFF2-40B4-BE49-F238E27FC236}">
                    <a16:creationId xmlns="" xmlns:a16="http://schemas.microsoft.com/office/drawing/2014/main" id="{0A20D8AC-ED5E-428A-B999-3BE8DA282C7D}"/>
                  </a:ext>
                </a:extLst>
              </p:cNvPr>
              <p:cNvSpPr>
                <a:spLocks/>
              </p:cNvSpPr>
              <p:nvPr>
                <p:custDataLst>
                  <p:tags r:id="rId282"/>
                </p:custDataLst>
              </p:nvPr>
            </p:nvSpPr>
            <p:spPr bwMode="auto">
              <a:xfrm>
                <a:off x="4364038" y="2228850"/>
                <a:ext cx="82550" cy="87313"/>
              </a:xfrm>
              <a:custGeom>
                <a:avLst/>
                <a:gdLst>
                  <a:gd name="T0" fmla="*/ 2147483646 w 186"/>
                  <a:gd name="T1" fmla="*/ 2147483646 h 166"/>
                  <a:gd name="T2" fmla="*/ 2147483646 w 186"/>
                  <a:gd name="T3" fmla="*/ 2147483646 h 166"/>
                  <a:gd name="T4" fmla="*/ 2147483646 w 186"/>
                  <a:gd name="T5" fmla="*/ 2147483646 h 166"/>
                  <a:gd name="T6" fmla="*/ 2147483646 w 186"/>
                  <a:gd name="T7" fmla="*/ 2147483646 h 166"/>
                  <a:gd name="T8" fmla="*/ 2147483646 w 186"/>
                  <a:gd name="T9" fmla="*/ 2147483646 h 166"/>
                  <a:gd name="T10" fmla="*/ 2147483646 w 186"/>
                  <a:gd name="T11" fmla="*/ 2147483646 h 166"/>
                  <a:gd name="T12" fmla="*/ 2147483646 w 186"/>
                  <a:gd name="T13" fmla="*/ 2147483646 h 166"/>
                  <a:gd name="T14" fmla="*/ 2147483646 w 186"/>
                  <a:gd name="T15" fmla="*/ 2147483646 h 166"/>
                  <a:gd name="T16" fmla="*/ 2147483646 w 186"/>
                  <a:gd name="T17" fmla="*/ 2147483646 h 166"/>
                  <a:gd name="T18" fmla="*/ 2147483646 w 186"/>
                  <a:gd name="T19" fmla="*/ 2147483646 h 166"/>
                  <a:gd name="T20" fmla="*/ 0 w 186"/>
                  <a:gd name="T21" fmla="*/ 2147483646 h 166"/>
                  <a:gd name="T22" fmla="*/ 0 w 186"/>
                  <a:gd name="T23" fmla="*/ 0 h 166"/>
                  <a:gd name="T24" fmla="*/ 2147483646 w 186"/>
                  <a:gd name="T25" fmla="*/ 2147483646 h 166"/>
                  <a:gd name="T26" fmla="*/ 2147483646 w 186"/>
                  <a:gd name="T27" fmla="*/ 2147483646 h 166"/>
                  <a:gd name="T28" fmla="*/ 2147483646 w 186"/>
                  <a:gd name="T29" fmla="*/ 2147483646 h 166"/>
                  <a:gd name="T30" fmla="*/ 2147483646 w 186"/>
                  <a:gd name="T31" fmla="*/ 2147483646 h 166"/>
                  <a:gd name="T32" fmla="*/ 2147483646 w 186"/>
                  <a:gd name="T33" fmla="*/ 2147483646 h 166"/>
                  <a:gd name="T34" fmla="*/ 2147483646 w 186"/>
                  <a:gd name="T35" fmla="*/ 2147483646 h 166"/>
                  <a:gd name="T36" fmla="*/ 2147483646 w 186"/>
                  <a:gd name="T37" fmla="*/ 2147483646 h 166"/>
                  <a:gd name="T38" fmla="*/ 2147483646 w 186"/>
                  <a:gd name="T39" fmla="*/ 0 h 166"/>
                  <a:gd name="T40" fmla="*/ 2147483646 w 186"/>
                  <a:gd name="T41" fmla="*/ 2147483646 h 166"/>
                  <a:gd name="T42" fmla="*/ 2147483646 w 186"/>
                  <a:gd name="T43" fmla="*/ 2147483646 h 166"/>
                  <a:gd name="T44" fmla="*/ 2147483646 w 186"/>
                  <a:gd name="T45" fmla="*/ 2147483646 h 166"/>
                  <a:gd name="T46" fmla="*/ 2147483646 w 186"/>
                  <a:gd name="T47" fmla="*/ 2147483646 h 166"/>
                  <a:gd name="T48" fmla="*/ 2147483646 w 186"/>
                  <a:gd name="T49" fmla="*/ 2147483646 h 166"/>
                  <a:gd name="T50" fmla="*/ 2147483646 w 186"/>
                  <a:gd name="T51" fmla="*/ 2147483646 h 166"/>
                  <a:gd name="T52" fmla="*/ 2147483646 w 186"/>
                  <a:gd name="T53" fmla="*/ 2147483646 h 166"/>
                  <a:gd name="T54" fmla="*/ 2147483646 w 186"/>
                  <a:gd name="T55" fmla="*/ 2147483646 h 166"/>
                  <a:gd name="T56" fmla="*/ 2147483646 w 186"/>
                  <a:gd name="T57" fmla="*/ 2147483646 h 166"/>
                  <a:gd name="T58" fmla="*/ 2147483646 w 186"/>
                  <a:gd name="T59" fmla="*/ 2147483646 h 166"/>
                  <a:gd name="T60" fmla="*/ 2147483646 w 186"/>
                  <a:gd name="T61" fmla="*/ 2147483646 h 16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86"/>
                  <a:gd name="T94" fmla="*/ 0 h 166"/>
                  <a:gd name="T95" fmla="*/ 186 w 186"/>
                  <a:gd name="T96" fmla="*/ 166 h 16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86" h="166">
                    <a:moveTo>
                      <a:pt x="86" y="147"/>
                    </a:moveTo>
                    <a:lnTo>
                      <a:pt x="83" y="136"/>
                    </a:lnTo>
                    <a:lnTo>
                      <a:pt x="78" y="127"/>
                    </a:lnTo>
                    <a:lnTo>
                      <a:pt x="74" y="118"/>
                    </a:lnTo>
                    <a:lnTo>
                      <a:pt x="70" y="110"/>
                    </a:lnTo>
                    <a:lnTo>
                      <a:pt x="60" y="95"/>
                    </a:lnTo>
                    <a:lnTo>
                      <a:pt x="49" y="82"/>
                    </a:lnTo>
                    <a:lnTo>
                      <a:pt x="37" y="70"/>
                    </a:lnTo>
                    <a:lnTo>
                      <a:pt x="25" y="56"/>
                    </a:lnTo>
                    <a:lnTo>
                      <a:pt x="13" y="3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2"/>
                    </a:lnTo>
                    <a:lnTo>
                      <a:pt x="14" y="3"/>
                    </a:lnTo>
                    <a:lnTo>
                      <a:pt x="20" y="4"/>
                    </a:lnTo>
                    <a:lnTo>
                      <a:pt x="27" y="4"/>
                    </a:lnTo>
                    <a:lnTo>
                      <a:pt x="33" y="4"/>
                    </a:lnTo>
                    <a:lnTo>
                      <a:pt x="40" y="3"/>
                    </a:lnTo>
                    <a:lnTo>
                      <a:pt x="47" y="2"/>
                    </a:lnTo>
                    <a:lnTo>
                      <a:pt x="53" y="0"/>
                    </a:lnTo>
                    <a:lnTo>
                      <a:pt x="140" y="12"/>
                    </a:lnTo>
                    <a:lnTo>
                      <a:pt x="186" y="91"/>
                    </a:lnTo>
                    <a:lnTo>
                      <a:pt x="171" y="112"/>
                    </a:lnTo>
                    <a:lnTo>
                      <a:pt x="155" y="129"/>
                    </a:lnTo>
                    <a:lnTo>
                      <a:pt x="149" y="137"/>
                    </a:lnTo>
                    <a:lnTo>
                      <a:pt x="144" y="145"/>
                    </a:lnTo>
                    <a:lnTo>
                      <a:pt x="142" y="150"/>
                    </a:lnTo>
                    <a:lnTo>
                      <a:pt x="141" y="156"/>
                    </a:lnTo>
                    <a:lnTo>
                      <a:pt x="140" y="161"/>
                    </a:lnTo>
                    <a:lnTo>
                      <a:pt x="140" y="166"/>
                    </a:lnTo>
                    <a:lnTo>
                      <a:pt x="86" y="147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23" name="Freeform 445">
                <a:extLst>
                  <a:ext uri="{FF2B5EF4-FFF2-40B4-BE49-F238E27FC236}">
                    <a16:creationId xmlns="" xmlns:a16="http://schemas.microsoft.com/office/drawing/2014/main" id="{8B847B53-F8E1-4E91-A2B3-0D58B9F3194F}"/>
                  </a:ext>
                </a:extLst>
              </p:cNvPr>
              <p:cNvSpPr>
                <a:spLocks/>
              </p:cNvSpPr>
              <p:nvPr>
                <p:custDataLst>
                  <p:tags r:id="rId283"/>
                </p:custDataLst>
              </p:nvPr>
            </p:nvSpPr>
            <p:spPr bwMode="auto">
              <a:xfrm>
                <a:off x="2728913" y="3665538"/>
                <a:ext cx="82550" cy="57150"/>
              </a:xfrm>
              <a:custGeom>
                <a:avLst/>
                <a:gdLst>
                  <a:gd name="T0" fmla="*/ 2147483646 w 186"/>
                  <a:gd name="T1" fmla="*/ 2147483646 h 104"/>
                  <a:gd name="T2" fmla="*/ 2147483646 w 186"/>
                  <a:gd name="T3" fmla="*/ 2147483646 h 104"/>
                  <a:gd name="T4" fmla="*/ 2147483646 w 186"/>
                  <a:gd name="T5" fmla="*/ 2147483646 h 104"/>
                  <a:gd name="T6" fmla="*/ 2147483646 w 186"/>
                  <a:gd name="T7" fmla="*/ 2147483646 h 104"/>
                  <a:gd name="T8" fmla="*/ 2147483646 w 186"/>
                  <a:gd name="T9" fmla="*/ 2147483646 h 104"/>
                  <a:gd name="T10" fmla="*/ 2147483646 w 186"/>
                  <a:gd name="T11" fmla="*/ 2147483646 h 104"/>
                  <a:gd name="T12" fmla="*/ 2147483646 w 186"/>
                  <a:gd name="T13" fmla="*/ 2147483646 h 104"/>
                  <a:gd name="T14" fmla="*/ 2147483646 w 186"/>
                  <a:gd name="T15" fmla="*/ 2147483646 h 104"/>
                  <a:gd name="T16" fmla="*/ 2147483646 w 186"/>
                  <a:gd name="T17" fmla="*/ 2147483646 h 104"/>
                  <a:gd name="T18" fmla="*/ 2147483646 w 186"/>
                  <a:gd name="T19" fmla="*/ 2147483646 h 104"/>
                  <a:gd name="T20" fmla="*/ 2147483646 w 186"/>
                  <a:gd name="T21" fmla="*/ 2147483646 h 104"/>
                  <a:gd name="T22" fmla="*/ 2147483646 w 186"/>
                  <a:gd name="T23" fmla="*/ 2147483646 h 104"/>
                  <a:gd name="T24" fmla="*/ 2147483646 w 186"/>
                  <a:gd name="T25" fmla="*/ 2147483646 h 104"/>
                  <a:gd name="T26" fmla="*/ 2147483646 w 186"/>
                  <a:gd name="T27" fmla="*/ 0 h 104"/>
                  <a:gd name="T28" fmla="*/ 2147483646 w 186"/>
                  <a:gd name="T29" fmla="*/ 0 h 104"/>
                  <a:gd name="T30" fmla="*/ 2147483646 w 186"/>
                  <a:gd name="T31" fmla="*/ 2147483646 h 104"/>
                  <a:gd name="T32" fmla="*/ 2147483646 w 186"/>
                  <a:gd name="T33" fmla="*/ 2147483646 h 104"/>
                  <a:gd name="T34" fmla="*/ 2147483646 w 186"/>
                  <a:gd name="T35" fmla="*/ 2147483646 h 104"/>
                  <a:gd name="T36" fmla="*/ 2147483646 w 186"/>
                  <a:gd name="T37" fmla="*/ 2147483646 h 104"/>
                  <a:gd name="T38" fmla="*/ 2147483646 w 186"/>
                  <a:gd name="T39" fmla="*/ 2147483646 h 104"/>
                  <a:gd name="T40" fmla="*/ 2147483646 w 186"/>
                  <a:gd name="T41" fmla="*/ 2147483646 h 104"/>
                  <a:gd name="T42" fmla="*/ 2147483646 w 186"/>
                  <a:gd name="T43" fmla="*/ 2147483646 h 104"/>
                  <a:gd name="T44" fmla="*/ 2147483646 w 186"/>
                  <a:gd name="T45" fmla="*/ 2147483646 h 104"/>
                  <a:gd name="T46" fmla="*/ 2147483646 w 186"/>
                  <a:gd name="T47" fmla="*/ 2147483646 h 104"/>
                  <a:gd name="T48" fmla="*/ 0 w 186"/>
                  <a:gd name="T49" fmla="*/ 2147483646 h 104"/>
                  <a:gd name="T50" fmla="*/ 2147483646 w 186"/>
                  <a:gd name="T51" fmla="*/ 2147483646 h 104"/>
                  <a:gd name="T52" fmla="*/ 2147483646 w 186"/>
                  <a:gd name="T53" fmla="*/ 2147483646 h 104"/>
                  <a:gd name="T54" fmla="*/ 2147483646 w 186"/>
                  <a:gd name="T55" fmla="*/ 2147483646 h 104"/>
                  <a:gd name="T56" fmla="*/ 2147483646 w 186"/>
                  <a:gd name="T57" fmla="*/ 2147483646 h 104"/>
                  <a:gd name="T58" fmla="*/ 2147483646 w 186"/>
                  <a:gd name="T59" fmla="*/ 2147483646 h 104"/>
                  <a:gd name="T60" fmla="*/ 2147483646 w 186"/>
                  <a:gd name="T61" fmla="*/ 2147483646 h 104"/>
                  <a:gd name="T62" fmla="*/ 2147483646 w 186"/>
                  <a:gd name="T63" fmla="*/ 2147483646 h 104"/>
                  <a:gd name="T64" fmla="*/ 2147483646 w 186"/>
                  <a:gd name="T65" fmla="*/ 2147483646 h 104"/>
                  <a:gd name="T66" fmla="*/ 2147483646 w 186"/>
                  <a:gd name="T67" fmla="*/ 2147483646 h 104"/>
                  <a:gd name="T68" fmla="*/ 2147483646 w 186"/>
                  <a:gd name="T69" fmla="*/ 2147483646 h 104"/>
                  <a:gd name="T70" fmla="*/ 2147483646 w 186"/>
                  <a:gd name="T71" fmla="*/ 2147483646 h 104"/>
                  <a:gd name="T72" fmla="*/ 2147483646 w 186"/>
                  <a:gd name="T73" fmla="*/ 2147483646 h 104"/>
                  <a:gd name="T74" fmla="*/ 2147483646 w 186"/>
                  <a:gd name="T75" fmla="*/ 2147483646 h 104"/>
                  <a:gd name="T76" fmla="*/ 2147483646 w 186"/>
                  <a:gd name="T77" fmla="*/ 2147483646 h 104"/>
                  <a:gd name="T78" fmla="*/ 2147483646 w 186"/>
                  <a:gd name="T79" fmla="*/ 2147483646 h 104"/>
                  <a:gd name="T80" fmla="*/ 2147483646 w 186"/>
                  <a:gd name="T81" fmla="*/ 2147483646 h 104"/>
                  <a:gd name="T82" fmla="*/ 2147483646 w 186"/>
                  <a:gd name="T83" fmla="*/ 2147483646 h 104"/>
                  <a:gd name="T84" fmla="*/ 2147483646 w 186"/>
                  <a:gd name="T85" fmla="*/ 2147483646 h 104"/>
                  <a:gd name="T86" fmla="*/ 2147483646 w 186"/>
                  <a:gd name="T87" fmla="*/ 2147483646 h 104"/>
                  <a:gd name="T88" fmla="*/ 2147483646 w 186"/>
                  <a:gd name="T89" fmla="*/ 2147483646 h 104"/>
                  <a:gd name="T90" fmla="*/ 2147483646 w 186"/>
                  <a:gd name="T91" fmla="*/ 2147483646 h 104"/>
                  <a:gd name="T92" fmla="*/ 2147483646 w 186"/>
                  <a:gd name="T93" fmla="*/ 2147483646 h 104"/>
                  <a:gd name="T94" fmla="*/ 2147483646 w 186"/>
                  <a:gd name="T95" fmla="*/ 2147483646 h 104"/>
                  <a:gd name="T96" fmla="*/ 2147483646 w 186"/>
                  <a:gd name="T97" fmla="*/ 2147483646 h 10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86"/>
                  <a:gd name="T148" fmla="*/ 0 h 104"/>
                  <a:gd name="T149" fmla="*/ 186 w 186"/>
                  <a:gd name="T150" fmla="*/ 104 h 104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86" h="104">
                    <a:moveTo>
                      <a:pt x="153" y="21"/>
                    </a:moveTo>
                    <a:lnTo>
                      <a:pt x="146" y="21"/>
                    </a:lnTo>
                    <a:lnTo>
                      <a:pt x="141" y="20"/>
                    </a:lnTo>
                    <a:lnTo>
                      <a:pt x="136" y="18"/>
                    </a:lnTo>
                    <a:lnTo>
                      <a:pt x="133" y="15"/>
                    </a:lnTo>
                    <a:lnTo>
                      <a:pt x="130" y="13"/>
                    </a:lnTo>
                    <a:lnTo>
                      <a:pt x="125" y="11"/>
                    </a:lnTo>
                    <a:lnTo>
                      <a:pt x="120" y="10"/>
                    </a:lnTo>
                    <a:lnTo>
                      <a:pt x="113" y="9"/>
                    </a:lnTo>
                    <a:lnTo>
                      <a:pt x="100" y="8"/>
                    </a:lnTo>
                    <a:lnTo>
                      <a:pt x="88" y="6"/>
                    </a:lnTo>
                    <a:lnTo>
                      <a:pt x="75" y="3"/>
                    </a:lnTo>
                    <a:lnTo>
                      <a:pt x="64" y="1"/>
                    </a:lnTo>
                    <a:lnTo>
                      <a:pt x="60" y="0"/>
                    </a:lnTo>
                    <a:lnTo>
                      <a:pt x="54" y="0"/>
                    </a:lnTo>
                    <a:lnTo>
                      <a:pt x="51" y="1"/>
                    </a:lnTo>
                    <a:lnTo>
                      <a:pt x="46" y="2"/>
                    </a:lnTo>
                    <a:lnTo>
                      <a:pt x="44" y="4"/>
                    </a:lnTo>
                    <a:lnTo>
                      <a:pt x="42" y="6"/>
                    </a:lnTo>
                    <a:lnTo>
                      <a:pt x="41" y="10"/>
                    </a:lnTo>
                    <a:lnTo>
                      <a:pt x="40" y="15"/>
                    </a:lnTo>
                    <a:lnTo>
                      <a:pt x="34" y="27"/>
                    </a:lnTo>
                    <a:lnTo>
                      <a:pt x="20" y="47"/>
                    </a:lnTo>
                    <a:lnTo>
                      <a:pt x="7" y="66"/>
                    </a:lnTo>
                    <a:lnTo>
                      <a:pt x="0" y="77"/>
                    </a:lnTo>
                    <a:lnTo>
                      <a:pt x="8" y="77"/>
                    </a:lnTo>
                    <a:lnTo>
                      <a:pt x="16" y="78"/>
                    </a:lnTo>
                    <a:lnTo>
                      <a:pt x="21" y="79"/>
                    </a:lnTo>
                    <a:lnTo>
                      <a:pt x="25" y="81"/>
                    </a:lnTo>
                    <a:lnTo>
                      <a:pt x="33" y="85"/>
                    </a:lnTo>
                    <a:lnTo>
                      <a:pt x="40" y="89"/>
                    </a:lnTo>
                    <a:lnTo>
                      <a:pt x="45" y="94"/>
                    </a:lnTo>
                    <a:lnTo>
                      <a:pt x="52" y="98"/>
                    </a:lnTo>
                    <a:lnTo>
                      <a:pt x="56" y="100"/>
                    </a:lnTo>
                    <a:lnTo>
                      <a:pt x="61" y="101"/>
                    </a:lnTo>
                    <a:lnTo>
                      <a:pt x="66" y="102"/>
                    </a:lnTo>
                    <a:lnTo>
                      <a:pt x="74" y="102"/>
                    </a:lnTo>
                    <a:lnTo>
                      <a:pt x="107" y="103"/>
                    </a:lnTo>
                    <a:lnTo>
                      <a:pt x="131" y="104"/>
                    </a:lnTo>
                    <a:lnTo>
                      <a:pt x="135" y="103"/>
                    </a:lnTo>
                    <a:lnTo>
                      <a:pt x="139" y="102"/>
                    </a:lnTo>
                    <a:lnTo>
                      <a:pt x="142" y="100"/>
                    </a:lnTo>
                    <a:lnTo>
                      <a:pt x="145" y="97"/>
                    </a:lnTo>
                    <a:lnTo>
                      <a:pt x="147" y="94"/>
                    </a:lnTo>
                    <a:lnTo>
                      <a:pt x="150" y="88"/>
                    </a:lnTo>
                    <a:lnTo>
                      <a:pt x="152" y="83"/>
                    </a:lnTo>
                    <a:lnTo>
                      <a:pt x="153" y="77"/>
                    </a:lnTo>
                    <a:lnTo>
                      <a:pt x="186" y="27"/>
                    </a:lnTo>
                    <a:lnTo>
                      <a:pt x="153" y="21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24" name="Freeform 446">
                <a:extLst>
                  <a:ext uri="{FF2B5EF4-FFF2-40B4-BE49-F238E27FC236}">
                    <a16:creationId xmlns="" xmlns:a16="http://schemas.microsoft.com/office/drawing/2014/main" id="{254F5541-0B6A-488B-B411-104B87FABB90}"/>
                  </a:ext>
                </a:extLst>
              </p:cNvPr>
              <p:cNvSpPr>
                <a:spLocks/>
              </p:cNvSpPr>
              <p:nvPr>
                <p:custDataLst>
                  <p:tags r:id="rId284"/>
                </p:custDataLst>
              </p:nvPr>
            </p:nvSpPr>
            <p:spPr bwMode="auto">
              <a:xfrm>
                <a:off x="4522788" y="2263775"/>
                <a:ext cx="133350" cy="96838"/>
              </a:xfrm>
              <a:custGeom>
                <a:avLst/>
                <a:gdLst>
                  <a:gd name="T0" fmla="*/ 2147483646 w 311"/>
                  <a:gd name="T1" fmla="*/ 2147483646 h 179"/>
                  <a:gd name="T2" fmla="*/ 2147483646 w 311"/>
                  <a:gd name="T3" fmla="*/ 2147483646 h 179"/>
                  <a:gd name="T4" fmla="*/ 2147483646 w 311"/>
                  <a:gd name="T5" fmla="*/ 2147483646 h 179"/>
                  <a:gd name="T6" fmla="*/ 2147483646 w 311"/>
                  <a:gd name="T7" fmla="*/ 2147483646 h 179"/>
                  <a:gd name="T8" fmla="*/ 2147483646 w 311"/>
                  <a:gd name="T9" fmla="*/ 0 h 179"/>
                  <a:gd name="T10" fmla="*/ 2147483646 w 311"/>
                  <a:gd name="T11" fmla="*/ 2147483646 h 179"/>
                  <a:gd name="T12" fmla="*/ 2147483646 w 311"/>
                  <a:gd name="T13" fmla="*/ 2147483646 h 179"/>
                  <a:gd name="T14" fmla="*/ 2147483646 w 311"/>
                  <a:gd name="T15" fmla="*/ 2147483646 h 179"/>
                  <a:gd name="T16" fmla="*/ 2147483646 w 311"/>
                  <a:gd name="T17" fmla="*/ 2147483646 h 179"/>
                  <a:gd name="T18" fmla="*/ 2147483646 w 311"/>
                  <a:gd name="T19" fmla="*/ 2147483646 h 179"/>
                  <a:gd name="T20" fmla="*/ 2147483646 w 311"/>
                  <a:gd name="T21" fmla="*/ 2147483646 h 179"/>
                  <a:gd name="T22" fmla="*/ 2147483646 w 311"/>
                  <a:gd name="T23" fmla="*/ 2147483646 h 179"/>
                  <a:gd name="T24" fmla="*/ 2147483646 w 311"/>
                  <a:gd name="T25" fmla="*/ 2147483646 h 179"/>
                  <a:gd name="T26" fmla="*/ 2147483646 w 311"/>
                  <a:gd name="T27" fmla="*/ 2147483646 h 179"/>
                  <a:gd name="T28" fmla="*/ 2147483646 w 311"/>
                  <a:gd name="T29" fmla="*/ 2147483646 h 179"/>
                  <a:gd name="T30" fmla="*/ 2147483646 w 311"/>
                  <a:gd name="T31" fmla="*/ 2147483646 h 179"/>
                  <a:gd name="T32" fmla="*/ 2147483646 w 311"/>
                  <a:gd name="T33" fmla="*/ 2147483646 h 179"/>
                  <a:gd name="T34" fmla="*/ 2147483646 w 311"/>
                  <a:gd name="T35" fmla="*/ 2147483646 h 179"/>
                  <a:gd name="T36" fmla="*/ 2147483646 w 311"/>
                  <a:gd name="T37" fmla="*/ 2147483646 h 179"/>
                  <a:gd name="T38" fmla="*/ 2147483646 w 311"/>
                  <a:gd name="T39" fmla="*/ 2147483646 h 179"/>
                  <a:gd name="T40" fmla="*/ 2147483646 w 311"/>
                  <a:gd name="T41" fmla="*/ 2147483646 h 179"/>
                  <a:gd name="T42" fmla="*/ 2147483646 w 311"/>
                  <a:gd name="T43" fmla="*/ 2147483646 h 179"/>
                  <a:gd name="T44" fmla="*/ 2147483646 w 311"/>
                  <a:gd name="T45" fmla="*/ 2147483646 h 179"/>
                  <a:gd name="T46" fmla="*/ 2147483646 w 311"/>
                  <a:gd name="T47" fmla="*/ 2147483646 h 179"/>
                  <a:gd name="T48" fmla="*/ 2147483646 w 311"/>
                  <a:gd name="T49" fmla="*/ 2147483646 h 179"/>
                  <a:gd name="T50" fmla="*/ 2147483646 w 311"/>
                  <a:gd name="T51" fmla="*/ 2147483646 h 179"/>
                  <a:gd name="T52" fmla="*/ 2147483646 w 311"/>
                  <a:gd name="T53" fmla="*/ 2147483646 h 179"/>
                  <a:gd name="T54" fmla="*/ 2147483646 w 311"/>
                  <a:gd name="T55" fmla="*/ 2147483646 h 179"/>
                  <a:gd name="T56" fmla="*/ 2147483646 w 311"/>
                  <a:gd name="T57" fmla="*/ 2147483646 h 179"/>
                  <a:gd name="T58" fmla="*/ 2147483646 w 311"/>
                  <a:gd name="T59" fmla="*/ 2147483646 h 179"/>
                  <a:gd name="T60" fmla="*/ 2147483646 w 311"/>
                  <a:gd name="T61" fmla="*/ 2147483646 h 179"/>
                  <a:gd name="T62" fmla="*/ 2147483646 w 311"/>
                  <a:gd name="T63" fmla="*/ 2147483646 h 179"/>
                  <a:gd name="T64" fmla="*/ 2147483646 w 311"/>
                  <a:gd name="T65" fmla="*/ 2147483646 h 179"/>
                  <a:gd name="T66" fmla="*/ 2147483646 w 311"/>
                  <a:gd name="T67" fmla="*/ 2147483646 h 179"/>
                  <a:gd name="T68" fmla="*/ 2147483646 w 311"/>
                  <a:gd name="T69" fmla="*/ 2147483646 h 179"/>
                  <a:gd name="T70" fmla="*/ 2147483646 w 311"/>
                  <a:gd name="T71" fmla="*/ 2147483646 h 179"/>
                  <a:gd name="T72" fmla="*/ 2147483646 w 311"/>
                  <a:gd name="T73" fmla="*/ 2147483646 h 179"/>
                  <a:gd name="T74" fmla="*/ 0 w 311"/>
                  <a:gd name="T75" fmla="*/ 2147483646 h 179"/>
                  <a:gd name="T76" fmla="*/ 0 w 311"/>
                  <a:gd name="T77" fmla="*/ 2147483646 h 179"/>
                  <a:gd name="T78" fmla="*/ 2147483646 w 311"/>
                  <a:gd name="T79" fmla="*/ 2147483646 h 179"/>
                  <a:gd name="T80" fmla="*/ 2147483646 w 311"/>
                  <a:gd name="T81" fmla="*/ 2147483646 h 179"/>
                  <a:gd name="T82" fmla="*/ 2147483646 w 311"/>
                  <a:gd name="T83" fmla="*/ 2147483646 h 179"/>
                  <a:gd name="T84" fmla="*/ 2147483646 w 311"/>
                  <a:gd name="T85" fmla="*/ 2147483646 h 179"/>
                  <a:gd name="T86" fmla="*/ 2147483646 w 311"/>
                  <a:gd name="T87" fmla="*/ 2147483646 h 179"/>
                  <a:gd name="T88" fmla="*/ 2147483646 w 311"/>
                  <a:gd name="T89" fmla="*/ 2147483646 h 179"/>
                  <a:gd name="T90" fmla="*/ 2147483646 w 311"/>
                  <a:gd name="T91" fmla="*/ 2147483646 h 179"/>
                  <a:gd name="T92" fmla="*/ 2147483646 w 311"/>
                  <a:gd name="T93" fmla="*/ 2147483646 h 179"/>
                  <a:gd name="T94" fmla="*/ 2147483646 w 311"/>
                  <a:gd name="T95" fmla="*/ 2147483646 h 179"/>
                  <a:gd name="T96" fmla="*/ 2147483646 w 311"/>
                  <a:gd name="T97" fmla="*/ 2147483646 h 179"/>
                  <a:gd name="T98" fmla="*/ 2147483646 w 311"/>
                  <a:gd name="T99" fmla="*/ 2147483646 h 179"/>
                  <a:gd name="T100" fmla="*/ 0 w 311"/>
                  <a:gd name="T101" fmla="*/ 2147483646 h 17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311"/>
                  <a:gd name="T154" fmla="*/ 0 h 179"/>
                  <a:gd name="T155" fmla="*/ 311 w 311"/>
                  <a:gd name="T156" fmla="*/ 179 h 179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311" h="179">
                    <a:moveTo>
                      <a:pt x="0" y="6"/>
                    </a:moveTo>
                    <a:lnTo>
                      <a:pt x="79" y="38"/>
                    </a:lnTo>
                    <a:lnTo>
                      <a:pt x="97" y="33"/>
                    </a:lnTo>
                    <a:lnTo>
                      <a:pt x="115" y="26"/>
                    </a:lnTo>
                    <a:lnTo>
                      <a:pt x="132" y="20"/>
                    </a:lnTo>
                    <a:lnTo>
                      <a:pt x="148" y="14"/>
                    </a:lnTo>
                    <a:lnTo>
                      <a:pt x="163" y="9"/>
                    </a:lnTo>
                    <a:lnTo>
                      <a:pt x="178" y="4"/>
                    </a:lnTo>
                    <a:lnTo>
                      <a:pt x="195" y="1"/>
                    </a:lnTo>
                    <a:lnTo>
                      <a:pt x="211" y="0"/>
                    </a:lnTo>
                    <a:lnTo>
                      <a:pt x="224" y="1"/>
                    </a:lnTo>
                    <a:lnTo>
                      <a:pt x="236" y="2"/>
                    </a:lnTo>
                    <a:lnTo>
                      <a:pt x="247" y="4"/>
                    </a:lnTo>
                    <a:lnTo>
                      <a:pt x="256" y="6"/>
                    </a:lnTo>
                    <a:lnTo>
                      <a:pt x="275" y="10"/>
                    </a:lnTo>
                    <a:lnTo>
                      <a:pt x="292" y="12"/>
                    </a:lnTo>
                    <a:lnTo>
                      <a:pt x="290" y="21"/>
                    </a:lnTo>
                    <a:lnTo>
                      <a:pt x="287" y="28"/>
                    </a:lnTo>
                    <a:lnTo>
                      <a:pt x="283" y="36"/>
                    </a:lnTo>
                    <a:lnTo>
                      <a:pt x="278" y="42"/>
                    </a:lnTo>
                    <a:lnTo>
                      <a:pt x="273" y="48"/>
                    </a:lnTo>
                    <a:lnTo>
                      <a:pt x="269" y="53"/>
                    </a:lnTo>
                    <a:lnTo>
                      <a:pt x="266" y="57"/>
                    </a:lnTo>
                    <a:lnTo>
                      <a:pt x="265" y="62"/>
                    </a:lnTo>
                    <a:lnTo>
                      <a:pt x="265" y="64"/>
                    </a:lnTo>
                    <a:lnTo>
                      <a:pt x="266" y="66"/>
                    </a:lnTo>
                    <a:lnTo>
                      <a:pt x="269" y="69"/>
                    </a:lnTo>
                    <a:lnTo>
                      <a:pt x="271" y="71"/>
                    </a:lnTo>
                    <a:lnTo>
                      <a:pt x="277" y="75"/>
                    </a:lnTo>
                    <a:lnTo>
                      <a:pt x="285" y="79"/>
                    </a:lnTo>
                    <a:lnTo>
                      <a:pt x="301" y="87"/>
                    </a:lnTo>
                    <a:lnTo>
                      <a:pt x="311" y="93"/>
                    </a:lnTo>
                    <a:lnTo>
                      <a:pt x="298" y="100"/>
                    </a:lnTo>
                    <a:lnTo>
                      <a:pt x="287" y="107"/>
                    </a:lnTo>
                    <a:lnTo>
                      <a:pt x="283" y="110"/>
                    </a:lnTo>
                    <a:lnTo>
                      <a:pt x="281" y="115"/>
                    </a:lnTo>
                    <a:lnTo>
                      <a:pt x="278" y="121"/>
                    </a:lnTo>
                    <a:lnTo>
                      <a:pt x="278" y="129"/>
                    </a:lnTo>
                    <a:lnTo>
                      <a:pt x="271" y="131"/>
                    </a:lnTo>
                    <a:lnTo>
                      <a:pt x="252" y="136"/>
                    </a:lnTo>
                    <a:lnTo>
                      <a:pt x="230" y="143"/>
                    </a:lnTo>
                    <a:lnTo>
                      <a:pt x="211" y="148"/>
                    </a:lnTo>
                    <a:lnTo>
                      <a:pt x="202" y="158"/>
                    </a:lnTo>
                    <a:lnTo>
                      <a:pt x="191" y="168"/>
                    </a:lnTo>
                    <a:lnTo>
                      <a:pt x="185" y="172"/>
                    </a:lnTo>
                    <a:lnTo>
                      <a:pt x="178" y="176"/>
                    </a:lnTo>
                    <a:lnTo>
                      <a:pt x="172" y="178"/>
                    </a:lnTo>
                    <a:lnTo>
                      <a:pt x="165" y="179"/>
                    </a:lnTo>
                    <a:lnTo>
                      <a:pt x="158" y="178"/>
                    </a:lnTo>
                    <a:lnTo>
                      <a:pt x="151" y="175"/>
                    </a:lnTo>
                    <a:lnTo>
                      <a:pt x="144" y="171"/>
                    </a:lnTo>
                    <a:lnTo>
                      <a:pt x="137" y="167"/>
                    </a:lnTo>
                    <a:lnTo>
                      <a:pt x="129" y="162"/>
                    </a:lnTo>
                    <a:lnTo>
                      <a:pt x="120" y="158"/>
                    </a:lnTo>
                    <a:lnTo>
                      <a:pt x="110" y="156"/>
                    </a:lnTo>
                    <a:lnTo>
                      <a:pt x="98" y="155"/>
                    </a:lnTo>
                    <a:lnTo>
                      <a:pt x="83" y="155"/>
                    </a:lnTo>
                    <a:lnTo>
                      <a:pt x="66" y="155"/>
                    </a:lnTo>
                    <a:lnTo>
                      <a:pt x="59" y="156"/>
                    </a:lnTo>
                    <a:lnTo>
                      <a:pt x="51" y="157"/>
                    </a:lnTo>
                    <a:lnTo>
                      <a:pt x="45" y="159"/>
                    </a:lnTo>
                    <a:lnTo>
                      <a:pt x="39" y="161"/>
                    </a:lnTo>
                    <a:lnTo>
                      <a:pt x="38" y="151"/>
                    </a:lnTo>
                    <a:lnTo>
                      <a:pt x="36" y="142"/>
                    </a:lnTo>
                    <a:lnTo>
                      <a:pt x="34" y="132"/>
                    </a:lnTo>
                    <a:lnTo>
                      <a:pt x="32" y="123"/>
                    </a:lnTo>
                    <a:lnTo>
                      <a:pt x="26" y="126"/>
                    </a:lnTo>
                    <a:lnTo>
                      <a:pt x="21" y="128"/>
                    </a:lnTo>
                    <a:lnTo>
                      <a:pt x="17" y="129"/>
                    </a:lnTo>
                    <a:lnTo>
                      <a:pt x="13" y="129"/>
                    </a:lnTo>
                    <a:lnTo>
                      <a:pt x="9" y="128"/>
                    </a:lnTo>
                    <a:lnTo>
                      <a:pt x="7" y="126"/>
                    </a:lnTo>
                    <a:lnTo>
                      <a:pt x="5" y="124"/>
                    </a:lnTo>
                    <a:lnTo>
                      <a:pt x="3" y="121"/>
                    </a:lnTo>
                    <a:lnTo>
                      <a:pt x="1" y="114"/>
                    </a:lnTo>
                    <a:lnTo>
                      <a:pt x="0" y="105"/>
                    </a:lnTo>
                    <a:lnTo>
                      <a:pt x="0" y="96"/>
                    </a:lnTo>
                    <a:lnTo>
                      <a:pt x="0" y="87"/>
                    </a:lnTo>
                    <a:lnTo>
                      <a:pt x="1" y="84"/>
                    </a:lnTo>
                    <a:lnTo>
                      <a:pt x="3" y="82"/>
                    </a:lnTo>
                    <a:lnTo>
                      <a:pt x="7" y="80"/>
                    </a:lnTo>
                    <a:lnTo>
                      <a:pt x="13" y="78"/>
                    </a:lnTo>
                    <a:lnTo>
                      <a:pt x="17" y="76"/>
                    </a:lnTo>
                    <a:lnTo>
                      <a:pt x="21" y="72"/>
                    </a:lnTo>
                    <a:lnTo>
                      <a:pt x="23" y="70"/>
                    </a:lnTo>
                    <a:lnTo>
                      <a:pt x="25" y="68"/>
                    </a:lnTo>
                    <a:lnTo>
                      <a:pt x="25" y="65"/>
                    </a:lnTo>
                    <a:lnTo>
                      <a:pt x="26" y="62"/>
                    </a:lnTo>
                    <a:lnTo>
                      <a:pt x="25" y="56"/>
                    </a:lnTo>
                    <a:lnTo>
                      <a:pt x="24" y="51"/>
                    </a:lnTo>
                    <a:lnTo>
                      <a:pt x="21" y="47"/>
                    </a:lnTo>
                    <a:lnTo>
                      <a:pt x="19" y="43"/>
                    </a:lnTo>
                    <a:lnTo>
                      <a:pt x="14" y="36"/>
                    </a:lnTo>
                    <a:lnTo>
                      <a:pt x="8" y="29"/>
                    </a:lnTo>
                    <a:lnTo>
                      <a:pt x="3" y="24"/>
                    </a:lnTo>
                    <a:lnTo>
                      <a:pt x="1" y="18"/>
                    </a:lnTo>
                    <a:lnTo>
                      <a:pt x="0" y="16"/>
                    </a:lnTo>
                    <a:lnTo>
                      <a:pt x="1" y="13"/>
                    </a:lnTo>
                    <a:lnTo>
                      <a:pt x="3" y="10"/>
                    </a:lnTo>
                    <a:lnTo>
                      <a:pt x="6" y="6"/>
                    </a:lnTo>
                    <a:lnTo>
                      <a:pt x="3" y="6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25" name="Freeform 447">
                <a:extLst>
                  <a:ext uri="{FF2B5EF4-FFF2-40B4-BE49-F238E27FC236}">
                    <a16:creationId xmlns="" xmlns:a16="http://schemas.microsoft.com/office/drawing/2014/main" id="{02EBC3BD-C594-4711-B95F-AF5F24C8F5A2}"/>
                  </a:ext>
                </a:extLst>
              </p:cNvPr>
              <p:cNvSpPr>
                <a:spLocks/>
              </p:cNvSpPr>
              <p:nvPr>
                <p:custDataLst>
                  <p:tags r:id="rId285"/>
                </p:custDataLst>
              </p:nvPr>
            </p:nvSpPr>
            <p:spPr bwMode="auto">
              <a:xfrm>
                <a:off x="3878263" y="3190875"/>
                <a:ext cx="177800" cy="165100"/>
              </a:xfrm>
              <a:custGeom>
                <a:avLst/>
                <a:gdLst>
                  <a:gd name="T0" fmla="*/ 2147483646 w 405"/>
                  <a:gd name="T1" fmla="*/ 2147483646 h 314"/>
                  <a:gd name="T2" fmla="*/ 2147483646 w 405"/>
                  <a:gd name="T3" fmla="*/ 2147483646 h 314"/>
                  <a:gd name="T4" fmla="*/ 2147483646 w 405"/>
                  <a:gd name="T5" fmla="*/ 2147483646 h 314"/>
                  <a:gd name="T6" fmla="*/ 2147483646 w 405"/>
                  <a:gd name="T7" fmla="*/ 2147483646 h 314"/>
                  <a:gd name="T8" fmla="*/ 2147483646 w 405"/>
                  <a:gd name="T9" fmla="*/ 2147483646 h 314"/>
                  <a:gd name="T10" fmla="*/ 2147483646 w 405"/>
                  <a:gd name="T11" fmla="*/ 2147483646 h 314"/>
                  <a:gd name="T12" fmla="*/ 2147483646 w 405"/>
                  <a:gd name="T13" fmla="*/ 2147483646 h 314"/>
                  <a:gd name="T14" fmla="*/ 2147483646 w 405"/>
                  <a:gd name="T15" fmla="*/ 2147483646 h 314"/>
                  <a:gd name="T16" fmla="*/ 2147483646 w 405"/>
                  <a:gd name="T17" fmla="*/ 2147483646 h 314"/>
                  <a:gd name="T18" fmla="*/ 2147483646 w 405"/>
                  <a:gd name="T19" fmla="*/ 2147483646 h 314"/>
                  <a:gd name="T20" fmla="*/ 2147483646 w 405"/>
                  <a:gd name="T21" fmla="*/ 2147483646 h 314"/>
                  <a:gd name="T22" fmla="*/ 2147483646 w 405"/>
                  <a:gd name="T23" fmla="*/ 2147483646 h 314"/>
                  <a:gd name="T24" fmla="*/ 2147483646 w 405"/>
                  <a:gd name="T25" fmla="*/ 2147483646 h 314"/>
                  <a:gd name="T26" fmla="*/ 2147483646 w 405"/>
                  <a:gd name="T27" fmla="*/ 2147483646 h 314"/>
                  <a:gd name="T28" fmla="*/ 2147483646 w 405"/>
                  <a:gd name="T29" fmla="*/ 2147483646 h 314"/>
                  <a:gd name="T30" fmla="*/ 2147483646 w 405"/>
                  <a:gd name="T31" fmla="*/ 2147483646 h 314"/>
                  <a:gd name="T32" fmla="*/ 2147483646 w 405"/>
                  <a:gd name="T33" fmla="*/ 2147483646 h 314"/>
                  <a:gd name="T34" fmla="*/ 2147483646 w 405"/>
                  <a:gd name="T35" fmla="*/ 2147483646 h 314"/>
                  <a:gd name="T36" fmla="*/ 2147483646 w 405"/>
                  <a:gd name="T37" fmla="*/ 2147483646 h 314"/>
                  <a:gd name="T38" fmla="*/ 2147483646 w 405"/>
                  <a:gd name="T39" fmla="*/ 2147483646 h 314"/>
                  <a:gd name="T40" fmla="*/ 2147483646 w 405"/>
                  <a:gd name="T41" fmla="*/ 0 h 314"/>
                  <a:gd name="T42" fmla="*/ 2147483646 w 405"/>
                  <a:gd name="T43" fmla="*/ 2147483646 h 314"/>
                  <a:gd name="T44" fmla="*/ 2147483646 w 405"/>
                  <a:gd name="T45" fmla="*/ 2147483646 h 314"/>
                  <a:gd name="T46" fmla="*/ 2147483646 w 405"/>
                  <a:gd name="T47" fmla="*/ 2147483646 h 314"/>
                  <a:gd name="T48" fmla="*/ 2147483646 w 405"/>
                  <a:gd name="T49" fmla="*/ 2147483646 h 314"/>
                  <a:gd name="T50" fmla="*/ 2147483646 w 405"/>
                  <a:gd name="T51" fmla="*/ 2147483646 h 314"/>
                  <a:gd name="T52" fmla="*/ 2147483646 w 405"/>
                  <a:gd name="T53" fmla="*/ 2147483646 h 314"/>
                  <a:gd name="T54" fmla="*/ 2147483646 w 405"/>
                  <a:gd name="T55" fmla="*/ 2147483646 h 314"/>
                  <a:gd name="T56" fmla="*/ 2147483646 w 405"/>
                  <a:gd name="T57" fmla="*/ 2147483646 h 314"/>
                  <a:gd name="T58" fmla="*/ 2147483646 w 405"/>
                  <a:gd name="T59" fmla="*/ 2147483646 h 314"/>
                  <a:gd name="T60" fmla="*/ 2147483646 w 405"/>
                  <a:gd name="T61" fmla="*/ 2147483646 h 314"/>
                  <a:gd name="T62" fmla="*/ 2147483646 w 405"/>
                  <a:gd name="T63" fmla="*/ 2147483646 h 314"/>
                  <a:gd name="T64" fmla="*/ 2147483646 w 405"/>
                  <a:gd name="T65" fmla="*/ 2147483646 h 314"/>
                  <a:gd name="T66" fmla="*/ 2147483646 w 405"/>
                  <a:gd name="T67" fmla="*/ 2147483646 h 314"/>
                  <a:gd name="T68" fmla="*/ 2147483646 w 405"/>
                  <a:gd name="T69" fmla="*/ 2147483646 h 314"/>
                  <a:gd name="T70" fmla="*/ 2147483646 w 405"/>
                  <a:gd name="T71" fmla="*/ 2147483646 h 314"/>
                  <a:gd name="T72" fmla="*/ 2147483646 w 405"/>
                  <a:gd name="T73" fmla="*/ 2147483646 h 314"/>
                  <a:gd name="T74" fmla="*/ 2147483646 w 405"/>
                  <a:gd name="T75" fmla="*/ 2147483646 h 314"/>
                  <a:gd name="T76" fmla="*/ 2147483646 w 405"/>
                  <a:gd name="T77" fmla="*/ 2147483646 h 314"/>
                  <a:gd name="T78" fmla="*/ 2147483646 w 405"/>
                  <a:gd name="T79" fmla="*/ 2147483646 h 314"/>
                  <a:gd name="T80" fmla="*/ 2147483646 w 405"/>
                  <a:gd name="T81" fmla="*/ 2147483646 h 314"/>
                  <a:gd name="T82" fmla="*/ 2147483646 w 405"/>
                  <a:gd name="T83" fmla="*/ 2147483646 h 314"/>
                  <a:gd name="T84" fmla="*/ 2147483646 w 405"/>
                  <a:gd name="T85" fmla="*/ 2147483646 h 314"/>
                  <a:gd name="T86" fmla="*/ 2147483646 w 405"/>
                  <a:gd name="T87" fmla="*/ 2147483646 h 314"/>
                  <a:gd name="T88" fmla="*/ 2147483646 w 405"/>
                  <a:gd name="T89" fmla="*/ 2147483646 h 314"/>
                  <a:gd name="T90" fmla="*/ 2147483646 w 405"/>
                  <a:gd name="T91" fmla="*/ 2147483646 h 314"/>
                  <a:gd name="T92" fmla="*/ 2147483646 w 405"/>
                  <a:gd name="T93" fmla="*/ 2147483646 h 314"/>
                  <a:gd name="T94" fmla="*/ 2147483646 w 405"/>
                  <a:gd name="T95" fmla="*/ 2147483646 h 314"/>
                  <a:gd name="T96" fmla="*/ 2147483646 w 405"/>
                  <a:gd name="T97" fmla="*/ 2147483646 h 314"/>
                  <a:gd name="T98" fmla="*/ 2147483646 w 405"/>
                  <a:gd name="T99" fmla="*/ 2147483646 h 314"/>
                  <a:gd name="T100" fmla="*/ 2147483646 w 405"/>
                  <a:gd name="T101" fmla="*/ 2147483646 h 314"/>
                  <a:gd name="T102" fmla="*/ 2147483646 w 405"/>
                  <a:gd name="T103" fmla="*/ 2147483646 h 314"/>
                  <a:gd name="T104" fmla="*/ 0 w 405"/>
                  <a:gd name="T105" fmla="*/ 2147483646 h 31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405"/>
                  <a:gd name="T160" fmla="*/ 0 h 314"/>
                  <a:gd name="T161" fmla="*/ 405 w 405"/>
                  <a:gd name="T162" fmla="*/ 314 h 314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405" h="314">
                    <a:moveTo>
                      <a:pt x="0" y="272"/>
                    </a:moveTo>
                    <a:lnTo>
                      <a:pt x="6" y="260"/>
                    </a:lnTo>
                    <a:lnTo>
                      <a:pt x="11" y="248"/>
                    </a:lnTo>
                    <a:lnTo>
                      <a:pt x="13" y="237"/>
                    </a:lnTo>
                    <a:lnTo>
                      <a:pt x="15" y="226"/>
                    </a:lnTo>
                    <a:lnTo>
                      <a:pt x="17" y="202"/>
                    </a:lnTo>
                    <a:lnTo>
                      <a:pt x="20" y="179"/>
                    </a:lnTo>
                    <a:lnTo>
                      <a:pt x="23" y="173"/>
                    </a:lnTo>
                    <a:lnTo>
                      <a:pt x="26" y="167"/>
                    </a:lnTo>
                    <a:lnTo>
                      <a:pt x="32" y="162"/>
                    </a:lnTo>
                    <a:lnTo>
                      <a:pt x="36" y="158"/>
                    </a:lnTo>
                    <a:lnTo>
                      <a:pt x="48" y="150"/>
                    </a:lnTo>
                    <a:lnTo>
                      <a:pt x="60" y="145"/>
                    </a:lnTo>
                    <a:lnTo>
                      <a:pt x="72" y="141"/>
                    </a:lnTo>
                    <a:lnTo>
                      <a:pt x="83" y="137"/>
                    </a:lnTo>
                    <a:lnTo>
                      <a:pt x="93" y="134"/>
                    </a:lnTo>
                    <a:lnTo>
                      <a:pt x="100" y="130"/>
                    </a:lnTo>
                    <a:lnTo>
                      <a:pt x="104" y="125"/>
                    </a:lnTo>
                    <a:lnTo>
                      <a:pt x="109" y="120"/>
                    </a:lnTo>
                    <a:lnTo>
                      <a:pt x="113" y="114"/>
                    </a:lnTo>
                    <a:lnTo>
                      <a:pt x="116" y="107"/>
                    </a:lnTo>
                    <a:lnTo>
                      <a:pt x="123" y="93"/>
                    </a:lnTo>
                    <a:lnTo>
                      <a:pt x="129" y="81"/>
                    </a:lnTo>
                    <a:lnTo>
                      <a:pt x="136" y="69"/>
                    </a:lnTo>
                    <a:lnTo>
                      <a:pt x="143" y="59"/>
                    </a:lnTo>
                    <a:lnTo>
                      <a:pt x="147" y="55"/>
                    </a:lnTo>
                    <a:lnTo>
                      <a:pt x="150" y="53"/>
                    </a:lnTo>
                    <a:lnTo>
                      <a:pt x="155" y="51"/>
                    </a:lnTo>
                    <a:lnTo>
                      <a:pt x="159" y="50"/>
                    </a:lnTo>
                    <a:lnTo>
                      <a:pt x="170" y="51"/>
                    </a:lnTo>
                    <a:lnTo>
                      <a:pt x="180" y="50"/>
                    </a:lnTo>
                    <a:lnTo>
                      <a:pt x="189" y="48"/>
                    </a:lnTo>
                    <a:lnTo>
                      <a:pt x="196" y="44"/>
                    </a:lnTo>
                    <a:lnTo>
                      <a:pt x="213" y="35"/>
                    </a:lnTo>
                    <a:lnTo>
                      <a:pt x="228" y="25"/>
                    </a:lnTo>
                    <a:lnTo>
                      <a:pt x="237" y="20"/>
                    </a:lnTo>
                    <a:lnTo>
                      <a:pt x="247" y="15"/>
                    </a:lnTo>
                    <a:lnTo>
                      <a:pt x="257" y="11"/>
                    </a:lnTo>
                    <a:lnTo>
                      <a:pt x="269" y="7"/>
                    </a:lnTo>
                    <a:lnTo>
                      <a:pt x="282" y="4"/>
                    </a:lnTo>
                    <a:lnTo>
                      <a:pt x="296" y="1"/>
                    </a:lnTo>
                    <a:lnTo>
                      <a:pt x="314" y="0"/>
                    </a:lnTo>
                    <a:lnTo>
                      <a:pt x="332" y="1"/>
                    </a:lnTo>
                    <a:lnTo>
                      <a:pt x="332" y="14"/>
                    </a:lnTo>
                    <a:lnTo>
                      <a:pt x="335" y="25"/>
                    </a:lnTo>
                    <a:lnTo>
                      <a:pt x="337" y="34"/>
                    </a:lnTo>
                    <a:lnTo>
                      <a:pt x="340" y="43"/>
                    </a:lnTo>
                    <a:lnTo>
                      <a:pt x="343" y="50"/>
                    </a:lnTo>
                    <a:lnTo>
                      <a:pt x="348" y="56"/>
                    </a:lnTo>
                    <a:lnTo>
                      <a:pt x="352" y="62"/>
                    </a:lnTo>
                    <a:lnTo>
                      <a:pt x="357" y="66"/>
                    </a:lnTo>
                    <a:lnTo>
                      <a:pt x="368" y="74"/>
                    </a:lnTo>
                    <a:lnTo>
                      <a:pt x="378" y="81"/>
                    </a:lnTo>
                    <a:lnTo>
                      <a:pt x="382" y="85"/>
                    </a:lnTo>
                    <a:lnTo>
                      <a:pt x="385" y="89"/>
                    </a:lnTo>
                    <a:lnTo>
                      <a:pt x="390" y="93"/>
                    </a:lnTo>
                    <a:lnTo>
                      <a:pt x="392" y="100"/>
                    </a:lnTo>
                    <a:lnTo>
                      <a:pt x="396" y="115"/>
                    </a:lnTo>
                    <a:lnTo>
                      <a:pt x="398" y="129"/>
                    </a:lnTo>
                    <a:lnTo>
                      <a:pt x="398" y="143"/>
                    </a:lnTo>
                    <a:lnTo>
                      <a:pt x="398" y="157"/>
                    </a:lnTo>
                    <a:lnTo>
                      <a:pt x="398" y="170"/>
                    </a:lnTo>
                    <a:lnTo>
                      <a:pt x="399" y="183"/>
                    </a:lnTo>
                    <a:lnTo>
                      <a:pt x="402" y="196"/>
                    </a:lnTo>
                    <a:lnTo>
                      <a:pt x="405" y="211"/>
                    </a:lnTo>
                    <a:lnTo>
                      <a:pt x="398" y="217"/>
                    </a:lnTo>
                    <a:lnTo>
                      <a:pt x="390" y="221"/>
                    </a:lnTo>
                    <a:lnTo>
                      <a:pt x="382" y="226"/>
                    </a:lnTo>
                    <a:lnTo>
                      <a:pt x="374" y="233"/>
                    </a:lnTo>
                    <a:lnTo>
                      <a:pt x="365" y="241"/>
                    </a:lnTo>
                    <a:lnTo>
                      <a:pt x="365" y="239"/>
                    </a:lnTo>
                    <a:lnTo>
                      <a:pt x="363" y="237"/>
                    </a:lnTo>
                    <a:lnTo>
                      <a:pt x="361" y="235"/>
                    </a:lnTo>
                    <a:lnTo>
                      <a:pt x="358" y="233"/>
                    </a:lnTo>
                    <a:lnTo>
                      <a:pt x="351" y="230"/>
                    </a:lnTo>
                    <a:lnTo>
                      <a:pt x="342" y="227"/>
                    </a:lnTo>
                    <a:lnTo>
                      <a:pt x="326" y="224"/>
                    </a:lnTo>
                    <a:lnTo>
                      <a:pt x="319" y="223"/>
                    </a:lnTo>
                    <a:lnTo>
                      <a:pt x="300" y="241"/>
                    </a:lnTo>
                    <a:lnTo>
                      <a:pt x="152" y="241"/>
                    </a:lnTo>
                    <a:lnTo>
                      <a:pt x="151" y="249"/>
                    </a:lnTo>
                    <a:lnTo>
                      <a:pt x="150" y="257"/>
                    </a:lnTo>
                    <a:lnTo>
                      <a:pt x="150" y="266"/>
                    </a:lnTo>
                    <a:lnTo>
                      <a:pt x="150" y="274"/>
                    </a:lnTo>
                    <a:lnTo>
                      <a:pt x="152" y="291"/>
                    </a:lnTo>
                    <a:lnTo>
                      <a:pt x="152" y="314"/>
                    </a:lnTo>
                    <a:lnTo>
                      <a:pt x="146" y="314"/>
                    </a:lnTo>
                    <a:lnTo>
                      <a:pt x="139" y="312"/>
                    </a:lnTo>
                    <a:lnTo>
                      <a:pt x="133" y="308"/>
                    </a:lnTo>
                    <a:lnTo>
                      <a:pt x="126" y="305"/>
                    </a:lnTo>
                    <a:lnTo>
                      <a:pt x="114" y="297"/>
                    </a:lnTo>
                    <a:lnTo>
                      <a:pt x="100" y="290"/>
                    </a:lnTo>
                    <a:lnTo>
                      <a:pt x="94" y="299"/>
                    </a:lnTo>
                    <a:lnTo>
                      <a:pt x="89" y="307"/>
                    </a:lnTo>
                    <a:lnTo>
                      <a:pt x="85" y="310"/>
                    </a:lnTo>
                    <a:lnTo>
                      <a:pt x="82" y="312"/>
                    </a:lnTo>
                    <a:lnTo>
                      <a:pt x="78" y="314"/>
                    </a:lnTo>
                    <a:lnTo>
                      <a:pt x="73" y="314"/>
                    </a:lnTo>
                    <a:lnTo>
                      <a:pt x="66" y="313"/>
                    </a:lnTo>
                    <a:lnTo>
                      <a:pt x="60" y="311"/>
                    </a:lnTo>
                    <a:lnTo>
                      <a:pt x="54" y="306"/>
                    </a:lnTo>
                    <a:lnTo>
                      <a:pt x="47" y="302"/>
                    </a:lnTo>
                    <a:lnTo>
                      <a:pt x="38" y="296"/>
                    </a:lnTo>
                    <a:lnTo>
                      <a:pt x="28" y="291"/>
                    </a:lnTo>
                    <a:lnTo>
                      <a:pt x="16" y="287"/>
                    </a:lnTo>
                    <a:lnTo>
                      <a:pt x="0" y="284"/>
                    </a:lnTo>
                    <a:lnTo>
                      <a:pt x="0" y="272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26" name="Freeform 448">
                <a:extLst>
                  <a:ext uri="{FF2B5EF4-FFF2-40B4-BE49-F238E27FC236}">
                    <a16:creationId xmlns="" xmlns:a16="http://schemas.microsoft.com/office/drawing/2014/main" id="{A3D9AAC9-51B2-4F18-9260-7FC2F5E4905C}"/>
                  </a:ext>
                </a:extLst>
              </p:cNvPr>
              <p:cNvSpPr>
                <a:spLocks/>
              </p:cNvSpPr>
              <p:nvPr>
                <p:custDataLst>
                  <p:tags r:id="rId286"/>
                </p:custDataLst>
              </p:nvPr>
            </p:nvSpPr>
            <p:spPr bwMode="auto">
              <a:xfrm>
                <a:off x="4225925" y="3259138"/>
                <a:ext cx="193675" cy="349250"/>
              </a:xfrm>
              <a:custGeom>
                <a:avLst/>
                <a:gdLst>
                  <a:gd name="T0" fmla="*/ 2147483646 w 453"/>
                  <a:gd name="T1" fmla="*/ 2147483646 h 661"/>
                  <a:gd name="T2" fmla="*/ 2147483646 w 453"/>
                  <a:gd name="T3" fmla="*/ 2147483646 h 661"/>
                  <a:gd name="T4" fmla="*/ 2147483646 w 453"/>
                  <a:gd name="T5" fmla="*/ 2147483646 h 661"/>
                  <a:gd name="T6" fmla="*/ 2147483646 w 453"/>
                  <a:gd name="T7" fmla="*/ 2147483646 h 661"/>
                  <a:gd name="T8" fmla="*/ 2147483646 w 453"/>
                  <a:gd name="T9" fmla="*/ 2147483646 h 661"/>
                  <a:gd name="T10" fmla="*/ 2147483646 w 453"/>
                  <a:gd name="T11" fmla="*/ 2147483646 h 661"/>
                  <a:gd name="T12" fmla="*/ 2147483646 w 453"/>
                  <a:gd name="T13" fmla="*/ 2147483646 h 661"/>
                  <a:gd name="T14" fmla="*/ 2147483646 w 453"/>
                  <a:gd name="T15" fmla="*/ 2147483646 h 661"/>
                  <a:gd name="T16" fmla="*/ 2147483646 w 453"/>
                  <a:gd name="T17" fmla="*/ 2147483646 h 661"/>
                  <a:gd name="T18" fmla="*/ 2147483646 w 453"/>
                  <a:gd name="T19" fmla="*/ 2147483646 h 661"/>
                  <a:gd name="T20" fmla="*/ 2147483646 w 453"/>
                  <a:gd name="T21" fmla="*/ 2147483646 h 661"/>
                  <a:gd name="T22" fmla="*/ 2147483646 w 453"/>
                  <a:gd name="T23" fmla="*/ 2147483646 h 661"/>
                  <a:gd name="T24" fmla="*/ 2147483646 w 453"/>
                  <a:gd name="T25" fmla="*/ 2147483646 h 661"/>
                  <a:gd name="T26" fmla="*/ 2147483646 w 453"/>
                  <a:gd name="T27" fmla="*/ 2147483646 h 661"/>
                  <a:gd name="T28" fmla="*/ 2147483646 w 453"/>
                  <a:gd name="T29" fmla="*/ 2147483646 h 661"/>
                  <a:gd name="T30" fmla="*/ 2147483646 w 453"/>
                  <a:gd name="T31" fmla="*/ 2147483646 h 661"/>
                  <a:gd name="T32" fmla="*/ 2147483646 w 453"/>
                  <a:gd name="T33" fmla="*/ 2147483646 h 661"/>
                  <a:gd name="T34" fmla="*/ 2147483646 w 453"/>
                  <a:gd name="T35" fmla="*/ 2147483646 h 661"/>
                  <a:gd name="T36" fmla="*/ 2147483646 w 453"/>
                  <a:gd name="T37" fmla="*/ 2147483646 h 661"/>
                  <a:gd name="T38" fmla="*/ 2147483646 w 453"/>
                  <a:gd name="T39" fmla="*/ 2147483646 h 661"/>
                  <a:gd name="T40" fmla="*/ 2147483646 w 453"/>
                  <a:gd name="T41" fmla="*/ 2147483646 h 661"/>
                  <a:gd name="T42" fmla="*/ 2147483646 w 453"/>
                  <a:gd name="T43" fmla="*/ 2147483646 h 661"/>
                  <a:gd name="T44" fmla="*/ 2147483646 w 453"/>
                  <a:gd name="T45" fmla="*/ 2147483646 h 661"/>
                  <a:gd name="T46" fmla="*/ 2147483646 w 453"/>
                  <a:gd name="T47" fmla="*/ 2147483646 h 661"/>
                  <a:gd name="T48" fmla="*/ 2147483646 w 453"/>
                  <a:gd name="T49" fmla="*/ 2147483646 h 661"/>
                  <a:gd name="T50" fmla="*/ 2147483646 w 453"/>
                  <a:gd name="T51" fmla="*/ 2147483646 h 661"/>
                  <a:gd name="T52" fmla="*/ 2147483646 w 453"/>
                  <a:gd name="T53" fmla="*/ 2147483646 h 661"/>
                  <a:gd name="T54" fmla="*/ 2147483646 w 453"/>
                  <a:gd name="T55" fmla="*/ 2147483646 h 661"/>
                  <a:gd name="T56" fmla="*/ 2147483646 w 453"/>
                  <a:gd name="T57" fmla="*/ 2147483646 h 661"/>
                  <a:gd name="T58" fmla="*/ 2147483646 w 453"/>
                  <a:gd name="T59" fmla="*/ 2147483646 h 661"/>
                  <a:gd name="T60" fmla="*/ 2147483646 w 453"/>
                  <a:gd name="T61" fmla="*/ 2147483646 h 661"/>
                  <a:gd name="T62" fmla="*/ 2147483646 w 453"/>
                  <a:gd name="T63" fmla="*/ 2147483646 h 661"/>
                  <a:gd name="T64" fmla="*/ 2147483646 w 453"/>
                  <a:gd name="T65" fmla="*/ 2147483646 h 661"/>
                  <a:gd name="T66" fmla="*/ 2147483646 w 453"/>
                  <a:gd name="T67" fmla="*/ 2147483646 h 661"/>
                  <a:gd name="T68" fmla="*/ 2147483646 w 453"/>
                  <a:gd name="T69" fmla="*/ 2147483646 h 661"/>
                  <a:gd name="T70" fmla="*/ 2147483646 w 453"/>
                  <a:gd name="T71" fmla="*/ 2147483646 h 661"/>
                  <a:gd name="T72" fmla="*/ 2147483646 w 453"/>
                  <a:gd name="T73" fmla="*/ 2147483646 h 661"/>
                  <a:gd name="T74" fmla="*/ 2147483646 w 453"/>
                  <a:gd name="T75" fmla="*/ 2147483646 h 661"/>
                  <a:gd name="T76" fmla="*/ 2147483646 w 453"/>
                  <a:gd name="T77" fmla="*/ 2147483646 h 661"/>
                  <a:gd name="T78" fmla="*/ 2147483646 w 453"/>
                  <a:gd name="T79" fmla="*/ 2147483646 h 661"/>
                  <a:gd name="T80" fmla="*/ 2147483646 w 453"/>
                  <a:gd name="T81" fmla="*/ 2147483646 h 661"/>
                  <a:gd name="T82" fmla="*/ 2147483646 w 453"/>
                  <a:gd name="T83" fmla="*/ 2147483646 h 661"/>
                  <a:gd name="T84" fmla="*/ 2147483646 w 453"/>
                  <a:gd name="T85" fmla="*/ 2147483646 h 661"/>
                  <a:gd name="T86" fmla="*/ 2147483646 w 453"/>
                  <a:gd name="T87" fmla="*/ 2147483646 h 661"/>
                  <a:gd name="T88" fmla="*/ 2147483646 w 453"/>
                  <a:gd name="T89" fmla="*/ 2147483646 h 661"/>
                  <a:gd name="T90" fmla="*/ 2147483646 w 453"/>
                  <a:gd name="T91" fmla="*/ 2147483646 h 661"/>
                  <a:gd name="T92" fmla="*/ 2147483646 w 453"/>
                  <a:gd name="T93" fmla="*/ 2147483646 h 661"/>
                  <a:gd name="T94" fmla="*/ 2147483646 w 453"/>
                  <a:gd name="T95" fmla="*/ 2147483646 h 661"/>
                  <a:gd name="T96" fmla="*/ 2147483646 w 453"/>
                  <a:gd name="T97" fmla="*/ 0 h 66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453"/>
                  <a:gd name="T148" fmla="*/ 0 h 661"/>
                  <a:gd name="T149" fmla="*/ 453 w 453"/>
                  <a:gd name="T150" fmla="*/ 661 h 661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453" h="661">
                    <a:moveTo>
                      <a:pt x="330" y="9"/>
                    </a:moveTo>
                    <a:lnTo>
                      <a:pt x="332" y="23"/>
                    </a:lnTo>
                    <a:lnTo>
                      <a:pt x="335" y="36"/>
                    </a:lnTo>
                    <a:lnTo>
                      <a:pt x="340" y="50"/>
                    </a:lnTo>
                    <a:lnTo>
                      <a:pt x="346" y="63"/>
                    </a:lnTo>
                    <a:lnTo>
                      <a:pt x="321" y="98"/>
                    </a:lnTo>
                    <a:lnTo>
                      <a:pt x="298" y="129"/>
                    </a:lnTo>
                    <a:lnTo>
                      <a:pt x="287" y="145"/>
                    </a:lnTo>
                    <a:lnTo>
                      <a:pt x="277" y="162"/>
                    </a:lnTo>
                    <a:lnTo>
                      <a:pt x="268" y="179"/>
                    </a:lnTo>
                    <a:lnTo>
                      <a:pt x="259" y="200"/>
                    </a:lnTo>
                    <a:lnTo>
                      <a:pt x="253" y="219"/>
                    </a:lnTo>
                    <a:lnTo>
                      <a:pt x="245" y="237"/>
                    </a:lnTo>
                    <a:lnTo>
                      <a:pt x="239" y="255"/>
                    </a:lnTo>
                    <a:lnTo>
                      <a:pt x="232" y="272"/>
                    </a:lnTo>
                    <a:lnTo>
                      <a:pt x="225" y="289"/>
                    </a:lnTo>
                    <a:lnTo>
                      <a:pt x="218" y="309"/>
                    </a:lnTo>
                    <a:lnTo>
                      <a:pt x="209" y="329"/>
                    </a:lnTo>
                    <a:lnTo>
                      <a:pt x="200" y="353"/>
                    </a:lnTo>
                    <a:lnTo>
                      <a:pt x="199" y="356"/>
                    </a:lnTo>
                    <a:lnTo>
                      <a:pt x="196" y="362"/>
                    </a:lnTo>
                    <a:lnTo>
                      <a:pt x="191" y="368"/>
                    </a:lnTo>
                    <a:lnTo>
                      <a:pt x="186" y="374"/>
                    </a:lnTo>
                    <a:lnTo>
                      <a:pt x="180" y="380"/>
                    </a:lnTo>
                    <a:lnTo>
                      <a:pt x="175" y="385"/>
                    </a:lnTo>
                    <a:lnTo>
                      <a:pt x="171" y="389"/>
                    </a:lnTo>
                    <a:lnTo>
                      <a:pt x="167" y="390"/>
                    </a:lnTo>
                    <a:lnTo>
                      <a:pt x="157" y="389"/>
                    </a:lnTo>
                    <a:lnTo>
                      <a:pt x="149" y="386"/>
                    </a:lnTo>
                    <a:lnTo>
                      <a:pt x="141" y="382"/>
                    </a:lnTo>
                    <a:lnTo>
                      <a:pt x="134" y="378"/>
                    </a:lnTo>
                    <a:lnTo>
                      <a:pt x="128" y="374"/>
                    </a:lnTo>
                    <a:lnTo>
                      <a:pt x="121" y="370"/>
                    </a:lnTo>
                    <a:lnTo>
                      <a:pt x="115" y="367"/>
                    </a:lnTo>
                    <a:lnTo>
                      <a:pt x="107" y="366"/>
                    </a:lnTo>
                    <a:lnTo>
                      <a:pt x="94" y="367"/>
                    </a:lnTo>
                    <a:lnTo>
                      <a:pt x="83" y="370"/>
                    </a:lnTo>
                    <a:lnTo>
                      <a:pt x="73" y="374"/>
                    </a:lnTo>
                    <a:lnTo>
                      <a:pt x="64" y="380"/>
                    </a:lnTo>
                    <a:lnTo>
                      <a:pt x="56" y="387"/>
                    </a:lnTo>
                    <a:lnTo>
                      <a:pt x="50" y="395"/>
                    </a:lnTo>
                    <a:lnTo>
                      <a:pt x="44" y="403"/>
                    </a:lnTo>
                    <a:lnTo>
                      <a:pt x="39" y="413"/>
                    </a:lnTo>
                    <a:lnTo>
                      <a:pt x="30" y="434"/>
                    </a:lnTo>
                    <a:lnTo>
                      <a:pt x="21" y="454"/>
                    </a:lnTo>
                    <a:lnTo>
                      <a:pt x="17" y="463"/>
                    </a:lnTo>
                    <a:lnTo>
                      <a:pt x="11" y="473"/>
                    </a:lnTo>
                    <a:lnTo>
                      <a:pt x="7" y="482"/>
                    </a:lnTo>
                    <a:lnTo>
                      <a:pt x="0" y="489"/>
                    </a:lnTo>
                    <a:lnTo>
                      <a:pt x="1" y="494"/>
                    </a:lnTo>
                    <a:lnTo>
                      <a:pt x="1" y="500"/>
                    </a:lnTo>
                    <a:lnTo>
                      <a:pt x="4" y="506"/>
                    </a:lnTo>
                    <a:lnTo>
                      <a:pt x="6" y="512"/>
                    </a:lnTo>
                    <a:lnTo>
                      <a:pt x="8" y="517"/>
                    </a:lnTo>
                    <a:lnTo>
                      <a:pt x="11" y="521"/>
                    </a:lnTo>
                    <a:lnTo>
                      <a:pt x="16" y="524"/>
                    </a:lnTo>
                    <a:lnTo>
                      <a:pt x="20" y="526"/>
                    </a:lnTo>
                    <a:lnTo>
                      <a:pt x="28" y="526"/>
                    </a:lnTo>
                    <a:lnTo>
                      <a:pt x="40" y="526"/>
                    </a:lnTo>
                    <a:lnTo>
                      <a:pt x="55" y="526"/>
                    </a:lnTo>
                    <a:lnTo>
                      <a:pt x="74" y="526"/>
                    </a:lnTo>
                    <a:lnTo>
                      <a:pt x="72" y="537"/>
                    </a:lnTo>
                    <a:lnTo>
                      <a:pt x="71" y="548"/>
                    </a:lnTo>
                    <a:lnTo>
                      <a:pt x="71" y="558"/>
                    </a:lnTo>
                    <a:lnTo>
                      <a:pt x="72" y="569"/>
                    </a:lnTo>
                    <a:lnTo>
                      <a:pt x="73" y="590"/>
                    </a:lnTo>
                    <a:lnTo>
                      <a:pt x="74" y="612"/>
                    </a:lnTo>
                    <a:lnTo>
                      <a:pt x="71" y="621"/>
                    </a:lnTo>
                    <a:lnTo>
                      <a:pt x="67" y="630"/>
                    </a:lnTo>
                    <a:lnTo>
                      <a:pt x="167" y="630"/>
                    </a:lnTo>
                    <a:lnTo>
                      <a:pt x="273" y="630"/>
                    </a:lnTo>
                    <a:lnTo>
                      <a:pt x="433" y="661"/>
                    </a:lnTo>
                    <a:lnTo>
                      <a:pt x="453" y="594"/>
                    </a:lnTo>
                    <a:lnTo>
                      <a:pt x="447" y="588"/>
                    </a:lnTo>
                    <a:lnTo>
                      <a:pt x="442" y="582"/>
                    </a:lnTo>
                    <a:lnTo>
                      <a:pt x="435" y="577"/>
                    </a:lnTo>
                    <a:lnTo>
                      <a:pt x="430" y="573"/>
                    </a:lnTo>
                    <a:lnTo>
                      <a:pt x="415" y="568"/>
                    </a:lnTo>
                    <a:lnTo>
                      <a:pt x="402" y="564"/>
                    </a:lnTo>
                    <a:lnTo>
                      <a:pt x="387" y="561"/>
                    </a:lnTo>
                    <a:lnTo>
                      <a:pt x="373" y="557"/>
                    </a:lnTo>
                    <a:lnTo>
                      <a:pt x="366" y="555"/>
                    </a:lnTo>
                    <a:lnTo>
                      <a:pt x="359" y="552"/>
                    </a:lnTo>
                    <a:lnTo>
                      <a:pt x="353" y="549"/>
                    </a:lnTo>
                    <a:lnTo>
                      <a:pt x="346" y="544"/>
                    </a:lnTo>
                    <a:lnTo>
                      <a:pt x="343" y="541"/>
                    </a:lnTo>
                    <a:lnTo>
                      <a:pt x="340" y="537"/>
                    </a:lnTo>
                    <a:lnTo>
                      <a:pt x="337" y="532"/>
                    </a:lnTo>
                    <a:lnTo>
                      <a:pt x="335" y="527"/>
                    </a:lnTo>
                    <a:lnTo>
                      <a:pt x="333" y="515"/>
                    </a:lnTo>
                    <a:lnTo>
                      <a:pt x="332" y="504"/>
                    </a:lnTo>
                    <a:lnTo>
                      <a:pt x="332" y="482"/>
                    </a:lnTo>
                    <a:lnTo>
                      <a:pt x="333" y="464"/>
                    </a:lnTo>
                    <a:lnTo>
                      <a:pt x="333" y="451"/>
                    </a:lnTo>
                    <a:lnTo>
                      <a:pt x="335" y="439"/>
                    </a:lnTo>
                    <a:lnTo>
                      <a:pt x="337" y="428"/>
                    </a:lnTo>
                    <a:lnTo>
                      <a:pt x="342" y="417"/>
                    </a:lnTo>
                    <a:lnTo>
                      <a:pt x="345" y="406"/>
                    </a:lnTo>
                    <a:lnTo>
                      <a:pt x="351" y="397"/>
                    </a:lnTo>
                    <a:lnTo>
                      <a:pt x="355" y="389"/>
                    </a:lnTo>
                    <a:lnTo>
                      <a:pt x="362" y="380"/>
                    </a:lnTo>
                    <a:lnTo>
                      <a:pt x="373" y="364"/>
                    </a:lnTo>
                    <a:lnTo>
                      <a:pt x="384" y="347"/>
                    </a:lnTo>
                    <a:lnTo>
                      <a:pt x="388" y="338"/>
                    </a:lnTo>
                    <a:lnTo>
                      <a:pt x="392" y="330"/>
                    </a:lnTo>
                    <a:lnTo>
                      <a:pt x="397" y="320"/>
                    </a:lnTo>
                    <a:lnTo>
                      <a:pt x="399" y="310"/>
                    </a:lnTo>
                    <a:lnTo>
                      <a:pt x="399" y="297"/>
                    </a:lnTo>
                    <a:lnTo>
                      <a:pt x="397" y="286"/>
                    </a:lnTo>
                    <a:lnTo>
                      <a:pt x="393" y="276"/>
                    </a:lnTo>
                    <a:lnTo>
                      <a:pt x="389" y="267"/>
                    </a:lnTo>
                    <a:lnTo>
                      <a:pt x="384" y="260"/>
                    </a:lnTo>
                    <a:lnTo>
                      <a:pt x="378" y="253"/>
                    </a:lnTo>
                    <a:lnTo>
                      <a:pt x="373" y="246"/>
                    </a:lnTo>
                    <a:lnTo>
                      <a:pt x="366" y="240"/>
                    </a:lnTo>
                    <a:lnTo>
                      <a:pt x="354" y="229"/>
                    </a:lnTo>
                    <a:lnTo>
                      <a:pt x="343" y="217"/>
                    </a:lnTo>
                    <a:lnTo>
                      <a:pt x="339" y="209"/>
                    </a:lnTo>
                    <a:lnTo>
                      <a:pt x="335" y="201"/>
                    </a:lnTo>
                    <a:lnTo>
                      <a:pt x="333" y="192"/>
                    </a:lnTo>
                    <a:lnTo>
                      <a:pt x="333" y="180"/>
                    </a:lnTo>
                    <a:lnTo>
                      <a:pt x="333" y="176"/>
                    </a:lnTo>
                    <a:lnTo>
                      <a:pt x="335" y="173"/>
                    </a:lnTo>
                    <a:lnTo>
                      <a:pt x="339" y="170"/>
                    </a:lnTo>
                    <a:lnTo>
                      <a:pt x="343" y="167"/>
                    </a:lnTo>
                    <a:lnTo>
                      <a:pt x="353" y="164"/>
                    </a:lnTo>
                    <a:lnTo>
                      <a:pt x="365" y="162"/>
                    </a:lnTo>
                    <a:lnTo>
                      <a:pt x="389" y="162"/>
                    </a:lnTo>
                    <a:lnTo>
                      <a:pt x="406" y="162"/>
                    </a:lnTo>
                    <a:lnTo>
                      <a:pt x="402" y="160"/>
                    </a:lnTo>
                    <a:lnTo>
                      <a:pt x="399" y="156"/>
                    </a:lnTo>
                    <a:lnTo>
                      <a:pt x="395" y="151"/>
                    </a:lnTo>
                    <a:lnTo>
                      <a:pt x="391" y="146"/>
                    </a:lnTo>
                    <a:lnTo>
                      <a:pt x="385" y="132"/>
                    </a:lnTo>
                    <a:lnTo>
                      <a:pt x="379" y="117"/>
                    </a:lnTo>
                    <a:lnTo>
                      <a:pt x="375" y="101"/>
                    </a:lnTo>
                    <a:lnTo>
                      <a:pt x="373" y="83"/>
                    </a:lnTo>
                    <a:lnTo>
                      <a:pt x="371" y="73"/>
                    </a:lnTo>
                    <a:lnTo>
                      <a:pt x="371" y="64"/>
                    </a:lnTo>
                    <a:lnTo>
                      <a:pt x="371" y="54"/>
                    </a:lnTo>
                    <a:lnTo>
                      <a:pt x="373" y="45"/>
                    </a:lnTo>
                    <a:lnTo>
                      <a:pt x="371" y="33"/>
                    </a:lnTo>
                    <a:lnTo>
                      <a:pt x="369" y="21"/>
                    </a:lnTo>
                    <a:lnTo>
                      <a:pt x="367" y="11"/>
                    </a:lnTo>
                    <a:lnTo>
                      <a:pt x="366" y="2"/>
                    </a:lnTo>
                    <a:lnTo>
                      <a:pt x="357" y="1"/>
                    </a:lnTo>
                    <a:lnTo>
                      <a:pt x="347" y="0"/>
                    </a:lnTo>
                    <a:lnTo>
                      <a:pt x="346" y="2"/>
                    </a:lnTo>
                    <a:lnTo>
                      <a:pt x="330" y="9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27" name="Freeform 449">
                <a:extLst>
                  <a:ext uri="{FF2B5EF4-FFF2-40B4-BE49-F238E27FC236}">
                    <a16:creationId xmlns="" xmlns:a16="http://schemas.microsoft.com/office/drawing/2014/main" id="{DCF9717B-3BE8-4C1D-9C69-E83DC8E21124}"/>
                  </a:ext>
                </a:extLst>
              </p:cNvPr>
              <p:cNvSpPr>
                <a:spLocks/>
              </p:cNvSpPr>
              <p:nvPr>
                <p:custDataLst>
                  <p:tags r:id="rId287"/>
                </p:custDataLst>
              </p:nvPr>
            </p:nvSpPr>
            <p:spPr bwMode="auto">
              <a:xfrm>
                <a:off x="6677025" y="3017838"/>
                <a:ext cx="55563" cy="57150"/>
              </a:xfrm>
              <a:custGeom>
                <a:avLst/>
                <a:gdLst>
                  <a:gd name="T0" fmla="*/ 0 w 126"/>
                  <a:gd name="T1" fmla="*/ 2147483646 h 105"/>
                  <a:gd name="T2" fmla="*/ 2147483646 w 126"/>
                  <a:gd name="T3" fmla="*/ 2147483646 h 105"/>
                  <a:gd name="T4" fmla="*/ 2147483646 w 126"/>
                  <a:gd name="T5" fmla="*/ 2147483646 h 105"/>
                  <a:gd name="T6" fmla="*/ 2147483646 w 126"/>
                  <a:gd name="T7" fmla="*/ 2147483646 h 105"/>
                  <a:gd name="T8" fmla="*/ 2147483646 w 126"/>
                  <a:gd name="T9" fmla="*/ 2147483646 h 105"/>
                  <a:gd name="T10" fmla="*/ 2147483646 w 126"/>
                  <a:gd name="T11" fmla="*/ 2147483646 h 105"/>
                  <a:gd name="T12" fmla="*/ 2147483646 w 126"/>
                  <a:gd name="T13" fmla="*/ 0 h 105"/>
                  <a:gd name="T14" fmla="*/ 2147483646 w 126"/>
                  <a:gd name="T15" fmla="*/ 0 h 105"/>
                  <a:gd name="T16" fmla="*/ 2147483646 w 126"/>
                  <a:gd name="T17" fmla="*/ 2147483646 h 105"/>
                  <a:gd name="T18" fmla="*/ 2147483646 w 126"/>
                  <a:gd name="T19" fmla="*/ 2147483646 h 105"/>
                  <a:gd name="T20" fmla="*/ 2147483646 w 126"/>
                  <a:gd name="T21" fmla="*/ 2147483646 h 105"/>
                  <a:gd name="T22" fmla="*/ 2147483646 w 126"/>
                  <a:gd name="T23" fmla="*/ 2147483646 h 105"/>
                  <a:gd name="T24" fmla="*/ 2147483646 w 126"/>
                  <a:gd name="T25" fmla="*/ 2147483646 h 105"/>
                  <a:gd name="T26" fmla="*/ 2147483646 w 126"/>
                  <a:gd name="T27" fmla="*/ 2147483646 h 105"/>
                  <a:gd name="T28" fmla="*/ 2147483646 w 126"/>
                  <a:gd name="T29" fmla="*/ 2147483646 h 105"/>
                  <a:gd name="T30" fmla="*/ 2147483646 w 126"/>
                  <a:gd name="T31" fmla="*/ 2147483646 h 105"/>
                  <a:gd name="T32" fmla="*/ 2147483646 w 126"/>
                  <a:gd name="T33" fmla="*/ 2147483646 h 105"/>
                  <a:gd name="T34" fmla="*/ 2147483646 w 126"/>
                  <a:gd name="T35" fmla="*/ 2147483646 h 105"/>
                  <a:gd name="T36" fmla="*/ 2147483646 w 126"/>
                  <a:gd name="T37" fmla="*/ 2147483646 h 105"/>
                  <a:gd name="T38" fmla="*/ 2147483646 w 126"/>
                  <a:gd name="T39" fmla="*/ 2147483646 h 105"/>
                  <a:gd name="T40" fmla="*/ 2147483646 w 126"/>
                  <a:gd name="T41" fmla="*/ 2147483646 h 105"/>
                  <a:gd name="T42" fmla="*/ 2147483646 w 126"/>
                  <a:gd name="T43" fmla="*/ 2147483646 h 105"/>
                  <a:gd name="T44" fmla="*/ 2147483646 w 126"/>
                  <a:gd name="T45" fmla="*/ 2147483646 h 105"/>
                  <a:gd name="T46" fmla="*/ 2147483646 w 126"/>
                  <a:gd name="T47" fmla="*/ 2147483646 h 105"/>
                  <a:gd name="T48" fmla="*/ 2147483646 w 126"/>
                  <a:gd name="T49" fmla="*/ 2147483646 h 105"/>
                  <a:gd name="T50" fmla="*/ 2147483646 w 126"/>
                  <a:gd name="T51" fmla="*/ 2147483646 h 105"/>
                  <a:gd name="T52" fmla="*/ 2147483646 w 126"/>
                  <a:gd name="T53" fmla="*/ 2147483646 h 105"/>
                  <a:gd name="T54" fmla="*/ 2147483646 w 126"/>
                  <a:gd name="T55" fmla="*/ 2147483646 h 105"/>
                  <a:gd name="T56" fmla="*/ 2147483646 w 126"/>
                  <a:gd name="T57" fmla="*/ 2147483646 h 105"/>
                  <a:gd name="T58" fmla="*/ 2147483646 w 126"/>
                  <a:gd name="T59" fmla="*/ 2147483646 h 105"/>
                  <a:gd name="T60" fmla="*/ 2147483646 w 126"/>
                  <a:gd name="T61" fmla="*/ 2147483646 h 105"/>
                  <a:gd name="T62" fmla="*/ 2147483646 w 126"/>
                  <a:gd name="T63" fmla="*/ 2147483646 h 105"/>
                  <a:gd name="T64" fmla="*/ 2147483646 w 126"/>
                  <a:gd name="T65" fmla="*/ 2147483646 h 105"/>
                  <a:gd name="T66" fmla="*/ 2147483646 w 126"/>
                  <a:gd name="T67" fmla="*/ 2147483646 h 105"/>
                  <a:gd name="T68" fmla="*/ 2147483646 w 126"/>
                  <a:gd name="T69" fmla="*/ 2147483646 h 105"/>
                  <a:gd name="T70" fmla="*/ 2147483646 w 126"/>
                  <a:gd name="T71" fmla="*/ 2147483646 h 105"/>
                  <a:gd name="T72" fmla="*/ 2147483646 w 126"/>
                  <a:gd name="T73" fmla="*/ 2147483646 h 105"/>
                  <a:gd name="T74" fmla="*/ 2147483646 w 126"/>
                  <a:gd name="T75" fmla="*/ 2147483646 h 105"/>
                  <a:gd name="T76" fmla="*/ 0 w 126"/>
                  <a:gd name="T77" fmla="*/ 2147483646 h 105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126"/>
                  <a:gd name="T118" fmla="*/ 0 h 105"/>
                  <a:gd name="T119" fmla="*/ 126 w 126"/>
                  <a:gd name="T120" fmla="*/ 105 h 105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126" h="105">
                    <a:moveTo>
                      <a:pt x="0" y="56"/>
                    </a:moveTo>
                    <a:lnTo>
                      <a:pt x="4" y="49"/>
                    </a:lnTo>
                    <a:lnTo>
                      <a:pt x="10" y="41"/>
                    </a:lnTo>
                    <a:lnTo>
                      <a:pt x="16" y="33"/>
                    </a:lnTo>
                    <a:lnTo>
                      <a:pt x="24" y="25"/>
                    </a:lnTo>
                    <a:lnTo>
                      <a:pt x="37" y="11"/>
                    </a:lnTo>
                    <a:lnTo>
                      <a:pt x="47" y="0"/>
                    </a:lnTo>
                    <a:lnTo>
                      <a:pt x="113" y="0"/>
                    </a:lnTo>
                    <a:lnTo>
                      <a:pt x="114" y="4"/>
                    </a:lnTo>
                    <a:lnTo>
                      <a:pt x="115" y="8"/>
                    </a:lnTo>
                    <a:lnTo>
                      <a:pt x="117" y="12"/>
                    </a:lnTo>
                    <a:lnTo>
                      <a:pt x="119" y="14"/>
                    </a:lnTo>
                    <a:lnTo>
                      <a:pt x="124" y="20"/>
                    </a:lnTo>
                    <a:lnTo>
                      <a:pt x="126" y="24"/>
                    </a:lnTo>
                    <a:lnTo>
                      <a:pt x="126" y="32"/>
                    </a:lnTo>
                    <a:lnTo>
                      <a:pt x="125" y="41"/>
                    </a:lnTo>
                    <a:lnTo>
                      <a:pt x="124" y="48"/>
                    </a:lnTo>
                    <a:lnTo>
                      <a:pt x="122" y="55"/>
                    </a:lnTo>
                    <a:lnTo>
                      <a:pt x="119" y="62"/>
                    </a:lnTo>
                    <a:lnTo>
                      <a:pt x="116" y="69"/>
                    </a:lnTo>
                    <a:lnTo>
                      <a:pt x="112" y="75"/>
                    </a:lnTo>
                    <a:lnTo>
                      <a:pt x="108" y="81"/>
                    </a:lnTo>
                    <a:lnTo>
                      <a:pt x="104" y="86"/>
                    </a:lnTo>
                    <a:lnTo>
                      <a:pt x="99" y="90"/>
                    </a:lnTo>
                    <a:lnTo>
                      <a:pt x="93" y="94"/>
                    </a:lnTo>
                    <a:lnTo>
                      <a:pt x="88" y="99"/>
                    </a:lnTo>
                    <a:lnTo>
                      <a:pt x="81" y="101"/>
                    </a:lnTo>
                    <a:lnTo>
                      <a:pt x="74" y="103"/>
                    </a:lnTo>
                    <a:lnTo>
                      <a:pt x="67" y="105"/>
                    </a:lnTo>
                    <a:lnTo>
                      <a:pt x="60" y="105"/>
                    </a:lnTo>
                    <a:lnTo>
                      <a:pt x="48" y="104"/>
                    </a:lnTo>
                    <a:lnTo>
                      <a:pt x="38" y="102"/>
                    </a:lnTo>
                    <a:lnTo>
                      <a:pt x="31" y="98"/>
                    </a:lnTo>
                    <a:lnTo>
                      <a:pt x="24" y="92"/>
                    </a:lnTo>
                    <a:lnTo>
                      <a:pt x="20" y="86"/>
                    </a:lnTo>
                    <a:lnTo>
                      <a:pt x="16" y="78"/>
                    </a:lnTo>
                    <a:lnTo>
                      <a:pt x="14" y="70"/>
                    </a:lnTo>
                    <a:lnTo>
                      <a:pt x="13" y="62"/>
                    </a:lnTo>
                    <a:lnTo>
                      <a:pt x="0" y="56"/>
                    </a:ln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28" name="Freeform 450">
                <a:extLst>
                  <a:ext uri="{FF2B5EF4-FFF2-40B4-BE49-F238E27FC236}">
                    <a16:creationId xmlns="" xmlns:a16="http://schemas.microsoft.com/office/drawing/2014/main" id="{08C07BC9-1168-4AA7-92E4-86CEAC50355B}"/>
                  </a:ext>
                </a:extLst>
              </p:cNvPr>
              <p:cNvSpPr>
                <a:spLocks/>
              </p:cNvSpPr>
              <p:nvPr>
                <p:custDataLst>
                  <p:tags r:id="rId288"/>
                </p:custDataLst>
              </p:nvPr>
            </p:nvSpPr>
            <p:spPr bwMode="auto">
              <a:xfrm>
                <a:off x="2032000" y="3281363"/>
                <a:ext cx="298450" cy="523875"/>
              </a:xfrm>
              <a:custGeom>
                <a:avLst/>
                <a:gdLst>
                  <a:gd name="T0" fmla="*/ 2147483646 w 684"/>
                  <a:gd name="T1" fmla="*/ 2147483646 h 998"/>
                  <a:gd name="T2" fmla="*/ 2147483646 w 684"/>
                  <a:gd name="T3" fmla="*/ 2147483646 h 998"/>
                  <a:gd name="T4" fmla="*/ 2147483646 w 684"/>
                  <a:gd name="T5" fmla="*/ 2147483646 h 998"/>
                  <a:gd name="T6" fmla="*/ 2147483646 w 684"/>
                  <a:gd name="T7" fmla="*/ 2147483646 h 998"/>
                  <a:gd name="T8" fmla="*/ 2147483646 w 684"/>
                  <a:gd name="T9" fmla="*/ 2147483646 h 998"/>
                  <a:gd name="T10" fmla="*/ 2147483646 w 684"/>
                  <a:gd name="T11" fmla="*/ 2147483646 h 998"/>
                  <a:gd name="T12" fmla="*/ 2147483646 w 684"/>
                  <a:gd name="T13" fmla="*/ 2147483646 h 998"/>
                  <a:gd name="T14" fmla="*/ 2147483646 w 684"/>
                  <a:gd name="T15" fmla="*/ 2147483646 h 998"/>
                  <a:gd name="T16" fmla="*/ 2147483646 w 684"/>
                  <a:gd name="T17" fmla="*/ 2147483646 h 998"/>
                  <a:gd name="T18" fmla="*/ 2147483646 w 684"/>
                  <a:gd name="T19" fmla="*/ 2147483646 h 998"/>
                  <a:gd name="T20" fmla="*/ 2147483646 w 684"/>
                  <a:gd name="T21" fmla="*/ 2147483646 h 998"/>
                  <a:gd name="T22" fmla="*/ 2147483646 w 684"/>
                  <a:gd name="T23" fmla="*/ 2147483646 h 998"/>
                  <a:gd name="T24" fmla="*/ 2147483646 w 684"/>
                  <a:gd name="T25" fmla="*/ 2147483646 h 998"/>
                  <a:gd name="T26" fmla="*/ 2147483646 w 684"/>
                  <a:gd name="T27" fmla="*/ 2147483646 h 998"/>
                  <a:gd name="T28" fmla="*/ 2147483646 w 684"/>
                  <a:gd name="T29" fmla="*/ 2147483646 h 998"/>
                  <a:gd name="T30" fmla="*/ 2147483646 w 684"/>
                  <a:gd name="T31" fmla="*/ 2147483646 h 998"/>
                  <a:gd name="T32" fmla="*/ 2147483646 w 684"/>
                  <a:gd name="T33" fmla="*/ 2147483646 h 998"/>
                  <a:gd name="T34" fmla="*/ 2147483646 w 684"/>
                  <a:gd name="T35" fmla="*/ 2147483646 h 998"/>
                  <a:gd name="T36" fmla="*/ 2147483646 w 684"/>
                  <a:gd name="T37" fmla="*/ 2147483646 h 998"/>
                  <a:gd name="T38" fmla="*/ 2147483646 w 684"/>
                  <a:gd name="T39" fmla="*/ 2147483646 h 998"/>
                  <a:gd name="T40" fmla="*/ 2147483646 w 684"/>
                  <a:gd name="T41" fmla="*/ 2147483646 h 998"/>
                  <a:gd name="T42" fmla="*/ 2147483646 w 684"/>
                  <a:gd name="T43" fmla="*/ 2147483646 h 998"/>
                  <a:gd name="T44" fmla="*/ 2147483646 w 684"/>
                  <a:gd name="T45" fmla="*/ 2147483646 h 998"/>
                  <a:gd name="T46" fmla="*/ 2147483646 w 684"/>
                  <a:gd name="T47" fmla="*/ 2147483646 h 998"/>
                  <a:gd name="T48" fmla="*/ 2147483646 w 684"/>
                  <a:gd name="T49" fmla="*/ 2147483646 h 998"/>
                  <a:gd name="T50" fmla="*/ 2147483646 w 684"/>
                  <a:gd name="T51" fmla="*/ 2147483646 h 998"/>
                  <a:gd name="T52" fmla="*/ 2147483646 w 684"/>
                  <a:gd name="T53" fmla="*/ 2147483646 h 998"/>
                  <a:gd name="T54" fmla="*/ 2147483646 w 684"/>
                  <a:gd name="T55" fmla="*/ 2147483646 h 998"/>
                  <a:gd name="T56" fmla="*/ 2147483646 w 684"/>
                  <a:gd name="T57" fmla="*/ 2147483646 h 998"/>
                  <a:gd name="T58" fmla="*/ 2147483646 w 684"/>
                  <a:gd name="T59" fmla="*/ 2147483646 h 998"/>
                  <a:gd name="T60" fmla="*/ 2147483646 w 684"/>
                  <a:gd name="T61" fmla="*/ 2147483646 h 998"/>
                  <a:gd name="T62" fmla="*/ 2147483646 w 684"/>
                  <a:gd name="T63" fmla="*/ 2147483646 h 998"/>
                  <a:gd name="T64" fmla="*/ 2147483646 w 684"/>
                  <a:gd name="T65" fmla="*/ 2147483646 h 998"/>
                  <a:gd name="T66" fmla="*/ 2147483646 w 684"/>
                  <a:gd name="T67" fmla="*/ 2147483646 h 998"/>
                  <a:gd name="T68" fmla="*/ 2147483646 w 684"/>
                  <a:gd name="T69" fmla="*/ 2147483646 h 998"/>
                  <a:gd name="T70" fmla="*/ 2147483646 w 684"/>
                  <a:gd name="T71" fmla="*/ 2147483646 h 998"/>
                  <a:gd name="T72" fmla="*/ 2147483646 w 684"/>
                  <a:gd name="T73" fmla="*/ 2147483646 h 998"/>
                  <a:gd name="T74" fmla="*/ 2147483646 w 684"/>
                  <a:gd name="T75" fmla="*/ 2147483646 h 998"/>
                  <a:gd name="T76" fmla="*/ 2147483646 w 684"/>
                  <a:gd name="T77" fmla="*/ 2147483646 h 998"/>
                  <a:gd name="T78" fmla="*/ 2147483646 w 684"/>
                  <a:gd name="T79" fmla="*/ 2147483646 h 998"/>
                  <a:gd name="T80" fmla="*/ 2147483646 w 684"/>
                  <a:gd name="T81" fmla="*/ 2147483646 h 998"/>
                  <a:gd name="T82" fmla="*/ 2147483646 w 684"/>
                  <a:gd name="T83" fmla="*/ 2147483646 h 998"/>
                  <a:gd name="T84" fmla="*/ 2147483646 w 684"/>
                  <a:gd name="T85" fmla="*/ 2147483646 h 998"/>
                  <a:gd name="T86" fmla="*/ 2147483646 w 684"/>
                  <a:gd name="T87" fmla="*/ 2147483646 h 998"/>
                  <a:gd name="T88" fmla="*/ 2147483646 w 684"/>
                  <a:gd name="T89" fmla="*/ 2147483646 h 998"/>
                  <a:gd name="T90" fmla="*/ 2147483646 w 684"/>
                  <a:gd name="T91" fmla="*/ 2147483646 h 998"/>
                  <a:gd name="T92" fmla="*/ 2147483646 w 684"/>
                  <a:gd name="T93" fmla="*/ 2147483646 h 998"/>
                  <a:gd name="T94" fmla="*/ 2147483646 w 684"/>
                  <a:gd name="T95" fmla="*/ 2147483646 h 998"/>
                  <a:gd name="T96" fmla="*/ 2147483646 w 684"/>
                  <a:gd name="T97" fmla="*/ 2147483646 h 998"/>
                  <a:gd name="T98" fmla="*/ 2147483646 w 684"/>
                  <a:gd name="T99" fmla="*/ 2147483646 h 998"/>
                  <a:gd name="T100" fmla="*/ 2147483646 w 684"/>
                  <a:gd name="T101" fmla="*/ 2147483646 h 998"/>
                  <a:gd name="T102" fmla="*/ 2147483646 w 684"/>
                  <a:gd name="T103" fmla="*/ 2147483646 h 998"/>
                  <a:gd name="T104" fmla="*/ 2147483646 w 684"/>
                  <a:gd name="T105" fmla="*/ 2147483646 h 998"/>
                  <a:gd name="T106" fmla="*/ 2147483646 w 684"/>
                  <a:gd name="T107" fmla="*/ 2147483646 h 998"/>
                  <a:gd name="T108" fmla="*/ 2147483646 w 684"/>
                  <a:gd name="T109" fmla="*/ 2147483646 h 998"/>
                  <a:gd name="T110" fmla="*/ 2147483646 w 684"/>
                  <a:gd name="T111" fmla="*/ 2147483646 h 998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684"/>
                  <a:gd name="T169" fmla="*/ 0 h 998"/>
                  <a:gd name="T170" fmla="*/ 684 w 684"/>
                  <a:gd name="T171" fmla="*/ 998 h 998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684" h="998">
                    <a:moveTo>
                      <a:pt x="684" y="622"/>
                    </a:moveTo>
                    <a:lnTo>
                      <a:pt x="680" y="609"/>
                    </a:lnTo>
                    <a:lnTo>
                      <a:pt x="676" y="596"/>
                    </a:lnTo>
                    <a:lnTo>
                      <a:pt x="672" y="583"/>
                    </a:lnTo>
                    <a:lnTo>
                      <a:pt x="671" y="573"/>
                    </a:lnTo>
                    <a:lnTo>
                      <a:pt x="671" y="568"/>
                    </a:lnTo>
                    <a:lnTo>
                      <a:pt x="673" y="564"/>
                    </a:lnTo>
                    <a:lnTo>
                      <a:pt x="676" y="559"/>
                    </a:lnTo>
                    <a:lnTo>
                      <a:pt x="678" y="555"/>
                    </a:lnTo>
                    <a:lnTo>
                      <a:pt x="680" y="550"/>
                    </a:lnTo>
                    <a:lnTo>
                      <a:pt x="682" y="546"/>
                    </a:lnTo>
                    <a:lnTo>
                      <a:pt x="683" y="541"/>
                    </a:lnTo>
                    <a:lnTo>
                      <a:pt x="684" y="537"/>
                    </a:lnTo>
                    <a:lnTo>
                      <a:pt x="680" y="519"/>
                    </a:lnTo>
                    <a:lnTo>
                      <a:pt x="671" y="491"/>
                    </a:lnTo>
                    <a:lnTo>
                      <a:pt x="666" y="475"/>
                    </a:lnTo>
                    <a:lnTo>
                      <a:pt x="662" y="459"/>
                    </a:lnTo>
                    <a:lnTo>
                      <a:pt x="659" y="444"/>
                    </a:lnTo>
                    <a:lnTo>
                      <a:pt x="658" y="432"/>
                    </a:lnTo>
                    <a:lnTo>
                      <a:pt x="659" y="423"/>
                    </a:lnTo>
                    <a:lnTo>
                      <a:pt x="661" y="415"/>
                    </a:lnTo>
                    <a:lnTo>
                      <a:pt x="665" y="409"/>
                    </a:lnTo>
                    <a:lnTo>
                      <a:pt x="669" y="403"/>
                    </a:lnTo>
                    <a:lnTo>
                      <a:pt x="673" y="396"/>
                    </a:lnTo>
                    <a:lnTo>
                      <a:pt x="678" y="389"/>
                    </a:lnTo>
                    <a:lnTo>
                      <a:pt x="681" y="381"/>
                    </a:lnTo>
                    <a:lnTo>
                      <a:pt x="684" y="370"/>
                    </a:lnTo>
                    <a:lnTo>
                      <a:pt x="571" y="370"/>
                    </a:lnTo>
                    <a:lnTo>
                      <a:pt x="564" y="366"/>
                    </a:lnTo>
                    <a:lnTo>
                      <a:pt x="557" y="361"/>
                    </a:lnTo>
                    <a:lnTo>
                      <a:pt x="550" y="355"/>
                    </a:lnTo>
                    <a:lnTo>
                      <a:pt x="544" y="347"/>
                    </a:lnTo>
                    <a:lnTo>
                      <a:pt x="539" y="340"/>
                    </a:lnTo>
                    <a:lnTo>
                      <a:pt x="535" y="333"/>
                    </a:lnTo>
                    <a:lnTo>
                      <a:pt x="533" y="326"/>
                    </a:lnTo>
                    <a:lnTo>
                      <a:pt x="532" y="321"/>
                    </a:lnTo>
                    <a:lnTo>
                      <a:pt x="512" y="320"/>
                    </a:lnTo>
                    <a:lnTo>
                      <a:pt x="494" y="318"/>
                    </a:lnTo>
                    <a:lnTo>
                      <a:pt x="477" y="315"/>
                    </a:lnTo>
                    <a:lnTo>
                      <a:pt x="462" y="310"/>
                    </a:lnTo>
                    <a:lnTo>
                      <a:pt x="447" y="304"/>
                    </a:lnTo>
                    <a:lnTo>
                      <a:pt x="434" y="298"/>
                    </a:lnTo>
                    <a:lnTo>
                      <a:pt x="423" y="290"/>
                    </a:lnTo>
                    <a:lnTo>
                      <a:pt x="412" y="281"/>
                    </a:lnTo>
                    <a:lnTo>
                      <a:pt x="402" y="270"/>
                    </a:lnTo>
                    <a:lnTo>
                      <a:pt x="395" y="259"/>
                    </a:lnTo>
                    <a:lnTo>
                      <a:pt x="388" y="246"/>
                    </a:lnTo>
                    <a:lnTo>
                      <a:pt x="382" y="232"/>
                    </a:lnTo>
                    <a:lnTo>
                      <a:pt x="378" y="218"/>
                    </a:lnTo>
                    <a:lnTo>
                      <a:pt x="375" y="201"/>
                    </a:lnTo>
                    <a:lnTo>
                      <a:pt x="373" y="184"/>
                    </a:lnTo>
                    <a:lnTo>
                      <a:pt x="373" y="167"/>
                    </a:lnTo>
                    <a:lnTo>
                      <a:pt x="373" y="155"/>
                    </a:lnTo>
                    <a:lnTo>
                      <a:pt x="374" y="144"/>
                    </a:lnTo>
                    <a:lnTo>
                      <a:pt x="375" y="133"/>
                    </a:lnTo>
                    <a:lnTo>
                      <a:pt x="377" y="123"/>
                    </a:lnTo>
                    <a:lnTo>
                      <a:pt x="380" y="113"/>
                    </a:lnTo>
                    <a:lnTo>
                      <a:pt x="385" y="103"/>
                    </a:lnTo>
                    <a:lnTo>
                      <a:pt x="389" y="94"/>
                    </a:lnTo>
                    <a:lnTo>
                      <a:pt x="395" y="84"/>
                    </a:lnTo>
                    <a:lnTo>
                      <a:pt x="401" y="76"/>
                    </a:lnTo>
                    <a:lnTo>
                      <a:pt x="408" y="68"/>
                    </a:lnTo>
                    <a:lnTo>
                      <a:pt x="416" y="61"/>
                    </a:lnTo>
                    <a:lnTo>
                      <a:pt x="425" y="54"/>
                    </a:lnTo>
                    <a:lnTo>
                      <a:pt x="435" y="48"/>
                    </a:lnTo>
                    <a:lnTo>
                      <a:pt x="446" y="42"/>
                    </a:lnTo>
                    <a:lnTo>
                      <a:pt x="458" y="36"/>
                    </a:lnTo>
                    <a:lnTo>
                      <a:pt x="471" y="31"/>
                    </a:lnTo>
                    <a:lnTo>
                      <a:pt x="471" y="18"/>
                    </a:lnTo>
                    <a:lnTo>
                      <a:pt x="463" y="11"/>
                    </a:lnTo>
                    <a:lnTo>
                      <a:pt x="455" y="7"/>
                    </a:lnTo>
                    <a:lnTo>
                      <a:pt x="447" y="4"/>
                    </a:lnTo>
                    <a:lnTo>
                      <a:pt x="438" y="0"/>
                    </a:lnTo>
                    <a:lnTo>
                      <a:pt x="414" y="19"/>
                    </a:lnTo>
                    <a:lnTo>
                      <a:pt x="389" y="39"/>
                    </a:lnTo>
                    <a:lnTo>
                      <a:pt x="378" y="48"/>
                    </a:lnTo>
                    <a:lnTo>
                      <a:pt x="367" y="56"/>
                    </a:lnTo>
                    <a:lnTo>
                      <a:pt x="356" y="63"/>
                    </a:lnTo>
                    <a:lnTo>
                      <a:pt x="345" y="68"/>
                    </a:lnTo>
                    <a:lnTo>
                      <a:pt x="335" y="68"/>
                    </a:lnTo>
                    <a:lnTo>
                      <a:pt x="326" y="68"/>
                    </a:lnTo>
                    <a:lnTo>
                      <a:pt x="319" y="68"/>
                    </a:lnTo>
                    <a:lnTo>
                      <a:pt x="312" y="68"/>
                    </a:lnTo>
                    <a:lnTo>
                      <a:pt x="309" y="74"/>
                    </a:lnTo>
                    <a:lnTo>
                      <a:pt x="304" y="78"/>
                    </a:lnTo>
                    <a:lnTo>
                      <a:pt x="299" y="81"/>
                    </a:lnTo>
                    <a:lnTo>
                      <a:pt x="295" y="83"/>
                    </a:lnTo>
                    <a:lnTo>
                      <a:pt x="289" y="85"/>
                    </a:lnTo>
                    <a:lnTo>
                      <a:pt x="284" y="85"/>
                    </a:lnTo>
                    <a:lnTo>
                      <a:pt x="278" y="84"/>
                    </a:lnTo>
                    <a:lnTo>
                      <a:pt x="273" y="84"/>
                    </a:lnTo>
                    <a:lnTo>
                      <a:pt x="262" y="82"/>
                    </a:lnTo>
                    <a:lnTo>
                      <a:pt x="251" y="81"/>
                    </a:lnTo>
                    <a:lnTo>
                      <a:pt x="245" y="81"/>
                    </a:lnTo>
                    <a:lnTo>
                      <a:pt x="241" y="81"/>
                    </a:lnTo>
                    <a:lnTo>
                      <a:pt x="236" y="83"/>
                    </a:lnTo>
                    <a:lnTo>
                      <a:pt x="233" y="86"/>
                    </a:lnTo>
                    <a:lnTo>
                      <a:pt x="225" y="94"/>
                    </a:lnTo>
                    <a:lnTo>
                      <a:pt x="221" y="101"/>
                    </a:lnTo>
                    <a:lnTo>
                      <a:pt x="217" y="108"/>
                    </a:lnTo>
                    <a:lnTo>
                      <a:pt x="213" y="114"/>
                    </a:lnTo>
                    <a:lnTo>
                      <a:pt x="209" y="128"/>
                    </a:lnTo>
                    <a:lnTo>
                      <a:pt x="206" y="143"/>
                    </a:lnTo>
                    <a:lnTo>
                      <a:pt x="201" y="159"/>
                    </a:lnTo>
                    <a:lnTo>
                      <a:pt x="196" y="175"/>
                    </a:lnTo>
                    <a:lnTo>
                      <a:pt x="192" y="183"/>
                    </a:lnTo>
                    <a:lnTo>
                      <a:pt x="187" y="191"/>
                    </a:lnTo>
                    <a:lnTo>
                      <a:pt x="180" y="200"/>
                    </a:lnTo>
                    <a:lnTo>
                      <a:pt x="173" y="210"/>
                    </a:lnTo>
                    <a:lnTo>
                      <a:pt x="157" y="227"/>
                    </a:lnTo>
                    <a:lnTo>
                      <a:pt x="140" y="244"/>
                    </a:lnTo>
                    <a:lnTo>
                      <a:pt x="131" y="253"/>
                    </a:lnTo>
                    <a:lnTo>
                      <a:pt x="122" y="263"/>
                    </a:lnTo>
                    <a:lnTo>
                      <a:pt x="115" y="273"/>
                    </a:lnTo>
                    <a:lnTo>
                      <a:pt x="107" y="284"/>
                    </a:lnTo>
                    <a:lnTo>
                      <a:pt x="102" y="288"/>
                    </a:lnTo>
                    <a:lnTo>
                      <a:pt x="98" y="294"/>
                    </a:lnTo>
                    <a:lnTo>
                      <a:pt x="96" y="299"/>
                    </a:lnTo>
                    <a:lnTo>
                      <a:pt x="94" y="305"/>
                    </a:lnTo>
                    <a:lnTo>
                      <a:pt x="90" y="317"/>
                    </a:lnTo>
                    <a:lnTo>
                      <a:pt x="86" y="327"/>
                    </a:lnTo>
                    <a:lnTo>
                      <a:pt x="85" y="331"/>
                    </a:lnTo>
                    <a:lnTo>
                      <a:pt x="84" y="338"/>
                    </a:lnTo>
                    <a:lnTo>
                      <a:pt x="84" y="347"/>
                    </a:lnTo>
                    <a:lnTo>
                      <a:pt x="86" y="356"/>
                    </a:lnTo>
                    <a:lnTo>
                      <a:pt x="88" y="366"/>
                    </a:lnTo>
                    <a:lnTo>
                      <a:pt x="91" y="375"/>
                    </a:lnTo>
                    <a:lnTo>
                      <a:pt x="93" y="378"/>
                    </a:lnTo>
                    <a:lnTo>
                      <a:pt x="95" y="380"/>
                    </a:lnTo>
                    <a:lnTo>
                      <a:pt x="97" y="382"/>
                    </a:lnTo>
                    <a:lnTo>
                      <a:pt x="100" y="382"/>
                    </a:lnTo>
                    <a:lnTo>
                      <a:pt x="98" y="397"/>
                    </a:lnTo>
                    <a:lnTo>
                      <a:pt x="97" y="414"/>
                    </a:lnTo>
                    <a:lnTo>
                      <a:pt x="97" y="433"/>
                    </a:lnTo>
                    <a:lnTo>
                      <a:pt x="97" y="451"/>
                    </a:lnTo>
                    <a:lnTo>
                      <a:pt x="99" y="484"/>
                    </a:lnTo>
                    <a:lnTo>
                      <a:pt x="100" y="505"/>
                    </a:lnTo>
                    <a:lnTo>
                      <a:pt x="99" y="511"/>
                    </a:lnTo>
                    <a:lnTo>
                      <a:pt x="98" y="518"/>
                    </a:lnTo>
                    <a:lnTo>
                      <a:pt x="95" y="525"/>
                    </a:lnTo>
                    <a:lnTo>
                      <a:pt x="91" y="532"/>
                    </a:lnTo>
                    <a:lnTo>
                      <a:pt x="88" y="541"/>
                    </a:lnTo>
                    <a:lnTo>
                      <a:pt x="83" y="548"/>
                    </a:lnTo>
                    <a:lnTo>
                      <a:pt x="77" y="556"/>
                    </a:lnTo>
                    <a:lnTo>
                      <a:pt x="72" y="563"/>
                    </a:lnTo>
                    <a:lnTo>
                      <a:pt x="65" y="570"/>
                    </a:lnTo>
                    <a:lnTo>
                      <a:pt x="59" y="576"/>
                    </a:lnTo>
                    <a:lnTo>
                      <a:pt x="51" y="582"/>
                    </a:lnTo>
                    <a:lnTo>
                      <a:pt x="43" y="587"/>
                    </a:lnTo>
                    <a:lnTo>
                      <a:pt x="37" y="592"/>
                    </a:lnTo>
                    <a:lnTo>
                      <a:pt x="29" y="596"/>
                    </a:lnTo>
                    <a:lnTo>
                      <a:pt x="21" y="598"/>
                    </a:lnTo>
                    <a:lnTo>
                      <a:pt x="14" y="598"/>
                    </a:lnTo>
                    <a:lnTo>
                      <a:pt x="12" y="605"/>
                    </a:lnTo>
                    <a:lnTo>
                      <a:pt x="11" y="612"/>
                    </a:lnTo>
                    <a:lnTo>
                      <a:pt x="9" y="618"/>
                    </a:lnTo>
                    <a:lnTo>
                      <a:pt x="7" y="625"/>
                    </a:lnTo>
                    <a:lnTo>
                      <a:pt x="3" y="637"/>
                    </a:lnTo>
                    <a:lnTo>
                      <a:pt x="0" y="648"/>
                    </a:lnTo>
                    <a:lnTo>
                      <a:pt x="30" y="668"/>
                    </a:lnTo>
                    <a:lnTo>
                      <a:pt x="67" y="694"/>
                    </a:lnTo>
                    <a:lnTo>
                      <a:pt x="87" y="707"/>
                    </a:lnTo>
                    <a:lnTo>
                      <a:pt x="106" y="718"/>
                    </a:lnTo>
                    <a:lnTo>
                      <a:pt x="115" y="722"/>
                    </a:lnTo>
                    <a:lnTo>
                      <a:pt x="123" y="725"/>
                    </a:lnTo>
                    <a:lnTo>
                      <a:pt x="132" y="727"/>
                    </a:lnTo>
                    <a:lnTo>
                      <a:pt x="140" y="727"/>
                    </a:lnTo>
                    <a:lnTo>
                      <a:pt x="153" y="727"/>
                    </a:lnTo>
                    <a:lnTo>
                      <a:pt x="166" y="727"/>
                    </a:lnTo>
                    <a:lnTo>
                      <a:pt x="175" y="728"/>
                    </a:lnTo>
                    <a:lnTo>
                      <a:pt x="184" y="729"/>
                    </a:lnTo>
                    <a:lnTo>
                      <a:pt x="192" y="730"/>
                    </a:lnTo>
                    <a:lnTo>
                      <a:pt x="201" y="732"/>
                    </a:lnTo>
                    <a:lnTo>
                      <a:pt x="218" y="738"/>
                    </a:lnTo>
                    <a:lnTo>
                      <a:pt x="234" y="746"/>
                    </a:lnTo>
                    <a:lnTo>
                      <a:pt x="250" y="755"/>
                    </a:lnTo>
                    <a:lnTo>
                      <a:pt x="265" y="767"/>
                    </a:lnTo>
                    <a:lnTo>
                      <a:pt x="279" y="778"/>
                    </a:lnTo>
                    <a:lnTo>
                      <a:pt x="292" y="789"/>
                    </a:lnTo>
                    <a:lnTo>
                      <a:pt x="299" y="795"/>
                    </a:lnTo>
                    <a:lnTo>
                      <a:pt x="306" y="802"/>
                    </a:lnTo>
                    <a:lnTo>
                      <a:pt x="312" y="809"/>
                    </a:lnTo>
                    <a:lnTo>
                      <a:pt x="318" y="818"/>
                    </a:lnTo>
                    <a:lnTo>
                      <a:pt x="328" y="834"/>
                    </a:lnTo>
                    <a:lnTo>
                      <a:pt x="337" y="850"/>
                    </a:lnTo>
                    <a:lnTo>
                      <a:pt x="342" y="857"/>
                    </a:lnTo>
                    <a:lnTo>
                      <a:pt x="347" y="864"/>
                    </a:lnTo>
                    <a:lnTo>
                      <a:pt x="354" y="871"/>
                    </a:lnTo>
                    <a:lnTo>
                      <a:pt x="359" y="877"/>
                    </a:lnTo>
                    <a:lnTo>
                      <a:pt x="367" y="881"/>
                    </a:lnTo>
                    <a:lnTo>
                      <a:pt x="374" y="885"/>
                    </a:lnTo>
                    <a:lnTo>
                      <a:pt x="382" y="887"/>
                    </a:lnTo>
                    <a:lnTo>
                      <a:pt x="392" y="888"/>
                    </a:lnTo>
                    <a:lnTo>
                      <a:pt x="402" y="887"/>
                    </a:lnTo>
                    <a:lnTo>
                      <a:pt x="412" y="886"/>
                    </a:lnTo>
                    <a:lnTo>
                      <a:pt x="422" y="884"/>
                    </a:lnTo>
                    <a:lnTo>
                      <a:pt x="432" y="882"/>
                    </a:lnTo>
                    <a:lnTo>
                      <a:pt x="442" y="879"/>
                    </a:lnTo>
                    <a:lnTo>
                      <a:pt x="452" y="877"/>
                    </a:lnTo>
                    <a:lnTo>
                      <a:pt x="462" y="876"/>
                    </a:lnTo>
                    <a:lnTo>
                      <a:pt x="471" y="875"/>
                    </a:lnTo>
                    <a:lnTo>
                      <a:pt x="478" y="876"/>
                    </a:lnTo>
                    <a:lnTo>
                      <a:pt x="485" y="878"/>
                    </a:lnTo>
                    <a:lnTo>
                      <a:pt x="489" y="878"/>
                    </a:lnTo>
                    <a:lnTo>
                      <a:pt x="492" y="878"/>
                    </a:lnTo>
                    <a:lnTo>
                      <a:pt x="496" y="877"/>
                    </a:lnTo>
                    <a:lnTo>
                      <a:pt x="499" y="875"/>
                    </a:lnTo>
                    <a:lnTo>
                      <a:pt x="501" y="883"/>
                    </a:lnTo>
                    <a:lnTo>
                      <a:pt x="509" y="894"/>
                    </a:lnTo>
                    <a:lnTo>
                      <a:pt x="515" y="904"/>
                    </a:lnTo>
                    <a:lnTo>
                      <a:pt x="519" y="912"/>
                    </a:lnTo>
                    <a:lnTo>
                      <a:pt x="518" y="915"/>
                    </a:lnTo>
                    <a:lnTo>
                      <a:pt x="516" y="918"/>
                    </a:lnTo>
                    <a:lnTo>
                      <a:pt x="515" y="920"/>
                    </a:lnTo>
                    <a:lnTo>
                      <a:pt x="513" y="922"/>
                    </a:lnTo>
                    <a:lnTo>
                      <a:pt x="508" y="927"/>
                    </a:lnTo>
                    <a:lnTo>
                      <a:pt x="502" y="930"/>
                    </a:lnTo>
                    <a:lnTo>
                      <a:pt x="496" y="933"/>
                    </a:lnTo>
                    <a:lnTo>
                      <a:pt x="490" y="936"/>
                    </a:lnTo>
                    <a:lnTo>
                      <a:pt x="488" y="937"/>
                    </a:lnTo>
                    <a:lnTo>
                      <a:pt x="487" y="939"/>
                    </a:lnTo>
                    <a:lnTo>
                      <a:pt x="486" y="941"/>
                    </a:lnTo>
                    <a:lnTo>
                      <a:pt x="485" y="943"/>
                    </a:lnTo>
                    <a:lnTo>
                      <a:pt x="486" y="954"/>
                    </a:lnTo>
                    <a:lnTo>
                      <a:pt x="488" y="963"/>
                    </a:lnTo>
                    <a:lnTo>
                      <a:pt x="490" y="970"/>
                    </a:lnTo>
                    <a:lnTo>
                      <a:pt x="494" y="977"/>
                    </a:lnTo>
                    <a:lnTo>
                      <a:pt x="499" y="984"/>
                    </a:lnTo>
                    <a:lnTo>
                      <a:pt x="504" y="989"/>
                    </a:lnTo>
                    <a:lnTo>
                      <a:pt x="511" y="994"/>
                    </a:lnTo>
                    <a:lnTo>
                      <a:pt x="519" y="998"/>
                    </a:lnTo>
                    <a:lnTo>
                      <a:pt x="538" y="998"/>
                    </a:lnTo>
                    <a:lnTo>
                      <a:pt x="538" y="986"/>
                    </a:lnTo>
                    <a:lnTo>
                      <a:pt x="539" y="973"/>
                    </a:lnTo>
                    <a:lnTo>
                      <a:pt x="542" y="962"/>
                    </a:lnTo>
                    <a:lnTo>
                      <a:pt x="544" y="950"/>
                    </a:lnTo>
                    <a:lnTo>
                      <a:pt x="548" y="928"/>
                    </a:lnTo>
                    <a:lnTo>
                      <a:pt x="555" y="906"/>
                    </a:lnTo>
                    <a:lnTo>
                      <a:pt x="561" y="884"/>
                    </a:lnTo>
                    <a:lnTo>
                      <a:pt x="566" y="861"/>
                    </a:lnTo>
                    <a:lnTo>
                      <a:pt x="568" y="850"/>
                    </a:lnTo>
                    <a:lnTo>
                      <a:pt x="570" y="838"/>
                    </a:lnTo>
                    <a:lnTo>
                      <a:pt x="571" y="826"/>
                    </a:lnTo>
                    <a:lnTo>
                      <a:pt x="571" y="813"/>
                    </a:lnTo>
                    <a:lnTo>
                      <a:pt x="571" y="803"/>
                    </a:lnTo>
                    <a:lnTo>
                      <a:pt x="569" y="794"/>
                    </a:lnTo>
                    <a:lnTo>
                      <a:pt x="567" y="786"/>
                    </a:lnTo>
                    <a:lnTo>
                      <a:pt x="564" y="780"/>
                    </a:lnTo>
                    <a:lnTo>
                      <a:pt x="559" y="775"/>
                    </a:lnTo>
                    <a:lnTo>
                      <a:pt x="555" y="771"/>
                    </a:lnTo>
                    <a:lnTo>
                      <a:pt x="549" y="768"/>
                    </a:lnTo>
                    <a:lnTo>
                      <a:pt x="545" y="765"/>
                    </a:lnTo>
                    <a:lnTo>
                      <a:pt x="535" y="759"/>
                    </a:lnTo>
                    <a:lnTo>
                      <a:pt x="526" y="752"/>
                    </a:lnTo>
                    <a:lnTo>
                      <a:pt x="523" y="749"/>
                    </a:lnTo>
                    <a:lnTo>
                      <a:pt x="521" y="745"/>
                    </a:lnTo>
                    <a:lnTo>
                      <a:pt x="519" y="740"/>
                    </a:lnTo>
                    <a:lnTo>
                      <a:pt x="519" y="733"/>
                    </a:lnTo>
                    <a:lnTo>
                      <a:pt x="519" y="728"/>
                    </a:lnTo>
                    <a:lnTo>
                      <a:pt x="521" y="723"/>
                    </a:lnTo>
                    <a:lnTo>
                      <a:pt x="523" y="719"/>
                    </a:lnTo>
                    <a:lnTo>
                      <a:pt x="526" y="716"/>
                    </a:lnTo>
                    <a:lnTo>
                      <a:pt x="535" y="710"/>
                    </a:lnTo>
                    <a:lnTo>
                      <a:pt x="546" y="706"/>
                    </a:lnTo>
                    <a:lnTo>
                      <a:pt x="566" y="700"/>
                    </a:lnTo>
                    <a:lnTo>
                      <a:pt x="578" y="696"/>
                    </a:lnTo>
                    <a:lnTo>
                      <a:pt x="578" y="678"/>
                    </a:lnTo>
                    <a:lnTo>
                      <a:pt x="568" y="673"/>
                    </a:lnTo>
                    <a:lnTo>
                      <a:pt x="560" y="668"/>
                    </a:lnTo>
                    <a:lnTo>
                      <a:pt x="556" y="665"/>
                    </a:lnTo>
                    <a:lnTo>
                      <a:pt x="554" y="662"/>
                    </a:lnTo>
                    <a:lnTo>
                      <a:pt x="552" y="658"/>
                    </a:lnTo>
                    <a:lnTo>
                      <a:pt x="552" y="654"/>
                    </a:lnTo>
                    <a:lnTo>
                      <a:pt x="553" y="651"/>
                    </a:lnTo>
                    <a:lnTo>
                      <a:pt x="556" y="649"/>
                    </a:lnTo>
                    <a:lnTo>
                      <a:pt x="563" y="646"/>
                    </a:lnTo>
                    <a:lnTo>
                      <a:pt x="569" y="644"/>
                    </a:lnTo>
                    <a:lnTo>
                      <a:pt x="588" y="639"/>
                    </a:lnTo>
                    <a:lnTo>
                      <a:pt x="611" y="635"/>
                    </a:lnTo>
                    <a:lnTo>
                      <a:pt x="655" y="628"/>
                    </a:lnTo>
                    <a:lnTo>
                      <a:pt x="684" y="622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29" name="Freeform 451">
                <a:extLst>
                  <a:ext uri="{FF2B5EF4-FFF2-40B4-BE49-F238E27FC236}">
                    <a16:creationId xmlns="" xmlns:a16="http://schemas.microsoft.com/office/drawing/2014/main" id="{9807DC41-2BB5-4F63-BFE9-ECB6D8F4C6C6}"/>
                  </a:ext>
                </a:extLst>
              </p:cNvPr>
              <p:cNvSpPr>
                <a:spLocks/>
              </p:cNvSpPr>
              <p:nvPr>
                <p:custDataLst>
                  <p:tags r:id="rId289"/>
                </p:custDataLst>
              </p:nvPr>
            </p:nvSpPr>
            <p:spPr bwMode="auto">
              <a:xfrm>
                <a:off x="4284663" y="3549650"/>
                <a:ext cx="187325" cy="274638"/>
              </a:xfrm>
              <a:custGeom>
                <a:avLst/>
                <a:gdLst>
                  <a:gd name="T0" fmla="*/ 2147483646 w 429"/>
                  <a:gd name="T1" fmla="*/ 2147483646 h 524"/>
                  <a:gd name="T2" fmla="*/ 2147483646 w 429"/>
                  <a:gd name="T3" fmla="*/ 2147483646 h 524"/>
                  <a:gd name="T4" fmla="*/ 2147483646 w 429"/>
                  <a:gd name="T5" fmla="*/ 2147483646 h 524"/>
                  <a:gd name="T6" fmla="*/ 2147483646 w 429"/>
                  <a:gd name="T7" fmla="*/ 2147483646 h 524"/>
                  <a:gd name="T8" fmla="*/ 2147483646 w 429"/>
                  <a:gd name="T9" fmla="*/ 2147483646 h 524"/>
                  <a:gd name="T10" fmla="*/ 2147483646 w 429"/>
                  <a:gd name="T11" fmla="*/ 2147483646 h 524"/>
                  <a:gd name="T12" fmla="*/ 2147483646 w 429"/>
                  <a:gd name="T13" fmla="*/ 2147483646 h 524"/>
                  <a:gd name="T14" fmla="*/ 2147483646 w 429"/>
                  <a:gd name="T15" fmla="*/ 2147483646 h 524"/>
                  <a:gd name="T16" fmla="*/ 2147483646 w 429"/>
                  <a:gd name="T17" fmla="*/ 2147483646 h 524"/>
                  <a:gd name="T18" fmla="*/ 2147483646 w 429"/>
                  <a:gd name="T19" fmla="*/ 2147483646 h 524"/>
                  <a:gd name="T20" fmla="*/ 2147483646 w 429"/>
                  <a:gd name="T21" fmla="*/ 2147483646 h 524"/>
                  <a:gd name="T22" fmla="*/ 2147483646 w 429"/>
                  <a:gd name="T23" fmla="*/ 2147483646 h 524"/>
                  <a:gd name="T24" fmla="*/ 2147483646 w 429"/>
                  <a:gd name="T25" fmla="*/ 2147483646 h 524"/>
                  <a:gd name="T26" fmla="*/ 2147483646 w 429"/>
                  <a:gd name="T27" fmla="*/ 2147483646 h 524"/>
                  <a:gd name="T28" fmla="*/ 2147483646 w 429"/>
                  <a:gd name="T29" fmla="*/ 2147483646 h 524"/>
                  <a:gd name="T30" fmla="*/ 2147483646 w 429"/>
                  <a:gd name="T31" fmla="*/ 2147483646 h 524"/>
                  <a:gd name="T32" fmla="*/ 2147483646 w 429"/>
                  <a:gd name="T33" fmla="*/ 2147483646 h 524"/>
                  <a:gd name="T34" fmla="*/ 2147483646 w 429"/>
                  <a:gd name="T35" fmla="*/ 2147483646 h 524"/>
                  <a:gd name="T36" fmla="*/ 2147483646 w 429"/>
                  <a:gd name="T37" fmla="*/ 2147483646 h 524"/>
                  <a:gd name="T38" fmla="*/ 2147483646 w 429"/>
                  <a:gd name="T39" fmla="*/ 2147483646 h 524"/>
                  <a:gd name="T40" fmla="*/ 2147483646 w 429"/>
                  <a:gd name="T41" fmla="*/ 2147483646 h 524"/>
                  <a:gd name="T42" fmla="*/ 2147483646 w 429"/>
                  <a:gd name="T43" fmla="*/ 2147483646 h 524"/>
                  <a:gd name="T44" fmla="*/ 2147483646 w 429"/>
                  <a:gd name="T45" fmla="*/ 2147483646 h 524"/>
                  <a:gd name="T46" fmla="*/ 2147483646 w 429"/>
                  <a:gd name="T47" fmla="*/ 2147483646 h 524"/>
                  <a:gd name="T48" fmla="*/ 2147483646 w 429"/>
                  <a:gd name="T49" fmla="*/ 2147483646 h 524"/>
                  <a:gd name="T50" fmla="*/ 2147483646 w 429"/>
                  <a:gd name="T51" fmla="*/ 2147483646 h 524"/>
                  <a:gd name="T52" fmla="*/ 2147483646 w 429"/>
                  <a:gd name="T53" fmla="*/ 2147483646 h 524"/>
                  <a:gd name="T54" fmla="*/ 2147483646 w 429"/>
                  <a:gd name="T55" fmla="*/ 2147483646 h 524"/>
                  <a:gd name="T56" fmla="*/ 2147483646 w 429"/>
                  <a:gd name="T57" fmla="*/ 2147483646 h 524"/>
                  <a:gd name="T58" fmla="*/ 2147483646 w 429"/>
                  <a:gd name="T59" fmla="*/ 2147483646 h 524"/>
                  <a:gd name="T60" fmla="*/ 2147483646 w 429"/>
                  <a:gd name="T61" fmla="*/ 2147483646 h 524"/>
                  <a:gd name="T62" fmla="*/ 2147483646 w 429"/>
                  <a:gd name="T63" fmla="*/ 2147483646 h 524"/>
                  <a:gd name="T64" fmla="*/ 2147483646 w 429"/>
                  <a:gd name="T65" fmla="*/ 2147483646 h 524"/>
                  <a:gd name="T66" fmla="*/ 2147483646 w 429"/>
                  <a:gd name="T67" fmla="*/ 2147483646 h 524"/>
                  <a:gd name="T68" fmla="*/ 2147483646 w 429"/>
                  <a:gd name="T69" fmla="*/ 2147483646 h 524"/>
                  <a:gd name="T70" fmla="*/ 2147483646 w 429"/>
                  <a:gd name="T71" fmla="*/ 2147483646 h 524"/>
                  <a:gd name="T72" fmla="*/ 2147483646 w 429"/>
                  <a:gd name="T73" fmla="*/ 2147483646 h 524"/>
                  <a:gd name="T74" fmla="*/ 2147483646 w 429"/>
                  <a:gd name="T75" fmla="*/ 2147483646 h 524"/>
                  <a:gd name="T76" fmla="*/ 2147483646 w 429"/>
                  <a:gd name="T77" fmla="*/ 2147483646 h 524"/>
                  <a:gd name="T78" fmla="*/ 2147483646 w 429"/>
                  <a:gd name="T79" fmla="*/ 2147483646 h 524"/>
                  <a:gd name="T80" fmla="*/ 2147483646 w 429"/>
                  <a:gd name="T81" fmla="*/ 2147483646 h 524"/>
                  <a:gd name="T82" fmla="*/ 2147483646 w 429"/>
                  <a:gd name="T83" fmla="*/ 2147483646 h 524"/>
                  <a:gd name="T84" fmla="*/ 2147483646 w 429"/>
                  <a:gd name="T85" fmla="*/ 2147483646 h 524"/>
                  <a:gd name="T86" fmla="*/ 2147483646 w 429"/>
                  <a:gd name="T87" fmla="*/ 2147483646 h 524"/>
                  <a:gd name="T88" fmla="*/ 2147483646 w 429"/>
                  <a:gd name="T89" fmla="*/ 2147483646 h 524"/>
                  <a:gd name="T90" fmla="*/ 2147483646 w 429"/>
                  <a:gd name="T91" fmla="*/ 2147483646 h 524"/>
                  <a:gd name="T92" fmla="*/ 2147483646 w 429"/>
                  <a:gd name="T93" fmla="*/ 2147483646 h 524"/>
                  <a:gd name="T94" fmla="*/ 2147483646 w 429"/>
                  <a:gd name="T95" fmla="*/ 2147483646 h 524"/>
                  <a:gd name="T96" fmla="*/ 2147483646 w 429"/>
                  <a:gd name="T97" fmla="*/ 2147483646 h 524"/>
                  <a:gd name="T98" fmla="*/ 2147483646 w 429"/>
                  <a:gd name="T99" fmla="*/ 2147483646 h 524"/>
                  <a:gd name="T100" fmla="*/ 2147483646 w 429"/>
                  <a:gd name="T101" fmla="*/ 2147483646 h 524"/>
                  <a:gd name="T102" fmla="*/ 2147483646 w 429"/>
                  <a:gd name="T103" fmla="*/ 2147483646 h 524"/>
                  <a:gd name="T104" fmla="*/ 2147483646 w 429"/>
                  <a:gd name="T105" fmla="*/ 2147483646 h 524"/>
                  <a:gd name="T106" fmla="*/ 2147483646 w 429"/>
                  <a:gd name="T107" fmla="*/ 2147483646 h 524"/>
                  <a:gd name="T108" fmla="*/ 2147483646 w 429"/>
                  <a:gd name="T109" fmla="*/ 2147483646 h 524"/>
                  <a:gd name="T110" fmla="*/ 2147483646 w 429"/>
                  <a:gd name="T111" fmla="*/ 2147483646 h 524"/>
                  <a:gd name="T112" fmla="*/ 2147483646 w 429"/>
                  <a:gd name="T113" fmla="*/ 2147483646 h 524"/>
                  <a:gd name="T114" fmla="*/ 2147483646 w 429"/>
                  <a:gd name="T115" fmla="*/ 2147483646 h 524"/>
                  <a:gd name="T116" fmla="*/ 2147483646 w 429"/>
                  <a:gd name="T117" fmla="*/ 2147483646 h 524"/>
                  <a:gd name="T118" fmla="*/ 2147483646 w 429"/>
                  <a:gd name="T119" fmla="*/ 2147483646 h 524"/>
                  <a:gd name="T120" fmla="*/ 2147483646 w 429"/>
                  <a:gd name="T121" fmla="*/ 2147483646 h 524"/>
                  <a:gd name="T122" fmla="*/ 2147483646 w 429"/>
                  <a:gd name="T123" fmla="*/ 2147483646 h 524"/>
                  <a:gd name="T124" fmla="*/ 2147483646 w 429"/>
                  <a:gd name="T125" fmla="*/ 2147483646 h 52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429"/>
                  <a:gd name="T190" fmla="*/ 0 h 524"/>
                  <a:gd name="T191" fmla="*/ 429 w 429"/>
                  <a:gd name="T192" fmla="*/ 524 h 524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429" h="524">
                    <a:moveTo>
                      <a:pt x="426" y="0"/>
                    </a:moveTo>
                    <a:lnTo>
                      <a:pt x="427" y="12"/>
                    </a:lnTo>
                    <a:lnTo>
                      <a:pt x="429" y="22"/>
                    </a:lnTo>
                    <a:lnTo>
                      <a:pt x="429" y="31"/>
                    </a:lnTo>
                    <a:lnTo>
                      <a:pt x="429" y="38"/>
                    </a:lnTo>
                    <a:lnTo>
                      <a:pt x="428" y="43"/>
                    </a:lnTo>
                    <a:lnTo>
                      <a:pt x="427" y="48"/>
                    </a:lnTo>
                    <a:lnTo>
                      <a:pt x="426" y="51"/>
                    </a:lnTo>
                    <a:lnTo>
                      <a:pt x="424" y="54"/>
                    </a:lnTo>
                    <a:lnTo>
                      <a:pt x="419" y="60"/>
                    </a:lnTo>
                    <a:lnTo>
                      <a:pt x="416" y="64"/>
                    </a:lnTo>
                    <a:lnTo>
                      <a:pt x="415" y="67"/>
                    </a:lnTo>
                    <a:lnTo>
                      <a:pt x="413" y="71"/>
                    </a:lnTo>
                    <a:lnTo>
                      <a:pt x="413" y="75"/>
                    </a:lnTo>
                    <a:lnTo>
                      <a:pt x="413" y="81"/>
                    </a:lnTo>
                    <a:lnTo>
                      <a:pt x="413" y="109"/>
                    </a:lnTo>
                    <a:lnTo>
                      <a:pt x="414" y="135"/>
                    </a:lnTo>
                    <a:lnTo>
                      <a:pt x="414" y="160"/>
                    </a:lnTo>
                    <a:lnTo>
                      <a:pt x="413" y="183"/>
                    </a:lnTo>
                    <a:lnTo>
                      <a:pt x="410" y="196"/>
                    </a:lnTo>
                    <a:lnTo>
                      <a:pt x="408" y="207"/>
                    </a:lnTo>
                    <a:lnTo>
                      <a:pt x="405" y="218"/>
                    </a:lnTo>
                    <a:lnTo>
                      <a:pt x="401" y="229"/>
                    </a:lnTo>
                    <a:lnTo>
                      <a:pt x="396" y="241"/>
                    </a:lnTo>
                    <a:lnTo>
                      <a:pt x="390" y="254"/>
                    </a:lnTo>
                    <a:lnTo>
                      <a:pt x="382" y="266"/>
                    </a:lnTo>
                    <a:lnTo>
                      <a:pt x="372" y="278"/>
                    </a:lnTo>
                    <a:lnTo>
                      <a:pt x="360" y="288"/>
                    </a:lnTo>
                    <a:lnTo>
                      <a:pt x="346" y="300"/>
                    </a:lnTo>
                    <a:lnTo>
                      <a:pt x="338" y="309"/>
                    </a:lnTo>
                    <a:lnTo>
                      <a:pt x="331" y="316"/>
                    </a:lnTo>
                    <a:lnTo>
                      <a:pt x="325" y="324"/>
                    </a:lnTo>
                    <a:lnTo>
                      <a:pt x="319" y="333"/>
                    </a:lnTo>
                    <a:lnTo>
                      <a:pt x="318" y="361"/>
                    </a:lnTo>
                    <a:lnTo>
                      <a:pt x="314" y="395"/>
                    </a:lnTo>
                    <a:lnTo>
                      <a:pt x="312" y="412"/>
                    </a:lnTo>
                    <a:lnTo>
                      <a:pt x="308" y="428"/>
                    </a:lnTo>
                    <a:lnTo>
                      <a:pt x="306" y="434"/>
                    </a:lnTo>
                    <a:lnTo>
                      <a:pt x="304" y="439"/>
                    </a:lnTo>
                    <a:lnTo>
                      <a:pt x="302" y="442"/>
                    </a:lnTo>
                    <a:lnTo>
                      <a:pt x="300" y="444"/>
                    </a:lnTo>
                    <a:lnTo>
                      <a:pt x="290" y="448"/>
                    </a:lnTo>
                    <a:lnTo>
                      <a:pt x="280" y="451"/>
                    </a:lnTo>
                    <a:lnTo>
                      <a:pt x="274" y="453"/>
                    </a:lnTo>
                    <a:lnTo>
                      <a:pt x="269" y="455"/>
                    </a:lnTo>
                    <a:lnTo>
                      <a:pt x="264" y="458"/>
                    </a:lnTo>
                    <a:lnTo>
                      <a:pt x="259" y="462"/>
                    </a:lnTo>
                    <a:lnTo>
                      <a:pt x="253" y="472"/>
                    </a:lnTo>
                    <a:lnTo>
                      <a:pt x="245" y="487"/>
                    </a:lnTo>
                    <a:lnTo>
                      <a:pt x="239" y="494"/>
                    </a:lnTo>
                    <a:lnTo>
                      <a:pt x="234" y="500"/>
                    </a:lnTo>
                    <a:lnTo>
                      <a:pt x="230" y="502"/>
                    </a:lnTo>
                    <a:lnTo>
                      <a:pt x="227" y="504"/>
                    </a:lnTo>
                    <a:lnTo>
                      <a:pt x="223" y="505"/>
                    </a:lnTo>
                    <a:lnTo>
                      <a:pt x="219" y="506"/>
                    </a:lnTo>
                    <a:lnTo>
                      <a:pt x="210" y="505"/>
                    </a:lnTo>
                    <a:lnTo>
                      <a:pt x="201" y="504"/>
                    </a:lnTo>
                    <a:lnTo>
                      <a:pt x="196" y="503"/>
                    </a:lnTo>
                    <a:lnTo>
                      <a:pt x="192" y="501"/>
                    </a:lnTo>
                    <a:lnTo>
                      <a:pt x="189" y="498"/>
                    </a:lnTo>
                    <a:lnTo>
                      <a:pt x="186" y="494"/>
                    </a:lnTo>
                    <a:lnTo>
                      <a:pt x="166" y="496"/>
                    </a:lnTo>
                    <a:lnTo>
                      <a:pt x="145" y="500"/>
                    </a:lnTo>
                    <a:lnTo>
                      <a:pt x="135" y="502"/>
                    </a:lnTo>
                    <a:lnTo>
                      <a:pt x="126" y="501"/>
                    </a:lnTo>
                    <a:lnTo>
                      <a:pt x="123" y="500"/>
                    </a:lnTo>
                    <a:lnTo>
                      <a:pt x="119" y="499"/>
                    </a:lnTo>
                    <a:lnTo>
                      <a:pt x="116" y="497"/>
                    </a:lnTo>
                    <a:lnTo>
                      <a:pt x="113" y="494"/>
                    </a:lnTo>
                    <a:lnTo>
                      <a:pt x="106" y="493"/>
                    </a:lnTo>
                    <a:lnTo>
                      <a:pt x="100" y="493"/>
                    </a:lnTo>
                    <a:lnTo>
                      <a:pt x="95" y="493"/>
                    </a:lnTo>
                    <a:lnTo>
                      <a:pt x="91" y="494"/>
                    </a:lnTo>
                    <a:lnTo>
                      <a:pt x="83" y="497"/>
                    </a:lnTo>
                    <a:lnTo>
                      <a:pt x="78" y="502"/>
                    </a:lnTo>
                    <a:lnTo>
                      <a:pt x="73" y="507"/>
                    </a:lnTo>
                    <a:lnTo>
                      <a:pt x="68" y="513"/>
                    </a:lnTo>
                    <a:lnTo>
                      <a:pt x="62" y="519"/>
                    </a:lnTo>
                    <a:lnTo>
                      <a:pt x="54" y="524"/>
                    </a:lnTo>
                    <a:lnTo>
                      <a:pt x="39" y="507"/>
                    </a:lnTo>
                    <a:lnTo>
                      <a:pt x="27" y="491"/>
                    </a:lnTo>
                    <a:lnTo>
                      <a:pt x="14" y="474"/>
                    </a:lnTo>
                    <a:lnTo>
                      <a:pt x="0" y="456"/>
                    </a:lnTo>
                    <a:lnTo>
                      <a:pt x="6" y="447"/>
                    </a:lnTo>
                    <a:lnTo>
                      <a:pt x="13" y="440"/>
                    </a:lnTo>
                    <a:lnTo>
                      <a:pt x="18" y="434"/>
                    </a:lnTo>
                    <a:lnTo>
                      <a:pt x="25" y="430"/>
                    </a:lnTo>
                    <a:lnTo>
                      <a:pt x="31" y="427"/>
                    </a:lnTo>
                    <a:lnTo>
                      <a:pt x="36" y="425"/>
                    </a:lnTo>
                    <a:lnTo>
                      <a:pt x="42" y="424"/>
                    </a:lnTo>
                    <a:lnTo>
                      <a:pt x="46" y="424"/>
                    </a:lnTo>
                    <a:lnTo>
                      <a:pt x="55" y="425"/>
                    </a:lnTo>
                    <a:lnTo>
                      <a:pt x="61" y="428"/>
                    </a:lnTo>
                    <a:lnTo>
                      <a:pt x="65" y="431"/>
                    </a:lnTo>
                    <a:lnTo>
                      <a:pt x="67" y="432"/>
                    </a:lnTo>
                    <a:lnTo>
                      <a:pt x="58" y="418"/>
                    </a:lnTo>
                    <a:lnTo>
                      <a:pt x="51" y="405"/>
                    </a:lnTo>
                    <a:lnTo>
                      <a:pt x="47" y="395"/>
                    </a:lnTo>
                    <a:lnTo>
                      <a:pt x="45" y="386"/>
                    </a:lnTo>
                    <a:lnTo>
                      <a:pt x="45" y="378"/>
                    </a:lnTo>
                    <a:lnTo>
                      <a:pt x="45" y="372"/>
                    </a:lnTo>
                    <a:lnTo>
                      <a:pt x="47" y="366"/>
                    </a:lnTo>
                    <a:lnTo>
                      <a:pt x="50" y="362"/>
                    </a:lnTo>
                    <a:lnTo>
                      <a:pt x="54" y="359"/>
                    </a:lnTo>
                    <a:lnTo>
                      <a:pt x="57" y="356"/>
                    </a:lnTo>
                    <a:lnTo>
                      <a:pt x="61" y="354"/>
                    </a:lnTo>
                    <a:lnTo>
                      <a:pt x="65" y="353"/>
                    </a:lnTo>
                    <a:lnTo>
                      <a:pt x="71" y="352"/>
                    </a:lnTo>
                    <a:lnTo>
                      <a:pt x="73" y="351"/>
                    </a:lnTo>
                    <a:lnTo>
                      <a:pt x="81" y="343"/>
                    </a:lnTo>
                    <a:lnTo>
                      <a:pt x="89" y="337"/>
                    </a:lnTo>
                    <a:lnTo>
                      <a:pt x="94" y="334"/>
                    </a:lnTo>
                    <a:lnTo>
                      <a:pt x="100" y="333"/>
                    </a:lnTo>
                    <a:lnTo>
                      <a:pt x="104" y="333"/>
                    </a:lnTo>
                    <a:lnTo>
                      <a:pt x="109" y="335"/>
                    </a:lnTo>
                    <a:lnTo>
                      <a:pt x="112" y="339"/>
                    </a:lnTo>
                    <a:lnTo>
                      <a:pt x="115" y="342"/>
                    </a:lnTo>
                    <a:lnTo>
                      <a:pt x="123" y="350"/>
                    </a:lnTo>
                    <a:lnTo>
                      <a:pt x="130" y="356"/>
                    </a:lnTo>
                    <a:lnTo>
                      <a:pt x="135" y="359"/>
                    </a:lnTo>
                    <a:lnTo>
                      <a:pt x="140" y="359"/>
                    </a:lnTo>
                    <a:lnTo>
                      <a:pt x="146" y="356"/>
                    </a:lnTo>
                    <a:lnTo>
                      <a:pt x="154" y="351"/>
                    </a:lnTo>
                    <a:lnTo>
                      <a:pt x="163" y="354"/>
                    </a:lnTo>
                    <a:lnTo>
                      <a:pt x="172" y="354"/>
                    </a:lnTo>
                    <a:lnTo>
                      <a:pt x="181" y="353"/>
                    </a:lnTo>
                    <a:lnTo>
                      <a:pt x="188" y="350"/>
                    </a:lnTo>
                    <a:lnTo>
                      <a:pt x="193" y="345"/>
                    </a:lnTo>
                    <a:lnTo>
                      <a:pt x="199" y="340"/>
                    </a:lnTo>
                    <a:lnTo>
                      <a:pt x="202" y="334"/>
                    </a:lnTo>
                    <a:lnTo>
                      <a:pt x="205" y="328"/>
                    </a:lnTo>
                    <a:lnTo>
                      <a:pt x="210" y="315"/>
                    </a:lnTo>
                    <a:lnTo>
                      <a:pt x="212" y="302"/>
                    </a:lnTo>
                    <a:lnTo>
                      <a:pt x="213" y="293"/>
                    </a:lnTo>
                    <a:lnTo>
                      <a:pt x="213" y="290"/>
                    </a:lnTo>
                    <a:lnTo>
                      <a:pt x="215" y="283"/>
                    </a:lnTo>
                    <a:lnTo>
                      <a:pt x="215" y="276"/>
                    </a:lnTo>
                    <a:lnTo>
                      <a:pt x="215" y="269"/>
                    </a:lnTo>
                    <a:lnTo>
                      <a:pt x="213" y="262"/>
                    </a:lnTo>
                    <a:lnTo>
                      <a:pt x="208" y="249"/>
                    </a:lnTo>
                    <a:lnTo>
                      <a:pt x="201" y="236"/>
                    </a:lnTo>
                    <a:lnTo>
                      <a:pt x="186" y="217"/>
                    </a:lnTo>
                    <a:lnTo>
                      <a:pt x="180" y="210"/>
                    </a:lnTo>
                    <a:lnTo>
                      <a:pt x="188" y="203"/>
                    </a:lnTo>
                    <a:lnTo>
                      <a:pt x="202" y="187"/>
                    </a:lnTo>
                    <a:lnTo>
                      <a:pt x="205" y="182"/>
                    </a:lnTo>
                    <a:lnTo>
                      <a:pt x="207" y="177"/>
                    </a:lnTo>
                    <a:lnTo>
                      <a:pt x="210" y="173"/>
                    </a:lnTo>
                    <a:lnTo>
                      <a:pt x="211" y="168"/>
                    </a:lnTo>
                    <a:lnTo>
                      <a:pt x="210" y="164"/>
                    </a:lnTo>
                    <a:lnTo>
                      <a:pt x="208" y="161"/>
                    </a:lnTo>
                    <a:lnTo>
                      <a:pt x="205" y="157"/>
                    </a:lnTo>
                    <a:lnTo>
                      <a:pt x="200" y="155"/>
                    </a:lnTo>
                    <a:lnTo>
                      <a:pt x="200" y="148"/>
                    </a:lnTo>
                    <a:lnTo>
                      <a:pt x="200" y="142"/>
                    </a:lnTo>
                    <a:lnTo>
                      <a:pt x="197" y="137"/>
                    </a:lnTo>
                    <a:lnTo>
                      <a:pt x="195" y="133"/>
                    </a:lnTo>
                    <a:lnTo>
                      <a:pt x="192" y="131"/>
                    </a:lnTo>
                    <a:lnTo>
                      <a:pt x="188" y="129"/>
                    </a:lnTo>
                    <a:lnTo>
                      <a:pt x="183" y="129"/>
                    </a:lnTo>
                    <a:lnTo>
                      <a:pt x="179" y="129"/>
                    </a:lnTo>
                    <a:lnTo>
                      <a:pt x="161" y="132"/>
                    </a:lnTo>
                    <a:lnTo>
                      <a:pt x="154" y="137"/>
                    </a:lnTo>
                    <a:lnTo>
                      <a:pt x="144" y="134"/>
                    </a:lnTo>
                    <a:lnTo>
                      <a:pt x="137" y="131"/>
                    </a:lnTo>
                    <a:lnTo>
                      <a:pt x="132" y="128"/>
                    </a:lnTo>
                    <a:lnTo>
                      <a:pt x="127" y="124"/>
                    </a:lnTo>
                    <a:lnTo>
                      <a:pt x="125" y="119"/>
                    </a:lnTo>
                    <a:lnTo>
                      <a:pt x="123" y="114"/>
                    </a:lnTo>
                    <a:lnTo>
                      <a:pt x="123" y="109"/>
                    </a:lnTo>
                    <a:lnTo>
                      <a:pt x="123" y="103"/>
                    </a:lnTo>
                    <a:lnTo>
                      <a:pt x="125" y="93"/>
                    </a:lnTo>
                    <a:lnTo>
                      <a:pt x="128" y="84"/>
                    </a:lnTo>
                    <a:lnTo>
                      <a:pt x="132" y="76"/>
                    </a:lnTo>
                    <a:lnTo>
                      <a:pt x="133" y="74"/>
                    </a:lnTo>
                    <a:lnTo>
                      <a:pt x="293" y="105"/>
                    </a:lnTo>
                    <a:lnTo>
                      <a:pt x="306" y="38"/>
                    </a:lnTo>
                    <a:lnTo>
                      <a:pt x="311" y="30"/>
                    </a:lnTo>
                    <a:lnTo>
                      <a:pt x="317" y="22"/>
                    </a:lnTo>
                    <a:lnTo>
                      <a:pt x="323" y="17"/>
                    </a:lnTo>
                    <a:lnTo>
                      <a:pt x="329" y="12"/>
                    </a:lnTo>
                    <a:lnTo>
                      <a:pt x="336" y="9"/>
                    </a:lnTo>
                    <a:lnTo>
                      <a:pt x="343" y="7"/>
                    </a:lnTo>
                    <a:lnTo>
                      <a:pt x="350" y="6"/>
                    </a:lnTo>
                    <a:lnTo>
                      <a:pt x="358" y="5"/>
                    </a:lnTo>
                    <a:lnTo>
                      <a:pt x="374" y="5"/>
                    </a:lnTo>
                    <a:lnTo>
                      <a:pt x="391" y="4"/>
                    </a:lnTo>
                    <a:lnTo>
                      <a:pt x="399" y="4"/>
                    </a:lnTo>
                    <a:lnTo>
                      <a:pt x="408" y="4"/>
                    </a:lnTo>
                    <a:lnTo>
                      <a:pt x="417" y="2"/>
                    </a:lnTo>
                    <a:lnTo>
                      <a:pt x="426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30" name="Freeform 452">
                <a:extLst>
                  <a:ext uri="{FF2B5EF4-FFF2-40B4-BE49-F238E27FC236}">
                    <a16:creationId xmlns="" xmlns:a16="http://schemas.microsoft.com/office/drawing/2014/main" id="{9EF1D990-194A-4956-960C-FE9DEE9AF87F}"/>
                  </a:ext>
                </a:extLst>
              </p:cNvPr>
              <p:cNvSpPr>
                <a:spLocks/>
              </p:cNvSpPr>
              <p:nvPr>
                <p:custDataLst>
                  <p:tags r:id="rId290"/>
                </p:custDataLst>
              </p:nvPr>
            </p:nvSpPr>
            <p:spPr bwMode="auto">
              <a:xfrm>
                <a:off x="4316413" y="2192338"/>
                <a:ext cx="127000" cy="114300"/>
              </a:xfrm>
              <a:custGeom>
                <a:avLst/>
                <a:gdLst>
                  <a:gd name="T0" fmla="*/ 2147483646 w 292"/>
                  <a:gd name="T1" fmla="*/ 2147483646 h 223"/>
                  <a:gd name="T2" fmla="*/ 2147483646 w 292"/>
                  <a:gd name="T3" fmla="*/ 2147483646 h 223"/>
                  <a:gd name="T4" fmla="*/ 2147483646 w 292"/>
                  <a:gd name="T5" fmla="*/ 2147483646 h 223"/>
                  <a:gd name="T6" fmla="*/ 2147483646 w 292"/>
                  <a:gd name="T7" fmla="*/ 2147483646 h 223"/>
                  <a:gd name="T8" fmla="*/ 2147483646 w 292"/>
                  <a:gd name="T9" fmla="*/ 2147483646 h 223"/>
                  <a:gd name="T10" fmla="*/ 2147483646 w 292"/>
                  <a:gd name="T11" fmla="*/ 2147483646 h 223"/>
                  <a:gd name="T12" fmla="*/ 2147483646 w 292"/>
                  <a:gd name="T13" fmla="*/ 2147483646 h 223"/>
                  <a:gd name="T14" fmla="*/ 2147483646 w 292"/>
                  <a:gd name="T15" fmla="*/ 2147483646 h 223"/>
                  <a:gd name="T16" fmla="*/ 2147483646 w 292"/>
                  <a:gd name="T17" fmla="*/ 2147483646 h 223"/>
                  <a:gd name="T18" fmla="*/ 2147483646 w 292"/>
                  <a:gd name="T19" fmla="*/ 2147483646 h 223"/>
                  <a:gd name="T20" fmla="*/ 2147483646 w 292"/>
                  <a:gd name="T21" fmla="*/ 2147483646 h 223"/>
                  <a:gd name="T22" fmla="*/ 2147483646 w 292"/>
                  <a:gd name="T23" fmla="*/ 2147483646 h 223"/>
                  <a:gd name="T24" fmla="*/ 2147483646 w 292"/>
                  <a:gd name="T25" fmla="*/ 2147483646 h 223"/>
                  <a:gd name="T26" fmla="*/ 2147483646 w 292"/>
                  <a:gd name="T27" fmla="*/ 2147483646 h 223"/>
                  <a:gd name="T28" fmla="*/ 2147483646 w 292"/>
                  <a:gd name="T29" fmla="*/ 2147483646 h 223"/>
                  <a:gd name="T30" fmla="*/ 2147483646 w 292"/>
                  <a:gd name="T31" fmla="*/ 2147483646 h 223"/>
                  <a:gd name="T32" fmla="*/ 2147483646 w 292"/>
                  <a:gd name="T33" fmla="*/ 2147483646 h 223"/>
                  <a:gd name="T34" fmla="*/ 2147483646 w 292"/>
                  <a:gd name="T35" fmla="*/ 2147483646 h 223"/>
                  <a:gd name="T36" fmla="*/ 2147483646 w 292"/>
                  <a:gd name="T37" fmla="*/ 2147483646 h 223"/>
                  <a:gd name="T38" fmla="*/ 2147483646 w 292"/>
                  <a:gd name="T39" fmla="*/ 2147483646 h 223"/>
                  <a:gd name="T40" fmla="*/ 2147483646 w 292"/>
                  <a:gd name="T41" fmla="*/ 2147483646 h 223"/>
                  <a:gd name="T42" fmla="*/ 2147483646 w 292"/>
                  <a:gd name="T43" fmla="*/ 2147483646 h 223"/>
                  <a:gd name="T44" fmla="*/ 2147483646 w 292"/>
                  <a:gd name="T45" fmla="*/ 2147483646 h 223"/>
                  <a:gd name="T46" fmla="*/ 2147483646 w 292"/>
                  <a:gd name="T47" fmla="*/ 2147483646 h 223"/>
                  <a:gd name="T48" fmla="*/ 2147483646 w 292"/>
                  <a:gd name="T49" fmla="*/ 2147483646 h 223"/>
                  <a:gd name="T50" fmla="*/ 2147483646 w 292"/>
                  <a:gd name="T51" fmla="*/ 2147483646 h 223"/>
                  <a:gd name="T52" fmla="*/ 0 w 292"/>
                  <a:gd name="T53" fmla="*/ 2147483646 h 223"/>
                  <a:gd name="T54" fmla="*/ 2147483646 w 292"/>
                  <a:gd name="T55" fmla="*/ 2147483646 h 223"/>
                  <a:gd name="T56" fmla="*/ 2147483646 w 292"/>
                  <a:gd name="T57" fmla="*/ 2147483646 h 223"/>
                  <a:gd name="T58" fmla="*/ 2147483646 w 292"/>
                  <a:gd name="T59" fmla="*/ 2147483646 h 223"/>
                  <a:gd name="T60" fmla="*/ 2147483646 w 292"/>
                  <a:gd name="T61" fmla="*/ 2147483646 h 223"/>
                  <a:gd name="T62" fmla="*/ 2147483646 w 292"/>
                  <a:gd name="T63" fmla="*/ 2147483646 h 223"/>
                  <a:gd name="T64" fmla="*/ 2147483646 w 292"/>
                  <a:gd name="T65" fmla="*/ 2147483646 h 223"/>
                  <a:gd name="T66" fmla="*/ 2147483646 w 292"/>
                  <a:gd name="T67" fmla="*/ 0 h 223"/>
                  <a:gd name="T68" fmla="*/ 2147483646 w 292"/>
                  <a:gd name="T69" fmla="*/ 2147483646 h 223"/>
                  <a:gd name="T70" fmla="*/ 2147483646 w 292"/>
                  <a:gd name="T71" fmla="*/ 2147483646 h 223"/>
                  <a:gd name="T72" fmla="*/ 2147483646 w 292"/>
                  <a:gd name="T73" fmla="*/ 2147483646 h 223"/>
                  <a:gd name="T74" fmla="*/ 2147483646 w 292"/>
                  <a:gd name="T75" fmla="*/ 2147483646 h 223"/>
                  <a:gd name="T76" fmla="*/ 2147483646 w 292"/>
                  <a:gd name="T77" fmla="*/ 2147483646 h 223"/>
                  <a:gd name="T78" fmla="*/ 2147483646 w 292"/>
                  <a:gd name="T79" fmla="*/ 2147483646 h 223"/>
                  <a:gd name="T80" fmla="*/ 2147483646 w 292"/>
                  <a:gd name="T81" fmla="*/ 2147483646 h 223"/>
                  <a:gd name="T82" fmla="*/ 2147483646 w 292"/>
                  <a:gd name="T83" fmla="*/ 2147483646 h 223"/>
                  <a:gd name="T84" fmla="*/ 2147483646 w 292"/>
                  <a:gd name="T85" fmla="*/ 2147483646 h 22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92"/>
                  <a:gd name="T130" fmla="*/ 0 h 223"/>
                  <a:gd name="T131" fmla="*/ 292 w 292"/>
                  <a:gd name="T132" fmla="*/ 223 h 22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92" h="223">
                    <a:moveTo>
                      <a:pt x="292" y="69"/>
                    </a:moveTo>
                    <a:lnTo>
                      <a:pt x="259" y="93"/>
                    </a:lnTo>
                    <a:lnTo>
                      <a:pt x="172" y="75"/>
                    </a:lnTo>
                    <a:lnTo>
                      <a:pt x="166" y="77"/>
                    </a:lnTo>
                    <a:lnTo>
                      <a:pt x="159" y="78"/>
                    </a:lnTo>
                    <a:lnTo>
                      <a:pt x="152" y="79"/>
                    </a:lnTo>
                    <a:lnTo>
                      <a:pt x="146" y="79"/>
                    </a:lnTo>
                    <a:lnTo>
                      <a:pt x="139" y="79"/>
                    </a:lnTo>
                    <a:lnTo>
                      <a:pt x="133" y="78"/>
                    </a:lnTo>
                    <a:lnTo>
                      <a:pt x="126" y="77"/>
                    </a:lnTo>
                    <a:lnTo>
                      <a:pt x="119" y="75"/>
                    </a:lnTo>
                    <a:lnTo>
                      <a:pt x="119" y="93"/>
                    </a:lnTo>
                    <a:lnTo>
                      <a:pt x="132" y="113"/>
                    </a:lnTo>
                    <a:lnTo>
                      <a:pt x="144" y="131"/>
                    </a:lnTo>
                    <a:lnTo>
                      <a:pt x="156" y="145"/>
                    </a:lnTo>
                    <a:lnTo>
                      <a:pt x="168" y="157"/>
                    </a:lnTo>
                    <a:lnTo>
                      <a:pt x="179" y="170"/>
                    </a:lnTo>
                    <a:lnTo>
                      <a:pt x="189" y="185"/>
                    </a:lnTo>
                    <a:lnTo>
                      <a:pt x="193" y="193"/>
                    </a:lnTo>
                    <a:lnTo>
                      <a:pt x="197" y="202"/>
                    </a:lnTo>
                    <a:lnTo>
                      <a:pt x="202" y="211"/>
                    </a:lnTo>
                    <a:lnTo>
                      <a:pt x="205" y="222"/>
                    </a:lnTo>
                    <a:lnTo>
                      <a:pt x="191" y="223"/>
                    </a:lnTo>
                    <a:lnTo>
                      <a:pt x="175" y="223"/>
                    </a:lnTo>
                    <a:lnTo>
                      <a:pt x="168" y="223"/>
                    </a:lnTo>
                    <a:lnTo>
                      <a:pt x="161" y="222"/>
                    </a:lnTo>
                    <a:lnTo>
                      <a:pt x="154" y="220"/>
                    </a:lnTo>
                    <a:lnTo>
                      <a:pt x="146" y="216"/>
                    </a:lnTo>
                    <a:lnTo>
                      <a:pt x="139" y="213"/>
                    </a:lnTo>
                    <a:lnTo>
                      <a:pt x="134" y="209"/>
                    </a:lnTo>
                    <a:lnTo>
                      <a:pt x="130" y="203"/>
                    </a:lnTo>
                    <a:lnTo>
                      <a:pt x="127" y="198"/>
                    </a:lnTo>
                    <a:lnTo>
                      <a:pt x="124" y="192"/>
                    </a:lnTo>
                    <a:lnTo>
                      <a:pt x="121" y="187"/>
                    </a:lnTo>
                    <a:lnTo>
                      <a:pt x="117" y="183"/>
                    </a:lnTo>
                    <a:lnTo>
                      <a:pt x="113" y="180"/>
                    </a:lnTo>
                    <a:lnTo>
                      <a:pt x="102" y="162"/>
                    </a:lnTo>
                    <a:lnTo>
                      <a:pt x="91" y="145"/>
                    </a:lnTo>
                    <a:lnTo>
                      <a:pt x="80" y="129"/>
                    </a:lnTo>
                    <a:lnTo>
                      <a:pt x="68" y="113"/>
                    </a:lnTo>
                    <a:lnTo>
                      <a:pt x="61" y="105"/>
                    </a:lnTo>
                    <a:lnTo>
                      <a:pt x="55" y="99"/>
                    </a:lnTo>
                    <a:lnTo>
                      <a:pt x="48" y="93"/>
                    </a:lnTo>
                    <a:lnTo>
                      <a:pt x="42" y="87"/>
                    </a:lnTo>
                    <a:lnTo>
                      <a:pt x="35" y="83"/>
                    </a:lnTo>
                    <a:lnTo>
                      <a:pt x="27" y="79"/>
                    </a:lnTo>
                    <a:lnTo>
                      <a:pt x="21" y="76"/>
                    </a:lnTo>
                    <a:lnTo>
                      <a:pt x="13" y="75"/>
                    </a:lnTo>
                    <a:lnTo>
                      <a:pt x="9" y="70"/>
                    </a:lnTo>
                    <a:lnTo>
                      <a:pt x="4" y="65"/>
                    </a:lnTo>
                    <a:lnTo>
                      <a:pt x="2" y="62"/>
                    </a:lnTo>
                    <a:lnTo>
                      <a:pt x="1" y="58"/>
                    </a:lnTo>
                    <a:lnTo>
                      <a:pt x="0" y="54"/>
                    </a:lnTo>
                    <a:lnTo>
                      <a:pt x="0" y="49"/>
                    </a:lnTo>
                    <a:lnTo>
                      <a:pt x="22" y="53"/>
                    </a:lnTo>
                    <a:lnTo>
                      <a:pt x="40" y="55"/>
                    </a:lnTo>
                    <a:lnTo>
                      <a:pt x="57" y="56"/>
                    </a:lnTo>
                    <a:lnTo>
                      <a:pt x="70" y="55"/>
                    </a:lnTo>
                    <a:lnTo>
                      <a:pt x="82" y="53"/>
                    </a:lnTo>
                    <a:lnTo>
                      <a:pt x="91" y="50"/>
                    </a:lnTo>
                    <a:lnTo>
                      <a:pt x="99" y="46"/>
                    </a:lnTo>
                    <a:lnTo>
                      <a:pt x="106" y="41"/>
                    </a:lnTo>
                    <a:lnTo>
                      <a:pt x="117" y="31"/>
                    </a:lnTo>
                    <a:lnTo>
                      <a:pt x="127" y="20"/>
                    </a:lnTo>
                    <a:lnTo>
                      <a:pt x="132" y="14"/>
                    </a:lnTo>
                    <a:lnTo>
                      <a:pt x="138" y="9"/>
                    </a:lnTo>
                    <a:lnTo>
                      <a:pt x="145" y="4"/>
                    </a:lnTo>
                    <a:lnTo>
                      <a:pt x="152" y="0"/>
                    </a:lnTo>
                    <a:lnTo>
                      <a:pt x="162" y="8"/>
                    </a:lnTo>
                    <a:lnTo>
                      <a:pt x="172" y="14"/>
                    </a:lnTo>
                    <a:lnTo>
                      <a:pt x="183" y="21"/>
                    </a:lnTo>
                    <a:lnTo>
                      <a:pt x="194" y="26"/>
                    </a:lnTo>
                    <a:lnTo>
                      <a:pt x="205" y="31"/>
                    </a:lnTo>
                    <a:lnTo>
                      <a:pt x="218" y="34"/>
                    </a:lnTo>
                    <a:lnTo>
                      <a:pt x="231" y="37"/>
                    </a:lnTo>
                    <a:lnTo>
                      <a:pt x="246" y="37"/>
                    </a:lnTo>
                    <a:lnTo>
                      <a:pt x="255" y="36"/>
                    </a:lnTo>
                    <a:lnTo>
                      <a:pt x="262" y="34"/>
                    </a:lnTo>
                    <a:lnTo>
                      <a:pt x="270" y="32"/>
                    </a:lnTo>
                    <a:lnTo>
                      <a:pt x="279" y="31"/>
                    </a:lnTo>
                    <a:lnTo>
                      <a:pt x="283" y="42"/>
                    </a:lnTo>
                    <a:lnTo>
                      <a:pt x="285" y="47"/>
                    </a:lnTo>
                    <a:lnTo>
                      <a:pt x="287" y="49"/>
                    </a:lnTo>
                    <a:lnTo>
                      <a:pt x="289" y="52"/>
                    </a:lnTo>
                    <a:lnTo>
                      <a:pt x="292" y="69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31" name="Freeform 453">
                <a:extLst>
                  <a:ext uri="{FF2B5EF4-FFF2-40B4-BE49-F238E27FC236}">
                    <a16:creationId xmlns="" xmlns:a16="http://schemas.microsoft.com/office/drawing/2014/main" id="{E89B8DC6-E579-4CD9-87DF-02A89E33DD0F}"/>
                  </a:ext>
                </a:extLst>
              </p:cNvPr>
              <p:cNvSpPr>
                <a:spLocks/>
              </p:cNvSpPr>
              <p:nvPr>
                <p:custDataLst>
                  <p:tags r:id="rId291"/>
                </p:custDataLst>
              </p:nvPr>
            </p:nvSpPr>
            <p:spPr bwMode="auto">
              <a:xfrm>
                <a:off x="4267200" y="2051050"/>
                <a:ext cx="168275" cy="77788"/>
              </a:xfrm>
              <a:custGeom>
                <a:avLst/>
                <a:gdLst>
                  <a:gd name="T0" fmla="*/ 2147483646 w 379"/>
                  <a:gd name="T1" fmla="*/ 2147483646 h 147"/>
                  <a:gd name="T2" fmla="*/ 2147483646 w 379"/>
                  <a:gd name="T3" fmla="*/ 2147483646 h 147"/>
                  <a:gd name="T4" fmla="*/ 2147483646 w 379"/>
                  <a:gd name="T5" fmla="*/ 2147483646 h 147"/>
                  <a:gd name="T6" fmla="*/ 2147483646 w 379"/>
                  <a:gd name="T7" fmla="*/ 2147483646 h 147"/>
                  <a:gd name="T8" fmla="*/ 2147483646 w 379"/>
                  <a:gd name="T9" fmla="*/ 2147483646 h 147"/>
                  <a:gd name="T10" fmla="*/ 2147483646 w 379"/>
                  <a:gd name="T11" fmla="*/ 2147483646 h 147"/>
                  <a:gd name="T12" fmla="*/ 2147483646 w 379"/>
                  <a:gd name="T13" fmla="*/ 2147483646 h 147"/>
                  <a:gd name="T14" fmla="*/ 2147483646 w 379"/>
                  <a:gd name="T15" fmla="*/ 2147483646 h 147"/>
                  <a:gd name="T16" fmla="*/ 2147483646 w 379"/>
                  <a:gd name="T17" fmla="*/ 2147483646 h 147"/>
                  <a:gd name="T18" fmla="*/ 2147483646 w 379"/>
                  <a:gd name="T19" fmla="*/ 2147483646 h 147"/>
                  <a:gd name="T20" fmla="*/ 2147483646 w 379"/>
                  <a:gd name="T21" fmla="*/ 2147483646 h 147"/>
                  <a:gd name="T22" fmla="*/ 2147483646 w 379"/>
                  <a:gd name="T23" fmla="*/ 2147483646 h 147"/>
                  <a:gd name="T24" fmla="*/ 2147483646 w 379"/>
                  <a:gd name="T25" fmla="*/ 2147483646 h 147"/>
                  <a:gd name="T26" fmla="*/ 2147483646 w 379"/>
                  <a:gd name="T27" fmla="*/ 2147483646 h 147"/>
                  <a:gd name="T28" fmla="*/ 2147483646 w 379"/>
                  <a:gd name="T29" fmla="*/ 2147483646 h 147"/>
                  <a:gd name="T30" fmla="*/ 2147483646 w 379"/>
                  <a:gd name="T31" fmla="*/ 2147483646 h 147"/>
                  <a:gd name="T32" fmla="*/ 2147483646 w 379"/>
                  <a:gd name="T33" fmla="*/ 2147483646 h 147"/>
                  <a:gd name="T34" fmla="*/ 2147483646 w 379"/>
                  <a:gd name="T35" fmla="*/ 2147483646 h 147"/>
                  <a:gd name="T36" fmla="*/ 2147483646 w 379"/>
                  <a:gd name="T37" fmla="*/ 2147483646 h 147"/>
                  <a:gd name="T38" fmla="*/ 2147483646 w 379"/>
                  <a:gd name="T39" fmla="*/ 2147483646 h 147"/>
                  <a:gd name="T40" fmla="*/ 2147483646 w 379"/>
                  <a:gd name="T41" fmla="*/ 2147483646 h 147"/>
                  <a:gd name="T42" fmla="*/ 2147483646 w 379"/>
                  <a:gd name="T43" fmla="*/ 2147483646 h 147"/>
                  <a:gd name="T44" fmla="*/ 2147483646 w 379"/>
                  <a:gd name="T45" fmla="*/ 2147483646 h 147"/>
                  <a:gd name="T46" fmla="*/ 2147483646 w 379"/>
                  <a:gd name="T47" fmla="*/ 2147483646 h 147"/>
                  <a:gd name="T48" fmla="*/ 0 w 379"/>
                  <a:gd name="T49" fmla="*/ 2147483646 h 147"/>
                  <a:gd name="T50" fmla="*/ 2147483646 w 379"/>
                  <a:gd name="T51" fmla="*/ 2147483646 h 147"/>
                  <a:gd name="T52" fmla="*/ 2147483646 w 379"/>
                  <a:gd name="T53" fmla="*/ 2147483646 h 147"/>
                  <a:gd name="T54" fmla="*/ 2147483646 w 379"/>
                  <a:gd name="T55" fmla="*/ 2147483646 h 147"/>
                  <a:gd name="T56" fmla="*/ 2147483646 w 379"/>
                  <a:gd name="T57" fmla="*/ 2147483646 h 147"/>
                  <a:gd name="T58" fmla="*/ 2147483646 w 379"/>
                  <a:gd name="T59" fmla="*/ 2147483646 h 147"/>
                  <a:gd name="T60" fmla="*/ 2147483646 w 379"/>
                  <a:gd name="T61" fmla="*/ 2147483646 h 147"/>
                  <a:gd name="T62" fmla="*/ 2147483646 w 379"/>
                  <a:gd name="T63" fmla="*/ 0 h 147"/>
                  <a:gd name="T64" fmla="*/ 2147483646 w 379"/>
                  <a:gd name="T65" fmla="*/ 2147483646 h 147"/>
                  <a:gd name="T66" fmla="*/ 2147483646 w 379"/>
                  <a:gd name="T67" fmla="*/ 2147483646 h 147"/>
                  <a:gd name="T68" fmla="*/ 2147483646 w 379"/>
                  <a:gd name="T69" fmla="*/ 2147483646 h 147"/>
                  <a:gd name="T70" fmla="*/ 2147483646 w 379"/>
                  <a:gd name="T71" fmla="*/ 2147483646 h 147"/>
                  <a:gd name="T72" fmla="*/ 2147483646 w 379"/>
                  <a:gd name="T73" fmla="*/ 2147483646 h 147"/>
                  <a:gd name="T74" fmla="*/ 2147483646 w 379"/>
                  <a:gd name="T75" fmla="*/ 2147483646 h 147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79"/>
                  <a:gd name="T115" fmla="*/ 0 h 147"/>
                  <a:gd name="T116" fmla="*/ 379 w 379"/>
                  <a:gd name="T117" fmla="*/ 147 h 147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79" h="147">
                    <a:moveTo>
                      <a:pt x="379" y="92"/>
                    </a:moveTo>
                    <a:lnTo>
                      <a:pt x="375" y="94"/>
                    </a:lnTo>
                    <a:lnTo>
                      <a:pt x="366" y="98"/>
                    </a:lnTo>
                    <a:lnTo>
                      <a:pt x="360" y="101"/>
                    </a:lnTo>
                    <a:lnTo>
                      <a:pt x="357" y="105"/>
                    </a:lnTo>
                    <a:lnTo>
                      <a:pt x="354" y="108"/>
                    </a:lnTo>
                    <a:lnTo>
                      <a:pt x="353" y="111"/>
                    </a:lnTo>
                    <a:lnTo>
                      <a:pt x="347" y="117"/>
                    </a:lnTo>
                    <a:lnTo>
                      <a:pt x="341" y="123"/>
                    </a:lnTo>
                    <a:lnTo>
                      <a:pt x="333" y="127"/>
                    </a:lnTo>
                    <a:lnTo>
                      <a:pt x="324" y="130"/>
                    </a:lnTo>
                    <a:lnTo>
                      <a:pt x="320" y="131"/>
                    </a:lnTo>
                    <a:lnTo>
                      <a:pt x="315" y="132"/>
                    </a:lnTo>
                    <a:lnTo>
                      <a:pt x="311" y="132"/>
                    </a:lnTo>
                    <a:lnTo>
                      <a:pt x="306" y="131"/>
                    </a:lnTo>
                    <a:lnTo>
                      <a:pt x="301" y="130"/>
                    </a:lnTo>
                    <a:lnTo>
                      <a:pt x="296" y="128"/>
                    </a:lnTo>
                    <a:lnTo>
                      <a:pt x="291" y="126"/>
                    </a:lnTo>
                    <a:lnTo>
                      <a:pt x="286" y="123"/>
                    </a:lnTo>
                    <a:lnTo>
                      <a:pt x="281" y="119"/>
                    </a:lnTo>
                    <a:lnTo>
                      <a:pt x="277" y="117"/>
                    </a:lnTo>
                    <a:lnTo>
                      <a:pt x="275" y="116"/>
                    </a:lnTo>
                    <a:lnTo>
                      <a:pt x="271" y="116"/>
                    </a:lnTo>
                    <a:lnTo>
                      <a:pt x="269" y="118"/>
                    </a:lnTo>
                    <a:lnTo>
                      <a:pt x="268" y="120"/>
                    </a:lnTo>
                    <a:lnTo>
                      <a:pt x="267" y="123"/>
                    </a:lnTo>
                    <a:lnTo>
                      <a:pt x="266" y="126"/>
                    </a:lnTo>
                    <a:lnTo>
                      <a:pt x="266" y="140"/>
                    </a:lnTo>
                    <a:lnTo>
                      <a:pt x="266" y="147"/>
                    </a:lnTo>
                    <a:lnTo>
                      <a:pt x="257" y="145"/>
                    </a:lnTo>
                    <a:lnTo>
                      <a:pt x="251" y="143"/>
                    </a:lnTo>
                    <a:lnTo>
                      <a:pt x="244" y="140"/>
                    </a:lnTo>
                    <a:lnTo>
                      <a:pt x="240" y="137"/>
                    </a:lnTo>
                    <a:lnTo>
                      <a:pt x="229" y="131"/>
                    </a:lnTo>
                    <a:lnTo>
                      <a:pt x="213" y="123"/>
                    </a:lnTo>
                    <a:lnTo>
                      <a:pt x="113" y="141"/>
                    </a:lnTo>
                    <a:lnTo>
                      <a:pt x="95" y="132"/>
                    </a:lnTo>
                    <a:lnTo>
                      <a:pt x="80" y="124"/>
                    </a:lnTo>
                    <a:lnTo>
                      <a:pt x="68" y="116"/>
                    </a:lnTo>
                    <a:lnTo>
                      <a:pt x="58" y="109"/>
                    </a:lnTo>
                    <a:lnTo>
                      <a:pt x="51" y="101"/>
                    </a:lnTo>
                    <a:lnTo>
                      <a:pt x="45" y="94"/>
                    </a:lnTo>
                    <a:lnTo>
                      <a:pt x="40" y="88"/>
                    </a:lnTo>
                    <a:lnTo>
                      <a:pt x="37" y="82"/>
                    </a:lnTo>
                    <a:lnTo>
                      <a:pt x="31" y="70"/>
                    </a:lnTo>
                    <a:lnTo>
                      <a:pt x="26" y="59"/>
                    </a:lnTo>
                    <a:lnTo>
                      <a:pt x="21" y="54"/>
                    </a:lnTo>
                    <a:lnTo>
                      <a:pt x="16" y="48"/>
                    </a:lnTo>
                    <a:lnTo>
                      <a:pt x="9" y="42"/>
                    </a:lnTo>
                    <a:lnTo>
                      <a:pt x="0" y="36"/>
                    </a:lnTo>
                    <a:lnTo>
                      <a:pt x="16" y="39"/>
                    </a:lnTo>
                    <a:lnTo>
                      <a:pt x="29" y="40"/>
                    </a:lnTo>
                    <a:lnTo>
                      <a:pt x="41" y="40"/>
                    </a:lnTo>
                    <a:lnTo>
                      <a:pt x="52" y="38"/>
                    </a:lnTo>
                    <a:lnTo>
                      <a:pt x="62" y="36"/>
                    </a:lnTo>
                    <a:lnTo>
                      <a:pt x="72" y="33"/>
                    </a:lnTo>
                    <a:lnTo>
                      <a:pt x="79" y="29"/>
                    </a:lnTo>
                    <a:lnTo>
                      <a:pt x="87" y="25"/>
                    </a:lnTo>
                    <a:lnTo>
                      <a:pt x="102" y="16"/>
                    </a:lnTo>
                    <a:lnTo>
                      <a:pt x="119" y="8"/>
                    </a:lnTo>
                    <a:lnTo>
                      <a:pt x="128" y="5"/>
                    </a:lnTo>
                    <a:lnTo>
                      <a:pt x="138" y="2"/>
                    </a:lnTo>
                    <a:lnTo>
                      <a:pt x="149" y="1"/>
                    </a:lnTo>
                    <a:lnTo>
                      <a:pt x="159" y="0"/>
                    </a:lnTo>
                    <a:lnTo>
                      <a:pt x="179" y="11"/>
                    </a:lnTo>
                    <a:lnTo>
                      <a:pt x="200" y="23"/>
                    </a:lnTo>
                    <a:lnTo>
                      <a:pt x="222" y="34"/>
                    </a:lnTo>
                    <a:lnTo>
                      <a:pt x="244" y="45"/>
                    </a:lnTo>
                    <a:lnTo>
                      <a:pt x="278" y="61"/>
                    </a:lnTo>
                    <a:lnTo>
                      <a:pt x="292" y="67"/>
                    </a:lnTo>
                    <a:lnTo>
                      <a:pt x="314" y="73"/>
                    </a:lnTo>
                    <a:lnTo>
                      <a:pt x="333" y="80"/>
                    </a:lnTo>
                    <a:lnTo>
                      <a:pt x="343" y="83"/>
                    </a:lnTo>
                    <a:lnTo>
                      <a:pt x="354" y="86"/>
                    </a:lnTo>
                    <a:lnTo>
                      <a:pt x="365" y="89"/>
                    </a:lnTo>
                    <a:lnTo>
                      <a:pt x="379" y="92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32" name="Freeform 454">
                <a:extLst>
                  <a:ext uri="{FF2B5EF4-FFF2-40B4-BE49-F238E27FC236}">
                    <a16:creationId xmlns="" xmlns:a16="http://schemas.microsoft.com/office/drawing/2014/main" id="{E5C8E931-5A85-435C-A0FC-D4C1159FBAE8}"/>
                  </a:ext>
                </a:extLst>
              </p:cNvPr>
              <p:cNvSpPr>
                <a:spLocks/>
              </p:cNvSpPr>
              <p:nvPr>
                <p:custDataLst>
                  <p:tags r:id="rId292"/>
                </p:custDataLst>
              </p:nvPr>
            </p:nvSpPr>
            <p:spPr bwMode="auto">
              <a:xfrm>
                <a:off x="4230688" y="1906588"/>
                <a:ext cx="30162" cy="60325"/>
              </a:xfrm>
              <a:custGeom>
                <a:avLst/>
                <a:gdLst>
                  <a:gd name="T0" fmla="*/ 0 w 61"/>
                  <a:gd name="T1" fmla="*/ 0 h 67"/>
                  <a:gd name="T2" fmla="*/ 0 w 61"/>
                  <a:gd name="T3" fmla="*/ 2147483646 h 67"/>
                  <a:gd name="T4" fmla="*/ 0 w 61"/>
                  <a:gd name="T5" fmla="*/ 2147483646 h 67"/>
                  <a:gd name="T6" fmla="*/ 2147483646 w 61"/>
                  <a:gd name="T7" fmla="*/ 2147483646 h 67"/>
                  <a:gd name="T8" fmla="*/ 2147483646 w 61"/>
                  <a:gd name="T9" fmla="*/ 2147483646 h 67"/>
                  <a:gd name="T10" fmla="*/ 2147483646 w 61"/>
                  <a:gd name="T11" fmla="*/ 2147483646 h 67"/>
                  <a:gd name="T12" fmla="*/ 2147483646 w 61"/>
                  <a:gd name="T13" fmla="*/ 2147483646 h 67"/>
                  <a:gd name="T14" fmla="*/ 2147483646 w 61"/>
                  <a:gd name="T15" fmla="*/ 2147483646 h 67"/>
                  <a:gd name="T16" fmla="*/ 2147483646 w 61"/>
                  <a:gd name="T17" fmla="*/ 2147483646 h 67"/>
                  <a:gd name="T18" fmla="*/ 2147483646 w 61"/>
                  <a:gd name="T19" fmla="*/ 2147483646 h 67"/>
                  <a:gd name="T20" fmla="*/ 2147483646 w 61"/>
                  <a:gd name="T21" fmla="*/ 2147483646 h 67"/>
                  <a:gd name="T22" fmla="*/ 2147483646 w 61"/>
                  <a:gd name="T23" fmla="*/ 2147483646 h 67"/>
                  <a:gd name="T24" fmla="*/ 2147483646 w 61"/>
                  <a:gd name="T25" fmla="*/ 2147483646 h 67"/>
                  <a:gd name="T26" fmla="*/ 2147483646 w 61"/>
                  <a:gd name="T27" fmla="*/ 2147483646 h 67"/>
                  <a:gd name="T28" fmla="*/ 2147483646 w 61"/>
                  <a:gd name="T29" fmla="*/ 2147483646 h 67"/>
                  <a:gd name="T30" fmla="*/ 2147483646 w 61"/>
                  <a:gd name="T31" fmla="*/ 2147483646 h 67"/>
                  <a:gd name="T32" fmla="*/ 2147483646 w 61"/>
                  <a:gd name="T33" fmla="*/ 2147483646 h 67"/>
                  <a:gd name="T34" fmla="*/ 2147483646 w 61"/>
                  <a:gd name="T35" fmla="*/ 2147483646 h 67"/>
                  <a:gd name="T36" fmla="*/ 2147483646 w 61"/>
                  <a:gd name="T37" fmla="*/ 0 h 67"/>
                  <a:gd name="T38" fmla="*/ 2147483646 w 61"/>
                  <a:gd name="T39" fmla="*/ 2147483646 h 67"/>
                  <a:gd name="T40" fmla="*/ 2147483646 w 61"/>
                  <a:gd name="T41" fmla="*/ 2147483646 h 67"/>
                  <a:gd name="T42" fmla="*/ 2147483646 w 61"/>
                  <a:gd name="T43" fmla="*/ 2147483646 h 67"/>
                  <a:gd name="T44" fmla="*/ 2147483646 w 61"/>
                  <a:gd name="T45" fmla="*/ 2147483646 h 67"/>
                  <a:gd name="T46" fmla="*/ 2147483646 w 61"/>
                  <a:gd name="T47" fmla="*/ 2147483646 h 67"/>
                  <a:gd name="T48" fmla="*/ 0 w 61"/>
                  <a:gd name="T49" fmla="*/ 0 h 6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61"/>
                  <a:gd name="T76" fmla="*/ 0 h 67"/>
                  <a:gd name="T77" fmla="*/ 61 w 61"/>
                  <a:gd name="T78" fmla="*/ 67 h 6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61" h="67">
                    <a:moveTo>
                      <a:pt x="0" y="0"/>
                    </a:moveTo>
                    <a:lnTo>
                      <a:pt x="0" y="9"/>
                    </a:lnTo>
                    <a:lnTo>
                      <a:pt x="0" y="18"/>
                    </a:lnTo>
                    <a:lnTo>
                      <a:pt x="1" y="24"/>
                    </a:lnTo>
                    <a:lnTo>
                      <a:pt x="2" y="30"/>
                    </a:lnTo>
                    <a:lnTo>
                      <a:pt x="3" y="36"/>
                    </a:lnTo>
                    <a:lnTo>
                      <a:pt x="6" y="42"/>
                    </a:lnTo>
                    <a:lnTo>
                      <a:pt x="12" y="55"/>
                    </a:lnTo>
                    <a:lnTo>
                      <a:pt x="21" y="67"/>
                    </a:lnTo>
                    <a:lnTo>
                      <a:pt x="28" y="65"/>
                    </a:lnTo>
                    <a:lnTo>
                      <a:pt x="35" y="61"/>
                    </a:lnTo>
                    <a:lnTo>
                      <a:pt x="42" y="58"/>
                    </a:lnTo>
                    <a:lnTo>
                      <a:pt x="48" y="53"/>
                    </a:lnTo>
                    <a:lnTo>
                      <a:pt x="53" y="47"/>
                    </a:lnTo>
                    <a:lnTo>
                      <a:pt x="57" y="40"/>
                    </a:lnTo>
                    <a:lnTo>
                      <a:pt x="59" y="32"/>
                    </a:lnTo>
                    <a:lnTo>
                      <a:pt x="61" y="24"/>
                    </a:lnTo>
                    <a:lnTo>
                      <a:pt x="53" y="14"/>
                    </a:lnTo>
                    <a:lnTo>
                      <a:pt x="41" y="0"/>
                    </a:lnTo>
                    <a:lnTo>
                      <a:pt x="28" y="3"/>
                    </a:lnTo>
                    <a:lnTo>
                      <a:pt x="18" y="4"/>
                    </a:lnTo>
                    <a:lnTo>
                      <a:pt x="13" y="4"/>
                    </a:lnTo>
                    <a:lnTo>
                      <a:pt x="10" y="3"/>
                    </a:lnTo>
                    <a:lnTo>
                      <a:pt x="6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33" name="Freeform 455">
                <a:extLst>
                  <a:ext uri="{FF2B5EF4-FFF2-40B4-BE49-F238E27FC236}">
                    <a16:creationId xmlns="" xmlns:a16="http://schemas.microsoft.com/office/drawing/2014/main" id="{4070B20E-2E9C-4A92-84BE-8BFEFCCB0236}"/>
                  </a:ext>
                </a:extLst>
              </p:cNvPr>
              <p:cNvSpPr>
                <a:spLocks/>
              </p:cNvSpPr>
              <p:nvPr>
                <p:custDataLst>
                  <p:tags r:id="rId293"/>
                </p:custDataLst>
              </p:nvPr>
            </p:nvSpPr>
            <p:spPr bwMode="auto">
              <a:xfrm>
                <a:off x="4202113" y="1911350"/>
                <a:ext cx="25400" cy="58738"/>
              </a:xfrm>
              <a:custGeom>
                <a:avLst/>
                <a:gdLst>
                  <a:gd name="T0" fmla="*/ 0 w 60"/>
                  <a:gd name="T1" fmla="*/ 2147483646 h 55"/>
                  <a:gd name="T2" fmla="*/ 0 w 60"/>
                  <a:gd name="T3" fmla="*/ 2147483646 h 55"/>
                  <a:gd name="T4" fmla="*/ 2147483646 w 60"/>
                  <a:gd name="T5" fmla="*/ 2147483646 h 55"/>
                  <a:gd name="T6" fmla="*/ 2147483646 w 60"/>
                  <a:gd name="T7" fmla="*/ 2147483646 h 55"/>
                  <a:gd name="T8" fmla="*/ 2147483646 w 60"/>
                  <a:gd name="T9" fmla="*/ 2147483646 h 55"/>
                  <a:gd name="T10" fmla="*/ 2147483646 w 60"/>
                  <a:gd name="T11" fmla="*/ 2147483646 h 55"/>
                  <a:gd name="T12" fmla="*/ 2147483646 w 60"/>
                  <a:gd name="T13" fmla="*/ 2147483646 h 55"/>
                  <a:gd name="T14" fmla="*/ 2147483646 w 60"/>
                  <a:gd name="T15" fmla="*/ 2147483646 h 55"/>
                  <a:gd name="T16" fmla="*/ 2147483646 w 60"/>
                  <a:gd name="T17" fmla="*/ 2147483646 h 55"/>
                  <a:gd name="T18" fmla="*/ 2147483646 w 60"/>
                  <a:gd name="T19" fmla="*/ 2147483646 h 55"/>
                  <a:gd name="T20" fmla="*/ 2147483646 w 60"/>
                  <a:gd name="T21" fmla="*/ 2147483646 h 55"/>
                  <a:gd name="T22" fmla="*/ 2147483646 w 60"/>
                  <a:gd name="T23" fmla="*/ 2147483646 h 55"/>
                  <a:gd name="T24" fmla="*/ 2147483646 w 60"/>
                  <a:gd name="T25" fmla="*/ 2147483646 h 55"/>
                  <a:gd name="T26" fmla="*/ 2147483646 w 60"/>
                  <a:gd name="T27" fmla="*/ 2147483646 h 55"/>
                  <a:gd name="T28" fmla="*/ 2147483646 w 60"/>
                  <a:gd name="T29" fmla="*/ 2147483646 h 55"/>
                  <a:gd name="T30" fmla="*/ 2147483646 w 60"/>
                  <a:gd name="T31" fmla="*/ 2147483646 h 55"/>
                  <a:gd name="T32" fmla="*/ 2147483646 w 60"/>
                  <a:gd name="T33" fmla="*/ 2147483646 h 55"/>
                  <a:gd name="T34" fmla="*/ 2147483646 w 60"/>
                  <a:gd name="T35" fmla="*/ 0 h 55"/>
                  <a:gd name="T36" fmla="*/ 2147483646 w 60"/>
                  <a:gd name="T37" fmla="*/ 2147483646 h 55"/>
                  <a:gd name="T38" fmla="*/ 2147483646 w 60"/>
                  <a:gd name="T39" fmla="*/ 2147483646 h 55"/>
                  <a:gd name="T40" fmla="*/ 2147483646 w 60"/>
                  <a:gd name="T41" fmla="*/ 2147483646 h 55"/>
                  <a:gd name="T42" fmla="*/ 0 w 60"/>
                  <a:gd name="T43" fmla="*/ 2147483646 h 55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60"/>
                  <a:gd name="T67" fmla="*/ 0 h 55"/>
                  <a:gd name="T68" fmla="*/ 60 w 60"/>
                  <a:gd name="T69" fmla="*/ 55 h 55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60" h="55">
                    <a:moveTo>
                      <a:pt x="0" y="6"/>
                    </a:moveTo>
                    <a:lnTo>
                      <a:pt x="0" y="24"/>
                    </a:lnTo>
                    <a:lnTo>
                      <a:pt x="5" y="32"/>
                    </a:lnTo>
                    <a:lnTo>
                      <a:pt x="10" y="40"/>
                    </a:lnTo>
                    <a:lnTo>
                      <a:pt x="16" y="45"/>
                    </a:lnTo>
                    <a:lnTo>
                      <a:pt x="21" y="49"/>
                    </a:lnTo>
                    <a:lnTo>
                      <a:pt x="27" y="52"/>
                    </a:lnTo>
                    <a:lnTo>
                      <a:pt x="33" y="54"/>
                    </a:lnTo>
                    <a:lnTo>
                      <a:pt x="40" y="55"/>
                    </a:lnTo>
                    <a:lnTo>
                      <a:pt x="46" y="55"/>
                    </a:lnTo>
                    <a:lnTo>
                      <a:pt x="53" y="52"/>
                    </a:lnTo>
                    <a:lnTo>
                      <a:pt x="60" y="49"/>
                    </a:lnTo>
                    <a:lnTo>
                      <a:pt x="50" y="34"/>
                    </a:lnTo>
                    <a:lnTo>
                      <a:pt x="42" y="22"/>
                    </a:lnTo>
                    <a:lnTo>
                      <a:pt x="39" y="17"/>
                    </a:lnTo>
                    <a:lnTo>
                      <a:pt x="35" y="12"/>
                    </a:lnTo>
                    <a:lnTo>
                      <a:pt x="34" y="6"/>
                    </a:lnTo>
                    <a:lnTo>
                      <a:pt x="33" y="0"/>
                    </a:lnTo>
                    <a:lnTo>
                      <a:pt x="23" y="1"/>
                    </a:lnTo>
                    <a:lnTo>
                      <a:pt x="15" y="3"/>
                    </a:lnTo>
                    <a:lnTo>
                      <a:pt x="7" y="5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34" name="Freeform 456">
                <a:extLst>
                  <a:ext uri="{FF2B5EF4-FFF2-40B4-BE49-F238E27FC236}">
                    <a16:creationId xmlns="" xmlns:a16="http://schemas.microsoft.com/office/drawing/2014/main" id="{0C2AE049-47FA-4DEC-9FA4-27435BF040EF}"/>
                  </a:ext>
                </a:extLst>
              </p:cNvPr>
              <p:cNvSpPr>
                <a:spLocks/>
              </p:cNvSpPr>
              <p:nvPr>
                <p:custDataLst>
                  <p:tags r:id="rId294"/>
                </p:custDataLst>
              </p:nvPr>
            </p:nvSpPr>
            <p:spPr bwMode="auto">
              <a:xfrm>
                <a:off x="4171950" y="1857375"/>
                <a:ext cx="52388" cy="77788"/>
              </a:xfrm>
              <a:custGeom>
                <a:avLst/>
                <a:gdLst>
                  <a:gd name="T0" fmla="*/ 2147483646 w 120"/>
                  <a:gd name="T1" fmla="*/ 2147483646 h 148"/>
                  <a:gd name="T2" fmla="*/ 2147483646 w 120"/>
                  <a:gd name="T3" fmla="*/ 2147483646 h 148"/>
                  <a:gd name="T4" fmla="*/ 2147483646 w 120"/>
                  <a:gd name="T5" fmla="*/ 2147483646 h 148"/>
                  <a:gd name="T6" fmla="*/ 2147483646 w 120"/>
                  <a:gd name="T7" fmla="*/ 2147483646 h 148"/>
                  <a:gd name="T8" fmla="*/ 2147483646 w 120"/>
                  <a:gd name="T9" fmla="*/ 2147483646 h 148"/>
                  <a:gd name="T10" fmla="*/ 2147483646 w 120"/>
                  <a:gd name="T11" fmla="*/ 2147483646 h 148"/>
                  <a:gd name="T12" fmla="*/ 2147483646 w 120"/>
                  <a:gd name="T13" fmla="*/ 2147483646 h 148"/>
                  <a:gd name="T14" fmla="*/ 2147483646 w 120"/>
                  <a:gd name="T15" fmla="*/ 2147483646 h 148"/>
                  <a:gd name="T16" fmla="*/ 2147483646 w 120"/>
                  <a:gd name="T17" fmla="*/ 2147483646 h 148"/>
                  <a:gd name="T18" fmla="*/ 2147483646 w 120"/>
                  <a:gd name="T19" fmla="*/ 2147483646 h 148"/>
                  <a:gd name="T20" fmla="*/ 2147483646 w 120"/>
                  <a:gd name="T21" fmla="*/ 2147483646 h 148"/>
                  <a:gd name="T22" fmla="*/ 2147483646 w 120"/>
                  <a:gd name="T23" fmla="*/ 2147483646 h 148"/>
                  <a:gd name="T24" fmla="*/ 2147483646 w 120"/>
                  <a:gd name="T25" fmla="*/ 2147483646 h 148"/>
                  <a:gd name="T26" fmla="*/ 2147483646 w 120"/>
                  <a:gd name="T27" fmla="*/ 2147483646 h 148"/>
                  <a:gd name="T28" fmla="*/ 2147483646 w 120"/>
                  <a:gd name="T29" fmla="*/ 2147483646 h 148"/>
                  <a:gd name="T30" fmla="*/ 2147483646 w 120"/>
                  <a:gd name="T31" fmla="*/ 2147483646 h 148"/>
                  <a:gd name="T32" fmla="*/ 2147483646 w 120"/>
                  <a:gd name="T33" fmla="*/ 2147483646 h 148"/>
                  <a:gd name="T34" fmla="*/ 2147483646 w 120"/>
                  <a:gd name="T35" fmla="*/ 2147483646 h 148"/>
                  <a:gd name="T36" fmla="*/ 0 w 120"/>
                  <a:gd name="T37" fmla="*/ 2147483646 h 148"/>
                  <a:gd name="T38" fmla="*/ 2147483646 w 120"/>
                  <a:gd name="T39" fmla="*/ 2147483646 h 148"/>
                  <a:gd name="T40" fmla="*/ 2147483646 w 120"/>
                  <a:gd name="T41" fmla="*/ 2147483646 h 148"/>
                  <a:gd name="T42" fmla="*/ 2147483646 w 120"/>
                  <a:gd name="T43" fmla="*/ 2147483646 h 148"/>
                  <a:gd name="T44" fmla="*/ 2147483646 w 120"/>
                  <a:gd name="T45" fmla="*/ 2147483646 h 148"/>
                  <a:gd name="T46" fmla="*/ 2147483646 w 120"/>
                  <a:gd name="T47" fmla="*/ 2147483646 h 148"/>
                  <a:gd name="T48" fmla="*/ 2147483646 w 120"/>
                  <a:gd name="T49" fmla="*/ 2147483646 h 148"/>
                  <a:gd name="T50" fmla="*/ 2147483646 w 120"/>
                  <a:gd name="T51" fmla="*/ 2147483646 h 148"/>
                  <a:gd name="T52" fmla="*/ 2147483646 w 120"/>
                  <a:gd name="T53" fmla="*/ 2147483646 h 148"/>
                  <a:gd name="T54" fmla="*/ 2147483646 w 120"/>
                  <a:gd name="T55" fmla="*/ 2147483646 h 148"/>
                  <a:gd name="T56" fmla="*/ 2147483646 w 120"/>
                  <a:gd name="T57" fmla="*/ 0 h 148"/>
                  <a:gd name="T58" fmla="*/ 2147483646 w 120"/>
                  <a:gd name="T59" fmla="*/ 2147483646 h 148"/>
                  <a:gd name="T60" fmla="*/ 2147483646 w 120"/>
                  <a:gd name="T61" fmla="*/ 2147483646 h 148"/>
                  <a:gd name="T62" fmla="*/ 2147483646 w 120"/>
                  <a:gd name="T63" fmla="*/ 2147483646 h 148"/>
                  <a:gd name="T64" fmla="*/ 2147483646 w 120"/>
                  <a:gd name="T65" fmla="*/ 2147483646 h 148"/>
                  <a:gd name="T66" fmla="*/ 2147483646 w 120"/>
                  <a:gd name="T67" fmla="*/ 2147483646 h 148"/>
                  <a:gd name="T68" fmla="*/ 2147483646 w 120"/>
                  <a:gd name="T69" fmla="*/ 2147483646 h 148"/>
                  <a:gd name="T70" fmla="*/ 2147483646 w 120"/>
                  <a:gd name="T71" fmla="*/ 2147483646 h 148"/>
                  <a:gd name="T72" fmla="*/ 2147483646 w 120"/>
                  <a:gd name="T73" fmla="*/ 2147483646 h 148"/>
                  <a:gd name="T74" fmla="*/ 2147483646 w 120"/>
                  <a:gd name="T75" fmla="*/ 2147483646 h 148"/>
                  <a:gd name="T76" fmla="*/ 2147483646 w 120"/>
                  <a:gd name="T77" fmla="*/ 2147483646 h 148"/>
                  <a:gd name="T78" fmla="*/ 2147483646 w 120"/>
                  <a:gd name="T79" fmla="*/ 2147483646 h 148"/>
                  <a:gd name="T80" fmla="*/ 2147483646 w 120"/>
                  <a:gd name="T81" fmla="*/ 2147483646 h 148"/>
                  <a:gd name="T82" fmla="*/ 2147483646 w 120"/>
                  <a:gd name="T83" fmla="*/ 2147483646 h 148"/>
                  <a:gd name="T84" fmla="*/ 2147483646 w 120"/>
                  <a:gd name="T85" fmla="*/ 2147483646 h 148"/>
                  <a:gd name="T86" fmla="*/ 2147483646 w 120"/>
                  <a:gd name="T87" fmla="*/ 2147483646 h 148"/>
                  <a:gd name="T88" fmla="*/ 2147483646 w 120"/>
                  <a:gd name="T89" fmla="*/ 2147483646 h 148"/>
                  <a:gd name="T90" fmla="*/ 2147483646 w 120"/>
                  <a:gd name="T91" fmla="*/ 2147483646 h 148"/>
                  <a:gd name="T92" fmla="*/ 2147483646 w 120"/>
                  <a:gd name="T93" fmla="*/ 2147483646 h 148"/>
                  <a:gd name="T94" fmla="*/ 2147483646 w 120"/>
                  <a:gd name="T95" fmla="*/ 2147483646 h 148"/>
                  <a:gd name="T96" fmla="*/ 2147483646 w 120"/>
                  <a:gd name="T97" fmla="*/ 2147483646 h 148"/>
                  <a:gd name="T98" fmla="*/ 2147483646 w 120"/>
                  <a:gd name="T99" fmla="*/ 2147483646 h 148"/>
                  <a:gd name="T100" fmla="*/ 2147483646 w 120"/>
                  <a:gd name="T101" fmla="*/ 2147483646 h 148"/>
                  <a:gd name="T102" fmla="*/ 2147483646 w 120"/>
                  <a:gd name="T103" fmla="*/ 2147483646 h 148"/>
                  <a:gd name="T104" fmla="*/ 2147483646 w 120"/>
                  <a:gd name="T105" fmla="*/ 2147483646 h 148"/>
                  <a:gd name="T106" fmla="*/ 2147483646 w 120"/>
                  <a:gd name="T107" fmla="*/ 2147483646 h 148"/>
                  <a:gd name="T108" fmla="*/ 2147483646 w 120"/>
                  <a:gd name="T109" fmla="*/ 2147483646 h 148"/>
                  <a:gd name="T110" fmla="*/ 2147483646 w 120"/>
                  <a:gd name="T111" fmla="*/ 2147483646 h 148"/>
                  <a:gd name="T112" fmla="*/ 2147483646 w 120"/>
                  <a:gd name="T113" fmla="*/ 2147483646 h 148"/>
                  <a:gd name="T114" fmla="*/ 2147483646 w 120"/>
                  <a:gd name="T115" fmla="*/ 2147483646 h 148"/>
                  <a:gd name="T116" fmla="*/ 2147483646 w 120"/>
                  <a:gd name="T117" fmla="*/ 2147483646 h 148"/>
                  <a:gd name="T118" fmla="*/ 2147483646 w 120"/>
                  <a:gd name="T119" fmla="*/ 2147483646 h 14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120"/>
                  <a:gd name="T181" fmla="*/ 0 h 148"/>
                  <a:gd name="T182" fmla="*/ 120 w 120"/>
                  <a:gd name="T183" fmla="*/ 148 h 148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120" h="148">
                    <a:moveTo>
                      <a:pt x="74" y="129"/>
                    </a:moveTo>
                    <a:lnTo>
                      <a:pt x="70" y="131"/>
                    </a:lnTo>
                    <a:lnTo>
                      <a:pt x="67" y="132"/>
                    </a:lnTo>
                    <a:lnTo>
                      <a:pt x="64" y="133"/>
                    </a:lnTo>
                    <a:lnTo>
                      <a:pt x="60" y="133"/>
                    </a:lnTo>
                    <a:lnTo>
                      <a:pt x="56" y="133"/>
                    </a:lnTo>
                    <a:lnTo>
                      <a:pt x="53" y="132"/>
                    </a:lnTo>
                    <a:lnTo>
                      <a:pt x="50" y="131"/>
                    </a:lnTo>
                    <a:lnTo>
                      <a:pt x="47" y="129"/>
                    </a:lnTo>
                    <a:lnTo>
                      <a:pt x="41" y="128"/>
                    </a:lnTo>
                    <a:lnTo>
                      <a:pt x="34" y="125"/>
                    </a:lnTo>
                    <a:lnTo>
                      <a:pt x="26" y="120"/>
                    </a:lnTo>
                    <a:lnTo>
                      <a:pt x="19" y="115"/>
                    </a:lnTo>
                    <a:lnTo>
                      <a:pt x="11" y="108"/>
                    </a:lnTo>
                    <a:lnTo>
                      <a:pt x="6" y="101"/>
                    </a:lnTo>
                    <a:lnTo>
                      <a:pt x="3" y="97"/>
                    </a:lnTo>
                    <a:lnTo>
                      <a:pt x="2" y="94"/>
                    </a:lnTo>
                    <a:lnTo>
                      <a:pt x="1" y="90"/>
                    </a:lnTo>
                    <a:lnTo>
                      <a:pt x="0" y="87"/>
                    </a:lnTo>
                    <a:lnTo>
                      <a:pt x="2" y="73"/>
                    </a:lnTo>
                    <a:lnTo>
                      <a:pt x="8" y="55"/>
                    </a:lnTo>
                    <a:lnTo>
                      <a:pt x="14" y="35"/>
                    </a:lnTo>
                    <a:lnTo>
                      <a:pt x="20" y="18"/>
                    </a:lnTo>
                    <a:lnTo>
                      <a:pt x="32" y="17"/>
                    </a:lnTo>
                    <a:lnTo>
                      <a:pt x="42" y="16"/>
                    </a:lnTo>
                    <a:lnTo>
                      <a:pt x="51" y="14"/>
                    </a:lnTo>
                    <a:lnTo>
                      <a:pt x="58" y="11"/>
                    </a:lnTo>
                    <a:lnTo>
                      <a:pt x="70" y="5"/>
                    </a:lnTo>
                    <a:lnTo>
                      <a:pt x="80" y="0"/>
                    </a:lnTo>
                    <a:lnTo>
                      <a:pt x="85" y="2"/>
                    </a:lnTo>
                    <a:lnTo>
                      <a:pt x="93" y="7"/>
                    </a:lnTo>
                    <a:lnTo>
                      <a:pt x="98" y="10"/>
                    </a:lnTo>
                    <a:lnTo>
                      <a:pt x="102" y="13"/>
                    </a:lnTo>
                    <a:lnTo>
                      <a:pt x="106" y="16"/>
                    </a:lnTo>
                    <a:lnTo>
                      <a:pt x="107" y="18"/>
                    </a:lnTo>
                    <a:lnTo>
                      <a:pt x="100" y="28"/>
                    </a:lnTo>
                    <a:lnTo>
                      <a:pt x="93" y="37"/>
                    </a:lnTo>
                    <a:lnTo>
                      <a:pt x="95" y="42"/>
                    </a:lnTo>
                    <a:lnTo>
                      <a:pt x="98" y="49"/>
                    </a:lnTo>
                    <a:lnTo>
                      <a:pt x="102" y="56"/>
                    </a:lnTo>
                    <a:lnTo>
                      <a:pt x="107" y="63"/>
                    </a:lnTo>
                    <a:lnTo>
                      <a:pt x="115" y="75"/>
                    </a:lnTo>
                    <a:lnTo>
                      <a:pt x="120" y="79"/>
                    </a:lnTo>
                    <a:lnTo>
                      <a:pt x="113" y="81"/>
                    </a:lnTo>
                    <a:lnTo>
                      <a:pt x="107" y="84"/>
                    </a:lnTo>
                    <a:lnTo>
                      <a:pt x="100" y="87"/>
                    </a:lnTo>
                    <a:lnTo>
                      <a:pt x="96" y="91"/>
                    </a:lnTo>
                    <a:lnTo>
                      <a:pt x="90" y="95"/>
                    </a:lnTo>
                    <a:lnTo>
                      <a:pt x="87" y="99"/>
                    </a:lnTo>
                    <a:lnTo>
                      <a:pt x="82" y="104"/>
                    </a:lnTo>
                    <a:lnTo>
                      <a:pt x="80" y="109"/>
                    </a:lnTo>
                    <a:lnTo>
                      <a:pt x="78" y="114"/>
                    </a:lnTo>
                    <a:lnTo>
                      <a:pt x="77" y="120"/>
                    </a:lnTo>
                    <a:lnTo>
                      <a:pt x="76" y="125"/>
                    </a:lnTo>
                    <a:lnTo>
                      <a:pt x="75" y="130"/>
                    </a:lnTo>
                    <a:lnTo>
                      <a:pt x="76" y="135"/>
                    </a:lnTo>
                    <a:lnTo>
                      <a:pt x="77" y="140"/>
                    </a:lnTo>
                    <a:lnTo>
                      <a:pt x="78" y="144"/>
                    </a:lnTo>
                    <a:lnTo>
                      <a:pt x="80" y="148"/>
                    </a:lnTo>
                    <a:lnTo>
                      <a:pt x="74" y="129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35" name="Freeform 457">
                <a:extLst>
                  <a:ext uri="{FF2B5EF4-FFF2-40B4-BE49-F238E27FC236}">
                    <a16:creationId xmlns="" xmlns:a16="http://schemas.microsoft.com/office/drawing/2014/main" id="{D78FB48E-7DB0-4A9F-8CC1-FABEC772A2CF}"/>
                  </a:ext>
                </a:extLst>
              </p:cNvPr>
              <p:cNvSpPr>
                <a:spLocks/>
              </p:cNvSpPr>
              <p:nvPr>
                <p:custDataLst>
                  <p:tags r:id="rId295"/>
                </p:custDataLst>
              </p:nvPr>
            </p:nvSpPr>
            <p:spPr bwMode="auto">
              <a:xfrm>
                <a:off x="4603750" y="2662238"/>
                <a:ext cx="273050" cy="307975"/>
              </a:xfrm>
              <a:custGeom>
                <a:avLst/>
                <a:gdLst>
                  <a:gd name="T0" fmla="*/ 2147483646 w 631"/>
                  <a:gd name="T1" fmla="*/ 2147483646 h 592"/>
                  <a:gd name="T2" fmla="*/ 2147483646 w 631"/>
                  <a:gd name="T3" fmla="*/ 2147483646 h 592"/>
                  <a:gd name="T4" fmla="*/ 2147483646 w 631"/>
                  <a:gd name="T5" fmla="*/ 2147483646 h 592"/>
                  <a:gd name="T6" fmla="*/ 2147483646 w 631"/>
                  <a:gd name="T7" fmla="*/ 2147483646 h 592"/>
                  <a:gd name="T8" fmla="*/ 2147483646 w 631"/>
                  <a:gd name="T9" fmla="*/ 2147483646 h 592"/>
                  <a:gd name="T10" fmla="*/ 2147483646 w 631"/>
                  <a:gd name="T11" fmla="*/ 2147483646 h 592"/>
                  <a:gd name="T12" fmla="*/ 2147483646 w 631"/>
                  <a:gd name="T13" fmla="*/ 2147483646 h 592"/>
                  <a:gd name="T14" fmla="*/ 2147483646 w 631"/>
                  <a:gd name="T15" fmla="*/ 2147483646 h 592"/>
                  <a:gd name="T16" fmla="*/ 2147483646 w 631"/>
                  <a:gd name="T17" fmla="*/ 2147483646 h 592"/>
                  <a:gd name="T18" fmla="*/ 2147483646 w 631"/>
                  <a:gd name="T19" fmla="*/ 2147483646 h 592"/>
                  <a:gd name="T20" fmla="*/ 2147483646 w 631"/>
                  <a:gd name="T21" fmla="*/ 2147483646 h 592"/>
                  <a:gd name="T22" fmla="*/ 2147483646 w 631"/>
                  <a:gd name="T23" fmla="*/ 2147483646 h 592"/>
                  <a:gd name="T24" fmla="*/ 2147483646 w 631"/>
                  <a:gd name="T25" fmla="*/ 2147483646 h 592"/>
                  <a:gd name="T26" fmla="*/ 2147483646 w 631"/>
                  <a:gd name="T27" fmla="*/ 2147483646 h 592"/>
                  <a:gd name="T28" fmla="*/ 2147483646 w 631"/>
                  <a:gd name="T29" fmla="*/ 2147483646 h 592"/>
                  <a:gd name="T30" fmla="*/ 2147483646 w 631"/>
                  <a:gd name="T31" fmla="*/ 2147483646 h 592"/>
                  <a:gd name="T32" fmla="*/ 2147483646 w 631"/>
                  <a:gd name="T33" fmla="*/ 2147483646 h 592"/>
                  <a:gd name="T34" fmla="*/ 2147483646 w 631"/>
                  <a:gd name="T35" fmla="*/ 2147483646 h 592"/>
                  <a:gd name="T36" fmla="*/ 2147483646 w 631"/>
                  <a:gd name="T37" fmla="*/ 2147483646 h 592"/>
                  <a:gd name="T38" fmla="*/ 2147483646 w 631"/>
                  <a:gd name="T39" fmla="*/ 2147483646 h 592"/>
                  <a:gd name="T40" fmla="*/ 2147483646 w 631"/>
                  <a:gd name="T41" fmla="*/ 2147483646 h 592"/>
                  <a:gd name="T42" fmla="*/ 2147483646 w 631"/>
                  <a:gd name="T43" fmla="*/ 2147483646 h 592"/>
                  <a:gd name="T44" fmla="*/ 2147483646 w 631"/>
                  <a:gd name="T45" fmla="*/ 2147483646 h 592"/>
                  <a:gd name="T46" fmla="*/ 2147483646 w 631"/>
                  <a:gd name="T47" fmla="*/ 2147483646 h 592"/>
                  <a:gd name="T48" fmla="*/ 2147483646 w 631"/>
                  <a:gd name="T49" fmla="*/ 2147483646 h 592"/>
                  <a:gd name="T50" fmla="*/ 2147483646 w 631"/>
                  <a:gd name="T51" fmla="*/ 2147483646 h 592"/>
                  <a:gd name="T52" fmla="*/ 2147483646 w 631"/>
                  <a:gd name="T53" fmla="*/ 2147483646 h 592"/>
                  <a:gd name="T54" fmla="*/ 2147483646 w 631"/>
                  <a:gd name="T55" fmla="*/ 2147483646 h 592"/>
                  <a:gd name="T56" fmla="*/ 2147483646 w 631"/>
                  <a:gd name="T57" fmla="*/ 2147483646 h 592"/>
                  <a:gd name="T58" fmla="*/ 2147483646 w 631"/>
                  <a:gd name="T59" fmla="*/ 2147483646 h 592"/>
                  <a:gd name="T60" fmla="*/ 2147483646 w 631"/>
                  <a:gd name="T61" fmla="*/ 2147483646 h 592"/>
                  <a:gd name="T62" fmla="*/ 2147483646 w 631"/>
                  <a:gd name="T63" fmla="*/ 2147483646 h 592"/>
                  <a:gd name="T64" fmla="*/ 2147483646 w 631"/>
                  <a:gd name="T65" fmla="*/ 2147483646 h 592"/>
                  <a:gd name="T66" fmla="*/ 2147483646 w 631"/>
                  <a:gd name="T67" fmla="*/ 2147483646 h 592"/>
                  <a:gd name="T68" fmla="*/ 2147483646 w 631"/>
                  <a:gd name="T69" fmla="*/ 2147483646 h 592"/>
                  <a:gd name="T70" fmla="*/ 2147483646 w 631"/>
                  <a:gd name="T71" fmla="*/ 2147483646 h 592"/>
                  <a:gd name="T72" fmla="*/ 2147483646 w 631"/>
                  <a:gd name="T73" fmla="*/ 2147483646 h 592"/>
                  <a:gd name="T74" fmla="*/ 2147483646 w 631"/>
                  <a:gd name="T75" fmla="*/ 2147483646 h 592"/>
                  <a:gd name="T76" fmla="*/ 2147483646 w 631"/>
                  <a:gd name="T77" fmla="*/ 2147483646 h 592"/>
                  <a:gd name="T78" fmla="*/ 2147483646 w 631"/>
                  <a:gd name="T79" fmla="*/ 2147483646 h 592"/>
                  <a:gd name="T80" fmla="*/ 2147483646 w 631"/>
                  <a:gd name="T81" fmla="*/ 2147483646 h 592"/>
                  <a:gd name="T82" fmla="*/ 2147483646 w 631"/>
                  <a:gd name="T83" fmla="*/ 2147483646 h 592"/>
                  <a:gd name="T84" fmla="*/ 2147483646 w 631"/>
                  <a:gd name="T85" fmla="*/ 2147483646 h 592"/>
                  <a:gd name="T86" fmla="*/ 2147483646 w 631"/>
                  <a:gd name="T87" fmla="*/ 2147483646 h 592"/>
                  <a:gd name="T88" fmla="*/ 2147483646 w 631"/>
                  <a:gd name="T89" fmla="*/ 2147483646 h 592"/>
                  <a:gd name="T90" fmla="*/ 2147483646 w 631"/>
                  <a:gd name="T91" fmla="*/ 2147483646 h 592"/>
                  <a:gd name="T92" fmla="*/ 0 w 631"/>
                  <a:gd name="T93" fmla="*/ 2147483646 h 592"/>
                  <a:gd name="T94" fmla="*/ 2147483646 w 631"/>
                  <a:gd name="T95" fmla="*/ 2147483646 h 592"/>
                  <a:gd name="T96" fmla="*/ 2147483646 w 631"/>
                  <a:gd name="T97" fmla="*/ 2147483646 h 592"/>
                  <a:gd name="T98" fmla="*/ 2147483646 w 631"/>
                  <a:gd name="T99" fmla="*/ 2147483646 h 592"/>
                  <a:gd name="T100" fmla="*/ 2147483646 w 631"/>
                  <a:gd name="T101" fmla="*/ 2147483646 h 592"/>
                  <a:gd name="T102" fmla="*/ 2147483646 w 631"/>
                  <a:gd name="T103" fmla="*/ 2147483646 h 592"/>
                  <a:gd name="T104" fmla="*/ 2147483646 w 631"/>
                  <a:gd name="T105" fmla="*/ 2147483646 h 592"/>
                  <a:gd name="T106" fmla="*/ 2147483646 w 631"/>
                  <a:gd name="T107" fmla="*/ 2147483646 h 592"/>
                  <a:gd name="T108" fmla="*/ 2147483646 w 631"/>
                  <a:gd name="T109" fmla="*/ 2147483646 h 592"/>
                  <a:gd name="T110" fmla="*/ 2147483646 w 631"/>
                  <a:gd name="T111" fmla="*/ 0 h 59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631"/>
                  <a:gd name="T169" fmla="*/ 0 h 592"/>
                  <a:gd name="T170" fmla="*/ 631 w 631"/>
                  <a:gd name="T171" fmla="*/ 592 h 592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631" h="592">
                    <a:moveTo>
                      <a:pt x="13" y="0"/>
                    </a:moveTo>
                    <a:lnTo>
                      <a:pt x="21" y="2"/>
                    </a:lnTo>
                    <a:lnTo>
                      <a:pt x="26" y="2"/>
                    </a:lnTo>
                    <a:lnTo>
                      <a:pt x="32" y="4"/>
                    </a:lnTo>
                    <a:lnTo>
                      <a:pt x="40" y="7"/>
                    </a:lnTo>
                    <a:lnTo>
                      <a:pt x="54" y="8"/>
                    </a:lnTo>
                    <a:lnTo>
                      <a:pt x="67" y="9"/>
                    </a:lnTo>
                    <a:lnTo>
                      <a:pt x="78" y="11"/>
                    </a:lnTo>
                    <a:lnTo>
                      <a:pt x="88" y="13"/>
                    </a:lnTo>
                    <a:lnTo>
                      <a:pt x="104" y="19"/>
                    </a:lnTo>
                    <a:lnTo>
                      <a:pt x="118" y="26"/>
                    </a:lnTo>
                    <a:lnTo>
                      <a:pt x="130" y="32"/>
                    </a:lnTo>
                    <a:lnTo>
                      <a:pt x="141" y="38"/>
                    </a:lnTo>
                    <a:lnTo>
                      <a:pt x="146" y="40"/>
                    </a:lnTo>
                    <a:lnTo>
                      <a:pt x="153" y="42"/>
                    </a:lnTo>
                    <a:lnTo>
                      <a:pt x="159" y="43"/>
                    </a:lnTo>
                    <a:lnTo>
                      <a:pt x="166" y="44"/>
                    </a:lnTo>
                    <a:lnTo>
                      <a:pt x="189" y="43"/>
                    </a:lnTo>
                    <a:lnTo>
                      <a:pt x="210" y="41"/>
                    </a:lnTo>
                    <a:lnTo>
                      <a:pt x="227" y="37"/>
                    </a:lnTo>
                    <a:lnTo>
                      <a:pt x="244" y="33"/>
                    </a:lnTo>
                    <a:lnTo>
                      <a:pt x="277" y="23"/>
                    </a:lnTo>
                    <a:lnTo>
                      <a:pt x="312" y="14"/>
                    </a:lnTo>
                    <a:lnTo>
                      <a:pt x="399" y="38"/>
                    </a:lnTo>
                    <a:lnTo>
                      <a:pt x="400" y="53"/>
                    </a:lnTo>
                    <a:lnTo>
                      <a:pt x="403" y="69"/>
                    </a:lnTo>
                    <a:lnTo>
                      <a:pt x="405" y="82"/>
                    </a:lnTo>
                    <a:lnTo>
                      <a:pt x="410" y="95"/>
                    </a:lnTo>
                    <a:lnTo>
                      <a:pt x="413" y="107"/>
                    </a:lnTo>
                    <a:lnTo>
                      <a:pt x="417" y="119"/>
                    </a:lnTo>
                    <a:lnTo>
                      <a:pt x="423" y="130"/>
                    </a:lnTo>
                    <a:lnTo>
                      <a:pt x="427" y="140"/>
                    </a:lnTo>
                    <a:lnTo>
                      <a:pt x="438" y="158"/>
                    </a:lnTo>
                    <a:lnTo>
                      <a:pt x="450" y="175"/>
                    </a:lnTo>
                    <a:lnTo>
                      <a:pt x="461" y="190"/>
                    </a:lnTo>
                    <a:lnTo>
                      <a:pt x="472" y="204"/>
                    </a:lnTo>
                    <a:lnTo>
                      <a:pt x="478" y="213"/>
                    </a:lnTo>
                    <a:lnTo>
                      <a:pt x="482" y="222"/>
                    </a:lnTo>
                    <a:lnTo>
                      <a:pt x="484" y="232"/>
                    </a:lnTo>
                    <a:lnTo>
                      <a:pt x="485" y="240"/>
                    </a:lnTo>
                    <a:lnTo>
                      <a:pt x="488" y="248"/>
                    </a:lnTo>
                    <a:lnTo>
                      <a:pt x="491" y="255"/>
                    </a:lnTo>
                    <a:lnTo>
                      <a:pt x="494" y="258"/>
                    </a:lnTo>
                    <a:lnTo>
                      <a:pt x="496" y="261"/>
                    </a:lnTo>
                    <a:lnTo>
                      <a:pt x="501" y="263"/>
                    </a:lnTo>
                    <a:lnTo>
                      <a:pt x="505" y="266"/>
                    </a:lnTo>
                    <a:lnTo>
                      <a:pt x="508" y="267"/>
                    </a:lnTo>
                    <a:lnTo>
                      <a:pt x="513" y="270"/>
                    </a:lnTo>
                    <a:lnTo>
                      <a:pt x="516" y="274"/>
                    </a:lnTo>
                    <a:lnTo>
                      <a:pt x="519" y="278"/>
                    </a:lnTo>
                    <a:lnTo>
                      <a:pt x="526" y="290"/>
                    </a:lnTo>
                    <a:lnTo>
                      <a:pt x="533" y="303"/>
                    </a:lnTo>
                    <a:lnTo>
                      <a:pt x="537" y="317"/>
                    </a:lnTo>
                    <a:lnTo>
                      <a:pt x="541" y="331"/>
                    </a:lnTo>
                    <a:lnTo>
                      <a:pt x="544" y="346"/>
                    </a:lnTo>
                    <a:lnTo>
                      <a:pt x="545" y="358"/>
                    </a:lnTo>
                    <a:lnTo>
                      <a:pt x="546" y="363"/>
                    </a:lnTo>
                    <a:lnTo>
                      <a:pt x="548" y="368"/>
                    </a:lnTo>
                    <a:lnTo>
                      <a:pt x="551" y="374"/>
                    </a:lnTo>
                    <a:lnTo>
                      <a:pt x="557" y="381"/>
                    </a:lnTo>
                    <a:lnTo>
                      <a:pt x="569" y="398"/>
                    </a:lnTo>
                    <a:lnTo>
                      <a:pt x="583" y="415"/>
                    </a:lnTo>
                    <a:lnTo>
                      <a:pt x="598" y="432"/>
                    </a:lnTo>
                    <a:lnTo>
                      <a:pt x="612" y="447"/>
                    </a:lnTo>
                    <a:lnTo>
                      <a:pt x="624" y="458"/>
                    </a:lnTo>
                    <a:lnTo>
                      <a:pt x="631" y="463"/>
                    </a:lnTo>
                    <a:lnTo>
                      <a:pt x="622" y="472"/>
                    </a:lnTo>
                    <a:lnTo>
                      <a:pt x="612" y="481"/>
                    </a:lnTo>
                    <a:lnTo>
                      <a:pt x="619" y="489"/>
                    </a:lnTo>
                    <a:lnTo>
                      <a:pt x="624" y="496"/>
                    </a:lnTo>
                    <a:lnTo>
                      <a:pt x="626" y="501"/>
                    </a:lnTo>
                    <a:lnTo>
                      <a:pt x="626" y="507"/>
                    </a:lnTo>
                    <a:lnTo>
                      <a:pt x="626" y="511"/>
                    </a:lnTo>
                    <a:lnTo>
                      <a:pt x="626" y="516"/>
                    </a:lnTo>
                    <a:lnTo>
                      <a:pt x="627" y="523"/>
                    </a:lnTo>
                    <a:lnTo>
                      <a:pt x="631" y="531"/>
                    </a:lnTo>
                    <a:lnTo>
                      <a:pt x="629" y="535"/>
                    </a:lnTo>
                    <a:lnTo>
                      <a:pt x="626" y="539"/>
                    </a:lnTo>
                    <a:lnTo>
                      <a:pt x="622" y="543"/>
                    </a:lnTo>
                    <a:lnTo>
                      <a:pt x="617" y="548"/>
                    </a:lnTo>
                    <a:lnTo>
                      <a:pt x="605" y="559"/>
                    </a:lnTo>
                    <a:lnTo>
                      <a:pt x="592" y="569"/>
                    </a:lnTo>
                    <a:lnTo>
                      <a:pt x="569" y="585"/>
                    </a:lnTo>
                    <a:lnTo>
                      <a:pt x="558" y="592"/>
                    </a:lnTo>
                    <a:lnTo>
                      <a:pt x="53" y="592"/>
                    </a:lnTo>
                    <a:lnTo>
                      <a:pt x="46" y="174"/>
                    </a:lnTo>
                    <a:lnTo>
                      <a:pt x="35" y="166"/>
                    </a:lnTo>
                    <a:lnTo>
                      <a:pt x="25" y="157"/>
                    </a:lnTo>
                    <a:lnTo>
                      <a:pt x="18" y="148"/>
                    </a:lnTo>
                    <a:lnTo>
                      <a:pt x="11" y="138"/>
                    </a:lnTo>
                    <a:lnTo>
                      <a:pt x="6" y="128"/>
                    </a:lnTo>
                    <a:lnTo>
                      <a:pt x="2" y="117"/>
                    </a:lnTo>
                    <a:lnTo>
                      <a:pt x="1" y="105"/>
                    </a:lnTo>
                    <a:lnTo>
                      <a:pt x="0" y="93"/>
                    </a:lnTo>
                    <a:lnTo>
                      <a:pt x="1" y="91"/>
                    </a:lnTo>
                    <a:lnTo>
                      <a:pt x="3" y="89"/>
                    </a:lnTo>
                    <a:lnTo>
                      <a:pt x="7" y="86"/>
                    </a:lnTo>
                    <a:lnTo>
                      <a:pt x="10" y="83"/>
                    </a:lnTo>
                    <a:lnTo>
                      <a:pt x="13" y="80"/>
                    </a:lnTo>
                    <a:lnTo>
                      <a:pt x="17" y="77"/>
                    </a:lnTo>
                    <a:lnTo>
                      <a:pt x="19" y="73"/>
                    </a:lnTo>
                    <a:lnTo>
                      <a:pt x="20" y="69"/>
                    </a:lnTo>
                    <a:lnTo>
                      <a:pt x="20" y="61"/>
                    </a:lnTo>
                    <a:lnTo>
                      <a:pt x="18" y="53"/>
                    </a:lnTo>
                    <a:lnTo>
                      <a:pt x="15" y="47"/>
                    </a:lnTo>
                    <a:lnTo>
                      <a:pt x="13" y="42"/>
                    </a:lnTo>
                    <a:lnTo>
                      <a:pt x="11" y="38"/>
                    </a:lnTo>
                    <a:lnTo>
                      <a:pt x="9" y="34"/>
                    </a:lnTo>
                    <a:lnTo>
                      <a:pt x="7" y="30"/>
                    </a:lnTo>
                    <a:lnTo>
                      <a:pt x="7" y="26"/>
                    </a:lnTo>
                    <a:lnTo>
                      <a:pt x="10" y="1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36" name="Freeform 458">
                <a:extLst>
                  <a:ext uri="{FF2B5EF4-FFF2-40B4-BE49-F238E27FC236}">
                    <a16:creationId xmlns="" xmlns:a16="http://schemas.microsoft.com/office/drawing/2014/main" id="{513D61E3-5556-4737-8076-F9DE07552D13}"/>
                  </a:ext>
                </a:extLst>
              </p:cNvPr>
              <p:cNvSpPr>
                <a:spLocks/>
              </p:cNvSpPr>
              <p:nvPr>
                <p:custDataLst>
                  <p:tags r:id="rId296"/>
                </p:custDataLst>
              </p:nvPr>
            </p:nvSpPr>
            <p:spPr bwMode="auto">
              <a:xfrm>
                <a:off x="4198938" y="2297113"/>
                <a:ext cx="17462" cy="57150"/>
              </a:xfrm>
              <a:custGeom>
                <a:avLst/>
                <a:gdLst>
                  <a:gd name="T0" fmla="*/ 2147483646 w 40"/>
                  <a:gd name="T1" fmla="*/ 2147483646 h 93"/>
                  <a:gd name="T2" fmla="*/ 2147483646 w 40"/>
                  <a:gd name="T3" fmla="*/ 2147483646 h 93"/>
                  <a:gd name="T4" fmla="*/ 2147483646 w 40"/>
                  <a:gd name="T5" fmla="*/ 2147483646 h 93"/>
                  <a:gd name="T6" fmla="*/ 2147483646 w 40"/>
                  <a:gd name="T7" fmla="*/ 2147483646 h 93"/>
                  <a:gd name="T8" fmla="*/ 2147483646 w 40"/>
                  <a:gd name="T9" fmla="*/ 2147483646 h 93"/>
                  <a:gd name="T10" fmla="*/ 2147483646 w 40"/>
                  <a:gd name="T11" fmla="*/ 2147483646 h 93"/>
                  <a:gd name="T12" fmla="*/ 2147483646 w 40"/>
                  <a:gd name="T13" fmla="*/ 0 h 93"/>
                  <a:gd name="T14" fmla="*/ 2147483646 w 40"/>
                  <a:gd name="T15" fmla="*/ 2147483646 h 93"/>
                  <a:gd name="T16" fmla="*/ 2147483646 w 40"/>
                  <a:gd name="T17" fmla="*/ 2147483646 h 93"/>
                  <a:gd name="T18" fmla="*/ 2147483646 w 40"/>
                  <a:gd name="T19" fmla="*/ 2147483646 h 93"/>
                  <a:gd name="T20" fmla="*/ 2147483646 w 40"/>
                  <a:gd name="T21" fmla="*/ 2147483646 h 93"/>
                  <a:gd name="T22" fmla="*/ 2147483646 w 40"/>
                  <a:gd name="T23" fmla="*/ 2147483646 h 93"/>
                  <a:gd name="T24" fmla="*/ 2147483646 w 40"/>
                  <a:gd name="T25" fmla="*/ 2147483646 h 93"/>
                  <a:gd name="T26" fmla="*/ 2147483646 w 40"/>
                  <a:gd name="T27" fmla="*/ 2147483646 h 93"/>
                  <a:gd name="T28" fmla="*/ 2147483646 w 40"/>
                  <a:gd name="T29" fmla="*/ 2147483646 h 93"/>
                  <a:gd name="T30" fmla="*/ 2147483646 w 40"/>
                  <a:gd name="T31" fmla="*/ 2147483646 h 93"/>
                  <a:gd name="T32" fmla="*/ 2147483646 w 40"/>
                  <a:gd name="T33" fmla="*/ 2147483646 h 93"/>
                  <a:gd name="T34" fmla="*/ 2147483646 w 40"/>
                  <a:gd name="T35" fmla="*/ 2147483646 h 93"/>
                  <a:gd name="T36" fmla="*/ 2147483646 w 40"/>
                  <a:gd name="T37" fmla="*/ 2147483646 h 93"/>
                  <a:gd name="T38" fmla="*/ 2147483646 w 40"/>
                  <a:gd name="T39" fmla="*/ 2147483646 h 93"/>
                  <a:gd name="T40" fmla="*/ 2147483646 w 40"/>
                  <a:gd name="T41" fmla="*/ 2147483646 h 93"/>
                  <a:gd name="T42" fmla="*/ 2147483646 w 40"/>
                  <a:gd name="T43" fmla="*/ 2147483646 h 93"/>
                  <a:gd name="T44" fmla="*/ 0 w 40"/>
                  <a:gd name="T45" fmla="*/ 2147483646 h 93"/>
                  <a:gd name="T46" fmla="*/ 2147483646 w 40"/>
                  <a:gd name="T47" fmla="*/ 2147483646 h 93"/>
                  <a:gd name="T48" fmla="*/ 2147483646 w 40"/>
                  <a:gd name="T49" fmla="*/ 2147483646 h 93"/>
                  <a:gd name="T50" fmla="*/ 2147483646 w 40"/>
                  <a:gd name="T51" fmla="*/ 2147483646 h 93"/>
                  <a:gd name="T52" fmla="*/ 2147483646 w 40"/>
                  <a:gd name="T53" fmla="*/ 2147483646 h 93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40"/>
                  <a:gd name="T82" fmla="*/ 0 h 93"/>
                  <a:gd name="T83" fmla="*/ 40 w 40"/>
                  <a:gd name="T84" fmla="*/ 93 h 93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40" h="93">
                    <a:moveTo>
                      <a:pt x="7" y="31"/>
                    </a:moveTo>
                    <a:lnTo>
                      <a:pt x="10" y="30"/>
                    </a:lnTo>
                    <a:lnTo>
                      <a:pt x="14" y="26"/>
                    </a:lnTo>
                    <a:lnTo>
                      <a:pt x="20" y="20"/>
                    </a:lnTo>
                    <a:lnTo>
                      <a:pt x="25" y="15"/>
                    </a:lnTo>
                    <a:lnTo>
                      <a:pt x="35" y="4"/>
                    </a:lnTo>
                    <a:lnTo>
                      <a:pt x="40" y="0"/>
                    </a:lnTo>
                    <a:lnTo>
                      <a:pt x="37" y="26"/>
                    </a:lnTo>
                    <a:lnTo>
                      <a:pt x="35" y="53"/>
                    </a:lnTo>
                    <a:lnTo>
                      <a:pt x="34" y="65"/>
                    </a:lnTo>
                    <a:lnTo>
                      <a:pt x="34" y="77"/>
                    </a:lnTo>
                    <a:lnTo>
                      <a:pt x="35" y="82"/>
                    </a:lnTo>
                    <a:lnTo>
                      <a:pt x="36" y="86"/>
                    </a:lnTo>
                    <a:lnTo>
                      <a:pt x="37" y="90"/>
                    </a:lnTo>
                    <a:lnTo>
                      <a:pt x="40" y="93"/>
                    </a:lnTo>
                    <a:lnTo>
                      <a:pt x="26" y="93"/>
                    </a:lnTo>
                    <a:lnTo>
                      <a:pt x="13" y="93"/>
                    </a:lnTo>
                    <a:lnTo>
                      <a:pt x="11" y="92"/>
                    </a:lnTo>
                    <a:lnTo>
                      <a:pt x="8" y="91"/>
                    </a:lnTo>
                    <a:lnTo>
                      <a:pt x="6" y="88"/>
                    </a:lnTo>
                    <a:lnTo>
                      <a:pt x="4" y="86"/>
                    </a:lnTo>
                    <a:lnTo>
                      <a:pt x="1" y="80"/>
                    </a:lnTo>
                    <a:lnTo>
                      <a:pt x="0" y="73"/>
                    </a:lnTo>
                    <a:lnTo>
                      <a:pt x="1" y="64"/>
                    </a:lnTo>
                    <a:lnTo>
                      <a:pt x="3" y="50"/>
                    </a:lnTo>
                    <a:lnTo>
                      <a:pt x="6" y="37"/>
                    </a:lnTo>
                    <a:lnTo>
                      <a:pt x="7" y="31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37" name="Freeform 459">
                <a:extLst>
                  <a:ext uri="{FF2B5EF4-FFF2-40B4-BE49-F238E27FC236}">
                    <a16:creationId xmlns="" xmlns:a16="http://schemas.microsoft.com/office/drawing/2014/main" id="{1458D044-B6EB-45DB-9743-30CD8FE80BAB}"/>
                  </a:ext>
                </a:extLst>
              </p:cNvPr>
              <p:cNvSpPr>
                <a:spLocks/>
              </p:cNvSpPr>
              <p:nvPr>
                <p:custDataLst>
                  <p:tags r:id="rId297"/>
                </p:custDataLst>
              </p:nvPr>
            </p:nvSpPr>
            <p:spPr bwMode="auto">
              <a:xfrm>
                <a:off x="3898900" y="2047875"/>
                <a:ext cx="295275" cy="273050"/>
              </a:xfrm>
              <a:custGeom>
                <a:avLst/>
                <a:gdLst>
                  <a:gd name="T0" fmla="*/ 2147483646 w 664"/>
                  <a:gd name="T1" fmla="*/ 2147483646 h 518"/>
                  <a:gd name="T2" fmla="*/ 2147483646 w 664"/>
                  <a:gd name="T3" fmla="*/ 2147483646 h 518"/>
                  <a:gd name="T4" fmla="*/ 2147483646 w 664"/>
                  <a:gd name="T5" fmla="*/ 2147483646 h 518"/>
                  <a:gd name="T6" fmla="*/ 2147483646 w 664"/>
                  <a:gd name="T7" fmla="*/ 2147483646 h 518"/>
                  <a:gd name="T8" fmla="*/ 2147483646 w 664"/>
                  <a:gd name="T9" fmla="*/ 2147483646 h 518"/>
                  <a:gd name="T10" fmla="*/ 2147483646 w 664"/>
                  <a:gd name="T11" fmla="*/ 2147483646 h 518"/>
                  <a:gd name="T12" fmla="*/ 2147483646 w 664"/>
                  <a:gd name="T13" fmla="*/ 2147483646 h 518"/>
                  <a:gd name="T14" fmla="*/ 2147483646 w 664"/>
                  <a:gd name="T15" fmla="*/ 2147483646 h 518"/>
                  <a:gd name="T16" fmla="*/ 2147483646 w 664"/>
                  <a:gd name="T17" fmla="*/ 2147483646 h 518"/>
                  <a:gd name="T18" fmla="*/ 2147483646 w 664"/>
                  <a:gd name="T19" fmla="*/ 2147483646 h 518"/>
                  <a:gd name="T20" fmla="*/ 2147483646 w 664"/>
                  <a:gd name="T21" fmla="*/ 2147483646 h 518"/>
                  <a:gd name="T22" fmla="*/ 2147483646 w 664"/>
                  <a:gd name="T23" fmla="*/ 2147483646 h 518"/>
                  <a:gd name="T24" fmla="*/ 2147483646 w 664"/>
                  <a:gd name="T25" fmla="*/ 2147483646 h 518"/>
                  <a:gd name="T26" fmla="*/ 2147483646 w 664"/>
                  <a:gd name="T27" fmla="*/ 2147483646 h 518"/>
                  <a:gd name="T28" fmla="*/ 2147483646 w 664"/>
                  <a:gd name="T29" fmla="*/ 2147483646 h 518"/>
                  <a:gd name="T30" fmla="*/ 2147483646 w 664"/>
                  <a:gd name="T31" fmla="*/ 2147483646 h 518"/>
                  <a:gd name="T32" fmla="*/ 2147483646 w 664"/>
                  <a:gd name="T33" fmla="*/ 2147483646 h 518"/>
                  <a:gd name="T34" fmla="*/ 2147483646 w 664"/>
                  <a:gd name="T35" fmla="*/ 2147483646 h 518"/>
                  <a:gd name="T36" fmla="*/ 2147483646 w 664"/>
                  <a:gd name="T37" fmla="*/ 2147483646 h 518"/>
                  <a:gd name="T38" fmla="*/ 2147483646 w 664"/>
                  <a:gd name="T39" fmla="*/ 2147483646 h 518"/>
                  <a:gd name="T40" fmla="*/ 2147483646 w 664"/>
                  <a:gd name="T41" fmla="*/ 2147483646 h 518"/>
                  <a:gd name="T42" fmla="*/ 2147483646 w 664"/>
                  <a:gd name="T43" fmla="*/ 2147483646 h 518"/>
                  <a:gd name="T44" fmla="*/ 2147483646 w 664"/>
                  <a:gd name="T45" fmla="*/ 2147483646 h 518"/>
                  <a:gd name="T46" fmla="*/ 2147483646 w 664"/>
                  <a:gd name="T47" fmla="*/ 2147483646 h 518"/>
                  <a:gd name="T48" fmla="*/ 2147483646 w 664"/>
                  <a:gd name="T49" fmla="*/ 2147483646 h 518"/>
                  <a:gd name="T50" fmla="*/ 2147483646 w 664"/>
                  <a:gd name="T51" fmla="*/ 2147483646 h 518"/>
                  <a:gd name="T52" fmla="*/ 2147483646 w 664"/>
                  <a:gd name="T53" fmla="*/ 2147483646 h 518"/>
                  <a:gd name="T54" fmla="*/ 2147483646 w 664"/>
                  <a:gd name="T55" fmla="*/ 2147483646 h 518"/>
                  <a:gd name="T56" fmla="*/ 2147483646 w 664"/>
                  <a:gd name="T57" fmla="*/ 2147483646 h 518"/>
                  <a:gd name="T58" fmla="*/ 2147483646 w 664"/>
                  <a:gd name="T59" fmla="*/ 2147483646 h 518"/>
                  <a:gd name="T60" fmla="*/ 2147483646 w 664"/>
                  <a:gd name="T61" fmla="*/ 2147483646 h 518"/>
                  <a:gd name="T62" fmla="*/ 2147483646 w 664"/>
                  <a:gd name="T63" fmla="*/ 2147483646 h 518"/>
                  <a:gd name="T64" fmla="*/ 2147483646 w 664"/>
                  <a:gd name="T65" fmla="*/ 2147483646 h 518"/>
                  <a:gd name="T66" fmla="*/ 2147483646 w 664"/>
                  <a:gd name="T67" fmla="*/ 2147483646 h 518"/>
                  <a:gd name="T68" fmla="*/ 2147483646 w 664"/>
                  <a:gd name="T69" fmla="*/ 2147483646 h 518"/>
                  <a:gd name="T70" fmla="*/ 2147483646 w 664"/>
                  <a:gd name="T71" fmla="*/ 2147483646 h 518"/>
                  <a:gd name="T72" fmla="*/ 2147483646 w 664"/>
                  <a:gd name="T73" fmla="*/ 2147483646 h 518"/>
                  <a:gd name="T74" fmla="*/ 2147483646 w 664"/>
                  <a:gd name="T75" fmla="*/ 2147483646 h 518"/>
                  <a:gd name="T76" fmla="*/ 2147483646 w 664"/>
                  <a:gd name="T77" fmla="*/ 2147483646 h 518"/>
                  <a:gd name="T78" fmla="*/ 2147483646 w 664"/>
                  <a:gd name="T79" fmla="*/ 2147483646 h 518"/>
                  <a:gd name="T80" fmla="*/ 2147483646 w 664"/>
                  <a:gd name="T81" fmla="*/ 2147483646 h 518"/>
                  <a:gd name="T82" fmla="*/ 2147483646 w 664"/>
                  <a:gd name="T83" fmla="*/ 2147483646 h 518"/>
                  <a:gd name="T84" fmla="*/ 2147483646 w 664"/>
                  <a:gd name="T85" fmla="*/ 2147483646 h 518"/>
                  <a:gd name="T86" fmla="*/ 2147483646 w 664"/>
                  <a:gd name="T87" fmla="*/ 2147483646 h 518"/>
                  <a:gd name="T88" fmla="*/ 2147483646 w 664"/>
                  <a:gd name="T89" fmla="*/ 2147483646 h 518"/>
                  <a:gd name="T90" fmla="*/ 2147483646 w 664"/>
                  <a:gd name="T91" fmla="*/ 2147483646 h 518"/>
                  <a:gd name="T92" fmla="*/ 2147483646 w 664"/>
                  <a:gd name="T93" fmla="*/ 2147483646 h 518"/>
                  <a:gd name="T94" fmla="*/ 2147483646 w 664"/>
                  <a:gd name="T95" fmla="*/ 2147483646 h 518"/>
                  <a:gd name="T96" fmla="*/ 2147483646 w 664"/>
                  <a:gd name="T97" fmla="*/ 2147483646 h 518"/>
                  <a:gd name="T98" fmla="*/ 2147483646 w 664"/>
                  <a:gd name="T99" fmla="*/ 2147483646 h 518"/>
                  <a:gd name="T100" fmla="*/ 2147483646 w 664"/>
                  <a:gd name="T101" fmla="*/ 2147483646 h 518"/>
                  <a:gd name="T102" fmla="*/ 2147483646 w 664"/>
                  <a:gd name="T103" fmla="*/ 2147483646 h 518"/>
                  <a:gd name="T104" fmla="*/ 2147483646 w 664"/>
                  <a:gd name="T105" fmla="*/ 2147483646 h 518"/>
                  <a:gd name="T106" fmla="*/ 2147483646 w 664"/>
                  <a:gd name="T107" fmla="*/ 2147483646 h 518"/>
                  <a:gd name="T108" fmla="*/ 2147483646 w 664"/>
                  <a:gd name="T109" fmla="*/ 2147483646 h 518"/>
                  <a:gd name="T110" fmla="*/ 2147483646 w 664"/>
                  <a:gd name="T111" fmla="*/ 2147483646 h 518"/>
                  <a:gd name="T112" fmla="*/ 2147483646 w 664"/>
                  <a:gd name="T113" fmla="*/ 2147483646 h 518"/>
                  <a:gd name="T114" fmla="*/ 2147483646 w 664"/>
                  <a:gd name="T115" fmla="*/ 2147483646 h 518"/>
                  <a:gd name="T116" fmla="*/ 2147483646 w 664"/>
                  <a:gd name="T117" fmla="*/ 2147483646 h 518"/>
                  <a:gd name="T118" fmla="*/ 2147483646 w 664"/>
                  <a:gd name="T119" fmla="*/ 2147483646 h 518"/>
                  <a:gd name="T120" fmla="*/ 2147483646 w 664"/>
                  <a:gd name="T121" fmla="*/ 2147483646 h 518"/>
                  <a:gd name="T122" fmla="*/ 2147483646 w 664"/>
                  <a:gd name="T123" fmla="*/ 2147483646 h 51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664"/>
                  <a:gd name="T187" fmla="*/ 0 h 518"/>
                  <a:gd name="T188" fmla="*/ 664 w 664"/>
                  <a:gd name="T189" fmla="*/ 518 h 51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664" h="518">
                    <a:moveTo>
                      <a:pt x="146" y="450"/>
                    </a:moveTo>
                    <a:lnTo>
                      <a:pt x="148" y="447"/>
                    </a:lnTo>
                    <a:lnTo>
                      <a:pt x="149" y="445"/>
                    </a:lnTo>
                    <a:lnTo>
                      <a:pt x="150" y="441"/>
                    </a:lnTo>
                    <a:lnTo>
                      <a:pt x="151" y="438"/>
                    </a:lnTo>
                    <a:lnTo>
                      <a:pt x="151" y="431"/>
                    </a:lnTo>
                    <a:lnTo>
                      <a:pt x="150" y="424"/>
                    </a:lnTo>
                    <a:lnTo>
                      <a:pt x="147" y="411"/>
                    </a:lnTo>
                    <a:lnTo>
                      <a:pt x="146" y="400"/>
                    </a:lnTo>
                    <a:lnTo>
                      <a:pt x="147" y="378"/>
                    </a:lnTo>
                    <a:lnTo>
                      <a:pt x="149" y="364"/>
                    </a:lnTo>
                    <a:lnTo>
                      <a:pt x="151" y="353"/>
                    </a:lnTo>
                    <a:lnTo>
                      <a:pt x="152" y="339"/>
                    </a:lnTo>
                    <a:lnTo>
                      <a:pt x="150" y="320"/>
                    </a:lnTo>
                    <a:lnTo>
                      <a:pt x="146" y="298"/>
                    </a:lnTo>
                    <a:lnTo>
                      <a:pt x="141" y="273"/>
                    </a:lnTo>
                    <a:lnTo>
                      <a:pt x="139" y="252"/>
                    </a:lnTo>
                    <a:lnTo>
                      <a:pt x="134" y="251"/>
                    </a:lnTo>
                    <a:lnTo>
                      <a:pt x="127" y="249"/>
                    </a:lnTo>
                    <a:lnTo>
                      <a:pt x="119" y="246"/>
                    </a:lnTo>
                    <a:lnTo>
                      <a:pt x="109" y="241"/>
                    </a:lnTo>
                    <a:lnTo>
                      <a:pt x="87" y="231"/>
                    </a:lnTo>
                    <a:lnTo>
                      <a:pt x="64" y="217"/>
                    </a:lnTo>
                    <a:lnTo>
                      <a:pt x="20" y="192"/>
                    </a:lnTo>
                    <a:lnTo>
                      <a:pt x="0" y="178"/>
                    </a:lnTo>
                    <a:lnTo>
                      <a:pt x="19" y="172"/>
                    </a:lnTo>
                    <a:lnTo>
                      <a:pt x="24" y="171"/>
                    </a:lnTo>
                    <a:lnTo>
                      <a:pt x="28" y="168"/>
                    </a:lnTo>
                    <a:lnTo>
                      <a:pt x="31" y="165"/>
                    </a:lnTo>
                    <a:lnTo>
                      <a:pt x="36" y="159"/>
                    </a:lnTo>
                    <a:lnTo>
                      <a:pt x="39" y="155"/>
                    </a:lnTo>
                    <a:lnTo>
                      <a:pt x="44" y="151"/>
                    </a:lnTo>
                    <a:lnTo>
                      <a:pt x="48" y="148"/>
                    </a:lnTo>
                    <a:lnTo>
                      <a:pt x="52" y="147"/>
                    </a:lnTo>
                    <a:lnTo>
                      <a:pt x="92" y="159"/>
                    </a:lnTo>
                    <a:lnTo>
                      <a:pt x="100" y="155"/>
                    </a:lnTo>
                    <a:lnTo>
                      <a:pt x="108" y="153"/>
                    </a:lnTo>
                    <a:lnTo>
                      <a:pt x="116" y="152"/>
                    </a:lnTo>
                    <a:lnTo>
                      <a:pt x="125" y="152"/>
                    </a:lnTo>
                    <a:lnTo>
                      <a:pt x="132" y="153"/>
                    </a:lnTo>
                    <a:lnTo>
                      <a:pt x="140" y="155"/>
                    </a:lnTo>
                    <a:lnTo>
                      <a:pt x="147" y="157"/>
                    </a:lnTo>
                    <a:lnTo>
                      <a:pt x="152" y="159"/>
                    </a:lnTo>
                    <a:lnTo>
                      <a:pt x="152" y="86"/>
                    </a:lnTo>
                    <a:lnTo>
                      <a:pt x="165" y="94"/>
                    </a:lnTo>
                    <a:lnTo>
                      <a:pt x="175" y="102"/>
                    </a:lnTo>
                    <a:lnTo>
                      <a:pt x="181" y="105"/>
                    </a:lnTo>
                    <a:lnTo>
                      <a:pt x="185" y="109"/>
                    </a:lnTo>
                    <a:lnTo>
                      <a:pt x="192" y="110"/>
                    </a:lnTo>
                    <a:lnTo>
                      <a:pt x="198" y="111"/>
                    </a:lnTo>
                    <a:lnTo>
                      <a:pt x="207" y="110"/>
                    </a:lnTo>
                    <a:lnTo>
                      <a:pt x="217" y="107"/>
                    </a:lnTo>
                    <a:lnTo>
                      <a:pt x="226" y="103"/>
                    </a:lnTo>
                    <a:lnTo>
                      <a:pt x="236" y="99"/>
                    </a:lnTo>
                    <a:lnTo>
                      <a:pt x="246" y="93"/>
                    </a:lnTo>
                    <a:lnTo>
                      <a:pt x="255" y="87"/>
                    </a:lnTo>
                    <a:lnTo>
                      <a:pt x="264" y="80"/>
                    </a:lnTo>
                    <a:lnTo>
                      <a:pt x="273" y="73"/>
                    </a:lnTo>
                    <a:lnTo>
                      <a:pt x="282" y="65"/>
                    </a:lnTo>
                    <a:lnTo>
                      <a:pt x="289" y="57"/>
                    </a:lnTo>
                    <a:lnTo>
                      <a:pt x="297" y="48"/>
                    </a:lnTo>
                    <a:lnTo>
                      <a:pt x="303" y="40"/>
                    </a:lnTo>
                    <a:lnTo>
                      <a:pt x="308" y="32"/>
                    </a:lnTo>
                    <a:lnTo>
                      <a:pt x="313" y="25"/>
                    </a:lnTo>
                    <a:lnTo>
                      <a:pt x="316" y="18"/>
                    </a:lnTo>
                    <a:lnTo>
                      <a:pt x="318" y="12"/>
                    </a:lnTo>
                    <a:lnTo>
                      <a:pt x="337" y="11"/>
                    </a:lnTo>
                    <a:lnTo>
                      <a:pt x="354" y="8"/>
                    </a:lnTo>
                    <a:lnTo>
                      <a:pt x="370" y="4"/>
                    </a:lnTo>
                    <a:lnTo>
                      <a:pt x="385" y="0"/>
                    </a:lnTo>
                    <a:lnTo>
                      <a:pt x="385" y="24"/>
                    </a:lnTo>
                    <a:lnTo>
                      <a:pt x="404" y="32"/>
                    </a:lnTo>
                    <a:lnTo>
                      <a:pt x="422" y="40"/>
                    </a:lnTo>
                    <a:lnTo>
                      <a:pt x="440" y="50"/>
                    </a:lnTo>
                    <a:lnTo>
                      <a:pt x="457" y="61"/>
                    </a:lnTo>
                    <a:lnTo>
                      <a:pt x="475" y="72"/>
                    </a:lnTo>
                    <a:lnTo>
                      <a:pt x="493" y="81"/>
                    </a:lnTo>
                    <a:lnTo>
                      <a:pt x="511" y="90"/>
                    </a:lnTo>
                    <a:lnTo>
                      <a:pt x="531" y="98"/>
                    </a:lnTo>
                    <a:lnTo>
                      <a:pt x="538" y="101"/>
                    </a:lnTo>
                    <a:lnTo>
                      <a:pt x="552" y="107"/>
                    </a:lnTo>
                    <a:lnTo>
                      <a:pt x="561" y="111"/>
                    </a:lnTo>
                    <a:lnTo>
                      <a:pt x="569" y="114"/>
                    </a:lnTo>
                    <a:lnTo>
                      <a:pt x="578" y="116"/>
                    </a:lnTo>
                    <a:lnTo>
                      <a:pt x="584" y="117"/>
                    </a:lnTo>
                    <a:lnTo>
                      <a:pt x="604" y="118"/>
                    </a:lnTo>
                    <a:lnTo>
                      <a:pt x="623" y="121"/>
                    </a:lnTo>
                    <a:lnTo>
                      <a:pt x="644" y="124"/>
                    </a:lnTo>
                    <a:lnTo>
                      <a:pt x="664" y="129"/>
                    </a:lnTo>
                    <a:lnTo>
                      <a:pt x="658" y="136"/>
                    </a:lnTo>
                    <a:lnTo>
                      <a:pt x="654" y="145"/>
                    </a:lnTo>
                    <a:lnTo>
                      <a:pt x="650" y="155"/>
                    </a:lnTo>
                    <a:lnTo>
                      <a:pt x="645" y="166"/>
                    </a:lnTo>
                    <a:lnTo>
                      <a:pt x="638" y="189"/>
                    </a:lnTo>
                    <a:lnTo>
                      <a:pt x="629" y="212"/>
                    </a:lnTo>
                    <a:lnTo>
                      <a:pt x="620" y="236"/>
                    </a:lnTo>
                    <a:lnTo>
                      <a:pt x="609" y="256"/>
                    </a:lnTo>
                    <a:lnTo>
                      <a:pt x="604" y="265"/>
                    </a:lnTo>
                    <a:lnTo>
                      <a:pt x="598" y="272"/>
                    </a:lnTo>
                    <a:lnTo>
                      <a:pt x="591" y="279"/>
                    </a:lnTo>
                    <a:lnTo>
                      <a:pt x="584" y="283"/>
                    </a:lnTo>
                    <a:lnTo>
                      <a:pt x="585" y="286"/>
                    </a:lnTo>
                    <a:lnTo>
                      <a:pt x="588" y="290"/>
                    </a:lnTo>
                    <a:lnTo>
                      <a:pt x="593" y="294"/>
                    </a:lnTo>
                    <a:lnTo>
                      <a:pt x="599" y="298"/>
                    </a:lnTo>
                    <a:lnTo>
                      <a:pt x="606" y="301"/>
                    </a:lnTo>
                    <a:lnTo>
                      <a:pt x="612" y="304"/>
                    </a:lnTo>
                    <a:lnTo>
                      <a:pt x="618" y="307"/>
                    </a:lnTo>
                    <a:lnTo>
                      <a:pt x="623" y="307"/>
                    </a:lnTo>
                    <a:lnTo>
                      <a:pt x="623" y="326"/>
                    </a:lnTo>
                    <a:lnTo>
                      <a:pt x="623" y="334"/>
                    </a:lnTo>
                    <a:lnTo>
                      <a:pt x="622" y="340"/>
                    </a:lnTo>
                    <a:lnTo>
                      <a:pt x="622" y="344"/>
                    </a:lnTo>
                    <a:lnTo>
                      <a:pt x="620" y="347"/>
                    </a:lnTo>
                    <a:lnTo>
                      <a:pt x="618" y="353"/>
                    </a:lnTo>
                    <a:lnTo>
                      <a:pt x="617" y="363"/>
                    </a:lnTo>
                    <a:lnTo>
                      <a:pt x="618" y="372"/>
                    </a:lnTo>
                    <a:lnTo>
                      <a:pt x="618" y="381"/>
                    </a:lnTo>
                    <a:lnTo>
                      <a:pt x="620" y="391"/>
                    </a:lnTo>
                    <a:lnTo>
                      <a:pt x="622" y="399"/>
                    </a:lnTo>
                    <a:lnTo>
                      <a:pt x="624" y="408"/>
                    </a:lnTo>
                    <a:lnTo>
                      <a:pt x="629" y="416"/>
                    </a:lnTo>
                    <a:lnTo>
                      <a:pt x="632" y="423"/>
                    </a:lnTo>
                    <a:lnTo>
                      <a:pt x="638" y="430"/>
                    </a:lnTo>
                    <a:lnTo>
                      <a:pt x="622" y="444"/>
                    </a:lnTo>
                    <a:lnTo>
                      <a:pt x="608" y="457"/>
                    </a:lnTo>
                    <a:lnTo>
                      <a:pt x="593" y="469"/>
                    </a:lnTo>
                    <a:lnTo>
                      <a:pt x="577" y="480"/>
                    </a:lnTo>
                    <a:lnTo>
                      <a:pt x="569" y="484"/>
                    </a:lnTo>
                    <a:lnTo>
                      <a:pt x="561" y="487"/>
                    </a:lnTo>
                    <a:lnTo>
                      <a:pt x="551" y="489"/>
                    </a:lnTo>
                    <a:lnTo>
                      <a:pt x="542" y="489"/>
                    </a:lnTo>
                    <a:lnTo>
                      <a:pt x="532" y="488"/>
                    </a:lnTo>
                    <a:lnTo>
                      <a:pt x="521" y="485"/>
                    </a:lnTo>
                    <a:lnTo>
                      <a:pt x="509" y="481"/>
                    </a:lnTo>
                    <a:lnTo>
                      <a:pt x="497" y="474"/>
                    </a:lnTo>
                    <a:lnTo>
                      <a:pt x="487" y="466"/>
                    </a:lnTo>
                    <a:lnTo>
                      <a:pt x="477" y="460"/>
                    </a:lnTo>
                    <a:lnTo>
                      <a:pt x="473" y="458"/>
                    </a:lnTo>
                    <a:lnTo>
                      <a:pt x="467" y="457"/>
                    </a:lnTo>
                    <a:lnTo>
                      <a:pt x="463" y="456"/>
                    </a:lnTo>
                    <a:lnTo>
                      <a:pt x="457" y="456"/>
                    </a:lnTo>
                    <a:lnTo>
                      <a:pt x="450" y="456"/>
                    </a:lnTo>
                    <a:lnTo>
                      <a:pt x="443" y="457"/>
                    </a:lnTo>
                    <a:lnTo>
                      <a:pt x="436" y="459"/>
                    </a:lnTo>
                    <a:lnTo>
                      <a:pt x="429" y="462"/>
                    </a:lnTo>
                    <a:lnTo>
                      <a:pt x="423" y="465"/>
                    </a:lnTo>
                    <a:lnTo>
                      <a:pt x="417" y="468"/>
                    </a:lnTo>
                    <a:lnTo>
                      <a:pt x="411" y="472"/>
                    </a:lnTo>
                    <a:lnTo>
                      <a:pt x="406" y="477"/>
                    </a:lnTo>
                    <a:lnTo>
                      <a:pt x="397" y="486"/>
                    </a:lnTo>
                    <a:lnTo>
                      <a:pt x="390" y="496"/>
                    </a:lnTo>
                    <a:lnTo>
                      <a:pt x="388" y="503"/>
                    </a:lnTo>
                    <a:lnTo>
                      <a:pt x="386" y="508"/>
                    </a:lnTo>
                    <a:lnTo>
                      <a:pt x="385" y="512"/>
                    </a:lnTo>
                    <a:lnTo>
                      <a:pt x="385" y="517"/>
                    </a:lnTo>
                    <a:lnTo>
                      <a:pt x="364" y="518"/>
                    </a:lnTo>
                    <a:lnTo>
                      <a:pt x="343" y="517"/>
                    </a:lnTo>
                    <a:lnTo>
                      <a:pt x="333" y="515"/>
                    </a:lnTo>
                    <a:lnTo>
                      <a:pt x="325" y="512"/>
                    </a:lnTo>
                    <a:lnTo>
                      <a:pt x="321" y="510"/>
                    </a:lnTo>
                    <a:lnTo>
                      <a:pt x="317" y="507"/>
                    </a:lnTo>
                    <a:lnTo>
                      <a:pt x="314" y="503"/>
                    </a:lnTo>
                    <a:lnTo>
                      <a:pt x="311" y="499"/>
                    </a:lnTo>
                    <a:lnTo>
                      <a:pt x="307" y="500"/>
                    </a:lnTo>
                    <a:lnTo>
                      <a:pt x="303" y="502"/>
                    </a:lnTo>
                    <a:lnTo>
                      <a:pt x="299" y="505"/>
                    </a:lnTo>
                    <a:lnTo>
                      <a:pt x="296" y="508"/>
                    </a:lnTo>
                    <a:lnTo>
                      <a:pt x="293" y="511"/>
                    </a:lnTo>
                    <a:lnTo>
                      <a:pt x="289" y="514"/>
                    </a:lnTo>
                    <a:lnTo>
                      <a:pt x="287" y="516"/>
                    </a:lnTo>
                    <a:lnTo>
                      <a:pt x="285" y="517"/>
                    </a:lnTo>
                    <a:lnTo>
                      <a:pt x="277" y="517"/>
                    </a:lnTo>
                    <a:lnTo>
                      <a:pt x="268" y="516"/>
                    </a:lnTo>
                    <a:lnTo>
                      <a:pt x="259" y="514"/>
                    </a:lnTo>
                    <a:lnTo>
                      <a:pt x="248" y="512"/>
                    </a:lnTo>
                    <a:lnTo>
                      <a:pt x="227" y="506"/>
                    </a:lnTo>
                    <a:lnTo>
                      <a:pt x="205" y="496"/>
                    </a:lnTo>
                    <a:lnTo>
                      <a:pt x="195" y="492"/>
                    </a:lnTo>
                    <a:lnTo>
                      <a:pt x="185" y="487"/>
                    </a:lnTo>
                    <a:lnTo>
                      <a:pt x="175" y="481"/>
                    </a:lnTo>
                    <a:lnTo>
                      <a:pt x="168" y="475"/>
                    </a:lnTo>
                    <a:lnTo>
                      <a:pt x="160" y="469"/>
                    </a:lnTo>
                    <a:lnTo>
                      <a:pt x="153" y="463"/>
                    </a:lnTo>
                    <a:lnTo>
                      <a:pt x="149" y="456"/>
                    </a:lnTo>
                    <a:lnTo>
                      <a:pt x="146" y="45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38" name="Freeform 460">
                <a:extLst>
                  <a:ext uri="{FF2B5EF4-FFF2-40B4-BE49-F238E27FC236}">
                    <a16:creationId xmlns="" xmlns:a16="http://schemas.microsoft.com/office/drawing/2014/main" id="{B5D5E50C-CE6B-423C-A110-188F41234DDB}"/>
                  </a:ext>
                </a:extLst>
              </p:cNvPr>
              <p:cNvSpPr>
                <a:spLocks/>
              </p:cNvSpPr>
              <p:nvPr>
                <p:custDataLst>
                  <p:tags r:id="rId298"/>
                </p:custDataLst>
              </p:nvPr>
            </p:nvSpPr>
            <p:spPr bwMode="auto">
              <a:xfrm>
                <a:off x="4919663" y="2282825"/>
                <a:ext cx="150812" cy="82550"/>
              </a:xfrm>
              <a:custGeom>
                <a:avLst/>
                <a:gdLst>
                  <a:gd name="T0" fmla="*/ 2147483646 w 352"/>
                  <a:gd name="T1" fmla="*/ 2147483646 h 153"/>
                  <a:gd name="T2" fmla="*/ 2147483646 w 352"/>
                  <a:gd name="T3" fmla="*/ 2147483646 h 153"/>
                  <a:gd name="T4" fmla="*/ 2147483646 w 352"/>
                  <a:gd name="T5" fmla="*/ 2147483646 h 153"/>
                  <a:gd name="T6" fmla="*/ 2147483646 w 352"/>
                  <a:gd name="T7" fmla="*/ 2147483646 h 153"/>
                  <a:gd name="T8" fmla="*/ 2147483646 w 352"/>
                  <a:gd name="T9" fmla="*/ 2147483646 h 153"/>
                  <a:gd name="T10" fmla="*/ 2147483646 w 352"/>
                  <a:gd name="T11" fmla="*/ 2147483646 h 153"/>
                  <a:gd name="T12" fmla="*/ 2147483646 w 352"/>
                  <a:gd name="T13" fmla="*/ 2147483646 h 153"/>
                  <a:gd name="T14" fmla="*/ 2147483646 w 352"/>
                  <a:gd name="T15" fmla="*/ 2147483646 h 153"/>
                  <a:gd name="T16" fmla="*/ 2147483646 w 352"/>
                  <a:gd name="T17" fmla="*/ 2147483646 h 153"/>
                  <a:gd name="T18" fmla="*/ 2147483646 w 352"/>
                  <a:gd name="T19" fmla="*/ 2147483646 h 153"/>
                  <a:gd name="T20" fmla="*/ 2147483646 w 352"/>
                  <a:gd name="T21" fmla="*/ 2147483646 h 153"/>
                  <a:gd name="T22" fmla="*/ 2147483646 w 352"/>
                  <a:gd name="T23" fmla="*/ 2147483646 h 153"/>
                  <a:gd name="T24" fmla="*/ 2147483646 w 352"/>
                  <a:gd name="T25" fmla="*/ 2147483646 h 153"/>
                  <a:gd name="T26" fmla="*/ 2147483646 w 352"/>
                  <a:gd name="T27" fmla="*/ 2147483646 h 153"/>
                  <a:gd name="T28" fmla="*/ 2147483646 w 352"/>
                  <a:gd name="T29" fmla="*/ 2147483646 h 153"/>
                  <a:gd name="T30" fmla="*/ 2147483646 w 352"/>
                  <a:gd name="T31" fmla="*/ 2147483646 h 153"/>
                  <a:gd name="T32" fmla="*/ 2147483646 w 352"/>
                  <a:gd name="T33" fmla="*/ 2147483646 h 153"/>
                  <a:gd name="T34" fmla="*/ 2147483646 w 352"/>
                  <a:gd name="T35" fmla="*/ 2147483646 h 153"/>
                  <a:gd name="T36" fmla="*/ 2147483646 w 352"/>
                  <a:gd name="T37" fmla="*/ 2147483646 h 153"/>
                  <a:gd name="T38" fmla="*/ 2147483646 w 352"/>
                  <a:gd name="T39" fmla="*/ 2147483646 h 153"/>
                  <a:gd name="T40" fmla="*/ 2147483646 w 352"/>
                  <a:gd name="T41" fmla="*/ 2147483646 h 153"/>
                  <a:gd name="T42" fmla="*/ 2147483646 w 352"/>
                  <a:gd name="T43" fmla="*/ 2147483646 h 153"/>
                  <a:gd name="T44" fmla="*/ 2147483646 w 352"/>
                  <a:gd name="T45" fmla="*/ 2147483646 h 153"/>
                  <a:gd name="T46" fmla="*/ 2147483646 w 352"/>
                  <a:gd name="T47" fmla="*/ 2147483646 h 153"/>
                  <a:gd name="T48" fmla="*/ 2147483646 w 352"/>
                  <a:gd name="T49" fmla="*/ 2147483646 h 153"/>
                  <a:gd name="T50" fmla="*/ 2147483646 w 352"/>
                  <a:gd name="T51" fmla="*/ 2147483646 h 153"/>
                  <a:gd name="T52" fmla="*/ 2147483646 w 352"/>
                  <a:gd name="T53" fmla="*/ 2147483646 h 153"/>
                  <a:gd name="T54" fmla="*/ 0 w 352"/>
                  <a:gd name="T55" fmla="*/ 0 h 153"/>
                  <a:gd name="T56" fmla="*/ 2147483646 w 352"/>
                  <a:gd name="T57" fmla="*/ 0 h 153"/>
                  <a:gd name="T58" fmla="*/ 2147483646 w 352"/>
                  <a:gd name="T59" fmla="*/ 2147483646 h 153"/>
                  <a:gd name="T60" fmla="*/ 2147483646 w 352"/>
                  <a:gd name="T61" fmla="*/ 2147483646 h 153"/>
                  <a:gd name="T62" fmla="*/ 2147483646 w 352"/>
                  <a:gd name="T63" fmla="*/ 2147483646 h 153"/>
                  <a:gd name="T64" fmla="*/ 2147483646 w 352"/>
                  <a:gd name="T65" fmla="*/ 2147483646 h 153"/>
                  <a:gd name="T66" fmla="*/ 2147483646 w 352"/>
                  <a:gd name="T67" fmla="*/ 2147483646 h 153"/>
                  <a:gd name="T68" fmla="*/ 2147483646 w 352"/>
                  <a:gd name="T69" fmla="*/ 2147483646 h 153"/>
                  <a:gd name="T70" fmla="*/ 2147483646 w 352"/>
                  <a:gd name="T71" fmla="*/ 2147483646 h 153"/>
                  <a:gd name="T72" fmla="*/ 2147483646 w 352"/>
                  <a:gd name="T73" fmla="*/ 2147483646 h 153"/>
                  <a:gd name="T74" fmla="*/ 2147483646 w 352"/>
                  <a:gd name="T75" fmla="*/ 2147483646 h 153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52"/>
                  <a:gd name="T115" fmla="*/ 0 h 153"/>
                  <a:gd name="T116" fmla="*/ 352 w 352"/>
                  <a:gd name="T117" fmla="*/ 153 h 153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52" h="153">
                    <a:moveTo>
                      <a:pt x="332" y="91"/>
                    </a:moveTo>
                    <a:lnTo>
                      <a:pt x="352" y="153"/>
                    </a:lnTo>
                    <a:lnTo>
                      <a:pt x="326" y="141"/>
                    </a:lnTo>
                    <a:lnTo>
                      <a:pt x="299" y="129"/>
                    </a:lnTo>
                    <a:lnTo>
                      <a:pt x="266" y="141"/>
                    </a:lnTo>
                    <a:lnTo>
                      <a:pt x="232" y="141"/>
                    </a:lnTo>
                    <a:lnTo>
                      <a:pt x="227" y="135"/>
                    </a:lnTo>
                    <a:lnTo>
                      <a:pt x="226" y="135"/>
                    </a:lnTo>
                    <a:lnTo>
                      <a:pt x="219" y="129"/>
                    </a:lnTo>
                    <a:lnTo>
                      <a:pt x="213" y="125"/>
                    </a:lnTo>
                    <a:lnTo>
                      <a:pt x="205" y="121"/>
                    </a:lnTo>
                    <a:lnTo>
                      <a:pt x="197" y="118"/>
                    </a:lnTo>
                    <a:lnTo>
                      <a:pt x="181" y="113"/>
                    </a:lnTo>
                    <a:lnTo>
                      <a:pt x="163" y="110"/>
                    </a:lnTo>
                    <a:lnTo>
                      <a:pt x="126" y="107"/>
                    </a:lnTo>
                    <a:lnTo>
                      <a:pt x="86" y="104"/>
                    </a:lnTo>
                    <a:lnTo>
                      <a:pt x="85" y="94"/>
                    </a:lnTo>
                    <a:lnTo>
                      <a:pt x="82" y="84"/>
                    </a:lnTo>
                    <a:lnTo>
                      <a:pt x="80" y="75"/>
                    </a:lnTo>
                    <a:lnTo>
                      <a:pt x="75" y="67"/>
                    </a:lnTo>
                    <a:lnTo>
                      <a:pt x="71" y="59"/>
                    </a:lnTo>
                    <a:lnTo>
                      <a:pt x="67" y="52"/>
                    </a:lnTo>
                    <a:lnTo>
                      <a:pt x="61" y="44"/>
                    </a:lnTo>
                    <a:lnTo>
                      <a:pt x="56" y="37"/>
                    </a:lnTo>
                    <a:lnTo>
                      <a:pt x="44" y="26"/>
                    </a:lnTo>
                    <a:lnTo>
                      <a:pt x="29" y="16"/>
                    </a:lnTo>
                    <a:lnTo>
                      <a:pt x="15" y="7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60" y="18"/>
                    </a:lnTo>
                    <a:lnTo>
                      <a:pt x="106" y="30"/>
                    </a:lnTo>
                    <a:lnTo>
                      <a:pt x="134" y="18"/>
                    </a:lnTo>
                    <a:lnTo>
                      <a:pt x="180" y="36"/>
                    </a:lnTo>
                    <a:lnTo>
                      <a:pt x="206" y="55"/>
                    </a:lnTo>
                    <a:lnTo>
                      <a:pt x="246" y="49"/>
                    </a:lnTo>
                    <a:lnTo>
                      <a:pt x="286" y="61"/>
                    </a:lnTo>
                    <a:lnTo>
                      <a:pt x="313" y="79"/>
                    </a:lnTo>
                    <a:lnTo>
                      <a:pt x="332" y="91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39" name="Freeform 461">
                <a:extLst>
                  <a:ext uri="{FF2B5EF4-FFF2-40B4-BE49-F238E27FC236}">
                    <a16:creationId xmlns="" xmlns:a16="http://schemas.microsoft.com/office/drawing/2014/main" id="{99602804-0B02-43A3-98AA-20F7241E8C82}"/>
                  </a:ext>
                </a:extLst>
              </p:cNvPr>
              <p:cNvSpPr>
                <a:spLocks/>
              </p:cNvSpPr>
              <p:nvPr>
                <p:custDataLst>
                  <p:tags r:id="rId299"/>
                </p:custDataLst>
              </p:nvPr>
            </p:nvSpPr>
            <p:spPr bwMode="auto">
              <a:xfrm>
                <a:off x="4468813" y="2343150"/>
                <a:ext cx="147637" cy="173038"/>
              </a:xfrm>
              <a:custGeom>
                <a:avLst/>
                <a:gdLst>
                  <a:gd name="T0" fmla="*/ 2147483646 w 331"/>
                  <a:gd name="T1" fmla="*/ 2147483646 h 327"/>
                  <a:gd name="T2" fmla="*/ 2147483646 w 331"/>
                  <a:gd name="T3" fmla="*/ 2147483646 h 327"/>
                  <a:gd name="T4" fmla="*/ 2147483646 w 331"/>
                  <a:gd name="T5" fmla="*/ 2147483646 h 327"/>
                  <a:gd name="T6" fmla="*/ 2147483646 w 331"/>
                  <a:gd name="T7" fmla="*/ 2147483646 h 327"/>
                  <a:gd name="T8" fmla="*/ 2147483646 w 331"/>
                  <a:gd name="T9" fmla="*/ 2147483646 h 327"/>
                  <a:gd name="T10" fmla="*/ 2147483646 w 331"/>
                  <a:gd name="T11" fmla="*/ 2147483646 h 327"/>
                  <a:gd name="T12" fmla="*/ 2147483646 w 331"/>
                  <a:gd name="T13" fmla="*/ 2147483646 h 327"/>
                  <a:gd name="T14" fmla="*/ 2147483646 w 331"/>
                  <a:gd name="T15" fmla="*/ 2147483646 h 327"/>
                  <a:gd name="T16" fmla="*/ 2147483646 w 331"/>
                  <a:gd name="T17" fmla="*/ 2147483646 h 327"/>
                  <a:gd name="T18" fmla="*/ 2147483646 w 331"/>
                  <a:gd name="T19" fmla="*/ 2147483646 h 327"/>
                  <a:gd name="T20" fmla="*/ 2147483646 w 331"/>
                  <a:gd name="T21" fmla="*/ 2147483646 h 327"/>
                  <a:gd name="T22" fmla="*/ 2147483646 w 331"/>
                  <a:gd name="T23" fmla="*/ 2147483646 h 327"/>
                  <a:gd name="T24" fmla="*/ 2147483646 w 331"/>
                  <a:gd name="T25" fmla="*/ 2147483646 h 327"/>
                  <a:gd name="T26" fmla="*/ 2147483646 w 331"/>
                  <a:gd name="T27" fmla="*/ 2147483646 h 327"/>
                  <a:gd name="T28" fmla="*/ 2147483646 w 331"/>
                  <a:gd name="T29" fmla="*/ 2147483646 h 327"/>
                  <a:gd name="T30" fmla="*/ 2147483646 w 331"/>
                  <a:gd name="T31" fmla="*/ 2147483646 h 327"/>
                  <a:gd name="T32" fmla="*/ 2147483646 w 331"/>
                  <a:gd name="T33" fmla="*/ 2147483646 h 327"/>
                  <a:gd name="T34" fmla="*/ 2147483646 w 331"/>
                  <a:gd name="T35" fmla="*/ 2147483646 h 327"/>
                  <a:gd name="T36" fmla="*/ 2147483646 w 331"/>
                  <a:gd name="T37" fmla="*/ 2147483646 h 327"/>
                  <a:gd name="T38" fmla="*/ 2147483646 w 331"/>
                  <a:gd name="T39" fmla="*/ 2147483646 h 327"/>
                  <a:gd name="T40" fmla="*/ 2147483646 w 331"/>
                  <a:gd name="T41" fmla="*/ 2147483646 h 327"/>
                  <a:gd name="T42" fmla="*/ 2147483646 w 331"/>
                  <a:gd name="T43" fmla="*/ 2147483646 h 327"/>
                  <a:gd name="T44" fmla="*/ 2147483646 w 331"/>
                  <a:gd name="T45" fmla="*/ 2147483646 h 327"/>
                  <a:gd name="T46" fmla="*/ 2147483646 w 331"/>
                  <a:gd name="T47" fmla="*/ 2147483646 h 327"/>
                  <a:gd name="T48" fmla="*/ 2147483646 w 331"/>
                  <a:gd name="T49" fmla="*/ 2147483646 h 327"/>
                  <a:gd name="T50" fmla="*/ 2147483646 w 331"/>
                  <a:gd name="T51" fmla="*/ 2147483646 h 327"/>
                  <a:gd name="T52" fmla="*/ 2147483646 w 331"/>
                  <a:gd name="T53" fmla="*/ 2147483646 h 327"/>
                  <a:gd name="T54" fmla="*/ 2147483646 w 331"/>
                  <a:gd name="T55" fmla="*/ 2147483646 h 327"/>
                  <a:gd name="T56" fmla="*/ 2147483646 w 331"/>
                  <a:gd name="T57" fmla="*/ 2147483646 h 327"/>
                  <a:gd name="T58" fmla="*/ 2147483646 w 331"/>
                  <a:gd name="T59" fmla="*/ 2147483646 h 327"/>
                  <a:gd name="T60" fmla="*/ 2147483646 w 331"/>
                  <a:gd name="T61" fmla="*/ 2147483646 h 327"/>
                  <a:gd name="T62" fmla="*/ 2147483646 w 331"/>
                  <a:gd name="T63" fmla="*/ 2147483646 h 327"/>
                  <a:gd name="T64" fmla="*/ 2147483646 w 331"/>
                  <a:gd name="T65" fmla="*/ 2147483646 h 327"/>
                  <a:gd name="T66" fmla="*/ 2147483646 w 331"/>
                  <a:gd name="T67" fmla="*/ 2147483646 h 327"/>
                  <a:gd name="T68" fmla="*/ 2147483646 w 331"/>
                  <a:gd name="T69" fmla="*/ 2147483646 h 327"/>
                  <a:gd name="T70" fmla="*/ 0 w 331"/>
                  <a:gd name="T71" fmla="*/ 2147483646 h 327"/>
                  <a:gd name="T72" fmla="*/ 2147483646 w 331"/>
                  <a:gd name="T73" fmla="*/ 2147483646 h 327"/>
                  <a:gd name="T74" fmla="*/ 2147483646 w 331"/>
                  <a:gd name="T75" fmla="*/ 2147483646 h 327"/>
                  <a:gd name="T76" fmla="*/ 2147483646 w 331"/>
                  <a:gd name="T77" fmla="*/ 2147483646 h 327"/>
                  <a:gd name="T78" fmla="*/ 2147483646 w 331"/>
                  <a:gd name="T79" fmla="*/ 2147483646 h 327"/>
                  <a:gd name="T80" fmla="*/ 2147483646 w 331"/>
                  <a:gd name="T81" fmla="*/ 2147483646 h 327"/>
                  <a:gd name="T82" fmla="*/ 2147483646 w 331"/>
                  <a:gd name="T83" fmla="*/ 2147483646 h 327"/>
                  <a:gd name="T84" fmla="*/ 2147483646 w 331"/>
                  <a:gd name="T85" fmla="*/ 2147483646 h 327"/>
                  <a:gd name="T86" fmla="*/ 2147483646 w 331"/>
                  <a:gd name="T87" fmla="*/ 2147483646 h 327"/>
                  <a:gd name="T88" fmla="*/ 2147483646 w 331"/>
                  <a:gd name="T89" fmla="*/ 2147483646 h 327"/>
                  <a:gd name="T90" fmla="*/ 2147483646 w 331"/>
                  <a:gd name="T91" fmla="*/ 2147483646 h 327"/>
                  <a:gd name="T92" fmla="*/ 2147483646 w 331"/>
                  <a:gd name="T93" fmla="*/ 2147483646 h 327"/>
                  <a:gd name="T94" fmla="*/ 2147483646 w 331"/>
                  <a:gd name="T95" fmla="*/ 2147483646 h 327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331"/>
                  <a:gd name="T145" fmla="*/ 0 h 327"/>
                  <a:gd name="T146" fmla="*/ 331 w 331"/>
                  <a:gd name="T147" fmla="*/ 327 h 327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331" h="327">
                    <a:moveTo>
                      <a:pt x="331" y="56"/>
                    </a:moveTo>
                    <a:lnTo>
                      <a:pt x="245" y="37"/>
                    </a:lnTo>
                    <a:lnTo>
                      <a:pt x="230" y="40"/>
                    </a:lnTo>
                    <a:lnTo>
                      <a:pt x="216" y="44"/>
                    </a:lnTo>
                    <a:lnTo>
                      <a:pt x="204" y="50"/>
                    </a:lnTo>
                    <a:lnTo>
                      <a:pt x="193" y="56"/>
                    </a:lnTo>
                    <a:lnTo>
                      <a:pt x="189" y="59"/>
                    </a:lnTo>
                    <a:lnTo>
                      <a:pt x="185" y="63"/>
                    </a:lnTo>
                    <a:lnTo>
                      <a:pt x="182" y="67"/>
                    </a:lnTo>
                    <a:lnTo>
                      <a:pt x="181" y="72"/>
                    </a:lnTo>
                    <a:lnTo>
                      <a:pt x="180" y="77"/>
                    </a:lnTo>
                    <a:lnTo>
                      <a:pt x="181" y="81"/>
                    </a:lnTo>
                    <a:lnTo>
                      <a:pt x="182" y="87"/>
                    </a:lnTo>
                    <a:lnTo>
                      <a:pt x="185" y="92"/>
                    </a:lnTo>
                    <a:lnTo>
                      <a:pt x="184" y="94"/>
                    </a:lnTo>
                    <a:lnTo>
                      <a:pt x="181" y="98"/>
                    </a:lnTo>
                    <a:lnTo>
                      <a:pt x="179" y="101"/>
                    </a:lnTo>
                    <a:lnTo>
                      <a:pt x="177" y="102"/>
                    </a:lnTo>
                    <a:lnTo>
                      <a:pt x="174" y="105"/>
                    </a:lnTo>
                    <a:lnTo>
                      <a:pt x="172" y="105"/>
                    </a:lnTo>
                    <a:lnTo>
                      <a:pt x="168" y="105"/>
                    </a:lnTo>
                    <a:lnTo>
                      <a:pt x="165" y="102"/>
                    </a:lnTo>
                    <a:lnTo>
                      <a:pt x="162" y="100"/>
                    </a:lnTo>
                    <a:lnTo>
                      <a:pt x="160" y="98"/>
                    </a:lnTo>
                    <a:lnTo>
                      <a:pt x="159" y="92"/>
                    </a:lnTo>
                    <a:lnTo>
                      <a:pt x="159" y="86"/>
                    </a:lnTo>
                    <a:lnTo>
                      <a:pt x="149" y="85"/>
                    </a:lnTo>
                    <a:lnTo>
                      <a:pt x="139" y="82"/>
                    </a:lnTo>
                    <a:lnTo>
                      <a:pt x="132" y="79"/>
                    </a:lnTo>
                    <a:lnTo>
                      <a:pt x="126" y="74"/>
                    </a:lnTo>
                    <a:lnTo>
                      <a:pt x="126" y="83"/>
                    </a:lnTo>
                    <a:lnTo>
                      <a:pt x="126" y="92"/>
                    </a:lnTo>
                    <a:lnTo>
                      <a:pt x="127" y="96"/>
                    </a:lnTo>
                    <a:lnTo>
                      <a:pt x="129" y="101"/>
                    </a:lnTo>
                    <a:lnTo>
                      <a:pt x="135" y="109"/>
                    </a:lnTo>
                    <a:lnTo>
                      <a:pt x="139" y="116"/>
                    </a:lnTo>
                    <a:lnTo>
                      <a:pt x="146" y="122"/>
                    </a:lnTo>
                    <a:lnTo>
                      <a:pt x="151" y="127"/>
                    </a:lnTo>
                    <a:lnTo>
                      <a:pt x="154" y="129"/>
                    </a:lnTo>
                    <a:lnTo>
                      <a:pt x="156" y="130"/>
                    </a:lnTo>
                    <a:lnTo>
                      <a:pt x="157" y="130"/>
                    </a:lnTo>
                    <a:lnTo>
                      <a:pt x="159" y="130"/>
                    </a:lnTo>
                    <a:lnTo>
                      <a:pt x="159" y="147"/>
                    </a:lnTo>
                    <a:lnTo>
                      <a:pt x="159" y="163"/>
                    </a:lnTo>
                    <a:lnTo>
                      <a:pt x="159" y="177"/>
                    </a:lnTo>
                    <a:lnTo>
                      <a:pt x="159" y="191"/>
                    </a:lnTo>
                    <a:lnTo>
                      <a:pt x="159" y="213"/>
                    </a:lnTo>
                    <a:lnTo>
                      <a:pt x="159" y="237"/>
                    </a:lnTo>
                    <a:lnTo>
                      <a:pt x="158" y="242"/>
                    </a:lnTo>
                    <a:lnTo>
                      <a:pt x="157" y="247"/>
                    </a:lnTo>
                    <a:lnTo>
                      <a:pt x="156" y="251"/>
                    </a:lnTo>
                    <a:lnTo>
                      <a:pt x="154" y="254"/>
                    </a:lnTo>
                    <a:lnTo>
                      <a:pt x="150" y="257"/>
                    </a:lnTo>
                    <a:lnTo>
                      <a:pt x="147" y="259"/>
                    </a:lnTo>
                    <a:lnTo>
                      <a:pt x="144" y="259"/>
                    </a:lnTo>
                    <a:lnTo>
                      <a:pt x="139" y="259"/>
                    </a:lnTo>
                    <a:lnTo>
                      <a:pt x="145" y="264"/>
                    </a:lnTo>
                    <a:lnTo>
                      <a:pt x="154" y="270"/>
                    </a:lnTo>
                    <a:lnTo>
                      <a:pt x="158" y="274"/>
                    </a:lnTo>
                    <a:lnTo>
                      <a:pt x="162" y="276"/>
                    </a:lnTo>
                    <a:lnTo>
                      <a:pt x="167" y="277"/>
                    </a:lnTo>
                    <a:lnTo>
                      <a:pt x="172" y="278"/>
                    </a:lnTo>
                    <a:lnTo>
                      <a:pt x="167" y="286"/>
                    </a:lnTo>
                    <a:lnTo>
                      <a:pt x="161" y="291"/>
                    </a:lnTo>
                    <a:lnTo>
                      <a:pt x="158" y="293"/>
                    </a:lnTo>
                    <a:lnTo>
                      <a:pt x="155" y="295"/>
                    </a:lnTo>
                    <a:lnTo>
                      <a:pt x="150" y="296"/>
                    </a:lnTo>
                    <a:lnTo>
                      <a:pt x="146" y="296"/>
                    </a:lnTo>
                    <a:lnTo>
                      <a:pt x="140" y="297"/>
                    </a:lnTo>
                    <a:lnTo>
                      <a:pt x="137" y="299"/>
                    </a:lnTo>
                    <a:lnTo>
                      <a:pt x="134" y="302"/>
                    </a:lnTo>
                    <a:lnTo>
                      <a:pt x="130" y="307"/>
                    </a:lnTo>
                    <a:lnTo>
                      <a:pt x="128" y="311"/>
                    </a:lnTo>
                    <a:lnTo>
                      <a:pt x="127" y="316"/>
                    </a:lnTo>
                    <a:lnTo>
                      <a:pt x="126" y="321"/>
                    </a:lnTo>
                    <a:lnTo>
                      <a:pt x="126" y="327"/>
                    </a:lnTo>
                    <a:lnTo>
                      <a:pt x="122" y="311"/>
                    </a:lnTo>
                    <a:lnTo>
                      <a:pt x="121" y="300"/>
                    </a:lnTo>
                    <a:lnTo>
                      <a:pt x="121" y="296"/>
                    </a:lnTo>
                    <a:lnTo>
                      <a:pt x="122" y="292"/>
                    </a:lnTo>
                    <a:lnTo>
                      <a:pt x="124" y="288"/>
                    </a:lnTo>
                    <a:lnTo>
                      <a:pt x="126" y="284"/>
                    </a:lnTo>
                    <a:lnTo>
                      <a:pt x="116" y="284"/>
                    </a:lnTo>
                    <a:lnTo>
                      <a:pt x="109" y="286"/>
                    </a:lnTo>
                    <a:lnTo>
                      <a:pt x="103" y="288"/>
                    </a:lnTo>
                    <a:lnTo>
                      <a:pt x="98" y="290"/>
                    </a:lnTo>
                    <a:lnTo>
                      <a:pt x="93" y="292"/>
                    </a:lnTo>
                    <a:lnTo>
                      <a:pt x="89" y="294"/>
                    </a:lnTo>
                    <a:lnTo>
                      <a:pt x="83" y="295"/>
                    </a:lnTo>
                    <a:lnTo>
                      <a:pt x="79" y="296"/>
                    </a:lnTo>
                    <a:lnTo>
                      <a:pt x="78" y="272"/>
                    </a:lnTo>
                    <a:lnTo>
                      <a:pt x="74" y="251"/>
                    </a:lnTo>
                    <a:lnTo>
                      <a:pt x="73" y="242"/>
                    </a:lnTo>
                    <a:lnTo>
                      <a:pt x="73" y="234"/>
                    </a:lnTo>
                    <a:lnTo>
                      <a:pt x="76" y="225"/>
                    </a:lnTo>
                    <a:lnTo>
                      <a:pt x="79" y="216"/>
                    </a:lnTo>
                    <a:lnTo>
                      <a:pt x="68" y="216"/>
                    </a:lnTo>
                    <a:lnTo>
                      <a:pt x="57" y="213"/>
                    </a:lnTo>
                    <a:lnTo>
                      <a:pt x="48" y="211"/>
                    </a:lnTo>
                    <a:lnTo>
                      <a:pt x="40" y="207"/>
                    </a:lnTo>
                    <a:lnTo>
                      <a:pt x="34" y="203"/>
                    </a:lnTo>
                    <a:lnTo>
                      <a:pt x="28" y="198"/>
                    </a:lnTo>
                    <a:lnTo>
                      <a:pt x="23" y="193"/>
                    </a:lnTo>
                    <a:lnTo>
                      <a:pt x="20" y="187"/>
                    </a:lnTo>
                    <a:lnTo>
                      <a:pt x="13" y="173"/>
                    </a:lnTo>
                    <a:lnTo>
                      <a:pt x="9" y="158"/>
                    </a:lnTo>
                    <a:lnTo>
                      <a:pt x="4" y="144"/>
                    </a:lnTo>
                    <a:lnTo>
                      <a:pt x="0" y="130"/>
                    </a:lnTo>
                    <a:lnTo>
                      <a:pt x="10" y="124"/>
                    </a:lnTo>
                    <a:lnTo>
                      <a:pt x="19" y="118"/>
                    </a:lnTo>
                    <a:lnTo>
                      <a:pt x="28" y="111"/>
                    </a:lnTo>
                    <a:lnTo>
                      <a:pt x="37" y="101"/>
                    </a:lnTo>
                    <a:lnTo>
                      <a:pt x="45" y="92"/>
                    </a:lnTo>
                    <a:lnTo>
                      <a:pt x="50" y="81"/>
                    </a:lnTo>
                    <a:lnTo>
                      <a:pt x="56" y="69"/>
                    </a:lnTo>
                    <a:lnTo>
                      <a:pt x="59" y="56"/>
                    </a:lnTo>
                    <a:lnTo>
                      <a:pt x="73" y="55"/>
                    </a:lnTo>
                    <a:lnTo>
                      <a:pt x="88" y="52"/>
                    </a:lnTo>
                    <a:lnTo>
                      <a:pt x="102" y="47"/>
                    </a:lnTo>
                    <a:lnTo>
                      <a:pt x="115" y="41"/>
                    </a:lnTo>
                    <a:lnTo>
                      <a:pt x="140" y="29"/>
                    </a:lnTo>
                    <a:lnTo>
                      <a:pt x="166" y="19"/>
                    </a:lnTo>
                    <a:lnTo>
                      <a:pt x="180" y="14"/>
                    </a:lnTo>
                    <a:lnTo>
                      <a:pt x="192" y="10"/>
                    </a:lnTo>
                    <a:lnTo>
                      <a:pt x="205" y="8"/>
                    </a:lnTo>
                    <a:lnTo>
                      <a:pt x="218" y="7"/>
                    </a:lnTo>
                    <a:lnTo>
                      <a:pt x="230" y="8"/>
                    </a:lnTo>
                    <a:lnTo>
                      <a:pt x="240" y="10"/>
                    </a:lnTo>
                    <a:lnTo>
                      <a:pt x="249" y="14"/>
                    </a:lnTo>
                    <a:lnTo>
                      <a:pt x="257" y="19"/>
                    </a:lnTo>
                    <a:lnTo>
                      <a:pt x="264" y="23"/>
                    </a:lnTo>
                    <a:lnTo>
                      <a:pt x="271" y="27"/>
                    </a:lnTo>
                    <a:lnTo>
                      <a:pt x="278" y="30"/>
                    </a:lnTo>
                    <a:lnTo>
                      <a:pt x="285" y="31"/>
                    </a:lnTo>
                    <a:lnTo>
                      <a:pt x="292" y="30"/>
                    </a:lnTo>
                    <a:lnTo>
                      <a:pt x="297" y="28"/>
                    </a:lnTo>
                    <a:lnTo>
                      <a:pt x="303" y="24"/>
                    </a:lnTo>
                    <a:lnTo>
                      <a:pt x="307" y="20"/>
                    </a:lnTo>
                    <a:lnTo>
                      <a:pt x="316" y="10"/>
                    </a:lnTo>
                    <a:lnTo>
                      <a:pt x="325" y="0"/>
                    </a:lnTo>
                    <a:lnTo>
                      <a:pt x="327" y="6"/>
                    </a:lnTo>
                    <a:lnTo>
                      <a:pt x="329" y="14"/>
                    </a:lnTo>
                    <a:lnTo>
                      <a:pt x="330" y="23"/>
                    </a:lnTo>
                    <a:lnTo>
                      <a:pt x="330" y="32"/>
                    </a:lnTo>
                    <a:lnTo>
                      <a:pt x="331" y="49"/>
                    </a:lnTo>
                    <a:lnTo>
                      <a:pt x="331" y="56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40" name="Freeform 462">
                <a:extLst>
                  <a:ext uri="{FF2B5EF4-FFF2-40B4-BE49-F238E27FC236}">
                    <a16:creationId xmlns="" xmlns:a16="http://schemas.microsoft.com/office/drawing/2014/main" id="{18EA4AF3-D19D-4D14-9C7A-B70D9D74601C}"/>
                  </a:ext>
                </a:extLst>
              </p:cNvPr>
              <p:cNvSpPr>
                <a:spLocks/>
              </p:cNvSpPr>
              <p:nvPr>
                <p:custDataLst>
                  <p:tags r:id="rId300"/>
                </p:custDataLst>
              </p:nvPr>
            </p:nvSpPr>
            <p:spPr bwMode="auto">
              <a:xfrm>
                <a:off x="4552950" y="2535238"/>
                <a:ext cx="69850" cy="57150"/>
              </a:xfrm>
              <a:custGeom>
                <a:avLst/>
                <a:gdLst>
                  <a:gd name="T0" fmla="*/ 0 w 153"/>
                  <a:gd name="T1" fmla="*/ 0 h 49"/>
                  <a:gd name="T2" fmla="*/ 2147483646 w 153"/>
                  <a:gd name="T3" fmla="*/ 2147483646 h 49"/>
                  <a:gd name="T4" fmla="*/ 2147483646 w 153"/>
                  <a:gd name="T5" fmla="*/ 2147483646 h 49"/>
                  <a:gd name="T6" fmla="*/ 2147483646 w 153"/>
                  <a:gd name="T7" fmla="*/ 2147483646 h 49"/>
                  <a:gd name="T8" fmla="*/ 2147483646 w 153"/>
                  <a:gd name="T9" fmla="*/ 2147483646 h 49"/>
                  <a:gd name="T10" fmla="*/ 2147483646 w 153"/>
                  <a:gd name="T11" fmla="*/ 2147483646 h 49"/>
                  <a:gd name="T12" fmla="*/ 2147483646 w 153"/>
                  <a:gd name="T13" fmla="*/ 2147483646 h 49"/>
                  <a:gd name="T14" fmla="*/ 2147483646 w 153"/>
                  <a:gd name="T15" fmla="*/ 2147483646 h 49"/>
                  <a:gd name="T16" fmla="*/ 2147483646 w 153"/>
                  <a:gd name="T17" fmla="*/ 0 h 49"/>
                  <a:gd name="T18" fmla="*/ 2147483646 w 153"/>
                  <a:gd name="T19" fmla="*/ 2147483646 h 49"/>
                  <a:gd name="T20" fmla="*/ 2147483646 w 153"/>
                  <a:gd name="T21" fmla="*/ 2147483646 h 49"/>
                  <a:gd name="T22" fmla="*/ 2147483646 w 153"/>
                  <a:gd name="T23" fmla="*/ 2147483646 h 49"/>
                  <a:gd name="T24" fmla="*/ 2147483646 w 153"/>
                  <a:gd name="T25" fmla="*/ 2147483646 h 49"/>
                  <a:gd name="T26" fmla="*/ 2147483646 w 153"/>
                  <a:gd name="T27" fmla="*/ 2147483646 h 49"/>
                  <a:gd name="T28" fmla="*/ 2147483646 w 153"/>
                  <a:gd name="T29" fmla="*/ 2147483646 h 49"/>
                  <a:gd name="T30" fmla="*/ 2147483646 w 153"/>
                  <a:gd name="T31" fmla="*/ 2147483646 h 49"/>
                  <a:gd name="T32" fmla="*/ 2147483646 w 153"/>
                  <a:gd name="T33" fmla="*/ 2147483646 h 49"/>
                  <a:gd name="T34" fmla="*/ 2147483646 w 153"/>
                  <a:gd name="T35" fmla="*/ 2147483646 h 49"/>
                  <a:gd name="T36" fmla="*/ 2147483646 w 153"/>
                  <a:gd name="T37" fmla="*/ 2147483646 h 49"/>
                  <a:gd name="T38" fmla="*/ 2147483646 w 153"/>
                  <a:gd name="T39" fmla="*/ 2147483646 h 49"/>
                  <a:gd name="T40" fmla="*/ 2147483646 w 153"/>
                  <a:gd name="T41" fmla="*/ 2147483646 h 49"/>
                  <a:gd name="T42" fmla="*/ 2147483646 w 153"/>
                  <a:gd name="T43" fmla="*/ 2147483646 h 49"/>
                  <a:gd name="T44" fmla="*/ 2147483646 w 153"/>
                  <a:gd name="T45" fmla="*/ 2147483646 h 49"/>
                  <a:gd name="T46" fmla="*/ 2147483646 w 153"/>
                  <a:gd name="T47" fmla="*/ 2147483646 h 49"/>
                  <a:gd name="T48" fmla="*/ 0 w 153"/>
                  <a:gd name="T49" fmla="*/ 2147483646 h 49"/>
                  <a:gd name="T50" fmla="*/ 0 w 153"/>
                  <a:gd name="T51" fmla="*/ 0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53"/>
                  <a:gd name="T79" fmla="*/ 0 h 49"/>
                  <a:gd name="T80" fmla="*/ 153 w 153"/>
                  <a:gd name="T81" fmla="*/ 49 h 49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53" h="49">
                    <a:moveTo>
                      <a:pt x="0" y="0"/>
                    </a:moveTo>
                    <a:lnTo>
                      <a:pt x="44" y="2"/>
                    </a:lnTo>
                    <a:lnTo>
                      <a:pt x="83" y="6"/>
                    </a:lnTo>
                    <a:lnTo>
                      <a:pt x="103" y="8"/>
                    </a:lnTo>
                    <a:lnTo>
                      <a:pt x="121" y="7"/>
                    </a:lnTo>
                    <a:lnTo>
                      <a:pt x="130" y="6"/>
                    </a:lnTo>
                    <a:lnTo>
                      <a:pt x="137" y="5"/>
                    </a:lnTo>
                    <a:lnTo>
                      <a:pt x="145" y="3"/>
                    </a:lnTo>
                    <a:lnTo>
                      <a:pt x="153" y="0"/>
                    </a:lnTo>
                    <a:lnTo>
                      <a:pt x="153" y="9"/>
                    </a:lnTo>
                    <a:lnTo>
                      <a:pt x="153" y="25"/>
                    </a:lnTo>
                    <a:lnTo>
                      <a:pt x="143" y="31"/>
                    </a:lnTo>
                    <a:lnTo>
                      <a:pt x="133" y="36"/>
                    </a:lnTo>
                    <a:lnTo>
                      <a:pt x="124" y="40"/>
                    </a:lnTo>
                    <a:lnTo>
                      <a:pt x="114" y="44"/>
                    </a:lnTo>
                    <a:lnTo>
                      <a:pt x="106" y="46"/>
                    </a:lnTo>
                    <a:lnTo>
                      <a:pt x="99" y="48"/>
                    </a:lnTo>
                    <a:lnTo>
                      <a:pt x="92" y="49"/>
                    </a:lnTo>
                    <a:lnTo>
                      <a:pt x="87" y="49"/>
                    </a:lnTo>
                    <a:lnTo>
                      <a:pt x="72" y="48"/>
                    </a:lnTo>
                    <a:lnTo>
                      <a:pt x="60" y="46"/>
                    </a:lnTo>
                    <a:lnTo>
                      <a:pt x="50" y="43"/>
                    </a:lnTo>
                    <a:lnTo>
                      <a:pt x="41" y="38"/>
                    </a:lnTo>
                    <a:lnTo>
                      <a:pt x="22" y="2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41" name="Freeform 463">
                <a:extLst>
                  <a:ext uri="{FF2B5EF4-FFF2-40B4-BE49-F238E27FC236}">
                    <a16:creationId xmlns="" xmlns:a16="http://schemas.microsoft.com/office/drawing/2014/main" id="{3562524D-12B8-4B5C-A1AF-30AFD396A257}"/>
                  </a:ext>
                </a:extLst>
              </p:cNvPr>
              <p:cNvSpPr>
                <a:spLocks/>
              </p:cNvSpPr>
              <p:nvPr>
                <p:custDataLst>
                  <p:tags r:id="rId301"/>
                </p:custDataLst>
              </p:nvPr>
            </p:nvSpPr>
            <p:spPr bwMode="auto">
              <a:xfrm>
                <a:off x="3632200" y="3267075"/>
                <a:ext cx="187325" cy="158750"/>
              </a:xfrm>
              <a:custGeom>
                <a:avLst/>
                <a:gdLst>
                  <a:gd name="T0" fmla="*/ 2147483646 w 426"/>
                  <a:gd name="T1" fmla="*/ 2147483646 h 299"/>
                  <a:gd name="T2" fmla="*/ 2147483646 w 426"/>
                  <a:gd name="T3" fmla="*/ 2147483646 h 299"/>
                  <a:gd name="T4" fmla="*/ 2147483646 w 426"/>
                  <a:gd name="T5" fmla="*/ 2147483646 h 299"/>
                  <a:gd name="T6" fmla="*/ 2147483646 w 426"/>
                  <a:gd name="T7" fmla="*/ 2147483646 h 299"/>
                  <a:gd name="T8" fmla="*/ 2147483646 w 426"/>
                  <a:gd name="T9" fmla="*/ 2147483646 h 299"/>
                  <a:gd name="T10" fmla="*/ 2147483646 w 426"/>
                  <a:gd name="T11" fmla="*/ 2147483646 h 299"/>
                  <a:gd name="T12" fmla="*/ 2147483646 w 426"/>
                  <a:gd name="T13" fmla="*/ 2147483646 h 299"/>
                  <a:gd name="T14" fmla="*/ 2147483646 w 426"/>
                  <a:gd name="T15" fmla="*/ 2147483646 h 299"/>
                  <a:gd name="T16" fmla="*/ 2147483646 w 426"/>
                  <a:gd name="T17" fmla="*/ 2147483646 h 299"/>
                  <a:gd name="T18" fmla="*/ 2147483646 w 426"/>
                  <a:gd name="T19" fmla="*/ 2147483646 h 299"/>
                  <a:gd name="T20" fmla="*/ 2147483646 w 426"/>
                  <a:gd name="T21" fmla="*/ 2147483646 h 299"/>
                  <a:gd name="T22" fmla="*/ 2147483646 w 426"/>
                  <a:gd name="T23" fmla="*/ 2147483646 h 299"/>
                  <a:gd name="T24" fmla="*/ 2147483646 w 426"/>
                  <a:gd name="T25" fmla="*/ 2147483646 h 299"/>
                  <a:gd name="T26" fmla="*/ 2147483646 w 426"/>
                  <a:gd name="T27" fmla="*/ 2147483646 h 299"/>
                  <a:gd name="T28" fmla="*/ 2147483646 w 426"/>
                  <a:gd name="T29" fmla="*/ 2147483646 h 299"/>
                  <a:gd name="T30" fmla="*/ 2147483646 w 426"/>
                  <a:gd name="T31" fmla="*/ 2147483646 h 299"/>
                  <a:gd name="T32" fmla="*/ 2147483646 w 426"/>
                  <a:gd name="T33" fmla="*/ 2147483646 h 299"/>
                  <a:gd name="T34" fmla="*/ 2147483646 w 426"/>
                  <a:gd name="T35" fmla="*/ 2147483646 h 299"/>
                  <a:gd name="T36" fmla="*/ 2147483646 w 426"/>
                  <a:gd name="T37" fmla="*/ 2147483646 h 299"/>
                  <a:gd name="T38" fmla="*/ 2147483646 w 426"/>
                  <a:gd name="T39" fmla="*/ 2147483646 h 299"/>
                  <a:gd name="T40" fmla="*/ 2147483646 w 426"/>
                  <a:gd name="T41" fmla="*/ 2147483646 h 299"/>
                  <a:gd name="T42" fmla="*/ 2147483646 w 426"/>
                  <a:gd name="T43" fmla="*/ 2147483646 h 299"/>
                  <a:gd name="T44" fmla="*/ 2147483646 w 426"/>
                  <a:gd name="T45" fmla="*/ 2147483646 h 299"/>
                  <a:gd name="T46" fmla="*/ 2147483646 w 426"/>
                  <a:gd name="T47" fmla="*/ 2147483646 h 299"/>
                  <a:gd name="T48" fmla="*/ 2147483646 w 426"/>
                  <a:gd name="T49" fmla="*/ 2147483646 h 299"/>
                  <a:gd name="T50" fmla="*/ 2147483646 w 426"/>
                  <a:gd name="T51" fmla="*/ 2147483646 h 299"/>
                  <a:gd name="T52" fmla="*/ 2147483646 w 426"/>
                  <a:gd name="T53" fmla="*/ 2147483646 h 299"/>
                  <a:gd name="T54" fmla="*/ 2147483646 w 426"/>
                  <a:gd name="T55" fmla="*/ 2147483646 h 299"/>
                  <a:gd name="T56" fmla="*/ 2147483646 w 426"/>
                  <a:gd name="T57" fmla="*/ 2147483646 h 299"/>
                  <a:gd name="T58" fmla="*/ 2147483646 w 426"/>
                  <a:gd name="T59" fmla="*/ 2147483646 h 299"/>
                  <a:gd name="T60" fmla="*/ 2147483646 w 426"/>
                  <a:gd name="T61" fmla="*/ 2147483646 h 299"/>
                  <a:gd name="T62" fmla="*/ 2147483646 w 426"/>
                  <a:gd name="T63" fmla="*/ 2147483646 h 299"/>
                  <a:gd name="T64" fmla="*/ 2147483646 w 426"/>
                  <a:gd name="T65" fmla="*/ 2147483646 h 299"/>
                  <a:gd name="T66" fmla="*/ 2147483646 w 426"/>
                  <a:gd name="T67" fmla="*/ 2147483646 h 299"/>
                  <a:gd name="T68" fmla="*/ 2147483646 w 426"/>
                  <a:gd name="T69" fmla="*/ 2147483646 h 299"/>
                  <a:gd name="T70" fmla="*/ 2147483646 w 426"/>
                  <a:gd name="T71" fmla="*/ 2147483646 h 299"/>
                  <a:gd name="T72" fmla="*/ 2147483646 w 426"/>
                  <a:gd name="T73" fmla="*/ 2147483646 h 299"/>
                  <a:gd name="T74" fmla="*/ 2147483646 w 426"/>
                  <a:gd name="T75" fmla="*/ 2147483646 h 299"/>
                  <a:gd name="T76" fmla="*/ 2147483646 w 426"/>
                  <a:gd name="T77" fmla="*/ 2147483646 h 299"/>
                  <a:gd name="T78" fmla="*/ 2147483646 w 426"/>
                  <a:gd name="T79" fmla="*/ 2147483646 h 299"/>
                  <a:gd name="T80" fmla="*/ 2147483646 w 426"/>
                  <a:gd name="T81" fmla="*/ 2147483646 h 299"/>
                  <a:gd name="T82" fmla="*/ 2147483646 w 426"/>
                  <a:gd name="T83" fmla="*/ 2147483646 h 299"/>
                  <a:gd name="T84" fmla="*/ 2147483646 w 426"/>
                  <a:gd name="T85" fmla="*/ 2147483646 h 299"/>
                  <a:gd name="T86" fmla="*/ 2147483646 w 426"/>
                  <a:gd name="T87" fmla="*/ 2147483646 h 299"/>
                  <a:gd name="T88" fmla="*/ 2147483646 w 426"/>
                  <a:gd name="T89" fmla="*/ 2147483646 h 299"/>
                  <a:gd name="T90" fmla="*/ 2147483646 w 426"/>
                  <a:gd name="T91" fmla="*/ 2147483646 h 299"/>
                  <a:gd name="T92" fmla="*/ 2147483646 w 426"/>
                  <a:gd name="T93" fmla="*/ 2147483646 h 299"/>
                  <a:gd name="T94" fmla="*/ 2147483646 w 426"/>
                  <a:gd name="T95" fmla="*/ 2147483646 h 299"/>
                  <a:gd name="T96" fmla="*/ 2147483646 w 426"/>
                  <a:gd name="T97" fmla="*/ 2147483646 h 299"/>
                  <a:gd name="T98" fmla="*/ 2147483646 w 426"/>
                  <a:gd name="T99" fmla="*/ 2147483646 h 299"/>
                  <a:gd name="T100" fmla="*/ 2147483646 w 426"/>
                  <a:gd name="T101" fmla="*/ 2147483646 h 299"/>
                  <a:gd name="T102" fmla="*/ 2147483646 w 426"/>
                  <a:gd name="T103" fmla="*/ 2147483646 h 299"/>
                  <a:gd name="T104" fmla="*/ 2147483646 w 426"/>
                  <a:gd name="T105" fmla="*/ 2147483646 h 299"/>
                  <a:gd name="T106" fmla="*/ 2147483646 w 426"/>
                  <a:gd name="T107" fmla="*/ 2147483646 h 299"/>
                  <a:gd name="T108" fmla="*/ 2147483646 w 426"/>
                  <a:gd name="T109" fmla="*/ 2147483646 h 299"/>
                  <a:gd name="T110" fmla="*/ 2147483646 w 426"/>
                  <a:gd name="T111" fmla="*/ 2147483646 h 299"/>
                  <a:gd name="T112" fmla="*/ 2147483646 w 426"/>
                  <a:gd name="T113" fmla="*/ 2147483646 h 299"/>
                  <a:gd name="T114" fmla="*/ 2147483646 w 426"/>
                  <a:gd name="T115" fmla="*/ 2147483646 h 299"/>
                  <a:gd name="T116" fmla="*/ 2147483646 w 426"/>
                  <a:gd name="T117" fmla="*/ 2147483646 h 299"/>
                  <a:gd name="T118" fmla="*/ 2147483646 w 426"/>
                  <a:gd name="T119" fmla="*/ 2147483646 h 299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426"/>
                  <a:gd name="T181" fmla="*/ 0 h 299"/>
                  <a:gd name="T182" fmla="*/ 426 w 426"/>
                  <a:gd name="T183" fmla="*/ 299 h 299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426" h="299">
                    <a:moveTo>
                      <a:pt x="179" y="13"/>
                    </a:moveTo>
                    <a:lnTo>
                      <a:pt x="194" y="16"/>
                    </a:lnTo>
                    <a:lnTo>
                      <a:pt x="207" y="19"/>
                    </a:lnTo>
                    <a:lnTo>
                      <a:pt x="216" y="22"/>
                    </a:lnTo>
                    <a:lnTo>
                      <a:pt x="223" y="24"/>
                    </a:lnTo>
                    <a:lnTo>
                      <a:pt x="230" y="29"/>
                    </a:lnTo>
                    <a:lnTo>
                      <a:pt x="233" y="31"/>
                    </a:lnTo>
                    <a:lnTo>
                      <a:pt x="253" y="35"/>
                    </a:lnTo>
                    <a:lnTo>
                      <a:pt x="269" y="37"/>
                    </a:lnTo>
                    <a:lnTo>
                      <a:pt x="279" y="37"/>
                    </a:lnTo>
                    <a:lnTo>
                      <a:pt x="285" y="37"/>
                    </a:lnTo>
                    <a:lnTo>
                      <a:pt x="300" y="37"/>
                    </a:lnTo>
                    <a:lnTo>
                      <a:pt x="314" y="36"/>
                    </a:lnTo>
                    <a:lnTo>
                      <a:pt x="319" y="34"/>
                    </a:lnTo>
                    <a:lnTo>
                      <a:pt x="325" y="32"/>
                    </a:lnTo>
                    <a:lnTo>
                      <a:pt x="329" y="29"/>
                    </a:lnTo>
                    <a:lnTo>
                      <a:pt x="331" y="25"/>
                    </a:lnTo>
                    <a:lnTo>
                      <a:pt x="365" y="25"/>
                    </a:lnTo>
                    <a:lnTo>
                      <a:pt x="368" y="37"/>
                    </a:lnTo>
                    <a:lnTo>
                      <a:pt x="372" y="49"/>
                    </a:lnTo>
                    <a:lnTo>
                      <a:pt x="376" y="62"/>
                    </a:lnTo>
                    <a:lnTo>
                      <a:pt x="383" y="74"/>
                    </a:lnTo>
                    <a:lnTo>
                      <a:pt x="386" y="79"/>
                    </a:lnTo>
                    <a:lnTo>
                      <a:pt x="391" y="84"/>
                    </a:lnTo>
                    <a:lnTo>
                      <a:pt x="395" y="88"/>
                    </a:lnTo>
                    <a:lnTo>
                      <a:pt x="400" y="92"/>
                    </a:lnTo>
                    <a:lnTo>
                      <a:pt x="405" y="95"/>
                    </a:lnTo>
                    <a:lnTo>
                      <a:pt x="412" y="97"/>
                    </a:lnTo>
                    <a:lnTo>
                      <a:pt x="418" y="98"/>
                    </a:lnTo>
                    <a:lnTo>
                      <a:pt x="425" y="99"/>
                    </a:lnTo>
                    <a:lnTo>
                      <a:pt x="425" y="111"/>
                    </a:lnTo>
                    <a:lnTo>
                      <a:pt x="425" y="120"/>
                    </a:lnTo>
                    <a:lnTo>
                      <a:pt x="425" y="130"/>
                    </a:lnTo>
                    <a:lnTo>
                      <a:pt x="425" y="142"/>
                    </a:lnTo>
                    <a:lnTo>
                      <a:pt x="419" y="151"/>
                    </a:lnTo>
                    <a:lnTo>
                      <a:pt x="416" y="158"/>
                    </a:lnTo>
                    <a:lnTo>
                      <a:pt x="413" y="164"/>
                    </a:lnTo>
                    <a:lnTo>
                      <a:pt x="412" y="170"/>
                    </a:lnTo>
                    <a:lnTo>
                      <a:pt x="412" y="175"/>
                    </a:lnTo>
                    <a:lnTo>
                      <a:pt x="412" y="181"/>
                    </a:lnTo>
                    <a:lnTo>
                      <a:pt x="414" y="186"/>
                    </a:lnTo>
                    <a:lnTo>
                      <a:pt x="415" y="190"/>
                    </a:lnTo>
                    <a:lnTo>
                      <a:pt x="419" y="200"/>
                    </a:lnTo>
                    <a:lnTo>
                      <a:pt x="423" y="211"/>
                    </a:lnTo>
                    <a:lnTo>
                      <a:pt x="425" y="218"/>
                    </a:lnTo>
                    <a:lnTo>
                      <a:pt x="426" y="226"/>
                    </a:lnTo>
                    <a:lnTo>
                      <a:pt x="426" y="236"/>
                    </a:lnTo>
                    <a:lnTo>
                      <a:pt x="425" y="247"/>
                    </a:lnTo>
                    <a:lnTo>
                      <a:pt x="426" y="261"/>
                    </a:lnTo>
                    <a:lnTo>
                      <a:pt x="426" y="274"/>
                    </a:lnTo>
                    <a:lnTo>
                      <a:pt x="425" y="280"/>
                    </a:lnTo>
                    <a:lnTo>
                      <a:pt x="423" y="285"/>
                    </a:lnTo>
                    <a:lnTo>
                      <a:pt x="418" y="292"/>
                    </a:lnTo>
                    <a:lnTo>
                      <a:pt x="412" y="296"/>
                    </a:lnTo>
                    <a:lnTo>
                      <a:pt x="385" y="296"/>
                    </a:lnTo>
                    <a:lnTo>
                      <a:pt x="380" y="298"/>
                    </a:lnTo>
                    <a:lnTo>
                      <a:pt x="375" y="299"/>
                    </a:lnTo>
                    <a:lnTo>
                      <a:pt x="370" y="299"/>
                    </a:lnTo>
                    <a:lnTo>
                      <a:pt x="365" y="297"/>
                    </a:lnTo>
                    <a:lnTo>
                      <a:pt x="360" y="296"/>
                    </a:lnTo>
                    <a:lnTo>
                      <a:pt x="356" y="293"/>
                    </a:lnTo>
                    <a:lnTo>
                      <a:pt x="351" y="290"/>
                    </a:lnTo>
                    <a:lnTo>
                      <a:pt x="347" y="286"/>
                    </a:lnTo>
                    <a:lnTo>
                      <a:pt x="338" y="278"/>
                    </a:lnTo>
                    <a:lnTo>
                      <a:pt x="330" y="269"/>
                    </a:lnTo>
                    <a:lnTo>
                      <a:pt x="324" y="261"/>
                    </a:lnTo>
                    <a:lnTo>
                      <a:pt x="318" y="253"/>
                    </a:lnTo>
                    <a:lnTo>
                      <a:pt x="311" y="253"/>
                    </a:lnTo>
                    <a:lnTo>
                      <a:pt x="304" y="252"/>
                    </a:lnTo>
                    <a:lnTo>
                      <a:pt x="294" y="251"/>
                    </a:lnTo>
                    <a:lnTo>
                      <a:pt x="279" y="247"/>
                    </a:lnTo>
                    <a:lnTo>
                      <a:pt x="278" y="232"/>
                    </a:lnTo>
                    <a:lnTo>
                      <a:pt x="275" y="217"/>
                    </a:lnTo>
                    <a:lnTo>
                      <a:pt x="274" y="210"/>
                    </a:lnTo>
                    <a:lnTo>
                      <a:pt x="272" y="203"/>
                    </a:lnTo>
                    <a:lnTo>
                      <a:pt x="269" y="197"/>
                    </a:lnTo>
                    <a:lnTo>
                      <a:pt x="266" y="190"/>
                    </a:lnTo>
                    <a:lnTo>
                      <a:pt x="261" y="184"/>
                    </a:lnTo>
                    <a:lnTo>
                      <a:pt x="257" y="179"/>
                    </a:lnTo>
                    <a:lnTo>
                      <a:pt x="251" y="173"/>
                    </a:lnTo>
                    <a:lnTo>
                      <a:pt x="245" y="168"/>
                    </a:lnTo>
                    <a:lnTo>
                      <a:pt x="238" y="165"/>
                    </a:lnTo>
                    <a:lnTo>
                      <a:pt x="230" y="162"/>
                    </a:lnTo>
                    <a:lnTo>
                      <a:pt x="222" y="161"/>
                    </a:lnTo>
                    <a:lnTo>
                      <a:pt x="213" y="160"/>
                    </a:lnTo>
                    <a:lnTo>
                      <a:pt x="204" y="161"/>
                    </a:lnTo>
                    <a:lnTo>
                      <a:pt x="195" y="162"/>
                    </a:lnTo>
                    <a:lnTo>
                      <a:pt x="188" y="163"/>
                    </a:lnTo>
                    <a:lnTo>
                      <a:pt x="181" y="166"/>
                    </a:lnTo>
                    <a:lnTo>
                      <a:pt x="173" y="168"/>
                    </a:lnTo>
                    <a:lnTo>
                      <a:pt x="167" y="172"/>
                    </a:lnTo>
                    <a:lnTo>
                      <a:pt x="160" y="176"/>
                    </a:lnTo>
                    <a:lnTo>
                      <a:pt x="155" y="181"/>
                    </a:lnTo>
                    <a:lnTo>
                      <a:pt x="141" y="191"/>
                    </a:lnTo>
                    <a:lnTo>
                      <a:pt x="131" y="202"/>
                    </a:lnTo>
                    <a:lnTo>
                      <a:pt x="118" y="215"/>
                    </a:lnTo>
                    <a:lnTo>
                      <a:pt x="106" y="228"/>
                    </a:lnTo>
                    <a:lnTo>
                      <a:pt x="105" y="218"/>
                    </a:lnTo>
                    <a:lnTo>
                      <a:pt x="103" y="209"/>
                    </a:lnTo>
                    <a:lnTo>
                      <a:pt x="100" y="201"/>
                    </a:lnTo>
                    <a:lnTo>
                      <a:pt x="95" y="193"/>
                    </a:lnTo>
                    <a:lnTo>
                      <a:pt x="90" y="186"/>
                    </a:lnTo>
                    <a:lnTo>
                      <a:pt x="83" y="179"/>
                    </a:lnTo>
                    <a:lnTo>
                      <a:pt x="76" y="171"/>
                    </a:lnTo>
                    <a:lnTo>
                      <a:pt x="68" y="165"/>
                    </a:lnTo>
                    <a:lnTo>
                      <a:pt x="50" y="153"/>
                    </a:lnTo>
                    <a:lnTo>
                      <a:pt x="33" y="140"/>
                    </a:lnTo>
                    <a:lnTo>
                      <a:pt x="24" y="134"/>
                    </a:lnTo>
                    <a:lnTo>
                      <a:pt x="15" y="127"/>
                    </a:lnTo>
                    <a:lnTo>
                      <a:pt x="8" y="119"/>
                    </a:lnTo>
                    <a:lnTo>
                      <a:pt x="0" y="111"/>
                    </a:lnTo>
                    <a:lnTo>
                      <a:pt x="15" y="101"/>
                    </a:lnTo>
                    <a:lnTo>
                      <a:pt x="31" y="90"/>
                    </a:lnTo>
                    <a:lnTo>
                      <a:pt x="46" y="77"/>
                    </a:lnTo>
                    <a:lnTo>
                      <a:pt x="60" y="62"/>
                    </a:lnTo>
                    <a:lnTo>
                      <a:pt x="75" y="48"/>
                    </a:lnTo>
                    <a:lnTo>
                      <a:pt x="87" y="33"/>
                    </a:lnTo>
                    <a:lnTo>
                      <a:pt x="98" y="17"/>
                    </a:lnTo>
                    <a:lnTo>
                      <a:pt x="106" y="0"/>
                    </a:lnTo>
                    <a:lnTo>
                      <a:pt x="179" y="13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42" name="Freeform 464">
                <a:extLst>
                  <a:ext uri="{FF2B5EF4-FFF2-40B4-BE49-F238E27FC236}">
                    <a16:creationId xmlns="" xmlns:a16="http://schemas.microsoft.com/office/drawing/2014/main" id="{9F3048CF-5E71-47FB-B7B3-36F5B80BEE05}"/>
                  </a:ext>
                </a:extLst>
              </p:cNvPr>
              <p:cNvSpPr>
                <a:spLocks/>
              </p:cNvSpPr>
              <p:nvPr>
                <p:custDataLst>
                  <p:tags r:id="rId302"/>
                </p:custDataLst>
              </p:nvPr>
            </p:nvSpPr>
            <p:spPr bwMode="auto">
              <a:xfrm>
                <a:off x="5676900" y="2530475"/>
                <a:ext cx="692150" cy="874713"/>
              </a:xfrm>
              <a:custGeom>
                <a:avLst/>
                <a:gdLst>
                  <a:gd name="T0" fmla="*/ 2147483646 w 1594"/>
                  <a:gd name="T1" fmla="*/ 2147483646 h 1670"/>
                  <a:gd name="T2" fmla="*/ 2147483646 w 1594"/>
                  <a:gd name="T3" fmla="*/ 2147483646 h 1670"/>
                  <a:gd name="T4" fmla="*/ 2147483646 w 1594"/>
                  <a:gd name="T5" fmla="*/ 2147483646 h 1670"/>
                  <a:gd name="T6" fmla="*/ 2147483646 w 1594"/>
                  <a:gd name="T7" fmla="*/ 2147483646 h 1670"/>
                  <a:gd name="T8" fmla="*/ 2147483646 w 1594"/>
                  <a:gd name="T9" fmla="*/ 2147483646 h 1670"/>
                  <a:gd name="T10" fmla="*/ 2147483646 w 1594"/>
                  <a:gd name="T11" fmla="*/ 2147483646 h 1670"/>
                  <a:gd name="T12" fmla="*/ 2147483646 w 1594"/>
                  <a:gd name="T13" fmla="*/ 2147483646 h 1670"/>
                  <a:gd name="T14" fmla="*/ 2147483646 w 1594"/>
                  <a:gd name="T15" fmla="*/ 2147483646 h 1670"/>
                  <a:gd name="T16" fmla="*/ 2147483646 w 1594"/>
                  <a:gd name="T17" fmla="*/ 2147483646 h 1670"/>
                  <a:gd name="T18" fmla="*/ 2147483646 w 1594"/>
                  <a:gd name="T19" fmla="*/ 2147483646 h 1670"/>
                  <a:gd name="T20" fmla="*/ 2147483646 w 1594"/>
                  <a:gd name="T21" fmla="*/ 2147483646 h 1670"/>
                  <a:gd name="T22" fmla="*/ 2147483646 w 1594"/>
                  <a:gd name="T23" fmla="*/ 2147483646 h 1670"/>
                  <a:gd name="T24" fmla="*/ 2147483646 w 1594"/>
                  <a:gd name="T25" fmla="*/ 2147483646 h 1670"/>
                  <a:gd name="T26" fmla="*/ 2147483646 w 1594"/>
                  <a:gd name="T27" fmla="*/ 2147483646 h 1670"/>
                  <a:gd name="T28" fmla="*/ 2147483646 w 1594"/>
                  <a:gd name="T29" fmla="*/ 2147483646 h 1670"/>
                  <a:gd name="T30" fmla="*/ 2147483646 w 1594"/>
                  <a:gd name="T31" fmla="*/ 2147483646 h 1670"/>
                  <a:gd name="T32" fmla="*/ 2147483646 w 1594"/>
                  <a:gd name="T33" fmla="*/ 2147483646 h 1670"/>
                  <a:gd name="T34" fmla="*/ 2147483646 w 1594"/>
                  <a:gd name="T35" fmla="*/ 2147483646 h 1670"/>
                  <a:gd name="T36" fmla="*/ 2147483646 w 1594"/>
                  <a:gd name="T37" fmla="*/ 2147483646 h 1670"/>
                  <a:gd name="T38" fmla="*/ 2147483646 w 1594"/>
                  <a:gd name="T39" fmla="*/ 2147483646 h 1670"/>
                  <a:gd name="T40" fmla="*/ 2147483646 w 1594"/>
                  <a:gd name="T41" fmla="*/ 2147483646 h 1670"/>
                  <a:gd name="T42" fmla="*/ 2147483646 w 1594"/>
                  <a:gd name="T43" fmla="*/ 2147483646 h 1670"/>
                  <a:gd name="T44" fmla="*/ 2147483646 w 1594"/>
                  <a:gd name="T45" fmla="*/ 2147483646 h 1670"/>
                  <a:gd name="T46" fmla="*/ 2147483646 w 1594"/>
                  <a:gd name="T47" fmla="*/ 2147483646 h 1670"/>
                  <a:gd name="T48" fmla="*/ 2147483646 w 1594"/>
                  <a:gd name="T49" fmla="*/ 2147483646 h 1670"/>
                  <a:gd name="T50" fmla="*/ 2147483646 w 1594"/>
                  <a:gd name="T51" fmla="*/ 2147483646 h 1670"/>
                  <a:gd name="T52" fmla="*/ 2147483646 w 1594"/>
                  <a:gd name="T53" fmla="*/ 2147483646 h 1670"/>
                  <a:gd name="T54" fmla="*/ 2147483646 w 1594"/>
                  <a:gd name="T55" fmla="*/ 2147483646 h 1670"/>
                  <a:gd name="T56" fmla="*/ 2147483646 w 1594"/>
                  <a:gd name="T57" fmla="*/ 2147483646 h 1670"/>
                  <a:gd name="T58" fmla="*/ 2147483646 w 1594"/>
                  <a:gd name="T59" fmla="*/ 2147483646 h 1670"/>
                  <a:gd name="T60" fmla="*/ 2147483646 w 1594"/>
                  <a:gd name="T61" fmla="*/ 2147483646 h 1670"/>
                  <a:gd name="T62" fmla="*/ 2147483646 w 1594"/>
                  <a:gd name="T63" fmla="*/ 2147483646 h 1670"/>
                  <a:gd name="T64" fmla="*/ 2147483646 w 1594"/>
                  <a:gd name="T65" fmla="*/ 2147483646 h 1670"/>
                  <a:gd name="T66" fmla="*/ 2147483646 w 1594"/>
                  <a:gd name="T67" fmla="*/ 2147483646 h 1670"/>
                  <a:gd name="T68" fmla="*/ 2147483646 w 1594"/>
                  <a:gd name="T69" fmla="*/ 2147483646 h 1670"/>
                  <a:gd name="T70" fmla="*/ 2147483646 w 1594"/>
                  <a:gd name="T71" fmla="*/ 2147483646 h 1670"/>
                  <a:gd name="T72" fmla="*/ 2147483646 w 1594"/>
                  <a:gd name="T73" fmla="*/ 2147483646 h 1670"/>
                  <a:gd name="T74" fmla="*/ 2147483646 w 1594"/>
                  <a:gd name="T75" fmla="*/ 2147483646 h 1670"/>
                  <a:gd name="T76" fmla="*/ 2147483646 w 1594"/>
                  <a:gd name="T77" fmla="*/ 2147483646 h 1670"/>
                  <a:gd name="T78" fmla="*/ 2147483646 w 1594"/>
                  <a:gd name="T79" fmla="*/ 2147483646 h 1670"/>
                  <a:gd name="T80" fmla="*/ 2147483646 w 1594"/>
                  <a:gd name="T81" fmla="*/ 2147483646 h 1670"/>
                  <a:gd name="T82" fmla="*/ 2147483646 w 1594"/>
                  <a:gd name="T83" fmla="*/ 2147483646 h 1670"/>
                  <a:gd name="T84" fmla="*/ 2147483646 w 1594"/>
                  <a:gd name="T85" fmla="*/ 2147483646 h 1670"/>
                  <a:gd name="T86" fmla="*/ 2147483646 w 1594"/>
                  <a:gd name="T87" fmla="*/ 2147483646 h 1670"/>
                  <a:gd name="T88" fmla="*/ 2147483646 w 1594"/>
                  <a:gd name="T89" fmla="*/ 2147483646 h 1670"/>
                  <a:gd name="T90" fmla="*/ 2147483646 w 1594"/>
                  <a:gd name="T91" fmla="*/ 2147483646 h 1670"/>
                  <a:gd name="T92" fmla="*/ 2147483646 w 1594"/>
                  <a:gd name="T93" fmla="*/ 2147483646 h 1670"/>
                  <a:gd name="T94" fmla="*/ 2147483646 w 1594"/>
                  <a:gd name="T95" fmla="*/ 2147483646 h 1670"/>
                  <a:gd name="T96" fmla="*/ 2147483646 w 1594"/>
                  <a:gd name="T97" fmla="*/ 2147483646 h 1670"/>
                  <a:gd name="T98" fmla="*/ 2147483646 w 1594"/>
                  <a:gd name="T99" fmla="*/ 2147483646 h 1670"/>
                  <a:gd name="T100" fmla="*/ 2147483646 w 1594"/>
                  <a:gd name="T101" fmla="*/ 2147483646 h 1670"/>
                  <a:gd name="T102" fmla="*/ 2147483646 w 1594"/>
                  <a:gd name="T103" fmla="*/ 2147483646 h 1670"/>
                  <a:gd name="T104" fmla="*/ 2147483646 w 1594"/>
                  <a:gd name="T105" fmla="*/ 2147483646 h 1670"/>
                  <a:gd name="T106" fmla="*/ 2147483646 w 1594"/>
                  <a:gd name="T107" fmla="*/ 2147483646 h 1670"/>
                  <a:gd name="T108" fmla="*/ 2147483646 w 1594"/>
                  <a:gd name="T109" fmla="*/ 2147483646 h 1670"/>
                  <a:gd name="T110" fmla="*/ 2147483646 w 1594"/>
                  <a:gd name="T111" fmla="*/ 2147483646 h 1670"/>
                  <a:gd name="T112" fmla="*/ 2147483646 w 1594"/>
                  <a:gd name="T113" fmla="*/ 2147483646 h 1670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594"/>
                  <a:gd name="T172" fmla="*/ 0 h 1670"/>
                  <a:gd name="T173" fmla="*/ 1594 w 1594"/>
                  <a:gd name="T174" fmla="*/ 1670 h 1670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594" h="1670">
                    <a:moveTo>
                      <a:pt x="385" y="0"/>
                    </a:moveTo>
                    <a:lnTo>
                      <a:pt x="400" y="16"/>
                    </a:lnTo>
                    <a:lnTo>
                      <a:pt x="415" y="33"/>
                    </a:lnTo>
                    <a:lnTo>
                      <a:pt x="427" y="48"/>
                    </a:lnTo>
                    <a:lnTo>
                      <a:pt x="437" y="63"/>
                    </a:lnTo>
                    <a:lnTo>
                      <a:pt x="448" y="76"/>
                    </a:lnTo>
                    <a:lnTo>
                      <a:pt x="459" y="90"/>
                    </a:lnTo>
                    <a:lnTo>
                      <a:pt x="464" y="96"/>
                    </a:lnTo>
                    <a:lnTo>
                      <a:pt x="471" y="101"/>
                    </a:lnTo>
                    <a:lnTo>
                      <a:pt x="477" y="107"/>
                    </a:lnTo>
                    <a:lnTo>
                      <a:pt x="485" y="111"/>
                    </a:lnTo>
                    <a:lnTo>
                      <a:pt x="492" y="118"/>
                    </a:lnTo>
                    <a:lnTo>
                      <a:pt x="499" y="126"/>
                    </a:lnTo>
                    <a:lnTo>
                      <a:pt x="506" y="134"/>
                    </a:lnTo>
                    <a:lnTo>
                      <a:pt x="512" y="144"/>
                    </a:lnTo>
                    <a:lnTo>
                      <a:pt x="519" y="153"/>
                    </a:lnTo>
                    <a:lnTo>
                      <a:pt x="523" y="163"/>
                    </a:lnTo>
                    <a:lnTo>
                      <a:pt x="528" y="174"/>
                    </a:lnTo>
                    <a:lnTo>
                      <a:pt x="531" y="185"/>
                    </a:lnTo>
                    <a:lnTo>
                      <a:pt x="485" y="185"/>
                    </a:lnTo>
                    <a:lnTo>
                      <a:pt x="485" y="216"/>
                    </a:lnTo>
                    <a:lnTo>
                      <a:pt x="490" y="229"/>
                    </a:lnTo>
                    <a:lnTo>
                      <a:pt x="497" y="240"/>
                    </a:lnTo>
                    <a:lnTo>
                      <a:pt x="505" y="250"/>
                    </a:lnTo>
                    <a:lnTo>
                      <a:pt x="514" y="257"/>
                    </a:lnTo>
                    <a:lnTo>
                      <a:pt x="523" y="264"/>
                    </a:lnTo>
                    <a:lnTo>
                      <a:pt x="534" y="269"/>
                    </a:lnTo>
                    <a:lnTo>
                      <a:pt x="544" y="274"/>
                    </a:lnTo>
                    <a:lnTo>
                      <a:pt x="556" y="278"/>
                    </a:lnTo>
                    <a:lnTo>
                      <a:pt x="578" y="287"/>
                    </a:lnTo>
                    <a:lnTo>
                      <a:pt x="600" y="296"/>
                    </a:lnTo>
                    <a:lnTo>
                      <a:pt x="610" y="302"/>
                    </a:lnTo>
                    <a:lnTo>
                      <a:pt x="620" y="310"/>
                    </a:lnTo>
                    <a:lnTo>
                      <a:pt x="629" y="318"/>
                    </a:lnTo>
                    <a:lnTo>
                      <a:pt x="638" y="327"/>
                    </a:lnTo>
                    <a:lnTo>
                      <a:pt x="631" y="420"/>
                    </a:lnTo>
                    <a:lnTo>
                      <a:pt x="643" y="429"/>
                    </a:lnTo>
                    <a:lnTo>
                      <a:pt x="660" y="440"/>
                    </a:lnTo>
                    <a:lnTo>
                      <a:pt x="679" y="450"/>
                    </a:lnTo>
                    <a:lnTo>
                      <a:pt x="701" y="459"/>
                    </a:lnTo>
                    <a:lnTo>
                      <a:pt x="723" y="468"/>
                    </a:lnTo>
                    <a:lnTo>
                      <a:pt x="744" y="475"/>
                    </a:lnTo>
                    <a:lnTo>
                      <a:pt x="753" y="478"/>
                    </a:lnTo>
                    <a:lnTo>
                      <a:pt x="762" y="480"/>
                    </a:lnTo>
                    <a:lnTo>
                      <a:pt x="770" y="481"/>
                    </a:lnTo>
                    <a:lnTo>
                      <a:pt x="777" y="481"/>
                    </a:lnTo>
                    <a:lnTo>
                      <a:pt x="779" y="488"/>
                    </a:lnTo>
                    <a:lnTo>
                      <a:pt x="784" y="494"/>
                    </a:lnTo>
                    <a:lnTo>
                      <a:pt x="789" y="497"/>
                    </a:lnTo>
                    <a:lnTo>
                      <a:pt x="795" y="499"/>
                    </a:lnTo>
                    <a:lnTo>
                      <a:pt x="800" y="501"/>
                    </a:lnTo>
                    <a:lnTo>
                      <a:pt x="807" y="501"/>
                    </a:lnTo>
                    <a:lnTo>
                      <a:pt x="814" y="500"/>
                    </a:lnTo>
                    <a:lnTo>
                      <a:pt x="822" y="499"/>
                    </a:lnTo>
                    <a:lnTo>
                      <a:pt x="836" y="496"/>
                    </a:lnTo>
                    <a:lnTo>
                      <a:pt x="852" y="492"/>
                    </a:lnTo>
                    <a:lnTo>
                      <a:pt x="858" y="492"/>
                    </a:lnTo>
                    <a:lnTo>
                      <a:pt x="865" y="491"/>
                    </a:lnTo>
                    <a:lnTo>
                      <a:pt x="871" y="492"/>
                    </a:lnTo>
                    <a:lnTo>
                      <a:pt x="877" y="493"/>
                    </a:lnTo>
                    <a:lnTo>
                      <a:pt x="886" y="499"/>
                    </a:lnTo>
                    <a:lnTo>
                      <a:pt x="892" y="504"/>
                    </a:lnTo>
                    <a:lnTo>
                      <a:pt x="898" y="511"/>
                    </a:lnTo>
                    <a:lnTo>
                      <a:pt x="903" y="517"/>
                    </a:lnTo>
                    <a:lnTo>
                      <a:pt x="908" y="523"/>
                    </a:lnTo>
                    <a:lnTo>
                      <a:pt x="914" y="529"/>
                    </a:lnTo>
                    <a:lnTo>
                      <a:pt x="918" y="532"/>
                    </a:lnTo>
                    <a:lnTo>
                      <a:pt x="921" y="534"/>
                    </a:lnTo>
                    <a:lnTo>
                      <a:pt x="925" y="536"/>
                    </a:lnTo>
                    <a:lnTo>
                      <a:pt x="930" y="537"/>
                    </a:lnTo>
                    <a:lnTo>
                      <a:pt x="946" y="540"/>
                    </a:lnTo>
                    <a:lnTo>
                      <a:pt x="968" y="546"/>
                    </a:lnTo>
                    <a:lnTo>
                      <a:pt x="993" y="552"/>
                    </a:lnTo>
                    <a:lnTo>
                      <a:pt x="1021" y="559"/>
                    </a:lnTo>
                    <a:lnTo>
                      <a:pt x="1047" y="564"/>
                    </a:lnTo>
                    <a:lnTo>
                      <a:pt x="1071" y="568"/>
                    </a:lnTo>
                    <a:lnTo>
                      <a:pt x="1082" y="569"/>
                    </a:lnTo>
                    <a:lnTo>
                      <a:pt x="1090" y="570"/>
                    </a:lnTo>
                    <a:lnTo>
                      <a:pt x="1098" y="569"/>
                    </a:lnTo>
                    <a:lnTo>
                      <a:pt x="1102" y="567"/>
                    </a:lnTo>
                    <a:lnTo>
                      <a:pt x="1098" y="560"/>
                    </a:lnTo>
                    <a:lnTo>
                      <a:pt x="1093" y="552"/>
                    </a:lnTo>
                    <a:lnTo>
                      <a:pt x="1090" y="544"/>
                    </a:lnTo>
                    <a:lnTo>
                      <a:pt x="1088" y="535"/>
                    </a:lnTo>
                    <a:lnTo>
                      <a:pt x="1083" y="520"/>
                    </a:lnTo>
                    <a:lnTo>
                      <a:pt x="1082" y="512"/>
                    </a:lnTo>
                    <a:lnTo>
                      <a:pt x="1082" y="481"/>
                    </a:lnTo>
                    <a:lnTo>
                      <a:pt x="1082" y="450"/>
                    </a:lnTo>
                    <a:lnTo>
                      <a:pt x="1115" y="450"/>
                    </a:lnTo>
                    <a:lnTo>
                      <a:pt x="1121" y="461"/>
                    </a:lnTo>
                    <a:lnTo>
                      <a:pt x="1125" y="468"/>
                    </a:lnTo>
                    <a:lnTo>
                      <a:pt x="1131" y="474"/>
                    </a:lnTo>
                    <a:lnTo>
                      <a:pt x="1136" y="481"/>
                    </a:lnTo>
                    <a:lnTo>
                      <a:pt x="1135" y="497"/>
                    </a:lnTo>
                    <a:lnTo>
                      <a:pt x="1132" y="507"/>
                    </a:lnTo>
                    <a:lnTo>
                      <a:pt x="1130" y="515"/>
                    </a:lnTo>
                    <a:lnTo>
                      <a:pt x="1128" y="524"/>
                    </a:lnTo>
                    <a:lnTo>
                      <a:pt x="1149" y="530"/>
                    </a:lnTo>
                    <a:lnTo>
                      <a:pt x="1169" y="536"/>
                    </a:lnTo>
                    <a:lnTo>
                      <a:pt x="1179" y="539"/>
                    </a:lnTo>
                    <a:lnTo>
                      <a:pt x="1189" y="541"/>
                    </a:lnTo>
                    <a:lnTo>
                      <a:pt x="1199" y="542"/>
                    </a:lnTo>
                    <a:lnTo>
                      <a:pt x="1209" y="543"/>
                    </a:lnTo>
                    <a:lnTo>
                      <a:pt x="1210" y="547"/>
                    </a:lnTo>
                    <a:lnTo>
                      <a:pt x="1212" y="551"/>
                    </a:lnTo>
                    <a:lnTo>
                      <a:pt x="1215" y="554"/>
                    </a:lnTo>
                    <a:lnTo>
                      <a:pt x="1220" y="557"/>
                    </a:lnTo>
                    <a:lnTo>
                      <a:pt x="1228" y="560"/>
                    </a:lnTo>
                    <a:lnTo>
                      <a:pt x="1235" y="561"/>
                    </a:lnTo>
                    <a:lnTo>
                      <a:pt x="1243" y="561"/>
                    </a:lnTo>
                    <a:lnTo>
                      <a:pt x="1249" y="559"/>
                    </a:lnTo>
                    <a:lnTo>
                      <a:pt x="1256" y="556"/>
                    </a:lnTo>
                    <a:lnTo>
                      <a:pt x="1261" y="553"/>
                    </a:lnTo>
                    <a:lnTo>
                      <a:pt x="1267" y="549"/>
                    </a:lnTo>
                    <a:lnTo>
                      <a:pt x="1272" y="544"/>
                    </a:lnTo>
                    <a:lnTo>
                      <a:pt x="1277" y="539"/>
                    </a:lnTo>
                    <a:lnTo>
                      <a:pt x="1281" y="534"/>
                    </a:lnTo>
                    <a:lnTo>
                      <a:pt x="1289" y="521"/>
                    </a:lnTo>
                    <a:lnTo>
                      <a:pt x="1294" y="509"/>
                    </a:lnTo>
                    <a:lnTo>
                      <a:pt x="1299" y="498"/>
                    </a:lnTo>
                    <a:lnTo>
                      <a:pt x="1302" y="487"/>
                    </a:lnTo>
                    <a:lnTo>
                      <a:pt x="1312" y="476"/>
                    </a:lnTo>
                    <a:lnTo>
                      <a:pt x="1322" y="465"/>
                    </a:lnTo>
                    <a:lnTo>
                      <a:pt x="1333" y="456"/>
                    </a:lnTo>
                    <a:lnTo>
                      <a:pt x="1344" y="446"/>
                    </a:lnTo>
                    <a:lnTo>
                      <a:pt x="1356" y="438"/>
                    </a:lnTo>
                    <a:lnTo>
                      <a:pt x="1367" y="430"/>
                    </a:lnTo>
                    <a:lnTo>
                      <a:pt x="1379" y="423"/>
                    </a:lnTo>
                    <a:lnTo>
                      <a:pt x="1391" y="416"/>
                    </a:lnTo>
                    <a:lnTo>
                      <a:pt x="1404" y="409"/>
                    </a:lnTo>
                    <a:lnTo>
                      <a:pt x="1417" y="403"/>
                    </a:lnTo>
                    <a:lnTo>
                      <a:pt x="1430" y="398"/>
                    </a:lnTo>
                    <a:lnTo>
                      <a:pt x="1444" y="393"/>
                    </a:lnTo>
                    <a:lnTo>
                      <a:pt x="1472" y="384"/>
                    </a:lnTo>
                    <a:lnTo>
                      <a:pt x="1501" y="377"/>
                    </a:lnTo>
                    <a:lnTo>
                      <a:pt x="1507" y="385"/>
                    </a:lnTo>
                    <a:lnTo>
                      <a:pt x="1515" y="395"/>
                    </a:lnTo>
                    <a:lnTo>
                      <a:pt x="1526" y="406"/>
                    </a:lnTo>
                    <a:lnTo>
                      <a:pt x="1537" y="418"/>
                    </a:lnTo>
                    <a:lnTo>
                      <a:pt x="1549" y="428"/>
                    </a:lnTo>
                    <a:lnTo>
                      <a:pt x="1562" y="436"/>
                    </a:lnTo>
                    <a:lnTo>
                      <a:pt x="1568" y="440"/>
                    </a:lnTo>
                    <a:lnTo>
                      <a:pt x="1574" y="442"/>
                    </a:lnTo>
                    <a:lnTo>
                      <a:pt x="1581" y="444"/>
                    </a:lnTo>
                    <a:lnTo>
                      <a:pt x="1587" y="444"/>
                    </a:lnTo>
                    <a:lnTo>
                      <a:pt x="1594" y="432"/>
                    </a:lnTo>
                    <a:lnTo>
                      <a:pt x="1590" y="453"/>
                    </a:lnTo>
                    <a:lnTo>
                      <a:pt x="1585" y="477"/>
                    </a:lnTo>
                    <a:lnTo>
                      <a:pt x="1583" y="488"/>
                    </a:lnTo>
                    <a:lnTo>
                      <a:pt x="1579" y="498"/>
                    </a:lnTo>
                    <a:lnTo>
                      <a:pt x="1576" y="502"/>
                    </a:lnTo>
                    <a:lnTo>
                      <a:pt x="1574" y="506"/>
                    </a:lnTo>
                    <a:lnTo>
                      <a:pt x="1571" y="509"/>
                    </a:lnTo>
                    <a:lnTo>
                      <a:pt x="1568" y="512"/>
                    </a:lnTo>
                    <a:lnTo>
                      <a:pt x="1554" y="515"/>
                    </a:lnTo>
                    <a:lnTo>
                      <a:pt x="1531" y="523"/>
                    </a:lnTo>
                    <a:lnTo>
                      <a:pt x="1520" y="530"/>
                    </a:lnTo>
                    <a:lnTo>
                      <a:pt x="1511" y="536"/>
                    </a:lnTo>
                    <a:lnTo>
                      <a:pt x="1506" y="539"/>
                    </a:lnTo>
                    <a:lnTo>
                      <a:pt x="1504" y="542"/>
                    </a:lnTo>
                    <a:lnTo>
                      <a:pt x="1502" y="546"/>
                    </a:lnTo>
                    <a:lnTo>
                      <a:pt x="1501" y="549"/>
                    </a:lnTo>
                    <a:lnTo>
                      <a:pt x="1502" y="584"/>
                    </a:lnTo>
                    <a:lnTo>
                      <a:pt x="1501" y="624"/>
                    </a:lnTo>
                    <a:lnTo>
                      <a:pt x="1498" y="634"/>
                    </a:lnTo>
                    <a:lnTo>
                      <a:pt x="1497" y="645"/>
                    </a:lnTo>
                    <a:lnTo>
                      <a:pt x="1495" y="654"/>
                    </a:lnTo>
                    <a:lnTo>
                      <a:pt x="1493" y="663"/>
                    </a:lnTo>
                    <a:lnTo>
                      <a:pt x="1490" y="671"/>
                    </a:lnTo>
                    <a:lnTo>
                      <a:pt x="1485" y="679"/>
                    </a:lnTo>
                    <a:lnTo>
                      <a:pt x="1480" y="685"/>
                    </a:lnTo>
                    <a:lnTo>
                      <a:pt x="1474" y="690"/>
                    </a:lnTo>
                    <a:lnTo>
                      <a:pt x="1471" y="693"/>
                    </a:lnTo>
                    <a:lnTo>
                      <a:pt x="1464" y="694"/>
                    </a:lnTo>
                    <a:lnTo>
                      <a:pt x="1457" y="695"/>
                    </a:lnTo>
                    <a:lnTo>
                      <a:pt x="1449" y="696"/>
                    </a:lnTo>
                    <a:lnTo>
                      <a:pt x="1441" y="697"/>
                    </a:lnTo>
                    <a:lnTo>
                      <a:pt x="1434" y="700"/>
                    </a:lnTo>
                    <a:lnTo>
                      <a:pt x="1431" y="701"/>
                    </a:lnTo>
                    <a:lnTo>
                      <a:pt x="1429" y="704"/>
                    </a:lnTo>
                    <a:lnTo>
                      <a:pt x="1428" y="706"/>
                    </a:lnTo>
                    <a:lnTo>
                      <a:pt x="1428" y="709"/>
                    </a:lnTo>
                    <a:lnTo>
                      <a:pt x="1427" y="721"/>
                    </a:lnTo>
                    <a:lnTo>
                      <a:pt x="1427" y="735"/>
                    </a:lnTo>
                    <a:lnTo>
                      <a:pt x="1425" y="750"/>
                    </a:lnTo>
                    <a:lnTo>
                      <a:pt x="1423" y="764"/>
                    </a:lnTo>
                    <a:lnTo>
                      <a:pt x="1420" y="778"/>
                    </a:lnTo>
                    <a:lnTo>
                      <a:pt x="1417" y="791"/>
                    </a:lnTo>
                    <a:lnTo>
                      <a:pt x="1413" y="803"/>
                    </a:lnTo>
                    <a:lnTo>
                      <a:pt x="1408" y="814"/>
                    </a:lnTo>
                    <a:lnTo>
                      <a:pt x="1361" y="733"/>
                    </a:lnTo>
                    <a:lnTo>
                      <a:pt x="1359" y="737"/>
                    </a:lnTo>
                    <a:lnTo>
                      <a:pt x="1354" y="746"/>
                    </a:lnTo>
                    <a:lnTo>
                      <a:pt x="1349" y="751"/>
                    </a:lnTo>
                    <a:lnTo>
                      <a:pt x="1345" y="755"/>
                    </a:lnTo>
                    <a:lnTo>
                      <a:pt x="1340" y="758"/>
                    </a:lnTo>
                    <a:lnTo>
                      <a:pt x="1335" y="759"/>
                    </a:lnTo>
                    <a:lnTo>
                      <a:pt x="1329" y="758"/>
                    </a:lnTo>
                    <a:lnTo>
                      <a:pt x="1325" y="757"/>
                    </a:lnTo>
                    <a:lnTo>
                      <a:pt x="1321" y="754"/>
                    </a:lnTo>
                    <a:lnTo>
                      <a:pt x="1316" y="751"/>
                    </a:lnTo>
                    <a:lnTo>
                      <a:pt x="1313" y="746"/>
                    </a:lnTo>
                    <a:lnTo>
                      <a:pt x="1311" y="742"/>
                    </a:lnTo>
                    <a:lnTo>
                      <a:pt x="1308" y="738"/>
                    </a:lnTo>
                    <a:lnTo>
                      <a:pt x="1308" y="733"/>
                    </a:lnTo>
                    <a:lnTo>
                      <a:pt x="1308" y="727"/>
                    </a:lnTo>
                    <a:lnTo>
                      <a:pt x="1311" y="721"/>
                    </a:lnTo>
                    <a:lnTo>
                      <a:pt x="1313" y="715"/>
                    </a:lnTo>
                    <a:lnTo>
                      <a:pt x="1315" y="709"/>
                    </a:lnTo>
                    <a:lnTo>
                      <a:pt x="1323" y="698"/>
                    </a:lnTo>
                    <a:lnTo>
                      <a:pt x="1332" y="687"/>
                    </a:lnTo>
                    <a:lnTo>
                      <a:pt x="1340" y="677"/>
                    </a:lnTo>
                    <a:lnTo>
                      <a:pt x="1348" y="666"/>
                    </a:lnTo>
                    <a:lnTo>
                      <a:pt x="1350" y="660"/>
                    </a:lnTo>
                    <a:lnTo>
                      <a:pt x="1352" y="655"/>
                    </a:lnTo>
                    <a:lnTo>
                      <a:pt x="1355" y="648"/>
                    </a:lnTo>
                    <a:lnTo>
                      <a:pt x="1355" y="642"/>
                    </a:lnTo>
                    <a:lnTo>
                      <a:pt x="1235" y="642"/>
                    </a:lnTo>
                    <a:lnTo>
                      <a:pt x="1231" y="641"/>
                    </a:lnTo>
                    <a:lnTo>
                      <a:pt x="1225" y="638"/>
                    </a:lnTo>
                    <a:lnTo>
                      <a:pt x="1221" y="632"/>
                    </a:lnTo>
                    <a:lnTo>
                      <a:pt x="1217" y="626"/>
                    </a:lnTo>
                    <a:lnTo>
                      <a:pt x="1214" y="618"/>
                    </a:lnTo>
                    <a:lnTo>
                      <a:pt x="1211" y="610"/>
                    </a:lnTo>
                    <a:lnTo>
                      <a:pt x="1210" y="601"/>
                    </a:lnTo>
                    <a:lnTo>
                      <a:pt x="1209" y="592"/>
                    </a:lnTo>
                    <a:lnTo>
                      <a:pt x="1203" y="592"/>
                    </a:lnTo>
                    <a:lnTo>
                      <a:pt x="1198" y="591"/>
                    </a:lnTo>
                    <a:lnTo>
                      <a:pt x="1192" y="590"/>
                    </a:lnTo>
                    <a:lnTo>
                      <a:pt x="1187" y="588"/>
                    </a:lnTo>
                    <a:lnTo>
                      <a:pt x="1182" y="585"/>
                    </a:lnTo>
                    <a:lnTo>
                      <a:pt x="1179" y="582"/>
                    </a:lnTo>
                    <a:lnTo>
                      <a:pt x="1177" y="577"/>
                    </a:lnTo>
                    <a:lnTo>
                      <a:pt x="1176" y="573"/>
                    </a:lnTo>
                    <a:lnTo>
                      <a:pt x="1167" y="573"/>
                    </a:lnTo>
                    <a:lnTo>
                      <a:pt x="1159" y="573"/>
                    </a:lnTo>
                    <a:lnTo>
                      <a:pt x="1151" y="573"/>
                    </a:lnTo>
                    <a:lnTo>
                      <a:pt x="1143" y="573"/>
                    </a:lnTo>
                    <a:lnTo>
                      <a:pt x="1136" y="574"/>
                    </a:lnTo>
                    <a:lnTo>
                      <a:pt x="1131" y="575"/>
                    </a:lnTo>
                    <a:lnTo>
                      <a:pt x="1124" y="578"/>
                    </a:lnTo>
                    <a:lnTo>
                      <a:pt x="1117" y="582"/>
                    </a:lnTo>
                    <a:lnTo>
                      <a:pt x="1112" y="587"/>
                    </a:lnTo>
                    <a:lnTo>
                      <a:pt x="1106" y="592"/>
                    </a:lnTo>
                    <a:lnTo>
                      <a:pt x="1103" y="598"/>
                    </a:lnTo>
                    <a:lnTo>
                      <a:pt x="1102" y="604"/>
                    </a:lnTo>
                    <a:lnTo>
                      <a:pt x="1104" y="608"/>
                    </a:lnTo>
                    <a:lnTo>
                      <a:pt x="1110" y="613"/>
                    </a:lnTo>
                    <a:lnTo>
                      <a:pt x="1117" y="619"/>
                    </a:lnTo>
                    <a:lnTo>
                      <a:pt x="1127" y="625"/>
                    </a:lnTo>
                    <a:lnTo>
                      <a:pt x="1137" y="631"/>
                    </a:lnTo>
                    <a:lnTo>
                      <a:pt x="1147" y="636"/>
                    </a:lnTo>
                    <a:lnTo>
                      <a:pt x="1156" y="640"/>
                    </a:lnTo>
                    <a:lnTo>
                      <a:pt x="1162" y="642"/>
                    </a:lnTo>
                    <a:lnTo>
                      <a:pt x="1149" y="652"/>
                    </a:lnTo>
                    <a:lnTo>
                      <a:pt x="1134" y="664"/>
                    </a:lnTo>
                    <a:lnTo>
                      <a:pt x="1127" y="670"/>
                    </a:lnTo>
                    <a:lnTo>
                      <a:pt x="1121" y="677"/>
                    </a:lnTo>
                    <a:lnTo>
                      <a:pt x="1119" y="680"/>
                    </a:lnTo>
                    <a:lnTo>
                      <a:pt x="1117" y="683"/>
                    </a:lnTo>
                    <a:lnTo>
                      <a:pt x="1116" y="687"/>
                    </a:lnTo>
                    <a:lnTo>
                      <a:pt x="1115" y="690"/>
                    </a:lnTo>
                    <a:lnTo>
                      <a:pt x="1116" y="695"/>
                    </a:lnTo>
                    <a:lnTo>
                      <a:pt x="1117" y="698"/>
                    </a:lnTo>
                    <a:lnTo>
                      <a:pt x="1120" y="702"/>
                    </a:lnTo>
                    <a:lnTo>
                      <a:pt x="1122" y="706"/>
                    </a:lnTo>
                    <a:lnTo>
                      <a:pt x="1130" y="714"/>
                    </a:lnTo>
                    <a:lnTo>
                      <a:pt x="1139" y="722"/>
                    </a:lnTo>
                    <a:lnTo>
                      <a:pt x="1149" y="729"/>
                    </a:lnTo>
                    <a:lnTo>
                      <a:pt x="1160" y="735"/>
                    </a:lnTo>
                    <a:lnTo>
                      <a:pt x="1166" y="737"/>
                    </a:lnTo>
                    <a:lnTo>
                      <a:pt x="1171" y="738"/>
                    </a:lnTo>
                    <a:lnTo>
                      <a:pt x="1177" y="739"/>
                    </a:lnTo>
                    <a:lnTo>
                      <a:pt x="1182" y="740"/>
                    </a:lnTo>
                    <a:lnTo>
                      <a:pt x="1209" y="844"/>
                    </a:lnTo>
                    <a:lnTo>
                      <a:pt x="1194" y="844"/>
                    </a:lnTo>
                    <a:lnTo>
                      <a:pt x="1180" y="844"/>
                    </a:lnTo>
                    <a:lnTo>
                      <a:pt x="1167" y="844"/>
                    </a:lnTo>
                    <a:lnTo>
                      <a:pt x="1156" y="844"/>
                    </a:lnTo>
                    <a:lnTo>
                      <a:pt x="1149" y="843"/>
                    </a:lnTo>
                    <a:lnTo>
                      <a:pt x="1142" y="838"/>
                    </a:lnTo>
                    <a:lnTo>
                      <a:pt x="1137" y="836"/>
                    </a:lnTo>
                    <a:lnTo>
                      <a:pt x="1132" y="834"/>
                    </a:lnTo>
                    <a:lnTo>
                      <a:pt x="1127" y="833"/>
                    </a:lnTo>
                    <a:lnTo>
                      <a:pt x="1122" y="832"/>
                    </a:lnTo>
                    <a:lnTo>
                      <a:pt x="1117" y="834"/>
                    </a:lnTo>
                    <a:lnTo>
                      <a:pt x="1109" y="839"/>
                    </a:lnTo>
                    <a:lnTo>
                      <a:pt x="1099" y="846"/>
                    </a:lnTo>
                    <a:lnTo>
                      <a:pt x="1087" y="854"/>
                    </a:lnTo>
                    <a:lnTo>
                      <a:pt x="1075" y="864"/>
                    </a:lnTo>
                    <a:lnTo>
                      <a:pt x="1065" y="872"/>
                    </a:lnTo>
                    <a:lnTo>
                      <a:pt x="1058" y="878"/>
                    </a:lnTo>
                    <a:lnTo>
                      <a:pt x="1056" y="882"/>
                    </a:lnTo>
                    <a:lnTo>
                      <a:pt x="1076" y="894"/>
                    </a:lnTo>
                    <a:lnTo>
                      <a:pt x="1075" y="900"/>
                    </a:lnTo>
                    <a:lnTo>
                      <a:pt x="1072" y="907"/>
                    </a:lnTo>
                    <a:lnTo>
                      <a:pt x="1069" y="912"/>
                    </a:lnTo>
                    <a:lnTo>
                      <a:pt x="1066" y="919"/>
                    </a:lnTo>
                    <a:lnTo>
                      <a:pt x="1058" y="928"/>
                    </a:lnTo>
                    <a:lnTo>
                      <a:pt x="1049" y="937"/>
                    </a:lnTo>
                    <a:lnTo>
                      <a:pt x="1039" y="945"/>
                    </a:lnTo>
                    <a:lnTo>
                      <a:pt x="1027" y="952"/>
                    </a:lnTo>
                    <a:lnTo>
                      <a:pt x="1016" y="958"/>
                    </a:lnTo>
                    <a:lnTo>
                      <a:pt x="1004" y="964"/>
                    </a:lnTo>
                    <a:lnTo>
                      <a:pt x="992" y="972"/>
                    </a:lnTo>
                    <a:lnTo>
                      <a:pt x="981" y="978"/>
                    </a:lnTo>
                    <a:lnTo>
                      <a:pt x="971" y="985"/>
                    </a:lnTo>
                    <a:lnTo>
                      <a:pt x="962" y="993"/>
                    </a:lnTo>
                    <a:lnTo>
                      <a:pt x="957" y="997"/>
                    </a:lnTo>
                    <a:lnTo>
                      <a:pt x="954" y="1001"/>
                    </a:lnTo>
                    <a:lnTo>
                      <a:pt x="951" y="1006"/>
                    </a:lnTo>
                    <a:lnTo>
                      <a:pt x="948" y="1011"/>
                    </a:lnTo>
                    <a:lnTo>
                      <a:pt x="946" y="1017"/>
                    </a:lnTo>
                    <a:lnTo>
                      <a:pt x="944" y="1022"/>
                    </a:lnTo>
                    <a:lnTo>
                      <a:pt x="943" y="1029"/>
                    </a:lnTo>
                    <a:lnTo>
                      <a:pt x="943" y="1036"/>
                    </a:lnTo>
                    <a:lnTo>
                      <a:pt x="934" y="1039"/>
                    </a:lnTo>
                    <a:lnTo>
                      <a:pt x="926" y="1042"/>
                    </a:lnTo>
                    <a:lnTo>
                      <a:pt x="919" y="1046"/>
                    </a:lnTo>
                    <a:lnTo>
                      <a:pt x="912" y="1050"/>
                    </a:lnTo>
                    <a:lnTo>
                      <a:pt x="898" y="1060"/>
                    </a:lnTo>
                    <a:lnTo>
                      <a:pt x="886" y="1072"/>
                    </a:lnTo>
                    <a:lnTo>
                      <a:pt x="864" y="1099"/>
                    </a:lnTo>
                    <a:lnTo>
                      <a:pt x="843" y="1128"/>
                    </a:lnTo>
                    <a:lnTo>
                      <a:pt x="832" y="1143"/>
                    </a:lnTo>
                    <a:lnTo>
                      <a:pt x="821" y="1156"/>
                    </a:lnTo>
                    <a:lnTo>
                      <a:pt x="809" y="1168"/>
                    </a:lnTo>
                    <a:lnTo>
                      <a:pt x="796" y="1179"/>
                    </a:lnTo>
                    <a:lnTo>
                      <a:pt x="788" y="1184"/>
                    </a:lnTo>
                    <a:lnTo>
                      <a:pt x="780" y="1188"/>
                    </a:lnTo>
                    <a:lnTo>
                      <a:pt x="773" y="1192"/>
                    </a:lnTo>
                    <a:lnTo>
                      <a:pt x="764" y="1196"/>
                    </a:lnTo>
                    <a:lnTo>
                      <a:pt x="754" y="1199"/>
                    </a:lnTo>
                    <a:lnTo>
                      <a:pt x="745" y="1201"/>
                    </a:lnTo>
                    <a:lnTo>
                      <a:pt x="734" y="1202"/>
                    </a:lnTo>
                    <a:lnTo>
                      <a:pt x="723" y="1202"/>
                    </a:lnTo>
                    <a:lnTo>
                      <a:pt x="723" y="1211"/>
                    </a:lnTo>
                    <a:lnTo>
                      <a:pt x="723" y="1220"/>
                    </a:lnTo>
                    <a:lnTo>
                      <a:pt x="723" y="1227"/>
                    </a:lnTo>
                    <a:lnTo>
                      <a:pt x="723" y="1233"/>
                    </a:lnTo>
                    <a:lnTo>
                      <a:pt x="723" y="1244"/>
                    </a:lnTo>
                    <a:lnTo>
                      <a:pt x="723" y="1261"/>
                    </a:lnTo>
                    <a:lnTo>
                      <a:pt x="723" y="1279"/>
                    </a:lnTo>
                    <a:lnTo>
                      <a:pt x="725" y="1298"/>
                    </a:lnTo>
                    <a:lnTo>
                      <a:pt x="727" y="1308"/>
                    </a:lnTo>
                    <a:lnTo>
                      <a:pt x="729" y="1317"/>
                    </a:lnTo>
                    <a:lnTo>
                      <a:pt x="731" y="1325"/>
                    </a:lnTo>
                    <a:lnTo>
                      <a:pt x="735" y="1332"/>
                    </a:lnTo>
                    <a:lnTo>
                      <a:pt x="739" y="1339"/>
                    </a:lnTo>
                    <a:lnTo>
                      <a:pt x="744" y="1344"/>
                    </a:lnTo>
                    <a:lnTo>
                      <a:pt x="750" y="1348"/>
                    </a:lnTo>
                    <a:lnTo>
                      <a:pt x="757" y="1350"/>
                    </a:lnTo>
                    <a:lnTo>
                      <a:pt x="751" y="1366"/>
                    </a:lnTo>
                    <a:lnTo>
                      <a:pt x="744" y="1380"/>
                    </a:lnTo>
                    <a:lnTo>
                      <a:pt x="736" y="1393"/>
                    </a:lnTo>
                    <a:lnTo>
                      <a:pt x="729" y="1405"/>
                    </a:lnTo>
                    <a:lnTo>
                      <a:pt x="721" y="1419"/>
                    </a:lnTo>
                    <a:lnTo>
                      <a:pt x="716" y="1432"/>
                    </a:lnTo>
                    <a:lnTo>
                      <a:pt x="713" y="1438"/>
                    </a:lnTo>
                    <a:lnTo>
                      <a:pt x="712" y="1445"/>
                    </a:lnTo>
                    <a:lnTo>
                      <a:pt x="711" y="1453"/>
                    </a:lnTo>
                    <a:lnTo>
                      <a:pt x="710" y="1460"/>
                    </a:lnTo>
                    <a:lnTo>
                      <a:pt x="711" y="1463"/>
                    </a:lnTo>
                    <a:lnTo>
                      <a:pt x="712" y="1465"/>
                    </a:lnTo>
                    <a:lnTo>
                      <a:pt x="714" y="1467"/>
                    </a:lnTo>
                    <a:lnTo>
                      <a:pt x="718" y="1469"/>
                    </a:lnTo>
                    <a:lnTo>
                      <a:pt x="724" y="1473"/>
                    </a:lnTo>
                    <a:lnTo>
                      <a:pt x="730" y="1474"/>
                    </a:lnTo>
                    <a:lnTo>
                      <a:pt x="730" y="1510"/>
                    </a:lnTo>
                    <a:lnTo>
                      <a:pt x="722" y="1524"/>
                    </a:lnTo>
                    <a:lnTo>
                      <a:pt x="716" y="1539"/>
                    </a:lnTo>
                    <a:lnTo>
                      <a:pt x="711" y="1545"/>
                    </a:lnTo>
                    <a:lnTo>
                      <a:pt x="706" y="1549"/>
                    </a:lnTo>
                    <a:lnTo>
                      <a:pt x="702" y="1551"/>
                    </a:lnTo>
                    <a:lnTo>
                      <a:pt x="699" y="1552"/>
                    </a:lnTo>
                    <a:lnTo>
                      <a:pt x="695" y="1553"/>
                    </a:lnTo>
                    <a:lnTo>
                      <a:pt x="690" y="1553"/>
                    </a:lnTo>
                    <a:lnTo>
                      <a:pt x="690" y="1561"/>
                    </a:lnTo>
                    <a:lnTo>
                      <a:pt x="691" y="1571"/>
                    </a:lnTo>
                    <a:lnTo>
                      <a:pt x="693" y="1576"/>
                    </a:lnTo>
                    <a:lnTo>
                      <a:pt x="694" y="1580"/>
                    </a:lnTo>
                    <a:lnTo>
                      <a:pt x="695" y="1583"/>
                    </a:lnTo>
                    <a:lnTo>
                      <a:pt x="697" y="1584"/>
                    </a:lnTo>
                    <a:lnTo>
                      <a:pt x="671" y="1605"/>
                    </a:lnTo>
                    <a:lnTo>
                      <a:pt x="649" y="1622"/>
                    </a:lnTo>
                    <a:lnTo>
                      <a:pt x="639" y="1632"/>
                    </a:lnTo>
                    <a:lnTo>
                      <a:pt x="630" y="1643"/>
                    </a:lnTo>
                    <a:lnTo>
                      <a:pt x="620" y="1656"/>
                    </a:lnTo>
                    <a:lnTo>
                      <a:pt x="611" y="1670"/>
                    </a:lnTo>
                    <a:lnTo>
                      <a:pt x="595" y="1663"/>
                    </a:lnTo>
                    <a:lnTo>
                      <a:pt x="584" y="1656"/>
                    </a:lnTo>
                    <a:lnTo>
                      <a:pt x="575" y="1649"/>
                    </a:lnTo>
                    <a:lnTo>
                      <a:pt x="568" y="1641"/>
                    </a:lnTo>
                    <a:lnTo>
                      <a:pt x="563" y="1631"/>
                    </a:lnTo>
                    <a:lnTo>
                      <a:pt x="560" y="1621"/>
                    </a:lnTo>
                    <a:lnTo>
                      <a:pt x="555" y="1609"/>
                    </a:lnTo>
                    <a:lnTo>
                      <a:pt x="551" y="1597"/>
                    </a:lnTo>
                    <a:lnTo>
                      <a:pt x="542" y="1574"/>
                    </a:lnTo>
                    <a:lnTo>
                      <a:pt x="530" y="1552"/>
                    </a:lnTo>
                    <a:lnTo>
                      <a:pt x="516" y="1529"/>
                    </a:lnTo>
                    <a:lnTo>
                      <a:pt x="501" y="1505"/>
                    </a:lnTo>
                    <a:lnTo>
                      <a:pt x="486" y="1483"/>
                    </a:lnTo>
                    <a:lnTo>
                      <a:pt x="473" y="1461"/>
                    </a:lnTo>
                    <a:lnTo>
                      <a:pt x="461" y="1441"/>
                    </a:lnTo>
                    <a:lnTo>
                      <a:pt x="451" y="1424"/>
                    </a:lnTo>
                    <a:lnTo>
                      <a:pt x="442" y="1405"/>
                    </a:lnTo>
                    <a:lnTo>
                      <a:pt x="436" y="1388"/>
                    </a:lnTo>
                    <a:lnTo>
                      <a:pt x="430" y="1370"/>
                    </a:lnTo>
                    <a:lnTo>
                      <a:pt x="425" y="1352"/>
                    </a:lnTo>
                    <a:lnTo>
                      <a:pt x="419" y="1334"/>
                    </a:lnTo>
                    <a:lnTo>
                      <a:pt x="414" y="1316"/>
                    </a:lnTo>
                    <a:lnTo>
                      <a:pt x="407" y="1296"/>
                    </a:lnTo>
                    <a:lnTo>
                      <a:pt x="398" y="1276"/>
                    </a:lnTo>
                    <a:lnTo>
                      <a:pt x="376" y="1244"/>
                    </a:lnTo>
                    <a:lnTo>
                      <a:pt x="352" y="1214"/>
                    </a:lnTo>
                    <a:lnTo>
                      <a:pt x="341" y="1200"/>
                    </a:lnTo>
                    <a:lnTo>
                      <a:pt x="330" y="1184"/>
                    </a:lnTo>
                    <a:lnTo>
                      <a:pt x="320" y="1169"/>
                    </a:lnTo>
                    <a:lnTo>
                      <a:pt x="312" y="1153"/>
                    </a:lnTo>
                    <a:lnTo>
                      <a:pt x="301" y="1114"/>
                    </a:lnTo>
                    <a:lnTo>
                      <a:pt x="292" y="1078"/>
                    </a:lnTo>
                    <a:lnTo>
                      <a:pt x="284" y="1043"/>
                    </a:lnTo>
                    <a:lnTo>
                      <a:pt x="280" y="1008"/>
                    </a:lnTo>
                    <a:lnTo>
                      <a:pt x="275" y="974"/>
                    </a:lnTo>
                    <a:lnTo>
                      <a:pt x="273" y="938"/>
                    </a:lnTo>
                    <a:lnTo>
                      <a:pt x="272" y="901"/>
                    </a:lnTo>
                    <a:lnTo>
                      <a:pt x="272" y="864"/>
                    </a:lnTo>
                    <a:lnTo>
                      <a:pt x="268" y="863"/>
                    </a:lnTo>
                    <a:lnTo>
                      <a:pt x="263" y="862"/>
                    </a:lnTo>
                    <a:lnTo>
                      <a:pt x="259" y="861"/>
                    </a:lnTo>
                    <a:lnTo>
                      <a:pt x="256" y="857"/>
                    </a:lnTo>
                    <a:lnTo>
                      <a:pt x="252" y="855"/>
                    </a:lnTo>
                    <a:lnTo>
                      <a:pt x="250" y="852"/>
                    </a:lnTo>
                    <a:lnTo>
                      <a:pt x="247" y="848"/>
                    </a:lnTo>
                    <a:lnTo>
                      <a:pt x="246" y="844"/>
                    </a:lnTo>
                    <a:lnTo>
                      <a:pt x="242" y="836"/>
                    </a:lnTo>
                    <a:lnTo>
                      <a:pt x="240" y="827"/>
                    </a:lnTo>
                    <a:lnTo>
                      <a:pt x="239" y="817"/>
                    </a:lnTo>
                    <a:lnTo>
                      <a:pt x="239" y="808"/>
                    </a:lnTo>
                    <a:lnTo>
                      <a:pt x="230" y="814"/>
                    </a:lnTo>
                    <a:lnTo>
                      <a:pt x="224" y="821"/>
                    </a:lnTo>
                    <a:lnTo>
                      <a:pt x="217" y="828"/>
                    </a:lnTo>
                    <a:lnTo>
                      <a:pt x="210" y="836"/>
                    </a:lnTo>
                    <a:lnTo>
                      <a:pt x="201" y="852"/>
                    </a:lnTo>
                    <a:lnTo>
                      <a:pt x="192" y="869"/>
                    </a:lnTo>
                    <a:lnTo>
                      <a:pt x="186" y="876"/>
                    </a:lnTo>
                    <a:lnTo>
                      <a:pt x="182" y="883"/>
                    </a:lnTo>
                    <a:lnTo>
                      <a:pt x="176" y="890"/>
                    </a:lnTo>
                    <a:lnTo>
                      <a:pt x="171" y="895"/>
                    </a:lnTo>
                    <a:lnTo>
                      <a:pt x="164" y="900"/>
                    </a:lnTo>
                    <a:lnTo>
                      <a:pt x="157" y="903"/>
                    </a:lnTo>
                    <a:lnTo>
                      <a:pt x="148" y="905"/>
                    </a:lnTo>
                    <a:lnTo>
                      <a:pt x="139" y="906"/>
                    </a:lnTo>
                    <a:lnTo>
                      <a:pt x="134" y="905"/>
                    </a:lnTo>
                    <a:lnTo>
                      <a:pt x="127" y="903"/>
                    </a:lnTo>
                    <a:lnTo>
                      <a:pt x="120" y="900"/>
                    </a:lnTo>
                    <a:lnTo>
                      <a:pt x="113" y="895"/>
                    </a:lnTo>
                    <a:lnTo>
                      <a:pt x="105" y="889"/>
                    </a:lnTo>
                    <a:lnTo>
                      <a:pt x="97" y="883"/>
                    </a:lnTo>
                    <a:lnTo>
                      <a:pt x="90" y="876"/>
                    </a:lnTo>
                    <a:lnTo>
                      <a:pt x="82" y="868"/>
                    </a:lnTo>
                    <a:lnTo>
                      <a:pt x="75" y="860"/>
                    </a:lnTo>
                    <a:lnTo>
                      <a:pt x="69" y="851"/>
                    </a:lnTo>
                    <a:lnTo>
                      <a:pt x="62" y="842"/>
                    </a:lnTo>
                    <a:lnTo>
                      <a:pt x="57" y="833"/>
                    </a:lnTo>
                    <a:lnTo>
                      <a:pt x="52" y="825"/>
                    </a:lnTo>
                    <a:lnTo>
                      <a:pt x="49" y="817"/>
                    </a:lnTo>
                    <a:lnTo>
                      <a:pt x="47" y="809"/>
                    </a:lnTo>
                    <a:lnTo>
                      <a:pt x="46" y="801"/>
                    </a:lnTo>
                    <a:lnTo>
                      <a:pt x="51" y="798"/>
                    </a:lnTo>
                    <a:lnTo>
                      <a:pt x="63" y="792"/>
                    </a:lnTo>
                    <a:lnTo>
                      <a:pt x="77" y="786"/>
                    </a:lnTo>
                    <a:lnTo>
                      <a:pt x="85" y="783"/>
                    </a:lnTo>
                    <a:lnTo>
                      <a:pt x="77" y="783"/>
                    </a:lnTo>
                    <a:lnTo>
                      <a:pt x="67" y="782"/>
                    </a:lnTo>
                    <a:lnTo>
                      <a:pt x="59" y="780"/>
                    </a:lnTo>
                    <a:lnTo>
                      <a:pt x="51" y="779"/>
                    </a:lnTo>
                    <a:lnTo>
                      <a:pt x="44" y="776"/>
                    </a:lnTo>
                    <a:lnTo>
                      <a:pt x="37" y="774"/>
                    </a:lnTo>
                    <a:lnTo>
                      <a:pt x="30" y="771"/>
                    </a:lnTo>
                    <a:lnTo>
                      <a:pt x="25" y="767"/>
                    </a:lnTo>
                    <a:lnTo>
                      <a:pt x="21" y="763"/>
                    </a:lnTo>
                    <a:lnTo>
                      <a:pt x="16" y="759"/>
                    </a:lnTo>
                    <a:lnTo>
                      <a:pt x="12" y="754"/>
                    </a:lnTo>
                    <a:lnTo>
                      <a:pt x="8" y="750"/>
                    </a:lnTo>
                    <a:lnTo>
                      <a:pt x="3" y="738"/>
                    </a:lnTo>
                    <a:lnTo>
                      <a:pt x="0" y="727"/>
                    </a:lnTo>
                    <a:lnTo>
                      <a:pt x="10" y="719"/>
                    </a:lnTo>
                    <a:lnTo>
                      <a:pt x="21" y="713"/>
                    </a:lnTo>
                    <a:lnTo>
                      <a:pt x="32" y="708"/>
                    </a:lnTo>
                    <a:lnTo>
                      <a:pt x="44" y="704"/>
                    </a:lnTo>
                    <a:lnTo>
                      <a:pt x="67" y="699"/>
                    </a:lnTo>
                    <a:lnTo>
                      <a:pt x="90" y="695"/>
                    </a:lnTo>
                    <a:lnTo>
                      <a:pt x="102" y="693"/>
                    </a:lnTo>
                    <a:lnTo>
                      <a:pt x="113" y="689"/>
                    </a:lnTo>
                    <a:lnTo>
                      <a:pt x="123" y="686"/>
                    </a:lnTo>
                    <a:lnTo>
                      <a:pt x="133" y="681"/>
                    </a:lnTo>
                    <a:lnTo>
                      <a:pt x="142" y="676"/>
                    </a:lnTo>
                    <a:lnTo>
                      <a:pt x="151" y="668"/>
                    </a:lnTo>
                    <a:lnTo>
                      <a:pt x="159" y="659"/>
                    </a:lnTo>
                    <a:lnTo>
                      <a:pt x="165" y="648"/>
                    </a:lnTo>
                    <a:lnTo>
                      <a:pt x="161" y="646"/>
                    </a:lnTo>
                    <a:lnTo>
                      <a:pt x="157" y="643"/>
                    </a:lnTo>
                    <a:lnTo>
                      <a:pt x="151" y="639"/>
                    </a:lnTo>
                    <a:lnTo>
                      <a:pt x="145" y="633"/>
                    </a:lnTo>
                    <a:lnTo>
                      <a:pt x="131" y="621"/>
                    </a:lnTo>
                    <a:lnTo>
                      <a:pt x="118" y="607"/>
                    </a:lnTo>
                    <a:lnTo>
                      <a:pt x="106" y="592"/>
                    </a:lnTo>
                    <a:lnTo>
                      <a:pt x="95" y="576"/>
                    </a:lnTo>
                    <a:lnTo>
                      <a:pt x="92" y="569"/>
                    </a:lnTo>
                    <a:lnTo>
                      <a:pt x="89" y="562"/>
                    </a:lnTo>
                    <a:lnTo>
                      <a:pt x="86" y="555"/>
                    </a:lnTo>
                    <a:lnTo>
                      <a:pt x="85" y="549"/>
                    </a:lnTo>
                    <a:lnTo>
                      <a:pt x="81" y="548"/>
                    </a:lnTo>
                    <a:lnTo>
                      <a:pt x="77" y="547"/>
                    </a:lnTo>
                    <a:lnTo>
                      <a:pt x="73" y="545"/>
                    </a:lnTo>
                    <a:lnTo>
                      <a:pt x="70" y="541"/>
                    </a:lnTo>
                    <a:lnTo>
                      <a:pt x="64" y="534"/>
                    </a:lnTo>
                    <a:lnTo>
                      <a:pt x="59" y="524"/>
                    </a:lnTo>
                    <a:lnTo>
                      <a:pt x="59" y="500"/>
                    </a:lnTo>
                    <a:lnTo>
                      <a:pt x="73" y="499"/>
                    </a:lnTo>
                    <a:lnTo>
                      <a:pt x="86" y="498"/>
                    </a:lnTo>
                    <a:lnTo>
                      <a:pt x="98" y="496"/>
                    </a:lnTo>
                    <a:lnTo>
                      <a:pt x="109" y="492"/>
                    </a:lnTo>
                    <a:lnTo>
                      <a:pt x="119" y="489"/>
                    </a:lnTo>
                    <a:lnTo>
                      <a:pt x="129" y="484"/>
                    </a:lnTo>
                    <a:lnTo>
                      <a:pt x="138" y="479"/>
                    </a:lnTo>
                    <a:lnTo>
                      <a:pt x="147" y="473"/>
                    </a:lnTo>
                    <a:lnTo>
                      <a:pt x="154" y="466"/>
                    </a:lnTo>
                    <a:lnTo>
                      <a:pt x="162" y="459"/>
                    </a:lnTo>
                    <a:lnTo>
                      <a:pt x="169" y="452"/>
                    </a:lnTo>
                    <a:lnTo>
                      <a:pt x="175" y="444"/>
                    </a:lnTo>
                    <a:lnTo>
                      <a:pt x="186" y="428"/>
                    </a:lnTo>
                    <a:lnTo>
                      <a:pt x="197" y="410"/>
                    </a:lnTo>
                    <a:lnTo>
                      <a:pt x="216" y="374"/>
                    </a:lnTo>
                    <a:lnTo>
                      <a:pt x="235" y="338"/>
                    </a:lnTo>
                    <a:lnTo>
                      <a:pt x="246" y="322"/>
                    </a:lnTo>
                    <a:lnTo>
                      <a:pt x="257" y="308"/>
                    </a:lnTo>
                    <a:lnTo>
                      <a:pt x="263" y="300"/>
                    </a:lnTo>
                    <a:lnTo>
                      <a:pt x="270" y="294"/>
                    </a:lnTo>
                    <a:lnTo>
                      <a:pt x="277" y="289"/>
                    </a:lnTo>
                    <a:lnTo>
                      <a:pt x="285" y="284"/>
                    </a:lnTo>
                    <a:lnTo>
                      <a:pt x="279" y="272"/>
                    </a:lnTo>
                    <a:lnTo>
                      <a:pt x="274" y="261"/>
                    </a:lnTo>
                    <a:lnTo>
                      <a:pt x="273" y="256"/>
                    </a:lnTo>
                    <a:lnTo>
                      <a:pt x="272" y="251"/>
                    </a:lnTo>
                    <a:lnTo>
                      <a:pt x="272" y="245"/>
                    </a:lnTo>
                    <a:lnTo>
                      <a:pt x="272" y="240"/>
                    </a:lnTo>
                    <a:lnTo>
                      <a:pt x="273" y="235"/>
                    </a:lnTo>
                    <a:lnTo>
                      <a:pt x="274" y="230"/>
                    </a:lnTo>
                    <a:lnTo>
                      <a:pt x="276" y="226"/>
                    </a:lnTo>
                    <a:lnTo>
                      <a:pt x="280" y="222"/>
                    </a:lnTo>
                    <a:lnTo>
                      <a:pt x="283" y="219"/>
                    </a:lnTo>
                    <a:lnTo>
                      <a:pt x="287" y="216"/>
                    </a:lnTo>
                    <a:lnTo>
                      <a:pt x="293" y="213"/>
                    </a:lnTo>
                    <a:lnTo>
                      <a:pt x="298" y="210"/>
                    </a:lnTo>
                    <a:lnTo>
                      <a:pt x="269" y="183"/>
                    </a:lnTo>
                    <a:lnTo>
                      <a:pt x="247" y="163"/>
                    </a:lnTo>
                    <a:lnTo>
                      <a:pt x="237" y="153"/>
                    </a:lnTo>
                    <a:lnTo>
                      <a:pt x="227" y="142"/>
                    </a:lnTo>
                    <a:lnTo>
                      <a:pt x="217" y="128"/>
                    </a:lnTo>
                    <a:lnTo>
                      <a:pt x="205" y="111"/>
                    </a:lnTo>
                    <a:lnTo>
                      <a:pt x="205" y="68"/>
                    </a:lnTo>
                    <a:lnTo>
                      <a:pt x="229" y="68"/>
                    </a:lnTo>
                    <a:lnTo>
                      <a:pt x="256" y="66"/>
                    </a:lnTo>
                    <a:lnTo>
                      <a:pt x="270" y="65"/>
                    </a:lnTo>
                    <a:lnTo>
                      <a:pt x="283" y="63"/>
                    </a:lnTo>
                    <a:lnTo>
                      <a:pt x="297" y="60"/>
                    </a:lnTo>
                    <a:lnTo>
                      <a:pt x="310" y="57"/>
                    </a:lnTo>
                    <a:lnTo>
                      <a:pt x="322" y="54"/>
                    </a:lnTo>
                    <a:lnTo>
                      <a:pt x="335" y="49"/>
                    </a:lnTo>
                    <a:lnTo>
                      <a:pt x="347" y="44"/>
                    </a:lnTo>
                    <a:lnTo>
                      <a:pt x="357" y="37"/>
                    </a:lnTo>
                    <a:lnTo>
                      <a:pt x="366" y="30"/>
                    </a:lnTo>
                    <a:lnTo>
                      <a:pt x="374" y="21"/>
                    </a:lnTo>
                    <a:lnTo>
                      <a:pt x="381" y="11"/>
                    </a:lnTo>
                    <a:lnTo>
                      <a:pt x="385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43" name="Freeform 465">
                <a:extLst>
                  <a:ext uri="{FF2B5EF4-FFF2-40B4-BE49-F238E27FC236}">
                    <a16:creationId xmlns="" xmlns:a16="http://schemas.microsoft.com/office/drawing/2014/main" id="{4D8DEC40-13E9-40B8-ACEB-752A73FAD674}"/>
                  </a:ext>
                </a:extLst>
              </p:cNvPr>
              <p:cNvSpPr>
                <a:spLocks/>
              </p:cNvSpPr>
              <p:nvPr>
                <p:custDataLst>
                  <p:tags r:id="rId303"/>
                </p:custDataLst>
              </p:nvPr>
            </p:nvSpPr>
            <p:spPr bwMode="auto">
              <a:xfrm>
                <a:off x="3798888" y="3325813"/>
                <a:ext cx="158750" cy="206375"/>
              </a:xfrm>
              <a:custGeom>
                <a:avLst/>
                <a:gdLst>
                  <a:gd name="T0" fmla="*/ 2147483646 w 359"/>
                  <a:gd name="T1" fmla="*/ 2147483646 h 394"/>
                  <a:gd name="T2" fmla="*/ 2147483646 w 359"/>
                  <a:gd name="T3" fmla="*/ 2147483646 h 394"/>
                  <a:gd name="T4" fmla="*/ 2147483646 w 359"/>
                  <a:gd name="T5" fmla="*/ 2147483646 h 394"/>
                  <a:gd name="T6" fmla="*/ 2147483646 w 359"/>
                  <a:gd name="T7" fmla="*/ 2147483646 h 394"/>
                  <a:gd name="T8" fmla="*/ 2147483646 w 359"/>
                  <a:gd name="T9" fmla="*/ 2147483646 h 394"/>
                  <a:gd name="T10" fmla="*/ 2147483646 w 359"/>
                  <a:gd name="T11" fmla="*/ 2147483646 h 394"/>
                  <a:gd name="T12" fmla="*/ 2147483646 w 359"/>
                  <a:gd name="T13" fmla="*/ 2147483646 h 394"/>
                  <a:gd name="T14" fmla="*/ 0 w 359"/>
                  <a:gd name="T15" fmla="*/ 2147483646 h 394"/>
                  <a:gd name="T16" fmla="*/ 2147483646 w 359"/>
                  <a:gd name="T17" fmla="*/ 2147483646 h 394"/>
                  <a:gd name="T18" fmla="*/ 2147483646 w 359"/>
                  <a:gd name="T19" fmla="*/ 2147483646 h 394"/>
                  <a:gd name="T20" fmla="*/ 2147483646 w 359"/>
                  <a:gd name="T21" fmla="*/ 2147483646 h 394"/>
                  <a:gd name="T22" fmla="*/ 2147483646 w 359"/>
                  <a:gd name="T23" fmla="*/ 2147483646 h 394"/>
                  <a:gd name="T24" fmla="*/ 2147483646 w 359"/>
                  <a:gd name="T25" fmla="*/ 2147483646 h 394"/>
                  <a:gd name="T26" fmla="*/ 2147483646 w 359"/>
                  <a:gd name="T27" fmla="*/ 2147483646 h 394"/>
                  <a:gd name="T28" fmla="*/ 2147483646 w 359"/>
                  <a:gd name="T29" fmla="*/ 2147483646 h 394"/>
                  <a:gd name="T30" fmla="*/ 2147483646 w 359"/>
                  <a:gd name="T31" fmla="*/ 2147483646 h 394"/>
                  <a:gd name="T32" fmla="*/ 2147483646 w 359"/>
                  <a:gd name="T33" fmla="*/ 2147483646 h 394"/>
                  <a:gd name="T34" fmla="*/ 2147483646 w 359"/>
                  <a:gd name="T35" fmla="*/ 2147483646 h 394"/>
                  <a:gd name="T36" fmla="*/ 2147483646 w 359"/>
                  <a:gd name="T37" fmla="*/ 0 h 394"/>
                  <a:gd name="T38" fmla="*/ 2147483646 w 359"/>
                  <a:gd name="T39" fmla="*/ 2147483646 h 394"/>
                  <a:gd name="T40" fmla="*/ 2147483646 w 359"/>
                  <a:gd name="T41" fmla="*/ 2147483646 h 394"/>
                  <a:gd name="T42" fmla="*/ 2147483646 w 359"/>
                  <a:gd name="T43" fmla="*/ 2147483646 h 394"/>
                  <a:gd name="T44" fmla="*/ 2147483646 w 359"/>
                  <a:gd name="T45" fmla="*/ 2147483646 h 394"/>
                  <a:gd name="T46" fmla="*/ 2147483646 w 359"/>
                  <a:gd name="T47" fmla="*/ 2147483646 h 394"/>
                  <a:gd name="T48" fmla="*/ 2147483646 w 359"/>
                  <a:gd name="T49" fmla="*/ 2147483646 h 394"/>
                  <a:gd name="T50" fmla="*/ 2147483646 w 359"/>
                  <a:gd name="T51" fmla="*/ 2147483646 h 394"/>
                  <a:gd name="T52" fmla="*/ 2147483646 w 359"/>
                  <a:gd name="T53" fmla="*/ 2147483646 h 394"/>
                  <a:gd name="T54" fmla="*/ 2147483646 w 359"/>
                  <a:gd name="T55" fmla="*/ 2147483646 h 394"/>
                  <a:gd name="T56" fmla="*/ 2147483646 w 359"/>
                  <a:gd name="T57" fmla="*/ 2147483646 h 394"/>
                  <a:gd name="T58" fmla="*/ 2147483646 w 359"/>
                  <a:gd name="T59" fmla="*/ 2147483646 h 394"/>
                  <a:gd name="T60" fmla="*/ 2147483646 w 359"/>
                  <a:gd name="T61" fmla="*/ 2147483646 h 394"/>
                  <a:gd name="T62" fmla="*/ 2147483646 w 359"/>
                  <a:gd name="T63" fmla="*/ 2147483646 h 394"/>
                  <a:gd name="T64" fmla="*/ 2147483646 w 359"/>
                  <a:gd name="T65" fmla="*/ 2147483646 h 394"/>
                  <a:gd name="T66" fmla="*/ 2147483646 w 359"/>
                  <a:gd name="T67" fmla="*/ 2147483646 h 394"/>
                  <a:gd name="T68" fmla="*/ 2147483646 w 359"/>
                  <a:gd name="T69" fmla="*/ 2147483646 h 394"/>
                  <a:gd name="T70" fmla="*/ 2147483646 w 359"/>
                  <a:gd name="T71" fmla="*/ 2147483646 h 394"/>
                  <a:gd name="T72" fmla="*/ 2147483646 w 359"/>
                  <a:gd name="T73" fmla="*/ 2147483646 h 394"/>
                  <a:gd name="T74" fmla="*/ 2147483646 w 359"/>
                  <a:gd name="T75" fmla="*/ 2147483646 h 394"/>
                  <a:gd name="T76" fmla="*/ 2147483646 w 359"/>
                  <a:gd name="T77" fmla="*/ 2147483646 h 394"/>
                  <a:gd name="T78" fmla="*/ 2147483646 w 359"/>
                  <a:gd name="T79" fmla="*/ 2147483646 h 394"/>
                  <a:gd name="T80" fmla="*/ 2147483646 w 359"/>
                  <a:gd name="T81" fmla="*/ 2147483646 h 394"/>
                  <a:gd name="T82" fmla="*/ 2147483646 w 359"/>
                  <a:gd name="T83" fmla="*/ 2147483646 h 394"/>
                  <a:gd name="T84" fmla="*/ 2147483646 w 359"/>
                  <a:gd name="T85" fmla="*/ 2147483646 h 394"/>
                  <a:gd name="T86" fmla="*/ 2147483646 w 359"/>
                  <a:gd name="T87" fmla="*/ 2147483646 h 394"/>
                  <a:gd name="T88" fmla="*/ 2147483646 w 359"/>
                  <a:gd name="T89" fmla="*/ 2147483646 h 394"/>
                  <a:gd name="T90" fmla="*/ 2147483646 w 359"/>
                  <a:gd name="T91" fmla="*/ 2147483646 h 394"/>
                  <a:gd name="T92" fmla="*/ 2147483646 w 359"/>
                  <a:gd name="T93" fmla="*/ 2147483646 h 394"/>
                  <a:gd name="T94" fmla="*/ 2147483646 w 359"/>
                  <a:gd name="T95" fmla="*/ 2147483646 h 394"/>
                  <a:gd name="T96" fmla="*/ 2147483646 w 359"/>
                  <a:gd name="T97" fmla="*/ 2147483646 h 394"/>
                  <a:gd name="T98" fmla="*/ 2147483646 w 359"/>
                  <a:gd name="T99" fmla="*/ 2147483646 h 394"/>
                  <a:gd name="T100" fmla="*/ 2147483646 w 359"/>
                  <a:gd name="T101" fmla="*/ 2147483646 h 394"/>
                  <a:gd name="T102" fmla="*/ 2147483646 w 359"/>
                  <a:gd name="T103" fmla="*/ 2147483646 h 394"/>
                  <a:gd name="T104" fmla="*/ 2147483646 w 359"/>
                  <a:gd name="T105" fmla="*/ 2147483646 h 394"/>
                  <a:gd name="T106" fmla="*/ 2147483646 w 359"/>
                  <a:gd name="T107" fmla="*/ 2147483646 h 394"/>
                  <a:gd name="T108" fmla="*/ 2147483646 w 359"/>
                  <a:gd name="T109" fmla="*/ 2147483646 h 394"/>
                  <a:gd name="T110" fmla="*/ 2147483646 w 359"/>
                  <a:gd name="T111" fmla="*/ 2147483646 h 394"/>
                  <a:gd name="T112" fmla="*/ 2147483646 w 359"/>
                  <a:gd name="T113" fmla="*/ 2147483646 h 394"/>
                  <a:gd name="T114" fmla="*/ 2147483646 w 359"/>
                  <a:gd name="T115" fmla="*/ 2147483646 h 394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359"/>
                  <a:gd name="T175" fmla="*/ 0 h 394"/>
                  <a:gd name="T176" fmla="*/ 359 w 359"/>
                  <a:gd name="T177" fmla="*/ 394 h 394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359" h="394">
                    <a:moveTo>
                      <a:pt x="53" y="394"/>
                    </a:moveTo>
                    <a:lnTo>
                      <a:pt x="53" y="382"/>
                    </a:lnTo>
                    <a:lnTo>
                      <a:pt x="53" y="370"/>
                    </a:lnTo>
                    <a:lnTo>
                      <a:pt x="53" y="358"/>
                    </a:lnTo>
                    <a:lnTo>
                      <a:pt x="53" y="346"/>
                    </a:lnTo>
                    <a:lnTo>
                      <a:pt x="53" y="333"/>
                    </a:lnTo>
                    <a:lnTo>
                      <a:pt x="52" y="322"/>
                    </a:lnTo>
                    <a:lnTo>
                      <a:pt x="50" y="312"/>
                    </a:lnTo>
                    <a:lnTo>
                      <a:pt x="46" y="302"/>
                    </a:lnTo>
                    <a:lnTo>
                      <a:pt x="43" y="293"/>
                    </a:lnTo>
                    <a:lnTo>
                      <a:pt x="40" y="284"/>
                    </a:lnTo>
                    <a:lnTo>
                      <a:pt x="35" y="277"/>
                    </a:lnTo>
                    <a:lnTo>
                      <a:pt x="32" y="270"/>
                    </a:lnTo>
                    <a:lnTo>
                      <a:pt x="13" y="245"/>
                    </a:lnTo>
                    <a:lnTo>
                      <a:pt x="0" y="222"/>
                    </a:lnTo>
                    <a:lnTo>
                      <a:pt x="0" y="185"/>
                    </a:lnTo>
                    <a:lnTo>
                      <a:pt x="27" y="185"/>
                    </a:lnTo>
                    <a:lnTo>
                      <a:pt x="33" y="181"/>
                    </a:lnTo>
                    <a:lnTo>
                      <a:pt x="38" y="174"/>
                    </a:lnTo>
                    <a:lnTo>
                      <a:pt x="40" y="169"/>
                    </a:lnTo>
                    <a:lnTo>
                      <a:pt x="41" y="163"/>
                    </a:lnTo>
                    <a:lnTo>
                      <a:pt x="41" y="150"/>
                    </a:lnTo>
                    <a:lnTo>
                      <a:pt x="40" y="136"/>
                    </a:lnTo>
                    <a:lnTo>
                      <a:pt x="38" y="107"/>
                    </a:lnTo>
                    <a:lnTo>
                      <a:pt x="32" y="79"/>
                    </a:lnTo>
                    <a:lnTo>
                      <a:pt x="31" y="65"/>
                    </a:lnTo>
                    <a:lnTo>
                      <a:pt x="31" y="52"/>
                    </a:lnTo>
                    <a:lnTo>
                      <a:pt x="32" y="47"/>
                    </a:lnTo>
                    <a:lnTo>
                      <a:pt x="34" y="41"/>
                    </a:lnTo>
                    <a:lnTo>
                      <a:pt x="36" y="36"/>
                    </a:lnTo>
                    <a:lnTo>
                      <a:pt x="40" y="31"/>
                    </a:lnTo>
                    <a:lnTo>
                      <a:pt x="120" y="31"/>
                    </a:lnTo>
                    <a:lnTo>
                      <a:pt x="120" y="27"/>
                    </a:lnTo>
                    <a:lnTo>
                      <a:pt x="122" y="22"/>
                    </a:lnTo>
                    <a:lnTo>
                      <a:pt x="124" y="18"/>
                    </a:lnTo>
                    <a:lnTo>
                      <a:pt x="128" y="14"/>
                    </a:lnTo>
                    <a:lnTo>
                      <a:pt x="133" y="6"/>
                    </a:lnTo>
                    <a:lnTo>
                      <a:pt x="140" y="0"/>
                    </a:lnTo>
                    <a:lnTo>
                      <a:pt x="141" y="9"/>
                    </a:lnTo>
                    <a:lnTo>
                      <a:pt x="142" y="18"/>
                    </a:lnTo>
                    <a:lnTo>
                      <a:pt x="143" y="22"/>
                    </a:lnTo>
                    <a:lnTo>
                      <a:pt x="142" y="26"/>
                    </a:lnTo>
                    <a:lnTo>
                      <a:pt x="142" y="29"/>
                    </a:lnTo>
                    <a:lnTo>
                      <a:pt x="140" y="31"/>
                    </a:lnTo>
                    <a:lnTo>
                      <a:pt x="153" y="31"/>
                    </a:lnTo>
                    <a:lnTo>
                      <a:pt x="168" y="31"/>
                    </a:lnTo>
                    <a:lnTo>
                      <a:pt x="180" y="31"/>
                    </a:lnTo>
                    <a:lnTo>
                      <a:pt x="186" y="31"/>
                    </a:lnTo>
                    <a:lnTo>
                      <a:pt x="202" y="34"/>
                    </a:lnTo>
                    <a:lnTo>
                      <a:pt x="214" y="38"/>
                    </a:lnTo>
                    <a:lnTo>
                      <a:pt x="224" y="43"/>
                    </a:lnTo>
                    <a:lnTo>
                      <a:pt x="233" y="49"/>
                    </a:lnTo>
                    <a:lnTo>
                      <a:pt x="240" y="53"/>
                    </a:lnTo>
                    <a:lnTo>
                      <a:pt x="246" y="58"/>
                    </a:lnTo>
                    <a:lnTo>
                      <a:pt x="252" y="60"/>
                    </a:lnTo>
                    <a:lnTo>
                      <a:pt x="259" y="61"/>
                    </a:lnTo>
                    <a:lnTo>
                      <a:pt x="264" y="61"/>
                    </a:lnTo>
                    <a:lnTo>
                      <a:pt x="268" y="59"/>
                    </a:lnTo>
                    <a:lnTo>
                      <a:pt x="271" y="57"/>
                    </a:lnTo>
                    <a:lnTo>
                      <a:pt x="275" y="54"/>
                    </a:lnTo>
                    <a:lnTo>
                      <a:pt x="280" y="46"/>
                    </a:lnTo>
                    <a:lnTo>
                      <a:pt x="286" y="37"/>
                    </a:lnTo>
                    <a:lnTo>
                      <a:pt x="300" y="44"/>
                    </a:lnTo>
                    <a:lnTo>
                      <a:pt x="312" y="52"/>
                    </a:lnTo>
                    <a:lnTo>
                      <a:pt x="319" y="55"/>
                    </a:lnTo>
                    <a:lnTo>
                      <a:pt x="325" y="59"/>
                    </a:lnTo>
                    <a:lnTo>
                      <a:pt x="332" y="61"/>
                    </a:lnTo>
                    <a:lnTo>
                      <a:pt x="338" y="61"/>
                    </a:lnTo>
                    <a:lnTo>
                      <a:pt x="359" y="148"/>
                    </a:lnTo>
                    <a:lnTo>
                      <a:pt x="353" y="161"/>
                    </a:lnTo>
                    <a:lnTo>
                      <a:pt x="346" y="173"/>
                    </a:lnTo>
                    <a:lnTo>
                      <a:pt x="338" y="185"/>
                    </a:lnTo>
                    <a:lnTo>
                      <a:pt x="331" y="195"/>
                    </a:lnTo>
                    <a:lnTo>
                      <a:pt x="323" y="206"/>
                    </a:lnTo>
                    <a:lnTo>
                      <a:pt x="318" y="218"/>
                    </a:lnTo>
                    <a:lnTo>
                      <a:pt x="315" y="224"/>
                    </a:lnTo>
                    <a:lnTo>
                      <a:pt x="314" y="231"/>
                    </a:lnTo>
                    <a:lnTo>
                      <a:pt x="313" y="239"/>
                    </a:lnTo>
                    <a:lnTo>
                      <a:pt x="312" y="247"/>
                    </a:lnTo>
                    <a:lnTo>
                      <a:pt x="313" y="255"/>
                    </a:lnTo>
                    <a:lnTo>
                      <a:pt x="316" y="263"/>
                    </a:lnTo>
                    <a:lnTo>
                      <a:pt x="321" y="273"/>
                    </a:lnTo>
                    <a:lnTo>
                      <a:pt x="325" y="283"/>
                    </a:lnTo>
                    <a:lnTo>
                      <a:pt x="331" y="293"/>
                    </a:lnTo>
                    <a:lnTo>
                      <a:pt x="335" y="302"/>
                    </a:lnTo>
                    <a:lnTo>
                      <a:pt x="337" y="309"/>
                    </a:lnTo>
                    <a:lnTo>
                      <a:pt x="338" y="315"/>
                    </a:lnTo>
                    <a:lnTo>
                      <a:pt x="337" y="321"/>
                    </a:lnTo>
                    <a:lnTo>
                      <a:pt x="332" y="331"/>
                    </a:lnTo>
                    <a:lnTo>
                      <a:pt x="330" y="337"/>
                    </a:lnTo>
                    <a:lnTo>
                      <a:pt x="327" y="343"/>
                    </a:lnTo>
                    <a:lnTo>
                      <a:pt x="326" y="351"/>
                    </a:lnTo>
                    <a:lnTo>
                      <a:pt x="325" y="358"/>
                    </a:lnTo>
                    <a:lnTo>
                      <a:pt x="319" y="358"/>
                    </a:lnTo>
                    <a:lnTo>
                      <a:pt x="313" y="357"/>
                    </a:lnTo>
                    <a:lnTo>
                      <a:pt x="308" y="356"/>
                    </a:lnTo>
                    <a:lnTo>
                      <a:pt x="304" y="354"/>
                    </a:lnTo>
                    <a:lnTo>
                      <a:pt x="298" y="350"/>
                    </a:lnTo>
                    <a:lnTo>
                      <a:pt x="292" y="346"/>
                    </a:lnTo>
                    <a:lnTo>
                      <a:pt x="287" y="340"/>
                    </a:lnTo>
                    <a:lnTo>
                      <a:pt x="280" y="336"/>
                    </a:lnTo>
                    <a:lnTo>
                      <a:pt x="277" y="335"/>
                    </a:lnTo>
                    <a:lnTo>
                      <a:pt x="271" y="334"/>
                    </a:lnTo>
                    <a:lnTo>
                      <a:pt x="266" y="333"/>
                    </a:lnTo>
                    <a:lnTo>
                      <a:pt x="259" y="333"/>
                    </a:lnTo>
                    <a:lnTo>
                      <a:pt x="246" y="333"/>
                    </a:lnTo>
                    <a:lnTo>
                      <a:pt x="234" y="334"/>
                    </a:lnTo>
                    <a:lnTo>
                      <a:pt x="221" y="336"/>
                    </a:lnTo>
                    <a:lnTo>
                      <a:pt x="208" y="338"/>
                    </a:lnTo>
                    <a:lnTo>
                      <a:pt x="181" y="343"/>
                    </a:lnTo>
                    <a:lnTo>
                      <a:pt x="155" y="351"/>
                    </a:lnTo>
                    <a:lnTo>
                      <a:pt x="131" y="359"/>
                    </a:lnTo>
                    <a:lnTo>
                      <a:pt x="107" y="367"/>
                    </a:lnTo>
                    <a:lnTo>
                      <a:pt x="86" y="375"/>
                    </a:lnTo>
                    <a:lnTo>
                      <a:pt x="66" y="382"/>
                    </a:lnTo>
                    <a:lnTo>
                      <a:pt x="53" y="394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44" name="Freeform 466">
                <a:extLst>
                  <a:ext uri="{FF2B5EF4-FFF2-40B4-BE49-F238E27FC236}">
                    <a16:creationId xmlns="" xmlns:a16="http://schemas.microsoft.com/office/drawing/2014/main" id="{917D9D01-CEF6-4FD9-B892-950DBEF93B4E}"/>
                  </a:ext>
                </a:extLst>
              </p:cNvPr>
              <p:cNvSpPr>
                <a:spLocks/>
              </p:cNvSpPr>
              <p:nvPr>
                <p:custDataLst>
                  <p:tags r:id="rId304"/>
                </p:custDataLst>
              </p:nvPr>
            </p:nvSpPr>
            <p:spPr bwMode="auto">
              <a:xfrm>
                <a:off x="4867275" y="3521075"/>
                <a:ext cx="192088" cy="271463"/>
              </a:xfrm>
              <a:custGeom>
                <a:avLst/>
                <a:gdLst>
                  <a:gd name="T0" fmla="*/ 2147483646 w 449"/>
                  <a:gd name="T1" fmla="*/ 2147483646 h 523"/>
                  <a:gd name="T2" fmla="*/ 2147483646 w 449"/>
                  <a:gd name="T3" fmla="*/ 2147483646 h 523"/>
                  <a:gd name="T4" fmla="*/ 2147483646 w 449"/>
                  <a:gd name="T5" fmla="*/ 2147483646 h 523"/>
                  <a:gd name="T6" fmla="*/ 2147483646 w 449"/>
                  <a:gd name="T7" fmla="*/ 2147483646 h 523"/>
                  <a:gd name="T8" fmla="*/ 2147483646 w 449"/>
                  <a:gd name="T9" fmla="*/ 2147483646 h 523"/>
                  <a:gd name="T10" fmla="*/ 2147483646 w 449"/>
                  <a:gd name="T11" fmla="*/ 2147483646 h 523"/>
                  <a:gd name="T12" fmla="*/ 2147483646 w 449"/>
                  <a:gd name="T13" fmla="*/ 2147483646 h 523"/>
                  <a:gd name="T14" fmla="*/ 2147483646 w 449"/>
                  <a:gd name="T15" fmla="*/ 2147483646 h 523"/>
                  <a:gd name="T16" fmla="*/ 2147483646 w 449"/>
                  <a:gd name="T17" fmla="*/ 2147483646 h 523"/>
                  <a:gd name="T18" fmla="*/ 2147483646 w 449"/>
                  <a:gd name="T19" fmla="*/ 2147483646 h 523"/>
                  <a:gd name="T20" fmla="*/ 2147483646 w 449"/>
                  <a:gd name="T21" fmla="*/ 2147483646 h 523"/>
                  <a:gd name="T22" fmla="*/ 2147483646 w 449"/>
                  <a:gd name="T23" fmla="*/ 2147483646 h 523"/>
                  <a:gd name="T24" fmla="*/ 2147483646 w 449"/>
                  <a:gd name="T25" fmla="*/ 2147483646 h 523"/>
                  <a:gd name="T26" fmla="*/ 2147483646 w 449"/>
                  <a:gd name="T27" fmla="*/ 2147483646 h 523"/>
                  <a:gd name="T28" fmla="*/ 2147483646 w 449"/>
                  <a:gd name="T29" fmla="*/ 2147483646 h 523"/>
                  <a:gd name="T30" fmla="*/ 2147483646 w 449"/>
                  <a:gd name="T31" fmla="*/ 2147483646 h 523"/>
                  <a:gd name="T32" fmla="*/ 2147483646 w 449"/>
                  <a:gd name="T33" fmla="*/ 2147483646 h 523"/>
                  <a:gd name="T34" fmla="*/ 2147483646 w 449"/>
                  <a:gd name="T35" fmla="*/ 2147483646 h 523"/>
                  <a:gd name="T36" fmla="*/ 2147483646 w 449"/>
                  <a:gd name="T37" fmla="*/ 2147483646 h 523"/>
                  <a:gd name="T38" fmla="*/ 2147483646 w 449"/>
                  <a:gd name="T39" fmla="*/ 2147483646 h 523"/>
                  <a:gd name="T40" fmla="*/ 2147483646 w 449"/>
                  <a:gd name="T41" fmla="*/ 2147483646 h 523"/>
                  <a:gd name="T42" fmla="*/ 2147483646 w 449"/>
                  <a:gd name="T43" fmla="*/ 2147483646 h 523"/>
                  <a:gd name="T44" fmla="*/ 2147483646 w 449"/>
                  <a:gd name="T45" fmla="*/ 2147483646 h 523"/>
                  <a:gd name="T46" fmla="*/ 2147483646 w 449"/>
                  <a:gd name="T47" fmla="*/ 2147483646 h 523"/>
                  <a:gd name="T48" fmla="*/ 2147483646 w 449"/>
                  <a:gd name="T49" fmla="*/ 2147483646 h 523"/>
                  <a:gd name="T50" fmla="*/ 2147483646 w 449"/>
                  <a:gd name="T51" fmla="*/ 0 h 523"/>
                  <a:gd name="T52" fmla="*/ 2147483646 w 449"/>
                  <a:gd name="T53" fmla="*/ 0 h 523"/>
                  <a:gd name="T54" fmla="*/ 2147483646 w 449"/>
                  <a:gd name="T55" fmla="*/ 0 h 523"/>
                  <a:gd name="T56" fmla="*/ 2147483646 w 449"/>
                  <a:gd name="T57" fmla="*/ 2147483646 h 523"/>
                  <a:gd name="T58" fmla="*/ 2147483646 w 449"/>
                  <a:gd name="T59" fmla="*/ 2147483646 h 523"/>
                  <a:gd name="T60" fmla="*/ 2147483646 w 449"/>
                  <a:gd name="T61" fmla="*/ 2147483646 h 523"/>
                  <a:gd name="T62" fmla="*/ 2147483646 w 449"/>
                  <a:gd name="T63" fmla="*/ 2147483646 h 523"/>
                  <a:gd name="T64" fmla="*/ 2147483646 w 449"/>
                  <a:gd name="T65" fmla="*/ 2147483646 h 523"/>
                  <a:gd name="T66" fmla="*/ 2147483646 w 449"/>
                  <a:gd name="T67" fmla="*/ 2147483646 h 523"/>
                  <a:gd name="T68" fmla="*/ 2147483646 w 449"/>
                  <a:gd name="T69" fmla="*/ 2147483646 h 523"/>
                  <a:gd name="T70" fmla="*/ 2147483646 w 449"/>
                  <a:gd name="T71" fmla="*/ 2147483646 h 523"/>
                  <a:gd name="T72" fmla="*/ 2147483646 w 449"/>
                  <a:gd name="T73" fmla="*/ 2147483646 h 523"/>
                  <a:gd name="T74" fmla="*/ 2147483646 w 449"/>
                  <a:gd name="T75" fmla="*/ 2147483646 h 523"/>
                  <a:gd name="T76" fmla="*/ 2147483646 w 449"/>
                  <a:gd name="T77" fmla="*/ 2147483646 h 523"/>
                  <a:gd name="T78" fmla="*/ 2147483646 w 449"/>
                  <a:gd name="T79" fmla="*/ 2147483646 h 523"/>
                  <a:gd name="T80" fmla="*/ 2147483646 w 449"/>
                  <a:gd name="T81" fmla="*/ 2147483646 h 523"/>
                  <a:gd name="T82" fmla="*/ 2147483646 w 449"/>
                  <a:gd name="T83" fmla="*/ 2147483646 h 523"/>
                  <a:gd name="T84" fmla="*/ 2147483646 w 449"/>
                  <a:gd name="T85" fmla="*/ 2147483646 h 523"/>
                  <a:gd name="T86" fmla="*/ 2147483646 w 449"/>
                  <a:gd name="T87" fmla="*/ 2147483646 h 523"/>
                  <a:gd name="T88" fmla="*/ 2147483646 w 449"/>
                  <a:gd name="T89" fmla="*/ 2147483646 h 523"/>
                  <a:gd name="T90" fmla="*/ 2147483646 w 449"/>
                  <a:gd name="T91" fmla="*/ 2147483646 h 523"/>
                  <a:gd name="T92" fmla="*/ 2147483646 w 449"/>
                  <a:gd name="T93" fmla="*/ 2147483646 h 523"/>
                  <a:gd name="T94" fmla="*/ 2147483646 w 449"/>
                  <a:gd name="T95" fmla="*/ 2147483646 h 523"/>
                  <a:gd name="T96" fmla="*/ 2147483646 w 449"/>
                  <a:gd name="T97" fmla="*/ 2147483646 h 523"/>
                  <a:gd name="T98" fmla="*/ 2147483646 w 449"/>
                  <a:gd name="T99" fmla="*/ 2147483646 h 523"/>
                  <a:gd name="T100" fmla="*/ 2147483646 w 449"/>
                  <a:gd name="T101" fmla="*/ 2147483646 h 523"/>
                  <a:gd name="T102" fmla="*/ 2147483646 w 449"/>
                  <a:gd name="T103" fmla="*/ 2147483646 h 523"/>
                  <a:gd name="T104" fmla="*/ 2147483646 w 449"/>
                  <a:gd name="T105" fmla="*/ 2147483646 h 523"/>
                  <a:gd name="T106" fmla="*/ 2147483646 w 449"/>
                  <a:gd name="T107" fmla="*/ 2147483646 h 523"/>
                  <a:gd name="T108" fmla="*/ 2147483646 w 449"/>
                  <a:gd name="T109" fmla="*/ 2147483646 h 52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49"/>
                  <a:gd name="T166" fmla="*/ 0 h 523"/>
                  <a:gd name="T167" fmla="*/ 449 w 449"/>
                  <a:gd name="T168" fmla="*/ 523 h 52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49" h="523">
                    <a:moveTo>
                      <a:pt x="410" y="370"/>
                    </a:moveTo>
                    <a:lnTo>
                      <a:pt x="410" y="105"/>
                    </a:lnTo>
                    <a:lnTo>
                      <a:pt x="407" y="102"/>
                    </a:lnTo>
                    <a:lnTo>
                      <a:pt x="405" y="98"/>
                    </a:lnTo>
                    <a:lnTo>
                      <a:pt x="405" y="95"/>
                    </a:lnTo>
                    <a:lnTo>
                      <a:pt x="408" y="92"/>
                    </a:lnTo>
                    <a:lnTo>
                      <a:pt x="413" y="84"/>
                    </a:lnTo>
                    <a:lnTo>
                      <a:pt x="422" y="77"/>
                    </a:lnTo>
                    <a:lnTo>
                      <a:pt x="432" y="70"/>
                    </a:lnTo>
                    <a:lnTo>
                      <a:pt x="441" y="60"/>
                    </a:lnTo>
                    <a:lnTo>
                      <a:pt x="444" y="55"/>
                    </a:lnTo>
                    <a:lnTo>
                      <a:pt x="447" y="50"/>
                    </a:lnTo>
                    <a:lnTo>
                      <a:pt x="448" y="44"/>
                    </a:lnTo>
                    <a:lnTo>
                      <a:pt x="449" y="37"/>
                    </a:lnTo>
                    <a:lnTo>
                      <a:pt x="438" y="37"/>
                    </a:lnTo>
                    <a:lnTo>
                      <a:pt x="432" y="34"/>
                    </a:lnTo>
                    <a:lnTo>
                      <a:pt x="426" y="32"/>
                    </a:lnTo>
                    <a:lnTo>
                      <a:pt x="422" y="27"/>
                    </a:lnTo>
                    <a:lnTo>
                      <a:pt x="418" y="24"/>
                    </a:lnTo>
                    <a:lnTo>
                      <a:pt x="411" y="21"/>
                    </a:lnTo>
                    <a:lnTo>
                      <a:pt x="402" y="19"/>
                    </a:lnTo>
                    <a:lnTo>
                      <a:pt x="390" y="18"/>
                    </a:lnTo>
                    <a:lnTo>
                      <a:pt x="382" y="19"/>
                    </a:lnTo>
                    <a:lnTo>
                      <a:pt x="377" y="20"/>
                    </a:lnTo>
                    <a:lnTo>
                      <a:pt x="371" y="22"/>
                    </a:lnTo>
                    <a:lnTo>
                      <a:pt x="368" y="24"/>
                    </a:lnTo>
                    <a:lnTo>
                      <a:pt x="360" y="31"/>
                    </a:lnTo>
                    <a:lnTo>
                      <a:pt x="355" y="37"/>
                    </a:lnTo>
                    <a:lnTo>
                      <a:pt x="348" y="44"/>
                    </a:lnTo>
                    <a:lnTo>
                      <a:pt x="340" y="50"/>
                    </a:lnTo>
                    <a:lnTo>
                      <a:pt x="333" y="52"/>
                    </a:lnTo>
                    <a:lnTo>
                      <a:pt x="326" y="54"/>
                    </a:lnTo>
                    <a:lnTo>
                      <a:pt x="319" y="55"/>
                    </a:lnTo>
                    <a:lnTo>
                      <a:pt x="310" y="55"/>
                    </a:lnTo>
                    <a:lnTo>
                      <a:pt x="298" y="55"/>
                    </a:lnTo>
                    <a:lnTo>
                      <a:pt x="287" y="54"/>
                    </a:lnTo>
                    <a:lnTo>
                      <a:pt x="277" y="52"/>
                    </a:lnTo>
                    <a:lnTo>
                      <a:pt x="267" y="50"/>
                    </a:lnTo>
                    <a:lnTo>
                      <a:pt x="251" y="43"/>
                    </a:lnTo>
                    <a:lnTo>
                      <a:pt x="235" y="36"/>
                    </a:lnTo>
                    <a:lnTo>
                      <a:pt x="220" y="27"/>
                    </a:lnTo>
                    <a:lnTo>
                      <a:pt x="206" y="19"/>
                    </a:lnTo>
                    <a:lnTo>
                      <a:pt x="197" y="15"/>
                    </a:lnTo>
                    <a:lnTo>
                      <a:pt x="189" y="12"/>
                    </a:lnTo>
                    <a:lnTo>
                      <a:pt x="180" y="9"/>
                    </a:lnTo>
                    <a:lnTo>
                      <a:pt x="170" y="6"/>
                    </a:lnTo>
                    <a:lnTo>
                      <a:pt x="152" y="7"/>
                    </a:lnTo>
                    <a:lnTo>
                      <a:pt x="134" y="8"/>
                    </a:lnTo>
                    <a:lnTo>
                      <a:pt x="127" y="7"/>
                    </a:lnTo>
                    <a:lnTo>
                      <a:pt x="119" y="6"/>
                    </a:lnTo>
                    <a:lnTo>
                      <a:pt x="111" y="4"/>
                    </a:lnTo>
                    <a:lnTo>
                      <a:pt x="103" y="0"/>
                    </a:lnTo>
                    <a:lnTo>
                      <a:pt x="80" y="0"/>
                    </a:lnTo>
                    <a:lnTo>
                      <a:pt x="52" y="0"/>
                    </a:lnTo>
                    <a:lnTo>
                      <a:pt x="24" y="0"/>
                    </a:lnTo>
                    <a:lnTo>
                      <a:pt x="5" y="0"/>
                    </a:lnTo>
                    <a:lnTo>
                      <a:pt x="5" y="7"/>
                    </a:lnTo>
                    <a:lnTo>
                      <a:pt x="5" y="18"/>
                    </a:lnTo>
                    <a:lnTo>
                      <a:pt x="5" y="29"/>
                    </a:lnTo>
                    <a:lnTo>
                      <a:pt x="5" y="37"/>
                    </a:lnTo>
                    <a:lnTo>
                      <a:pt x="9" y="47"/>
                    </a:lnTo>
                    <a:lnTo>
                      <a:pt x="15" y="60"/>
                    </a:lnTo>
                    <a:lnTo>
                      <a:pt x="19" y="74"/>
                    </a:lnTo>
                    <a:lnTo>
                      <a:pt x="23" y="91"/>
                    </a:lnTo>
                    <a:lnTo>
                      <a:pt x="28" y="109"/>
                    </a:lnTo>
                    <a:lnTo>
                      <a:pt x="31" y="128"/>
                    </a:lnTo>
                    <a:lnTo>
                      <a:pt x="34" y="150"/>
                    </a:lnTo>
                    <a:lnTo>
                      <a:pt x="38" y="172"/>
                    </a:lnTo>
                    <a:lnTo>
                      <a:pt x="38" y="190"/>
                    </a:lnTo>
                    <a:lnTo>
                      <a:pt x="37" y="206"/>
                    </a:lnTo>
                    <a:lnTo>
                      <a:pt x="33" y="219"/>
                    </a:lnTo>
                    <a:lnTo>
                      <a:pt x="29" y="230"/>
                    </a:lnTo>
                    <a:lnTo>
                      <a:pt x="18" y="249"/>
                    </a:lnTo>
                    <a:lnTo>
                      <a:pt x="7" y="269"/>
                    </a:lnTo>
                    <a:lnTo>
                      <a:pt x="17" y="284"/>
                    </a:lnTo>
                    <a:lnTo>
                      <a:pt x="10" y="321"/>
                    </a:lnTo>
                    <a:lnTo>
                      <a:pt x="0" y="328"/>
                    </a:lnTo>
                    <a:lnTo>
                      <a:pt x="28" y="339"/>
                    </a:lnTo>
                    <a:lnTo>
                      <a:pt x="55" y="352"/>
                    </a:lnTo>
                    <a:lnTo>
                      <a:pt x="84" y="367"/>
                    </a:lnTo>
                    <a:lnTo>
                      <a:pt x="111" y="381"/>
                    </a:lnTo>
                    <a:lnTo>
                      <a:pt x="136" y="396"/>
                    </a:lnTo>
                    <a:lnTo>
                      <a:pt x="159" y="411"/>
                    </a:lnTo>
                    <a:lnTo>
                      <a:pt x="170" y="420"/>
                    </a:lnTo>
                    <a:lnTo>
                      <a:pt x="180" y="428"/>
                    </a:lnTo>
                    <a:lnTo>
                      <a:pt x="189" y="436"/>
                    </a:lnTo>
                    <a:lnTo>
                      <a:pt x="197" y="444"/>
                    </a:lnTo>
                    <a:lnTo>
                      <a:pt x="198" y="451"/>
                    </a:lnTo>
                    <a:lnTo>
                      <a:pt x="199" y="457"/>
                    </a:lnTo>
                    <a:lnTo>
                      <a:pt x="201" y="464"/>
                    </a:lnTo>
                    <a:lnTo>
                      <a:pt x="205" y="471"/>
                    </a:lnTo>
                    <a:lnTo>
                      <a:pt x="209" y="479"/>
                    </a:lnTo>
                    <a:lnTo>
                      <a:pt x="214" y="486"/>
                    </a:lnTo>
                    <a:lnTo>
                      <a:pt x="220" y="492"/>
                    </a:lnTo>
                    <a:lnTo>
                      <a:pt x="226" y="498"/>
                    </a:lnTo>
                    <a:lnTo>
                      <a:pt x="233" y="503"/>
                    </a:lnTo>
                    <a:lnTo>
                      <a:pt x="240" y="508"/>
                    </a:lnTo>
                    <a:lnTo>
                      <a:pt x="247" y="512"/>
                    </a:lnTo>
                    <a:lnTo>
                      <a:pt x="256" y="516"/>
                    </a:lnTo>
                    <a:lnTo>
                      <a:pt x="264" y="519"/>
                    </a:lnTo>
                    <a:lnTo>
                      <a:pt x="273" y="521"/>
                    </a:lnTo>
                    <a:lnTo>
                      <a:pt x="281" y="523"/>
                    </a:lnTo>
                    <a:lnTo>
                      <a:pt x="290" y="523"/>
                    </a:lnTo>
                    <a:lnTo>
                      <a:pt x="304" y="502"/>
                    </a:lnTo>
                    <a:lnTo>
                      <a:pt x="320" y="482"/>
                    </a:lnTo>
                    <a:lnTo>
                      <a:pt x="335" y="462"/>
                    </a:lnTo>
                    <a:lnTo>
                      <a:pt x="349" y="444"/>
                    </a:lnTo>
                    <a:lnTo>
                      <a:pt x="365" y="427"/>
                    </a:lnTo>
                    <a:lnTo>
                      <a:pt x="379" y="408"/>
                    </a:lnTo>
                    <a:lnTo>
                      <a:pt x="394" y="390"/>
                    </a:lnTo>
                    <a:lnTo>
                      <a:pt x="410" y="37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45" name="Freeform 467">
                <a:extLst>
                  <a:ext uri="{FF2B5EF4-FFF2-40B4-BE49-F238E27FC236}">
                    <a16:creationId xmlns="" xmlns:a16="http://schemas.microsoft.com/office/drawing/2014/main" id="{B9679166-F78D-4727-B922-D9B85E7414E3}"/>
                  </a:ext>
                </a:extLst>
              </p:cNvPr>
              <p:cNvSpPr>
                <a:spLocks/>
              </p:cNvSpPr>
              <p:nvPr>
                <p:custDataLst>
                  <p:tags r:id="rId305"/>
                </p:custDataLst>
              </p:nvPr>
            </p:nvSpPr>
            <p:spPr bwMode="auto">
              <a:xfrm>
                <a:off x="4849813" y="2606675"/>
                <a:ext cx="101600" cy="130175"/>
              </a:xfrm>
              <a:custGeom>
                <a:avLst/>
                <a:gdLst>
                  <a:gd name="T0" fmla="*/ 2147483646 w 226"/>
                  <a:gd name="T1" fmla="*/ 2147483646 h 246"/>
                  <a:gd name="T2" fmla="*/ 2147483646 w 226"/>
                  <a:gd name="T3" fmla="*/ 2147483646 h 246"/>
                  <a:gd name="T4" fmla="*/ 2147483646 w 226"/>
                  <a:gd name="T5" fmla="*/ 2147483646 h 246"/>
                  <a:gd name="T6" fmla="*/ 2147483646 w 226"/>
                  <a:gd name="T7" fmla="*/ 2147483646 h 246"/>
                  <a:gd name="T8" fmla="*/ 2147483646 w 226"/>
                  <a:gd name="T9" fmla="*/ 2147483646 h 246"/>
                  <a:gd name="T10" fmla="*/ 2147483646 w 226"/>
                  <a:gd name="T11" fmla="*/ 2147483646 h 246"/>
                  <a:gd name="T12" fmla="*/ 2147483646 w 226"/>
                  <a:gd name="T13" fmla="*/ 2147483646 h 246"/>
                  <a:gd name="T14" fmla="*/ 2147483646 w 226"/>
                  <a:gd name="T15" fmla="*/ 2147483646 h 246"/>
                  <a:gd name="T16" fmla="*/ 2147483646 w 226"/>
                  <a:gd name="T17" fmla="*/ 2147483646 h 246"/>
                  <a:gd name="T18" fmla="*/ 2147483646 w 226"/>
                  <a:gd name="T19" fmla="*/ 2147483646 h 246"/>
                  <a:gd name="T20" fmla="*/ 2147483646 w 226"/>
                  <a:gd name="T21" fmla="*/ 2147483646 h 246"/>
                  <a:gd name="T22" fmla="*/ 2147483646 w 226"/>
                  <a:gd name="T23" fmla="*/ 2147483646 h 246"/>
                  <a:gd name="T24" fmla="*/ 2147483646 w 226"/>
                  <a:gd name="T25" fmla="*/ 2147483646 h 246"/>
                  <a:gd name="T26" fmla="*/ 2147483646 w 226"/>
                  <a:gd name="T27" fmla="*/ 2147483646 h 246"/>
                  <a:gd name="T28" fmla="*/ 2147483646 w 226"/>
                  <a:gd name="T29" fmla="*/ 2147483646 h 246"/>
                  <a:gd name="T30" fmla="*/ 2147483646 w 226"/>
                  <a:gd name="T31" fmla="*/ 2147483646 h 246"/>
                  <a:gd name="T32" fmla="*/ 2147483646 w 226"/>
                  <a:gd name="T33" fmla="*/ 2147483646 h 246"/>
                  <a:gd name="T34" fmla="*/ 2147483646 w 226"/>
                  <a:gd name="T35" fmla="*/ 2147483646 h 246"/>
                  <a:gd name="T36" fmla="*/ 2147483646 w 226"/>
                  <a:gd name="T37" fmla="*/ 2147483646 h 246"/>
                  <a:gd name="T38" fmla="*/ 2147483646 w 226"/>
                  <a:gd name="T39" fmla="*/ 2147483646 h 246"/>
                  <a:gd name="T40" fmla="*/ 2147483646 w 226"/>
                  <a:gd name="T41" fmla="*/ 2147483646 h 246"/>
                  <a:gd name="T42" fmla="*/ 2147483646 w 226"/>
                  <a:gd name="T43" fmla="*/ 2147483646 h 246"/>
                  <a:gd name="T44" fmla="*/ 2147483646 w 226"/>
                  <a:gd name="T45" fmla="*/ 2147483646 h 246"/>
                  <a:gd name="T46" fmla="*/ 2147483646 w 226"/>
                  <a:gd name="T47" fmla="*/ 2147483646 h 246"/>
                  <a:gd name="T48" fmla="*/ 2147483646 w 226"/>
                  <a:gd name="T49" fmla="*/ 2147483646 h 246"/>
                  <a:gd name="T50" fmla="*/ 2147483646 w 226"/>
                  <a:gd name="T51" fmla="*/ 2147483646 h 246"/>
                  <a:gd name="T52" fmla="*/ 2147483646 w 226"/>
                  <a:gd name="T53" fmla="*/ 2147483646 h 246"/>
                  <a:gd name="T54" fmla="*/ 2147483646 w 226"/>
                  <a:gd name="T55" fmla="*/ 2147483646 h 246"/>
                  <a:gd name="T56" fmla="*/ 2147483646 w 226"/>
                  <a:gd name="T57" fmla="*/ 2147483646 h 246"/>
                  <a:gd name="T58" fmla="*/ 2147483646 w 226"/>
                  <a:gd name="T59" fmla="*/ 2147483646 h 246"/>
                  <a:gd name="T60" fmla="*/ 2147483646 w 226"/>
                  <a:gd name="T61" fmla="*/ 2147483646 h 246"/>
                  <a:gd name="T62" fmla="*/ 2147483646 w 226"/>
                  <a:gd name="T63" fmla="*/ 2147483646 h 246"/>
                  <a:gd name="T64" fmla="*/ 2147483646 w 226"/>
                  <a:gd name="T65" fmla="*/ 2147483646 h 246"/>
                  <a:gd name="T66" fmla="*/ 2147483646 w 226"/>
                  <a:gd name="T67" fmla="*/ 2147483646 h 24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226"/>
                  <a:gd name="T103" fmla="*/ 0 h 246"/>
                  <a:gd name="T104" fmla="*/ 226 w 226"/>
                  <a:gd name="T105" fmla="*/ 246 h 24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226" h="246">
                    <a:moveTo>
                      <a:pt x="0" y="221"/>
                    </a:moveTo>
                    <a:lnTo>
                      <a:pt x="12" y="228"/>
                    </a:lnTo>
                    <a:lnTo>
                      <a:pt x="27" y="236"/>
                    </a:lnTo>
                    <a:lnTo>
                      <a:pt x="36" y="240"/>
                    </a:lnTo>
                    <a:lnTo>
                      <a:pt x="44" y="243"/>
                    </a:lnTo>
                    <a:lnTo>
                      <a:pt x="53" y="245"/>
                    </a:lnTo>
                    <a:lnTo>
                      <a:pt x="60" y="246"/>
                    </a:lnTo>
                    <a:lnTo>
                      <a:pt x="68" y="245"/>
                    </a:lnTo>
                    <a:lnTo>
                      <a:pt x="76" y="243"/>
                    </a:lnTo>
                    <a:lnTo>
                      <a:pt x="85" y="241"/>
                    </a:lnTo>
                    <a:lnTo>
                      <a:pt x="92" y="237"/>
                    </a:lnTo>
                    <a:lnTo>
                      <a:pt x="110" y="228"/>
                    </a:lnTo>
                    <a:lnTo>
                      <a:pt x="126" y="217"/>
                    </a:lnTo>
                    <a:lnTo>
                      <a:pt x="141" y="205"/>
                    </a:lnTo>
                    <a:lnTo>
                      <a:pt x="153" y="194"/>
                    </a:lnTo>
                    <a:lnTo>
                      <a:pt x="161" y="184"/>
                    </a:lnTo>
                    <a:lnTo>
                      <a:pt x="167" y="178"/>
                    </a:lnTo>
                    <a:lnTo>
                      <a:pt x="159" y="173"/>
                    </a:lnTo>
                    <a:lnTo>
                      <a:pt x="154" y="167"/>
                    </a:lnTo>
                    <a:lnTo>
                      <a:pt x="149" y="160"/>
                    </a:lnTo>
                    <a:lnTo>
                      <a:pt x="146" y="152"/>
                    </a:lnTo>
                    <a:lnTo>
                      <a:pt x="143" y="145"/>
                    </a:lnTo>
                    <a:lnTo>
                      <a:pt x="142" y="137"/>
                    </a:lnTo>
                    <a:lnTo>
                      <a:pt x="141" y="130"/>
                    </a:lnTo>
                    <a:lnTo>
                      <a:pt x="139" y="123"/>
                    </a:lnTo>
                    <a:lnTo>
                      <a:pt x="141" y="116"/>
                    </a:lnTo>
                    <a:lnTo>
                      <a:pt x="143" y="110"/>
                    </a:lnTo>
                    <a:lnTo>
                      <a:pt x="146" y="105"/>
                    </a:lnTo>
                    <a:lnTo>
                      <a:pt x="150" y="100"/>
                    </a:lnTo>
                    <a:lnTo>
                      <a:pt x="156" y="94"/>
                    </a:lnTo>
                    <a:lnTo>
                      <a:pt x="161" y="90"/>
                    </a:lnTo>
                    <a:lnTo>
                      <a:pt x="168" y="86"/>
                    </a:lnTo>
                    <a:lnTo>
                      <a:pt x="176" y="82"/>
                    </a:lnTo>
                    <a:lnTo>
                      <a:pt x="204" y="71"/>
                    </a:lnTo>
                    <a:lnTo>
                      <a:pt x="226" y="61"/>
                    </a:lnTo>
                    <a:lnTo>
                      <a:pt x="225" y="49"/>
                    </a:lnTo>
                    <a:lnTo>
                      <a:pt x="223" y="38"/>
                    </a:lnTo>
                    <a:lnTo>
                      <a:pt x="221" y="30"/>
                    </a:lnTo>
                    <a:lnTo>
                      <a:pt x="217" y="23"/>
                    </a:lnTo>
                    <a:lnTo>
                      <a:pt x="214" y="17"/>
                    </a:lnTo>
                    <a:lnTo>
                      <a:pt x="212" y="12"/>
                    </a:lnTo>
                    <a:lnTo>
                      <a:pt x="212" y="6"/>
                    </a:lnTo>
                    <a:lnTo>
                      <a:pt x="213" y="0"/>
                    </a:lnTo>
                    <a:lnTo>
                      <a:pt x="202" y="1"/>
                    </a:lnTo>
                    <a:lnTo>
                      <a:pt x="191" y="4"/>
                    </a:lnTo>
                    <a:lnTo>
                      <a:pt x="181" y="7"/>
                    </a:lnTo>
                    <a:lnTo>
                      <a:pt x="171" y="11"/>
                    </a:lnTo>
                    <a:lnTo>
                      <a:pt x="154" y="20"/>
                    </a:lnTo>
                    <a:lnTo>
                      <a:pt x="136" y="29"/>
                    </a:lnTo>
                    <a:lnTo>
                      <a:pt x="121" y="38"/>
                    </a:lnTo>
                    <a:lnTo>
                      <a:pt x="107" y="47"/>
                    </a:lnTo>
                    <a:lnTo>
                      <a:pt x="100" y="51"/>
                    </a:lnTo>
                    <a:lnTo>
                      <a:pt x="93" y="53"/>
                    </a:lnTo>
                    <a:lnTo>
                      <a:pt x="87" y="55"/>
                    </a:lnTo>
                    <a:lnTo>
                      <a:pt x="80" y="55"/>
                    </a:lnTo>
                    <a:lnTo>
                      <a:pt x="75" y="54"/>
                    </a:lnTo>
                    <a:lnTo>
                      <a:pt x="67" y="51"/>
                    </a:lnTo>
                    <a:lnTo>
                      <a:pt x="59" y="47"/>
                    </a:lnTo>
                    <a:lnTo>
                      <a:pt x="51" y="41"/>
                    </a:lnTo>
                    <a:lnTo>
                      <a:pt x="36" y="31"/>
                    </a:lnTo>
                    <a:lnTo>
                      <a:pt x="27" y="24"/>
                    </a:lnTo>
                    <a:lnTo>
                      <a:pt x="24" y="39"/>
                    </a:lnTo>
                    <a:lnTo>
                      <a:pt x="21" y="64"/>
                    </a:lnTo>
                    <a:lnTo>
                      <a:pt x="18" y="95"/>
                    </a:lnTo>
                    <a:lnTo>
                      <a:pt x="13" y="129"/>
                    </a:lnTo>
                    <a:lnTo>
                      <a:pt x="10" y="163"/>
                    </a:lnTo>
                    <a:lnTo>
                      <a:pt x="7" y="191"/>
                    </a:lnTo>
                    <a:lnTo>
                      <a:pt x="3" y="212"/>
                    </a:lnTo>
                    <a:lnTo>
                      <a:pt x="0" y="221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46" name="Freeform 468">
                <a:extLst>
                  <a:ext uri="{FF2B5EF4-FFF2-40B4-BE49-F238E27FC236}">
                    <a16:creationId xmlns="" xmlns:a16="http://schemas.microsoft.com/office/drawing/2014/main" id="{A9281AF3-6153-41A6-91C0-EFEAB9213D05}"/>
                  </a:ext>
                </a:extLst>
              </p:cNvPr>
              <p:cNvSpPr>
                <a:spLocks/>
              </p:cNvSpPr>
              <p:nvPr>
                <p:custDataLst>
                  <p:tags r:id="rId306"/>
                </p:custDataLst>
              </p:nvPr>
            </p:nvSpPr>
            <p:spPr bwMode="auto">
              <a:xfrm>
                <a:off x="5148263" y="2709863"/>
                <a:ext cx="22225" cy="55562"/>
              </a:xfrm>
              <a:custGeom>
                <a:avLst/>
                <a:gdLst>
                  <a:gd name="T0" fmla="*/ 2147483646 w 60"/>
                  <a:gd name="T1" fmla="*/ 0 h 81"/>
                  <a:gd name="T2" fmla="*/ 2147483646 w 60"/>
                  <a:gd name="T3" fmla="*/ 2147483646 h 81"/>
                  <a:gd name="T4" fmla="*/ 2147483646 w 60"/>
                  <a:gd name="T5" fmla="*/ 2147483646 h 81"/>
                  <a:gd name="T6" fmla="*/ 2147483646 w 60"/>
                  <a:gd name="T7" fmla="*/ 2147483646 h 81"/>
                  <a:gd name="T8" fmla="*/ 2147483646 w 60"/>
                  <a:gd name="T9" fmla="*/ 2147483646 h 81"/>
                  <a:gd name="T10" fmla="*/ 2147483646 w 60"/>
                  <a:gd name="T11" fmla="*/ 2147483646 h 81"/>
                  <a:gd name="T12" fmla="*/ 2147483646 w 60"/>
                  <a:gd name="T13" fmla="*/ 0 h 81"/>
                  <a:gd name="T14" fmla="*/ 2147483646 w 60"/>
                  <a:gd name="T15" fmla="*/ 2147483646 h 81"/>
                  <a:gd name="T16" fmla="*/ 2147483646 w 60"/>
                  <a:gd name="T17" fmla="*/ 2147483646 h 81"/>
                  <a:gd name="T18" fmla="*/ 2147483646 w 60"/>
                  <a:gd name="T19" fmla="*/ 2147483646 h 81"/>
                  <a:gd name="T20" fmla="*/ 2147483646 w 60"/>
                  <a:gd name="T21" fmla="*/ 2147483646 h 81"/>
                  <a:gd name="T22" fmla="*/ 2147483646 w 60"/>
                  <a:gd name="T23" fmla="*/ 2147483646 h 81"/>
                  <a:gd name="T24" fmla="*/ 2147483646 w 60"/>
                  <a:gd name="T25" fmla="*/ 2147483646 h 81"/>
                  <a:gd name="T26" fmla="*/ 2147483646 w 60"/>
                  <a:gd name="T27" fmla="*/ 2147483646 h 81"/>
                  <a:gd name="T28" fmla="*/ 2147483646 w 60"/>
                  <a:gd name="T29" fmla="*/ 2147483646 h 81"/>
                  <a:gd name="T30" fmla="*/ 2147483646 w 60"/>
                  <a:gd name="T31" fmla="*/ 2147483646 h 81"/>
                  <a:gd name="T32" fmla="*/ 2147483646 w 60"/>
                  <a:gd name="T33" fmla="*/ 2147483646 h 81"/>
                  <a:gd name="T34" fmla="*/ 2147483646 w 60"/>
                  <a:gd name="T35" fmla="*/ 2147483646 h 81"/>
                  <a:gd name="T36" fmla="*/ 2147483646 w 60"/>
                  <a:gd name="T37" fmla="*/ 2147483646 h 81"/>
                  <a:gd name="T38" fmla="*/ 0 w 60"/>
                  <a:gd name="T39" fmla="*/ 2147483646 h 81"/>
                  <a:gd name="T40" fmla="*/ 2147483646 w 60"/>
                  <a:gd name="T41" fmla="*/ 2147483646 h 81"/>
                  <a:gd name="T42" fmla="*/ 2147483646 w 60"/>
                  <a:gd name="T43" fmla="*/ 2147483646 h 81"/>
                  <a:gd name="T44" fmla="*/ 2147483646 w 60"/>
                  <a:gd name="T45" fmla="*/ 0 h 81"/>
                  <a:gd name="T46" fmla="*/ 2147483646 w 60"/>
                  <a:gd name="T47" fmla="*/ 0 h 8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60"/>
                  <a:gd name="T73" fmla="*/ 0 h 81"/>
                  <a:gd name="T74" fmla="*/ 60 w 60"/>
                  <a:gd name="T75" fmla="*/ 81 h 81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60" h="81">
                    <a:moveTo>
                      <a:pt x="27" y="0"/>
                    </a:moveTo>
                    <a:lnTo>
                      <a:pt x="29" y="2"/>
                    </a:lnTo>
                    <a:lnTo>
                      <a:pt x="32" y="3"/>
                    </a:lnTo>
                    <a:lnTo>
                      <a:pt x="36" y="3"/>
                    </a:lnTo>
                    <a:lnTo>
                      <a:pt x="40" y="2"/>
                    </a:lnTo>
                    <a:lnTo>
                      <a:pt x="47" y="1"/>
                    </a:lnTo>
                    <a:lnTo>
                      <a:pt x="53" y="0"/>
                    </a:lnTo>
                    <a:lnTo>
                      <a:pt x="53" y="26"/>
                    </a:lnTo>
                    <a:lnTo>
                      <a:pt x="54" y="47"/>
                    </a:lnTo>
                    <a:lnTo>
                      <a:pt x="54" y="57"/>
                    </a:lnTo>
                    <a:lnTo>
                      <a:pt x="56" y="65"/>
                    </a:lnTo>
                    <a:lnTo>
                      <a:pt x="58" y="73"/>
                    </a:lnTo>
                    <a:lnTo>
                      <a:pt x="60" y="81"/>
                    </a:lnTo>
                    <a:lnTo>
                      <a:pt x="20" y="81"/>
                    </a:lnTo>
                    <a:lnTo>
                      <a:pt x="14" y="80"/>
                    </a:lnTo>
                    <a:lnTo>
                      <a:pt x="7" y="77"/>
                    </a:lnTo>
                    <a:lnTo>
                      <a:pt x="5" y="74"/>
                    </a:lnTo>
                    <a:lnTo>
                      <a:pt x="2" y="72"/>
                    </a:lnTo>
                    <a:lnTo>
                      <a:pt x="1" y="70"/>
                    </a:lnTo>
                    <a:lnTo>
                      <a:pt x="0" y="68"/>
                    </a:lnTo>
                    <a:lnTo>
                      <a:pt x="7" y="12"/>
                    </a:lnTo>
                    <a:lnTo>
                      <a:pt x="20" y="6"/>
                    </a:lnTo>
                    <a:lnTo>
                      <a:pt x="34" y="0"/>
                    </a:lnTo>
                    <a:lnTo>
                      <a:pt x="27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47" name="Freeform 469">
                <a:extLst>
                  <a:ext uri="{FF2B5EF4-FFF2-40B4-BE49-F238E27FC236}">
                    <a16:creationId xmlns="" xmlns:a16="http://schemas.microsoft.com/office/drawing/2014/main" id="{1C202904-3DEA-432B-ADAA-31C2CE047F33}"/>
                  </a:ext>
                </a:extLst>
              </p:cNvPr>
              <p:cNvSpPr>
                <a:spLocks/>
              </p:cNvSpPr>
              <p:nvPr>
                <p:custDataLst>
                  <p:tags r:id="rId307"/>
                </p:custDataLst>
              </p:nvPr>
            </p:nvSpPr>
            <p:spPr bwMode="auto">
              <a:xfrm>
                <a:off x="4435475" y="1844675"/>
                <a:ext cx="161925" cy="66675"/>
              </a:xfrm>
              <a:custGeom>
                <a:avLst/>
                <a:gdLst>
                  <a:gd name="T0" fmla="*/ 2147483646 w 370"/>
                  <a:gd name="T1" fmla="*/ 2147483646 h 129"/>
                  <a:gd name="T2" fmla="*/ 2147483646 w 370"/>
                  <a:gd name="T3" fmla="*/ 2147483646 h 129"/>
                  <a:gd name="T4" fmla="*/ 2147483646 w 370"/>
                  <a:gd name="T5" fmla="*/ 2147483646 h 129"/>
                  <a:gd name="T6" fmla="*/ 2147483646 w 370"/>
                  <a:gd name="T7" fmla="*/ 2147483646 h 129"/>
                  <a:gd name="T8" fmla="*/ 2147483646 w 370"/>
                  <a:gd name="T9" fmla="*/ 2147483646 h 129"/>
                  <a:gd name="T10" fmla="*/ 2147483646 w 370"/>
                  <a:gd name="T11" fmla="*/ 2147483646 h 129"/>
                  <a:gd name="T12" fmla="*/ 2147483646 w 370"/>
                  <a:gd name="T13" fmla="*/ 2147483646 h 129"/>
                  <a:gd name="T14" fmla="*/ 2147483646 w 370"/>
                  <a:gd name="T15" fmla="*/ 2147483646 h 129"/>
                  <a:gd name="T16" fmla="*/ 2147483646 w 370"/>
                  <a:gd name="T17" fmla="*/ 2147483646 h 129"/>
                  <a:gd name="T18" fmla="*/ 2147483646 w 370"/>
                  <a:gd name="T19" fmla="*/ 2147483646 h 129"/>
                  <a:gd name="T20" fmla="*/ 2147483646 w 370"/>
                  <a:gd name="T21" fmla="*/ 2147483646 h 129"/>
                  <a:gd name="T22" fmla="*/ 2147483646 w 370"/>
                  <a:gd name="T23" fmla="*/ 2147483646 h 129"/>
                  <a:gd name="T24" fmla="*/ 2147483646 w 370"/>
                  <a:gd name="T25" fmla="*/ 2147483646 h 129"/>
                  <a:gd name="T26" fmla="*/ 2147483646 w 370"/>
                  <a:gd name="T27" fmla="*/ 0 h 129"/>
                  <a:gd name="T28" fmla="*/ 2147483646 w 370"/>
                  <a:gd name="T29" fmla="*/ 0 h 129"/>
                  <a:gd name="T30" fmla="*/ 2147483646 w 370"/>
                  <a:gd name="T31" fmla="*/ 2147483646 h 129"/>
                  <a:gd name="T32" fmla="*/ 2147483646 w 370"/>
                  <a:gd name="T33" fmla="*/ 2147483646 h 129"/>
                  <a:gd name="T34" fmla="*/ 2147483646 w 370"/>
                  <a:gd name="T35" fmla="*/ 2147483646 h 129"/>
                  <a:gd name="T36" fmla="*/ 2147483646 w 370"/>
                  <a:gd name="T37" fmla="*/ 2147483646 h 129"/>
                  <a:gd name="T38" fmla="*/ 2147483646 w 370"/>
                  <a:gd name="T39" fmla="*/ 2147483646 h 129"/>
                  <a:gd name="T40" fmla="*/ 2147483646 w 370"/>
                  <a:gd name="T41" fmla="*/ 2147483646 h 129"/>
                  <a:gd name="T42" fmla="*/ 2147483646 w 370"/>
                  <a:gd name="T43" fmla="*/ 2147483646 h 129"/>
                  <a:gd name="T44" fmla="*/ 2147483646 w 370"/>
                  <a:gd name="T45" fmla="*/ 2147483646 h 129"/>
                  <a:gd name="T46" fmla="*/ 2147483646 w 370"/>
                  <a:gd name="T47" fmla="*/ 2147483646 h 129"/>
                  <a:gd name="T48" fmla="*/ 2147483646 w 370"/>
                  <a:gd name="T49" fmla="*/ 2147483646 h 129"/>
                  <a:gd name="T50" fmla="*/ 2147483646 w 370"/>
                  <a:gd name="T51" fmla="*/ 2147483646 h 129"/>
                  <a:gd name="T52" fmla="*/ 2147483646 w 370"/>
                  <a:gd name="T53" fmla="*/ 2147483646 h 129"/>
                  <a:gd name="T54" fmla="*/ 2147483646 w 370"/>
                  <a:gd name="T55" fmla="*/ 2147483646 h 129"/>
                  <a:gd name="T56" fmla="*/ 2147483646 w 370"/>
                  <a:gd name="T57" fmla="*/ 2147483646 h 129"/>
                  <a:gd name="T58" fmla="*/ 2147483646 w 370"/>
                  <a:gd name="T59" fmla="*/ 2147483646 h 129"/>
                  <a:gd name="T60" fmla="*/ 2147483646 w 370"/>
                  <a:gd name="T61" fmla="*/ 2147483646 h 129"/>
                  <a:gd name="T62" fmla="*/ 2147483646 w 370"/>
                  <a:gd name="T63" fmla="*/ 2147483646 h 129"/>
                  <a:gd name="T64" fmla="*/ 2147483646 w 370"/>
                  <a:gd name="T65" fmla="*/ 2147483646 h 129"/>
                  <a:gd name="T66" fmla="*/ 2147483646 w 370"/>
                  <a:gd name="T67" fmla="*/ 2147483646 h 129"/>
                  <a:gd name="T68" fmla="*/ 2147483646 w 370"/>
                  <a:gd name="T69" fmla="*/ 2147483646 h 129"/>
                  <a:gd name="T70" fmla="*/ 2147483646 w 370"/>
                  <a:gd name="T71" fmla="*/ 2147483646 h 129"/>
                  <a:gd name="T72" fmla="*/ 2147483646 w 370"/>
                  <a:gd name="T73" fmla="*/ 2147483646 h 129"/>
                  <a:gd name="T74" fmla="*/ 2147483646 w 370"/>
                  <a:gd name="T75" fmla="*/ 2147483646 h 129"/>
                  <a:gd name="T76" fmla="*/ 0 w 370"/>
                  <a:gd name="T77" fmla="*/ 2147483646 h 129"/>
                  <a:gd name="T78" fmla="*/ 0 w 370"/>
                  <a:gd name="T79" fmla="*/ 2147483646 h 129"/>
                  <a:gd name="T80" fmla="*/ 2147483646 w 370"/>
                  <a:gd name="T81" fmla="*/ 2147483646 h 129"/>
                  <a:gd name="T82" fmla="*/ 2147483646 w 370"/>
                  <a:gd name="T83" fmla="*/ 2147483646 h 129"/>
                  <a:gd name="T84" fmla="*/ 2147483646 w 370"/>
                  <a:gd name="T85" fmla="*/ 2147483646 h 129"/>
                  <a:gd name="T86" fmla="*/ 2147483646 w 370"/>
                  <a:gd name="T87" fmla="*/ 2147483646 h 129"/>
                  <a:gd name="T88" fmla="*/ 2147483646 w 370"/>
                  <a:gd name="T89" fmla="*/ 2147483646 h 129"/>
                  <a:gd name="T90" fmla="*/ 2147483646 w 370"/>
                  <a:gd name="T91" fmla="*/ 2147483646 h 129"/>
                  <a:gd name="T92" fmla="*/ 2147483646 w 370"/>
                  <a:gd name="T93" fmla="*/ 2147483646 h 129"/>
                  <a:gd name="T94" fmla="*/ 2147483646 w 370"/>
                  <a:gd name="T95" fmla="*/ 2147483646 h 129"/>
                  <a:gd name="T96" fmla="*/ 2147483646 w 370"/>
                  <a:gd name="T97" fmla="*/ 2147483646 h 129"/>
                  <a:gd name="T98" fmla="*/ 2147483646 w 370"/>
                  <a:gd name="T99" fmla="*/ 2147483646 h 129"/>
                  <a:gd name="T100" fmla="*/ 2147483646 w 370"/>
                  <a:gd name="T101" fmla="*/ 2147483646 h 129"/>
                  <a:gd name="T102" fmla="*/ 2147483646 w 370"/>
                  <a:gd name="T103" fmla="*/ 2147483646 h 129"/>
                  <a:gd name="T104" fmla="*/ 2147483646 w 370"/>
                  <a:gd name="T105" fmla="*/ 2147483646 h 129"/>
                  <a:gd name="T106" fmla="*/ 2147483646 w 370"/>
                  <a:gd name="T107" fmla="*/ 2147483646 h 129"/>
                  <a:gd name="T108" fmla="*/ 2147483646 w 370"/>
                  <a:gd name="T109" fmla="*/ 2147483646 h 129"/>
                  <a:gd name="T110" fmla="*/ 2147483646 w 370"/>
                  <a:gd name="T111" fmla="*/ 2147483646 h 129"/>
                  <a:gd name="T112" fmla="*/ 2147483646 w 370"/>
                  <a:gd name="T113" fmla="*/ 2147483646 h 129"/>
                  <a:gd name="T114" fmla="*/ 2147483646 w 370"/>
                  <a:gd name="T115" fmla="*/ 2147483646 h 129"/>
                  <a:gd name="T116" fmla="*/ 2147483646 w 370"/>
                  <a:gd name="T117" fmla="*/ 2147483646 h 129"/>
                  <a:gd name="T118" fmla="*/ 2147483646 w 370"/>
                  <a:gd name="T119" fmla="*/ 2147483646 h 129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370"/>
                  <a:gd name="T181" fmla="*/ 0 h 129"/>
                  <a:gd name="T182" fmla="*/ 370 w 370"/>
                  <a:gd name="T183" fmla="*/ 129 h 129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370" h="129">
                    <a:moveTo>
                      <a:pt x="250" y="117"/>
                    </a:moveTo>
                    <a:lnTo>
                      <a:pt x="258" y="119"/>
                    </a:lnTo>
                    <a:lnTo>
                      <a:pt x="277" y="123"/>
                    </a:lnTo>
                    <a:lnTo>
                      <a:pt x="295" y="127"/>
                    </a:lnTo>
                    <a:lnTo>
                      <a:pt x="303" y="129"/>
                    </a:lnTo>
                    <a:lnTo>
                      <a:pt x="370" y="97"/>
                    </a:lnTo>
                    <a:lnTo>
                      <a:pt x="358" y="75"/>
                    </a:lnTo>
                    <a:lnTo>
                      <a:pt x="345" y="48"/>
                    </a:lnTo>
                    <a:lnTo>
                      <a:pt x="335" y="27"/>
                    </a:lnTo>
                    <a:lnTo>
                      <a:pt x="330" y="18"/>
                    </a:lnTo>
                    <a:lnTo>
                      <a:pt x="300" y="15"/>
                    </a:lnTo>
                    <a:lnTo>
                      <a:pt x="257" y="9"/>
                    </a:lnTo>
                    <a:lnTo>
                      <a:pt x="214" y="2"/>
                    </a:lnTo>
                    <a:lnTo>
                      <a:pt x="183" y="0"/>
                    </a:lnTo>
                    <a:lnTo>
                      <a:pt x="179" y="0"/>
                    </a:lnTo>
                    <a:lnTo>
                      <a:pt x="176" y="1"/>
                    </a:lnTo>
                    <a:lnTo>
                      <a:pt x="172" y="2"/>
                    </a:lnTo>
                    <a:lnTo>
                      <a:pt x="170" y="3"/>
                    </a:lnTo>
                    <a:lnTo>
                      <a:pt x="162" y="7"/>
                    </a:lnTo>
                    <a:lnTo>
                      <a:pt x="150" y="12"/>
                    </a:lnTo>
                    <a:lnTo>
                      <a:pt x="147" y="21"/>
                    </a:lnTo>
                    <a:lnTo>
                      <a:pt x="140" y="35"/>
                    </a:lnTo>
                    <a:lnTo>
                      <a:pt x="134" y="48"/>
                    </a:lnTo>
                    <a:lnTo>
                      <a:pt x="131" y="55"/>
                    </a:lnTo>
                    <a:lnTo>
                      <a:pt x="122" y="54"/>
                    </a:lnTo>
                    <a:lnTo>
                      <a:pt x="111" y="49"/>
                    </a:lnTo>
                    <a:lnTo>
                      <a:pt x="98" y="44"/>
                    </a:lnTo>
                    <a:lnTo>
                      <a:pt x="84" y="38"/>
                    </a:lnTo>
                    <a:lnTo>
                      <a:pt x="60" y="26"/>
                    </a:lnTo>
                    <a:lnTo>
                      <a:pt x="44" y="18"/>
                    </a:lnTo>
                    <a:lnTo>
                      <a:pt x="32" y="25"/>
                    </a:lnTo>
                    <a:lnTo>
                      <a:pt x="21" y="33"/>
                    </a:lnTo>
                    <a:lnTo>
                      <a:pt x="16" y="37"/>
                    </a:lnTo>
                    <a:lnTo>
                      <a:pt x="12" y="41"/>
                    </a:lnTo>
                    <a:lnTo>
                      <a:pt x="9" y="46"/>
                    </a:lnTo>
                    <a:lnTo>
                      <a:pt x="5" y="52"/>
                    </a:lnTo>
                    <a:lnTo>
                      <a:pt x="3" y="57"/>
                    </a:lnTo>
                    <a:lnTo>
                      <a:pt x="1" y="63"/>
                    </a:lnTo>
                    <a:lnTo>
                      <a:pt x="0" y="69"/>
                    </a:lnTo>
                    <a:lnTo>
                      <a:pt x="0" y="75"/>
                    </a:lnTo>
                    <a:lnTo>
                      <a:pt x="1" y="82"/>
                    </a:lnTo>
                    <a:lnTo>
                      <a:pt x="3" y="88"/>
                    </a:lnTo>
                    <a:lnTo>
                      <a:pt x="6" y="96"/>
                    </a:lnTo>
                    <a:lnTo>
                      <a:pt x="11" y="103"/>
                    </a:lnTo>
                    <a:lnTo>
                      <a:pt x="20" y="101"/>
                    </a:lnTo>
                    <a:lnTo>
                      <a:pt x="33" y="99"/>
                    </a:lnTo>
                    <a:lnTo>
                      <a:pt x="50" y="97"/>
                    </a:lnTo>
                    <a:lnTo>
                      <a:pt x="69" y="95"/>
                    </a:lnTo>
                    <a:lnTo>
                      <a:pt x="102" y="92"/>
                    </a:lnTo>
                    <a:lnTo>
                      <a:pt x="117" y="91"/>
                    </a:lnTo>
                    <a:lnTo>
                      <a:pt x="137" y="92"/>
                    </a:lnTo>
                    <a:lnTo>
                      <a:pt x="152" y="94"/>
                    </a:lnTo>
                    <a:lnTo>
                      <a:pt x="166" y="97"/>
                    </a:lnTo>
                    <a:lnTo>
                      <a:pt x="177" y="100"/>
                    </a:lnTo>
                    <a:lnTo>
                      <a:pt x="189" y="104"/>
                    </a:lnTo>
                    <a:lnTo>
                      <a:pt x="201" y="108"/>
                    </a:lnTo>
                    <a:lnTo>
                      <a:pt x="217" y="110"/>
                    </a:lnTo>
                    <a:lnTo>
                      <a:pt x="237" y="111"/>
                    </a:lnTo>
                    <a:lnTo>
                      <a:pt x="237" y="117"/>
                    </a:lnTo>
                    <a:lnTo>
                      <a:pt x="250" y="117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48" name="Freeform 470">
                <a:extLst>
                  <a:ext uri="{FF2B5EF4-FFF2-40B4-BE49-F238E27FC236}">
                    <a16:creationId xmlns="" xmlns:a16="http://schemas.microsoft.com/office/drawing/2014/main" id="{E9D36B74-F0E4-4FC8-8365-A74FE2A556A2}"/>
                  </a:ext>
                </a:extLst>
              </p:cNvPr>
              <p:cNvSpPr>
                <a:spLocks/>
              </p:cNvSpPr>
              <p:nvPr>
                <p:custDataLst>
                  <p:tags r:id="rId308"/>
                </p:custDataLst>
              </p:nvPr>
            </p:nvSpPr>
            <p:spPr bwMode="auto">
              <a:xfrm>
                <a:off x="4846638" y="2565400"/>
                <a:ext cx="30162" cy="57150"/>
              </a:xfrm>
              <a:custGeom>
                <a:avLst/>
                <a:gdLst>
                  <a:gd name="T0" fmla="*/ 2147483646 w 80"/>
                  <a:gd name="T1" fmla="*/ 2147483646 h 94"/>
                  <a:gd name="T2" fmla="*/ 2147483646 w 80"/>
                  <a:gd name="T3" fmla="*/ 0 h 94"/>
                  <a:gd name="T4" fmla="*/ 2147483646 w 80"/>
                  <a:gd name="T5" fmla="*/ 0 h 94"/>
                  <a:gd name="T6" fmla="*/ 2147483646 w 80"/>
                  <a:gd name="T7" fmla="*/ 2147483646 h 94"/>
                  <a:gd name="T8" fmla="*/ 2147483646 w 80"/>
                  <a:gd name="T9" fmla="*/ 2147483646 h 94"/>
                  <a:gd name="T10" fmla="*/ 2147483646 w 80"/>
                  <a:gd name="T11" fmla="*/ 2147483646 h 94"/>
                  <a:gd name="T12" fmla="*/ 2147483646 w 80"/>
                  <a:gd name="T13" fmla="*/ 2147483646 h 94"/>
                  <a:gd name="T14" fmla="*/ 2147483646 w 80"/>
                  <a:gd name="T15" fmla="*/ 2147483646 h 94"/>
                  <a:gd name="T16" fmla="*/ 2147483646 w 80"/>
                  <a:gd name="T17" fmla="*/ 2147483646 h 94"/>
                  <a:gd name="T18" fmla="*/ 2147483646 w 80"/>
                  <a:gd name="T19" fmla="*/ 2147483646 h 94"/>
                  <a:gd name="T20" fmla="*/ 2147483646 w 80"/>
                  <a:gd name="T21" fmla="*/ 2147483646 h 94"/>
                  <a:gd name="T22" fmla="*/ 2147483646 w 80"/>
                  <a:gd name="T23" fmla="*/ 2147483646 h 94"/>
                  <a:gd name="T24" fmla="*/ 2147483646 w 80"/>
                  <a:gd name="T25" fmla="*/ 2147483646 h 94"/>
                  <a:gd name="T26" fmla="*/ 2147483646 w 80"/>
                  <a:gd name="T27" fmla="*/ 2147483646 h 94"/>
                  <a:gd name="T28" fmla="*/ 2147483646 w 80"/>
                  <a:gd name="T29" fmla="*/ 2147483646 h 94"/>
                  <a:gd name="T30" fmla="*/ 2147483646 w 80"/>
                  <a:gd name="T31" fmla="*/ 2147483646 h 94"/>
                  <a:gd name="T32" fmla="*/ 2147483646 w 80"/>
                  <a:gd name="T33" fmla="*/ 2147483646 h 94"/>
                  <a:gd name="T34" fmla="*/ 2147483646 w 80"/>
                  <a:gd name="T35" fmla="*/ 2147483646 h 94"/>
                  <a:gd name="T36" fmla="*/ 2147483646 w 80"/>
                  <a:gd name="T37" fmla="*/ 2147483646 h 94"/>
                  <a:gd name="T38" fmla="*/ 2147483646 w 80"/>
                  <a:gd name="T39" fmla="*/ 2147483646 h 94"/>
                  <a:gd name="T40" fmla="*/ 2147483646 w 80"/>
                  <a:gd name="T41" fmla="*/ 2147483646 h 94"/>
                  <a:gd name="T42" fmla="*/ 2147483646 w 80"/>
                  <a:gd name="T43" fmla="*/ 2147483646 h 94"/>
                  <a:gd name="T44" fmla="*/ 2147483646 w 80"/>
                  <a:gd name="T45" fmla="*/ 2147483646 h 94"/>
                  <a:gd name="T46" fmla="*/ 2147483646 w 80"/>
                  <a:gd name="T47" fmla="*/ 2147483646 h 94"/>
                  <a:gd name="T48" fmla="*/ 2147483646 w 80"/>
                  <a:gd name="T49" fmla="*/ 2147483646 h 94"/>
                  <a:gd name="T50" fmla="*/ 0 w 80"/>
                  <a:gd name="T51" fmla="*/ 2147483646 h 94"/>
                  <a:gd name="T52" fmla="*/ 2147483646 w 80"/>
                  <a:gd name="T53" fmla="*/ 2147483646 h 94"/>
                  <a:gd name="T54" fmla="*/ 2147483646 w 80"/>
                  <a:gd name="T55" fmla="*/ 2147483646 h 94"/>
                  <a:gd name="T56" fmla="*/ 2147483646 w 80"/>
                  <a:gd name="T57" fmla="*/ 2147483646 h 94"/>
                  <a:gd name="T58" fmla="*/ 2147483646 w 80"/>
                  <a:gd name="T59" fmla="*/ 2147483646 h 94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80"/>
                  <a:gd name="T91" fmla="*/ 0 h 94"/>
                  <a:gd name="T92" fmla="*/ 80 w 80"/>
                  <a:gd name="T93" fmla="*/ 94 h 94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80" h="94">
                    <a:moveTo>
                      <a:pt x="27" y="1"/>
                    </a:moveTo>
                    <a:lnTo>
                      <a:pt x="34" y="0"/>
                    </a:lnTo>
                    <a:lnTo>
                      <a:pt x="41" y="0"/>
                    </a:lnTo>
                    <a:lnTo>
                      <a:pt x="47" y="2"/>
                    </a:lnTo>
                    <a:lnTo>
                      <a:pt x="54" y="4"/>
                    </a:lnTo>
                    <a:lnTo>
                      <a:pt x="60" y="6"/>
                    </a:lnTo>
                    <a:lnTo>
                      <a:pt x="66" y="8"/>
                    </a:lnTo>
                    <a:lnTo>
                      <a:pt x="73" y="8"/>
                    </a:lnTo>
                    <a:lnTo>
                      <a:pt x="80" y="7"/>
                    </a:lnTo>
                    <a:lnTo>
                      <a:pt x="80" y="38"/>
                    </a:lnTo>
                    <a:lnTo>
                      <a:pt x="75" y="44"/>
                    </a:lnTo>
                    <a:lnTo>
                      <a:pt x="69" y="51"/>
                    </a:lnTo>
                    <a:lnTo>
                      <a:pt x="64" y="59"/>
                    </a:lnTo>
                    <a:lnTo>
                      <a:pt x="58" y="68"/>
                    </a:lnTo>
                    <a:lnTo>
                      <a:pt x="51" y="84"/>
                    </a:lnTo>
                    <a:lnTo>
                      <a:pt x="47" y="94"/>
                    </a:lnTo>
                    <a:lnTo>
                      <a:pt x="43" y="93"/>
                    </a:lnTo>
                    <a:lnTo>
                      <a:pt x="40" y="92"/>
                    </a:lnTo>
                    <a:lnTo>
                      <a:pt x="37" y="91"/>
                    </a:lnTo>
                    <a:lnTo>
                      <a:pt x="34" y="89"/>
                    </a:lnTo>
                    <a:lnTo>
                      <a:pt x="29" y="84"/>
                    </a:lnTo>
                    <a:lnTo>
                      <a:pt x="23" y="78"/>
                    </a:lnTo>
                    <a:lnTo>
                      <a:pt x="19" y="72"/>
                    </a:lnTo>
                    <a:lnTo>
                      <a:pt x="13" y="65"/>
                    </a:lnTo>
                    <a:lnTo>
                      <a:pt x="7" y="60"/>
                    </a:lnTo>
                    <a:lnTo>
                      <a:pt x="0" y="56"/>
                    </a:lnTo>
                    <a:lnTo>
                      <a:pt x="8" y="41"/>
                    </a:lnTo>
                    <a:lnTo>
                      <a:pt x="13" y="29"/>
                    </a:lnTo>
                    <a:lnTo>
                      <a:pt x="19" y="17"/>
                    </a:lnTo>
                    <a:lnTo>
                      <a:pt x="27" y="1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49" name="Freeform 471">
                <a:extLst>
                  <a:ext uri="{FF2B5EF4-FFF2-40B4-BE49-F238E27FC236}">
                    <a16:creationId xmlns="" xmlns:a16="http://schemas.microsoft.com/office/drawing/2014/main" id="{00D38AA0-1C85-4E95-B9FC-0B6C963AE01E}"/>
                  </a:ext>
                </a:extLst>
              </p:cNvPr>
              <p:cNvSpPr>
                <a:spLocks/>
              </p:cNvSpPr>
              <p:nvPr>
                <p:custDataLst>
                  <p:tags r:id="rId309"/>
                </p:custDataLst>
              </p:nvPr>
            </p:nvSpPr>
            <p:spPr bwMode="auto">
              <a:xfrm>
                <a:off x="4662488" y="4576763"/>
                <a:ext cx="61912" cy="57150"/>
              </a:xfrm>
              <a:custGeom>
                <a:avLst/>
                <a:gdLst>
                  <a:gd name="T0" fmla="*/ 2147483646 w 135"/>
                  <a:gd name="T1" fmla="*/ 2147483646 h 98"/>
                  <a:gd name="T2" fmla="*/ 2147483646 w 135"/>
                  <a:gd name="T3" fmla="*/ 2147483646 h 98"/>
                  <a:gd name="T4" fmla="*/ 2147483646 w 135"/>
                  <a:gd name="T5" fmla="*/ 2147483646 h 98"/>
                  <a:gd name="T6" fmla="*/ 2147483646 w 135"/>
                  <a:gd name="T7" fmla="*/ 2147483646 h 98"/>
                  <a:gd name="T8" fmla="*/ 2147483646 w 135"/>
                  <a:gd name="T9" fmla="*/ 2147483646 h 98"/>
                  <a:gd name="T10" fmla="*/ 2147483646 w 135"/>
                  <a:gd name="T11" fmla="*/ 2147483646 h 98"/>
                  <a:gd name="T12" fmla="*/ 2147483646 w 135"/>
                  <a:gd name="T13" fmla="*/ 2147483646 h 98"/>
                  <a:gd name="T14" fmla="*/ 2147483646 w 135"/>
                  <a:gd name="T15" fmla="*/ 2147483646 h 98"/>
                  <a:gd name="T16" fmla="*/ 2147483646 w 135"/>
                  <a:gd name="T17" fmla="*/ 2147483646 h 98"/>
                  <a:gd name="T18" fmla="*/ 2147483646 w 135"/>
                  <a:gd name="T19" fmla="*/ 2147483646 h 98"/>
                  <a:gd name="T20" fmla="*/ 2147483646 w 135"/>
                  <a:gd name="T21" fmla="*/ 2147483646 h 98"/>
                  <a:gd name="T22" fmla="*/ 2147483646 w 135"/>
                  <a:gd name="T23" fmla="*/ 0 h 98"/>
                  <a:gd name="T24" fmla="*/ 2147483646 w 135"/>
                  <a:gd name="T25" fmla="*/ 0 h 98"/>
                  <a:gd name="T26" fmla="*/ 2147483646 w 135"/>
                  <a:gd name="T27" fmla="*/ 0 h 98"/>
                  <a:gd name="T28" fmla="*/ 2147483646 w 135"/>
                  <a:gd name="T29" fmla="*/ 2147483646 h 98"/>
                  <a:gd name="T30" fmla="*/ 2147483646 w 135"/>
                  <a:gd name="T31" fmla="*/ 2147483646 h 98"/>
                  <a:gd name="T32" fmla="*/ 2147483646 w 135"/>
                  <a:gd name="T33" fmla="*/ 2147483646 h 98"/>
                  <a:gd name="T34" fmla="*/ 2147483646 w 135"/>
                  <a:gd name="T35" fmla="*/ 2147483646 h 98"/>
                  <a:gd name="T36" fmla="*/ 2147483646 w 135"/>
                  <a:gd name="T37" fmla="*/ 2147483646 h 98"/>
                  <a:gd name="T38" fmla="*/ 2147483646 w 135"/>
                  <a:gd name="T39" fmla="*/ 2147483646 h 98"/>
                  <a:gd name="T40" fmla="*/ 2147483646 w 135"/>
                  <a:gd name="T41" fmla="*/ 2147483646 h 98"/>
                  <a:gd name="T42" fmla="*/ 2147483646 w 135"/>
                  <a:gd name="T43" fmla="*/ 2147483646 h 98"/>
                  <a:gd name="T44" fmla="*/ 2147483646 w 135"/>
                  <a:gd name="T45" fmla="*/ 2147483646 h 98"/>
                  <a:gd name="T46" fmla="*/ 2147483646 w 135"/>
                  <a:gd name="T47" fmla="*/ 2147483646 h 98"/>
                  <a:gd name="T48" fmla="*/ 2147483646 w 135"/>
                  <a:gd name="T49" fmla="*/ 2147483646 h 98"/>
                  <a:gd name="T50" fmla="*/ 2147483646 w 135"/>
                  <a:gd name="T51" fmla="*/ 2147483646 h 98"/>
                  <a:gd name="T52" fmla="*/ 2147483646 w 135"/>
                  <a:gd name="T53" fmla="*/ 2147483646 h 98"/>
                  <a:gd name="T54" fmla="*/ 2147483646 w 135"/>
                  <a:gd name="T55" fmla="*/ 2147483646 h 98"/>
                  <a:gd name="T56" fmla="*/ 2147483646 w 135"/>
                  <a:gd name="T57" fmla="*/ 2147483646 h 98"/>
                  <a:gd name="T58" fmla="*/ 2147483646 w 135"/>
                  <a:gd name="T59" fmla="*/ 2147483646 h 98"/>
                  <a:gd name="T60" fmla="*/ 2147483646 w 135"/>
                  <a:gd name="T61" fmla="*/ 2147483646 h 98"/>
                  <a:gd name="T62" fmla="*/ 2147483646 w 135"/>
                  <a:gd name="T63" fmla="*/ 2147483646 h 98"/>
                  <a:gd name="T64" fmla="*/ 2147483646 w 135"/>
                  <a:gd name="T65" fmla="*/ 2147483646 h 98"/>
                  <a:gd name="T66" fmla="*/ 2147483646 w 135"/>
                  <a:gd name="T67" fmla="*/ 2147483646 h 98"/>
                  <a:gd name="T68" fmla="*/ 2147483646 w 135"/>
                  <a:gd name="T69" fmla="*/ 2147483646 h 98"/>
                  <a:gd name="T70" fmla="*/ 2147483646 w 135"/>
                  <a:gd name="T71" fmla="*/ 2147483646 h 98"/>
                  <a:gd name="T72" fmla="*/ 2147483646 w 135"/>
                  <a:gd name="T73" fmla="*/ 2147483646 h 98"/>
                  <a:gd name="T74" fmla="*/ 2147483646 w 135"/>
                  <a:gd name="T75" fmla="*/ 2147483646 h 98"/>
                  <a:gd name="T76" fmla="*/ 0 w 135"/>
                  <a:gd name="T77" fmla="*/ 2147483646 h 98"/>
                  <a:gd name="T78" fmla="*/ 0 w 135"/>
                  <a:gd name="T79" fmla="*/ 2147483646 h 98"/>
                  <a:gd name="T80" fmla="*/ 2147483646 w 135"/>
                  <a:gd name="T81" fmla="*/ 2147483646 h 98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35"/>
                  <a:gd name="T124" fmla="*/ 0 h 98"/>
                  <a:gd name="T125" fmla="*/ 135 w 135"/>
                  <a:gd name="T126" fmla="*/ 98 h 98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35" h="98">
                    <a:moveTo>
                      <a:pt x="3" y="55"/>
                    </a:moveTo>
                    <a:lnTo>
                      <a:pt x="11" y="54"/>
                    </a:lnTo>
                    <a:lnTo>
                      <a:pt x="18" y="53"/>
                    </a:lnTo>
                    <a:lnTo>
                      <a:pt x="24" y="50"/>
                    </a:lnTo>
                    <a:lnTo>
                      <a:pt x="31" y="47"/>
                    </a:lnTo>
                    <a:lnTo>
                      <a:pt x="42" y="38"/>
                    </a:lnTo>
                    <a:lnTo>
                      <a:pt x="52" y="28"/>
                    </a:lnTo>
                    <a:lnTo>
                      <a:pt x="61" y="18"/>
                    </a:lnTo>
                    <a:lnTo>
                      <a:pt x="71" y="8"/>
                    </a:lnTo>
                    <a:lnTo>
                      <a:pt x="76" y="5"/>
                    </a:lnTo>
                    <a:lnTo>
                      <a:pt x="82" y="2"/>
                    </a:lnTo>
                    <a:lnTo>
                      <a:pt x="88" y="0"/>
                    </a:lnTo>
                    <a:lnTo>
                      <a:pt x="96" y="0"/>
                    </a:lnTo>
                    <a:lnTo>
                      <a:pt x="102" y="0"/>
                    </a:lnTo>
                    <a:lnTo>
                      <a:pt x="110" y="3"/>
                    </a:lnTo>
                    <a:lnTo>
                      <a:pt x="117" y="6"/>
                    </a:lnTo>
                    <a:lnTo>
                      <a:pt x="123" y="11"/>
                    </a:lnTo>
                    <a:lnTo>
                      <a:pt x="128" y="16"/>
                    </a:lnTo>
                    <a:lnTo>
                      <a:pt x="132" y="24"/>
                    </a:lnTo>
                    <a:lnTo>
                      <a:pt x="134" y="30"/>
                    </a:lnTo>
                    <a:lnTo>
                      <a:pt x="135" y="37"/>
                    </a:lnTo>
                    <a:lnTo>
                      <a:pt x="134" y="40"/>
                    </a:lnTo>
                    <a:lnTo>
                      <a:pt x="132" y="43"/>
                    </a:lnTo>
                    <a:lnTo>
                      <a:pt x="129" y="47"/>
                    </a:lnTo>
                    <a:lnTo>
                      <a:pt x="124" y="51"/>
                    </a:lnTo>
                    <a:lnTo>
                      <a:pt x="113" y="61"/>
                    </a:lnTo>
                    <a:lnTo>
                      <a:pt x="100" y="72"/>
                    </a:lnTo>
                    <a:lnTo>
                      <a:pt x="87" y="82"/>
                    </a:lnTo>
                    <a:lnTo>
                      <a:pt x="74" y="91"/>
                    </a:lnTo>
                    <a:lnTo>
                      <a:pt x="63" y="96"/>
                    </a:lnTo>
                    <a:lnTo>
                      <a:pt x="55" y="98"/>
                    </a:lnTo>
                    <a:lnTo>
                      <a:pt x="51" y="97"/>
                    </a:lnTo>
                    <a:lnTo>
                      <a:pt x="43" y="92"/>
                    </a:lnTo>
                    <a:lnTo>
                      <a:pt x="32" y="85"/>
                    </a:lnTo>
                    <a:lnTo>
                      <a:pt x="21" y="77"/>
                    </a:lnTo>
                    <a:lnTo>
                      <a:pt x="11" y="68"/>
                    </a:lnTo>
                    <a:lnTo>
                      <a:pt x="5" y="62"/>
                    </a:lnTo>
                    <a:lnTo>
                      <a:pt x="1" y="59"/>
                    </a:lnTo>
                    <a:lnTo>
                      <a:pt x="0" y="57"/>
                    </a:lnTo>
                    <a:lnTo>
                      <a:pt x="0" y="56"/>
                    </a:lnTo>
                    <a:lnTo>
                      <a:pt x="3" y="55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50" name="Freeform 472">
                <a:extLst>
                  <a:ext uri="{FF2B5EF4-FFF2-40B4-BE49-F238E27FC236}">
                    <a16:creationId xmlns="" xmlns:a16="http://schemas.microsoft.com/office/drawing/2014/main" id="{C7222C7F-12D2-4356-8BE6-7DAB3D7204DE}"/>
                  </a:ext>
                </a:extLst>
              </p:cNvPr>
              <p:cNvSpPr>
                <a:spLocks/>
              </p:cNvSpPr>
              <p:nvPr>
                <p:custDataLst>
                  <p:tags r:id="rId310"/>
                </p:custDataLst>
              </p:nvPr>
            </p:nvSpPr>
            <p:spPr bwMode="auto">
              <a:xfrm>
                <a:off x="4433888" y="1892300"/>
                <a:ext cx="131762" cy="84138"/>
              </a:xfrm>
              <a:custGeom>
                <a:avLst/>
                <a:gdLst>
                  <a:gd name="T0" fmla="*/ 2147483646 w 312"/>
                  <a:gd name="T1" fmla="*/ 2147483646 h 155"/>
                  <a:gd name="T2" fmla="*/ 2147483646 w 312"/>
                  <a:gd name="T3" fmla="*/ 2147483646 h 155"/>
                  <a:gd name="T4" fmla="*/ 2147483646 w 312"/>
                  <a:gd name="T5" fmla="*/ 2147483646 h 155"/>
                  <a:gd name="T6" fmla="*/ 2147483646 w 312"/>
                  <a:gd name="T7" fmla="*/ 2147483646 h 155"/>
                  <a:gd name="T8" fmla="*/ 2147483646 w 312"/>
                  <a:gd name="T9" fmla="*/ 2147483646 h 155"/>
                  <a:gd name="T10" fmla="*/ 2147483646 w 312"/>
                  <a:gd name="T11" fmla="*/ 2147483646 h 155"/>
                  <a:gd name="T12" fmla="*/ 2147483646 w 312"/>
                  <a:gd name="T13" fmla="*/ 2147483646 h 155"/>
                  <a:gd name="T14" fmla="*/ 2147483646 w 312"/>
                  <a:gd name="T15" fmla="*/ 2147483646 h 155"/>
                  <a:gd name="T16" fmla="*/ 2147483646 w 312"/>
                  <a:gd name="T17" fmla="*/ 2147483646 h 155"/>
                  <a:gd name="T18" fmla="*/ 2147483646 w 312"/>
                  <a:gd name="T19" fmla="*/ 2147483646 h 155"/>
                  <a:gd name="T20" fmla="*/ 2147483646 w 312"/>
                  <a:gd name="T21" fmla="*/ 2147483646 h 155"/>
                  <a:gd name="T22" fmla="*/ 2147483646 w 312"/>
                  <a:gd name="T23" fmla="*/ 2147483646 h 155"/>
                  <a:gd name="T24" fmla="*/ 2147483646 w 312"/>
                  <a:gd name="T25" fmla="*/ 2147483646 h 155"/>
                  <a:gd name="T26" fmla="*/ 2147483646 w 312"/>
                  <a:gd name="T27" fmla="*/ 2147483646 h 155"/>
                  <a:gd name="T28" fmla="*/ 2147483646 w 312"/>
                  <a:gd name="T29" fmla="*/ 2147483646 h 155"/>
                  <a:gd name="T30" fmla="*/ 2147483646 w 312"/>
                  <a:gd name="T31" fmla="*/ 2147483646 h 155"/>
                  <a:gd name="T32" fmla="*/ 2147483646 w 312"/>
                  <a:gd name="T33" fmla="*/ 2147483646 h 155"/>
                  <a:gd name="T34" fmla="*/ 2147483646 w 312"/>
                  <a:gd name="T35" fmla="*/ 2147483646 h 155"/>
                  <a:gd name="T36" fmla="*/ 2147483646 w 312"/>
                  <a:gd name="T37" fmla="*/ 2147483646 h 155"/>
                  <a:gd name="T38" fmla="*/ 2147483646 w 312"/>
                  <a:gd name="T39" fmla="*/ 2147483646 h 155"/>
                  <a:gd name="T40" fmla="*/ 2147483646 w 312"/>
                  <a:gd name="T41" fmla="*/ 2147483646 h 155"/>
                  <a:gd name="T42" fmla="*/ 2147483646 w 312"/>
                  <a:gd name="T43" fmla="*/ 2147483646 h 155"/>
                  <a:gd name="T44" fmla="*/ 2147483646 w 312"/>
                  <a:gd name="T45" fmla="*/ 2147483646 h 155"/>
                  <a:gd name="T46" fmla="*/ 2147483646 w 312"/>
                  <a:gd name="T47" fmla="*/ 2147483646 h 155"/>
                  <a:gd name="T48" fmla="*/ 2147483646 w 312"/>
                  <a:gd name="T49" fmla="*/ 2147483646 h 155"/>
                  <a:gd name="T50" fmla="*/ 2147483646 w 312"/>
                  <a:gd name="T51" fmla="*/ 2147483646 h 155"/>
                  <a:gd name="T52" fmla="*/ 2147483646 w 312"/>
                  <a:gd name="T53" fmla="*/ 2147483646 h 155"/>
                  <a:gd name="T54" fmla="*/ 2147483646 w 312"/>
                  <a:gd name="T55" fmla="*/ 2147483646 h 155"/>
                  <a:gd name="T56" fmla="*/ 2147483646 w 312"/>
                  <a:gd name="T57" fmla="*/ 2147483646 h 155"/>
                  <a:gd name="T58" fmla="*/ 2147483646 w 312"/>
                  <a:gd name="T59" fmla="*/ 2147483646 h 155"/>
                  <a:gd name="T60" fmla="*/ 2147483646 w 312"/>
                  <a:gd name="T61" fmla="*/ 2147483646 h 155"/>
                  <a:gd name="T62" fmla="*/ 2147483646 w 312"/>
                  <a:gd name="T63" fmla="*/ 2147483646 h 155"/>
                  <a:gd name="T64" fmla="*/ 2147483646 w 312"/>
                  <a:gd name="T65" fmla="*/ 2147483646 h 155"/>
                  <a:gd name="T66" fmla="*/ 2147483646 w 312"/>
                  <a:gd name="T67" fmla="*/ 2147483646 h 155"/>
                  <a:gd name="T68" fmla="*/ 2147483646 w 312"/>
                  <a:gd name="T69" fmla="*/ 2147483646 h 155"/>
                  <a:gd name="T70" fmla="*/ 2147483646 w 312"/>
                  <a:gd name="T71" fmla="*/ 0 h 155"/>
                  <a:gd name="T72" fmla="*/ 2147483646 w 312"/>
                  <a:gd name="T73" fmla="*/ 2147483646 h 155"/>
                  <a:gd name="T74" fmla="*/ 2147483646 w 312"/>
                  <a:gd name="T75" fmla="*/ 2147483646 h 155"/>
                  <a:gd name="T76" fmla="*/ 2147483646 w 312"/>
                  <a:gd name="T77" fmla="*/ 2147483646 h 155"/>
                  <a:gd name="T78" fmla="*/ 2147483646 w 312"/>
                  <a:gd name="T79" fmla="*/ 2147483646 h 155"/>
                  <a:gd name="T80" fmla="*/ 2147483646 w 312"/>
                  <a:gd name="T81" fmla="*/ 2147483646 h 155"/>
                  <a:gd name="T82" fmla="*/ 2147483646 w 312"/>
                  <a:gd name="T83" fmla="*/ 2147483646 h 155"/>
                  <a:gd name="T84" fmla="*/ 2147483646 w 312"/>
                  <a:gd name="T85" fmla="*/ 2147483646 h 155"/>
                  <a:gd name="T86" fmla="*/ 2147483646 w 312"/>
                  <a:gd name="T87" fmla="*/ 2147483646 h 155"/>
                  <a:gd name="T88" fmla="*/ 2147483646 w 312"/>
                  <a:gd name="T89" fmla="*/ 2147483646 h 155"/>
                  <a:gd name="T90" fmla="*/ 2147483646 w 312"/>
                  <a:gd name="T91" fmla="*/ 2147483646 h 155"/>
                  <a:gd name="T92" fmla="*/ 2147483646 w 312"/>
                  <a:gd name="T93" fmla="*/ 2147483646 h 155"/>
                  <a:gd name="T94" fmla="*/ 2147483646 w 312"/>
                  <a:gd name="T95" fmla="*/ 2147483646 h 155"/>
                  <a:gd name="T96" fmla="*/ 2147483646 w 312"/>
                  <a:gd name="T97" fmla="*/ 2147483646 h 155"/>
                  <a:gd name="T98" fmla="*/ 2147483646 w 312"/>
                  <a:gd name="T99" fmla="*/ 2147483646 h 155"/>
                  <a:gd name="T100" fmla="*/ 2147483646 w 312"/>
                  <a:gd name="T101" fmla="*/ 2147483646 h 155"/>
                  <a:gd name="T102" fmla="*/ 2147483646 w 312"/>
                  <a:gd name="T103" fmla="*/ 2147483646 h 155"/>
                  <a:gd name="T104" fmla="*/ 2147483646 w 312"/>
                  <a:gd name="T105" fmla="*/ 2147483646 h 155"/>
                  <a:gd name="T106" fmla="*/ 2147483646 w 312"/>
                  <a:gd name="T107" fmla="*/ 2147483646 h 155"/>
                  <a:gd name="T108" fmla="*/ 2147483646 w 312"/>
                  <a:gd name="T109" fmla="*/ 2147483646 h 155"/>
                  <a:gd name="T110" fmla="*/ 2147483646 w 312"/>
                  <a:gd name="T111" fmla="*/ 2147483646 h 155"/>
                  <a:gd name="T112" fmla="*/ 2147483646 w 312"/>
                  <a:gd name="T113" fmla="*/ 2147483646 h 155"/>
                  <a:gd name="T114" fmla="*/ 0 w 312"/>
                  <a:gd name="T115" fmla="*/ 2147483646 h 155"/>
                  <a:gd name="T116" fmla="*/ 2147483646 w 312"/>
                  <a:gd name="T117" fmla="*/ 2147483646 h 155"/>
                  <a:gd name="T118" fmla="*/ 2147483646 w 312"/>
                  <a:gd name="T119" fmla="*/ 2147483646 h 155"/>
                  <a:gd name="T120" fmla="*/ 2147483646 w 312"/>
                  <a:gd name="T121" fmla="*/ 2147483646 h 155"/>
                  <a:gd name="T122" fmla="*/ 2147483646 w 312"/>
                  <a:gd name="T123" fmla="*/ 2147483646 h 15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12"/>
                  <a:gd name="T187" fmla="*/ 0 h 155"/>
                  <a:gd name="T188" fmla="*/ 312 w 312"/>
                  <a:gd name="T189" fmla="*/ 155 h 15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12" h="155">
                    <a:moveTo>
                      <a:pt x="192" y="155"/>
                    </a:moveTo>
                    <a:lnTo>
                      <a:pt x="194" y="151"/>
                    </a:lnTo>
                    <a:lnTo>
                      <a:pt x="197" y="148"/>
                    </a:lnTo>
                    <a:lnTo>
                      <a:pt x="200" y="145"/>
                    </a:lnTo>
                    <a:lnTo>
                      <a:pt x="203" y="142"/>
                    </a:lnTo>
                    <a:lnTo>
                      <a:pt x="211" y="137"/>
                    </a:lnTo>
                    <a:lnTo>
                      <a:pt x="220" y="132"/>
                    </a:lnTo>
                    <a:lnTo>
                      <a:pt x="238" y="123"/>
                    </a:lnTo>
                    <a:lnTo>
                      <a:pt x="253" y="117"/>
                    </a:lnTo>
                    <a:lnTo>
                      <a:pt x="255" y="109"/>
                    </a:lnTo>
                    <a:lnTo>
                      <a:pt x="260" y="97"/>
                    </a:lnTo>
                    <a:lnTo>
                      <a:pt x="264" y="91"/>
                    </a:lnTo>
                    <a:lnTo>
                      <a:pt x="267" y="86"/>
                    </a:lnTo>
                    <a:lnTo>
                      <a:pt x="269" y="82"/>
                    </a:lnTo>
                    <a:lnTo>
                      <a:pt x="272" y="81"/>
                    </a:lnTo>
                    <a:lnTo>
                      <a:pt x="312" y="44"/>
                    </a:lnTo>
                    <a:lnTo>
                      <a:pt x="312" y="39"/>
                    </a:lnTo>
                    <a:lnTo>
                      <a:pt x="310" y="35"/>
                    </a:lnTo>
                    <a:lnTo>
                      <a:pt x="306" y="32"/>
                    </a:lnTo>
                    <a:lnTo>
                      <a:pt x="302" y="30"/>
                    </a:lnTo>
                    <a:lnTo>
                      <a:pt x="291" y="28"/>
                    </a:lnTo>
                    <a:lnTo>
                      <a:pt x="280" y="27"/>
                    </a:lnTo>
                    <a:lnTo>
                      <a:pt x="268" y="27"/>
                    </a:lnTo>
                    <a:lnTo>
                      <a:pt x="259" y="27"/>
                    </a:lnTo>
                    <a:lnTo>
                      <a:pt x="256" y="26"/>
                    </a:lnTo>
                    <a:lnTo>
                      <a:pt x="253" y="25"/>
                    </a:lnTo>
                    <a:lnTo>
                      <a:pt x="252" y="23"/>
                    </a:lnTo>
                    <a:lnTo>
                      <a:pt x="253" y="20"/>
                    </a:lnTo>
                    <a:lnTo>
                      <a:pt x="232" y="19"/>
                    </a:lnTo>
                    <a:lnTo>
                      <a:pt x="216" y="17"/>
                    </a:lnTo>
                    <a:lnTo>
                      <a:pt x="202" y="13"/>
                    </a:lnTo>
                    <a:lnTo>
                      <a:pt x="189" y="9"/>
                    </a:lnTo>
                    <a:lnTo>
                      <a:pt x="177" y="6"/>
                    </a:lnTo>
                    <a:lnTo>
                      <a:pt x="163" y="3"/>
                    </a:lnTo>
                    <a:lnTo>
                      <a:pt x="146" y="1"/>
                    </a:lnTo>
                    <a:lnTo>
                      <a:pt x="126" y="0"/>
                    </a:lnTo>
                    <a:lnTo>
                      <a:pt x="110" y="1"/>
                    </a:lnTo>
                    <a:lnTo>
                      <a:pt x="74" y="4"/>
                    </a:lnTo>
                    <a:lnTo>
                      <a:pt x="53" y="6"/>
                    </a:lnTo>
                    <a:lnTo>
                      <a:pt x="34" y="8"/>
                    </a:lnTo>
                    <a:lnTo>
                      <a:pt x="18" y="10"/>
                    </a:lnTo>
                    <a:lnTo>
                      <a:pt x="7" y="12"/>
                    </a:lnTo>
                    <a:lnTo>
                      <a:pt x="9" y="17"/>
                    </a:lnTo>
                    <a:lnTo>
                      <a:pt x="11" y="19"/>
                    </a:lnTo>
                    <a:lnTo>
                      <a:pt x="13" y="19"/>
                    </a:lnTo>
                    <a:lnTo>
                      <a:pt x="15" y="20"/>
                    </a:lnTo>
                    <a:lnTo>
                      <a:pt x="18" y="20"/>
                    </a:lnTo>
                    <a:lnTo>
                      <a:pt x="19" y="20"/>
                    </a:lnTo>
                    <a:lnTo>
                      <a:pt x="20" y="22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19" y="35"/>
                    </a:lnTo>
                    <a:lnTo>
                      <a:pt x="18" y="39"/>
                    </a:lnTo>
                    <a:lnTo>
                      <a:pt x="15" y="42"/>
                    </a:lnTo>
                    <a:lnTo>
                      <a:pt x="12" y="45"/>
                    </a:lnTo>
                    <a:lnTo>
                      <a:pt x="9" y="48"/>
                    </a:lnTo>
                    <a:lnTo>
                      <a:pt x="4" y="49"/>
                    </a:lnTo>
                    <a:lnTo>
                      <a:pt x="0" y="50"/>
                    </a:lnTo>
                    <a:lnTo>
                      <a:pt x="74" y="68"/>
                    </a:lnTo>
                    <a:lnTo>
                      <a:pt x="87" y="111"/>
                    </a:lnTo>
                    <a:lnTo>
                      <a:pt x="166" y="123"/>
                    </a:lnTo>
                    <a:lnTo>
                      <a:pt x="192" y="155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51" name="Freeform 473">
                <a:extLst>
                  <a:ext uri="{FF2B5EF4-FFF2-40B4-BE49-F238E27FC236}">
                    <a16:creationId xmlns="" xmlns:a16="http://schemas.microsoft.com/office/drawing/2014/main" id="{B7F81615-A99F-46D7-871D-AA5BF020D9C3}"/>
                  </a:ext>
                </a:extLst>
              </p:cNvPr>
              <p:cNvSpPr>
                <a:spLocks/>
              </p:cNvSpPr>
              <p:nvPr>
                <p:custDataLst>
                  <p:tags r:id="rId311"/>
                </p:custDataLst>
              </p:nvPr>
            </p:nvSpPr>
            <p:spPr bwMode="auto">
              <a:xfrm>
                <a:off x="4140200" y="2078038"/>
                <a:ext cx="19050" cy="60325"/>
              </a:xfrm>
              <a:custGeom>
                <a:avLst/>
                <a:gdLst>
                  <a:gd name="T0" fmla="*/ 0 w 46"/>
                  <a:gd name="T1" fmla="*/ 2147483646 h 50"/>
                  <a:gd name="T2" fmla="*/ 2147483646 w 46"/>
                  <a:gd name="T3" fmla="*/ 2147483646 h 50"/>
                  <a:gd name="T4" fmla="*/ 2147483646 w 46"/>
                  <a:gd name="T5" fmla="*/ 2147483646 h 50"/>
                  <a:gd name="T6" fmla="*/ 2147483646 w 46"/>
                  <a:gd name="T7" fmla="*/ 2147483646 h 50"/>
                  <a:gd name="T8" fmla="*/ 2147483646 w 46"/>
                  <a:gd name="T9" fmla="*/ 2147483646 h 50"/>
                  <a:gd name="T10" fmla="*/ 2147483646 w 46"/>
                  <a:gd name="T11" fmla="*/ 2147483646 h 50"/>
                  <a:gd name="T12" fmla="*/ 2147483646 w 46"/>
                  <a:gd name="T13" fmla="*/ 2147483646 h 50"/>
                  <a:gd name="T14" fmla="*/ 2147483646 w 46"/>
                  <a:gd name="T15" fmla="*/ 0 h 50"/>
                  <a:gd name="T16" fmla="*/ 2147483646 w 46"/>
                  <a:gd name="T17" fmla="*/ 2147483646 h 50"/>
                  <a:gd name="T18" fmla="*/ 2147483646 w 46"/>
                  <a:gd name="T19" fmla="*/ 2147483646 h 50"/>
                  <a:gd name="T20" fmla="*/ 2147483646 w 46"/>
                  <a:gd name="T21" fmla="*/ 2147483646 h 50"/>
                  <a:gd name="T22" fmla="*/ 2147483646 w 46"/>
                  <a:gd name="T23" fmla="*/ 2147483646 h 50"/>
                  <a:gd name="T24" fmla="*/ 2147483646 w 46"/>
                  <a:gd name="T25" fmla="*/ 2147483646 h 50"/>
                  <a:gd name="T26" fmla="*/ 2147483646 w 46"/>
                  <a:gd name="T27" fmla="*/ 2147483646 h 50"/>
                  <a:gd name="T28" fmla="*/ 0 w 46"/>
                  <a:gd name="T29" fmla="*/ 2147483646 h 5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46"/>
                  <a:gd name="T46" fmla="*/ 0 h 50"/>
                  <a:gd name="T47" fmla="*/ 46 w 46"/>
                  <a:gd name="T48" fmla="*/ 50 h 5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46" h="50">
                    <a:moveTo>
                      <a:pt x="0" y="25"/>
                    </a:moveTo>
                    <a:lnTo>
                      <a:pt x="2" y="18"/>
                    </a:lnTo>
                    <a:lnTo>
                      <a:pt x="1" y="14"/>
                    </a:lnTo>
                    <a:lnTo>
                      <a:pt x="2" y="13"/>
                    </a:lnTo>
                    <a:lnTo>
                      <a:pt x="3" y="13"/>
                    </a:lnTo>
                    <a:lnTo>
                      <a:pt x="6" y="12"/>
                    </a:lnTo>
                    <a:lnTo>
                      <a:pt x="13" y="12"/>
                    </a:lnTo>
                    <a:lnTo>
                      <a:pt x="46" y="0"/>
                    </a:lnTo>
                    <a:lnTo>
                      <a:pt x="46" y="50"/>
                    </a:lnTo>
                    <a:lnTo>
                      <a:pt x="40" y="49"/>
                    </a:lnTo>
                    <a:lnTo>
                      <a:pt x="33" y="45"/>
                    </a:lnTo>
                    <a:lnTo>
                      <a:pt x="25" y="41"/>
                    </a:lnTo>
                    <a:lnTo>
                      <a:pt x="17" y="37"/>
                    </a:lnTo>
                    <a:lnTo>
                      <a:pt x="5" y="28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52" name="Freeform 474">
                <a:extLst>
                  <a:ext uri="{FF2B5EF4-FFF2-40B4-BE49-F238E27FC236}">
                    <a16:creationId xmlns="" xmlns:a16="http://schemas.microsoft.com/office/drawing/2014/main" id="{D90A3D20-5482-4984-8EA7-0E8A637E944A}"/>
                  </a:ext>
                </a:extLst>
              </p:cNvPr>
              <p:cNvSpPr>
                <a:spLocks/>
              </p:cNvSpPr>
              <p:nvPr>
                <p:custDataLst>
                  <p:tags r:id="rId312"/>
                </p:custDataLst>
              </p:nvPr>
            </p:nvSpPr>
            <p:spPr bwMode="auto">
              <a:xfrm>
                <a:off x="4837113" y="3962400"/>
                <a:ext cx="69850" cy="241300"/>
              </a:xfrm>
              <a:custGeom>
                <a:avLst/>
                <a:gdLst>
                  <a:gd name="T0" fmla="*/ 2147483646 w 166"/>
                  <a:gd name="T1" fmla="*/ 2147483646 h 456"/>
                  <a:gd name="T2" fmla="*/ 2147483646 w 166"/>
                  <a:gd name="T3" fmla="*/ 2147483646 h 456"/>
                  <a:gd name="T4" fmla="*/ 2147483646 w 166"/>
                  <a:gd name="T5" fmla="*/ 2147483646 h 456"/>
                  <a:gd name="T6" fmla="*/ 2147483646 w 166"/>
                  <a:gd name="T7" fmla="*/ 2147483646 h 456"/>
                  <a:gd name="T8" fmla="*/ 2147483646 w 166"/>
                  <a:gd name="T9" fmla="*/ 2147483646 h 456"/>
                  <a:gd name="T10" fmla="*/ 2147483646 w 166"/>
                  <a:gd name="T11" fmla="*/ 2147483646 h 456"/>
                  <a:gd name="T12" fmla="*/ 2147483646 w 166"/>
                  <a:gd name="T13" fmla="*/ 2147483646 h 456"/>
                  <a:gd name="T14" fmla="*/ 2147483646 w 166"/>
                  <a:gd name="T15" fmla="*/ 2147483646 h 456"/>
                  <a:gd name="T16" fmla="*/ 2147483646 w 166"/>
                  <a:gd name="T17" fmla="*/ 2147483646 h 456"/>
                  <a:gd name="T18" fmla="*/ 2147483646 w 166"/>
                  <a:gd name="T19" fmla="*/ 2147483646 h 456"/>
                  <a:gd name="T20" fmla="*/ 2147483646 w 166"/>
                  <a:gd name="T21" fmla="*/ 2147483646 h 456"/>
                  <a:gd name="T22" fmla="*/ 2147483646 w 166"/>
                  <a:gd name="T23" fmla="*/ 2147483646 h 456"/>
                  <a:gd name="T24" fmla="*/ 2147483646 w 166"/>
                  <a:gd name="T25" fmla="*/ 2147483646 h 456"/>
                  <a:gd name="T26" fmla="*/ 2147483646 w 166"/>
                  <a:gd name="T27" fmla="*/ 2147483646 h 456"/>
                  <a:gd name="T28" fmla="*/ 2147483646 w 166"/>
                  <a:gd name="T29" fmla="*/ 2147483646 h 456"/>
                  <a:gd name="T30" fmla="*/ 2147483646 w 166"/>
                  <a:gd name="T31" fmla="*/ 2147483646 h 456"/>
                  <a:gd name="T32" fmla="*/ 2147483646 w 166"/>
                  <a:gd name="T33" fmla="*/ 2147483646 h 456"/>
                  <a:gd name="T34" fmla="*/ 2147483646 w 166"/>
                  <a:gd name="T35" fmla="*/ 2147483646 h 456"/>
                  <a:gd name="T36" fmla="*/ 2147483646 w 166"/>
                  <a:gd name="T37" fmla="*/ 2147483646 h 456"/>
                  <a:gd name="T38" fmla="*/ 2147483646 w 166"/>
                  <a:gd name="T39" fmla="*/ 2147483646 h 456"/>
                  <a:gd name="T40" fmla="*/ 2147483646 w 166"/>
                  <a:gd name="T41" fmla="*/ 2147483646 h 456"/>
                  <a:gd name="T42" fmla="*/ 2147483646 w 166"/>
                  <a:gd name="T43" fmla="*/ 2147483646 h 456"/>
                  <a:gd name="T44" fmla="*/ 2147483646 w 166"/>
                  <a:gd name="T45" fmla="*/ 2147483646 h 456"/>
                  <a:gd name="T46" fmla="*/ 2147483646 w 166"/>
                  <a:gd name="T47" fmla="*/ 2147483646 h 456"/>
                  <a:gd name="T48" fmla="*/ 2147483646 w 166"/>
                  <a:gd name="T49" fmla="*/ 2147483646 h 456"/>
                  <a:gd name="T50" fmla="*/ 2147483646 w 166"/>
                  <a:gd name="T51" fmla="*/ 2147483646 h 456"/>
                  <a:gd name="T52" fmla="*/ 2147483646 w 166"/>
                  <a:gd name="T53" fmla="*/ 2147483646 h 456"/>
                  <a:gd name="T54" fmla="*/ 2147483646 w 166"/>
                  <a:gd name="T55" fmla="*/ 2147483646 h 456"/>
                  <a:gd name="T56" fmla="*/ 2147483646 w 166"/>
                  <a:gd name="T57" fmla="*/ 2147483646 h 456"/>
                  <a:gd name="T58" fmla="*/ 2147483646 w 166"/>
                  <a:gd name="T59" fmla="*/ 2147483646 h 456"/>
                  <a:gd name="T60" fmla="*/ 2147483646 w 166"/>
                  <a:gd name="T61" fmla="*/ 2147483646 h 456"/>
                  <a:gd name="T62" fmla="*/ 2147483646 w 166"/>
                  <a:gd name="T63" fmla="*/ 2147483646 h 456"/>
                  <a:gd name="T64" fmla="*/ 2147483646 w 166"/>
                  <a:gd name="T65" fmla="*/ 2147483646 h 456"/>
                  <a:gd name="T66" fmla="*/ 2147483646 w 166"/>
                  <a:gd name="T67" fmla="*/ 2147483646 h 456"/>
                  <a:gd name="T68" fmla="*/ 2147483646 w 166"/>
                  <a:gd name="T69" fmla="*/ 2147483646 h 456"/>
                  <a:gd name="T70" fmla="*/ 2147483646 w 166"/>
                  <a:gd name="T71" fmla="*/ 2147483646 h 456"/>
                  <a:gd name="T72" fmla="*/ 2147483646 w 166"/>
                  <a:gd name="T73" fmla="*/ 2147483646 h 456"/>
                  <a:gd name="T74" fmla="*/ 2147483646 w 166"/>
                  <a:gd name="T75" fmla="*/ 2147483646 h 456"/>
                  <a:gd name="T76" fmla="*/ 2147483646 w 166"/>
                  <a:gd name="T77" fmla="*/ 2147483646 h 456"/>
                  <a:gd name="T78" fmla="*/ 2147483646 w 166"/>
                  <a:gd name="T79" fmla="*/ 2147483646 h 456"/>
                  <a:gd name="T80" fmla="*/ 2147483646 w 166"/>
                  <a:gd name="T81" fmla="*/ 2147483646 h 456"/>
                  <a:gd name="T82" fmla="*/ 2147483646 w 166"/>
                  <a:gd name="T83" fmla="*/ 2147483646 h 456"/>
                  <a:gd name="T84" fmla="*/ 2147483646 w 166"/>
                  <a:gd name="T85" fmla="*/ 2147483646 h 456"/>
                  <a:gd name="T86" fmla="*/ 2147483646 w 166"/>
                  <a:gd name="T87" fmla="*/ 2147483646 h 456"/>
                  <a:gd name="T88" fmla="*/ 2147483646 w 166"/>
                  <a:gd name="T89" fmla="*/ 2147483646 h 456"/>
                  <a:gd name="T90" fmla="*/ 2147483646 w 166"/>
                  <a:gd name="T91" fmla="*/ 2147483646 h 456"/>
                  <a:gd name="T92" fmla="*/ 2147483646 w 166"/>
                  <a:gd name="T93" fmla="*/ 2147483646 h 456"/>
                  <a:gd name="T94" fmla="*/ 2147483646 w 166"/>
                  <a:gd name="T95" fmla="*/ 2147483646 h 456"/>
                  <a:gd name="T96" fmla="*/ 2147483646 w 166"/>
                  <a:gd name="T97" fmla="*/ 2147483646 h 456"/>
                  <a:gd name="T98" fmla="*/ 2147483646 w 166"/>
                  <a:gd name="T99" fmla="*/ 2147483646 h 456"/>
                  <a:gd name="T100" fmla="*/ 2147483646 w 166"/>
                  <a:gd name="T101" fmla="*/ 2147483646 h 45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66"/>
                  <a:gd name="T154" fmla="*/ 0 h 456"/>
                  <a:gd name="T155" fmla="*/ 166 w 166"/>
                  <a:gd name="T156" fmla="*/ 456 h 45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66" h="456">
                    <a:moveTo>
                      <a:pt x="7" y="277"/>
                    </a:moveTo>
                    <a:lnTo>
                      <a:pt x="10" y="282"/>
                    </a:lnTo>
                    <a:lnTo>
                      <a:pt x="14" y="287"/>
                    </a:lnTo>
                    <a:lnTo>
                      <a:pt x="19" y="290"/>
                    </a:lnTo>
                    <a:lnTo>
                      <a:pt x="25" y="294"/>
                    </a:lnTo>
                    <a:lnTo>
                      <a:pt x="37" y="300"/>
                    </a:lnTo>
                    <a:lnTo>
                      <a:pt x="52" y="304"/>
                    </a:lnTo>
                    <a:lnTo>
                      <a:pt x="58" y="306"/>
                    </a:lnTo>
                    <a:lnTo>
                      <a:pt x="65" y="309"/>
                    </a:lnTo>
                    <a:lnTo>
                      <a:pt x="70" y="312"/>
                    </a:lnTo>
                    <a:lnTo>
                      <a:pt x="76" y="316"/>
                    </a:lnTo>
                    <a:lnTo>
                      <a:pt x="80" y="320"/>
                    </a:lnTo>
                    <a:lnTo>
                      <a:pt x="84" y="325"/>
                    </a:lnTo>
                    <a:lnTo>
                      <a:pt x="86" y="331"/>
                    </a:lnTo>
                    <a:lnTo>
                      <a:pt x="87" y="339"/>
                    </a:lnTo>
                    <a:lnTo>
                      <a:pt x="86" y="347"/>
                    </a:lnTo>
                    <a:lnTo>
                      <a:pt x="82" y="356"/>
                    </a:lnTo>
                    <a:lnTo>
                      <a:pt x="78" y="363"/>
                    </a:lnTo>
                    <a:lnTo>
                      <a:pt x="74" y="369"/>
                    </a:lnTo>
                    <a:lnTo>
                      <a:pt x="68" y="375"/>
                    </a:lnTo>
                    <a:lnTo>
                      <a:pt x="64" y="381"/>
                    </a:lnTo>
                    <a:lnTo>
                      <a:pt x="62" y="388"/>
                    </a:lnTo>
                    <a:lnTo>
                      <a:pt x="60" y="394"/>
                    </a:lnTo>
                    <a:lnTo>
                      <a:pt x="60" y="400"/>
                    </a:lnTo>
                    <a:lnTo>
                      <a:pt x="62" y="405"/>
                    </a:lnTo>
                    <a:lnTo>
                      <a:pt x="64" y="411"/>
                    </a:lnTo>
                    <a:lnTo>
                      <a:pt x="67" y="416"/>
                    </a:lnTo>
                    <a:lnTo>
                      <a:pt x="76" y="424"/>
                    </a:lnTo>
                    <a:lnTo>
                      <a:pt x="85" y="432"/>
                    </a:lnTo>
                    <a:lnTo>
                      <a:pt x="104" y="445"/>
                    </a:lnTo>
                    <a:lnTo>
                      <a:pt x="120" y="456"/>
                    </a:lnTo>
                    <a:lnTo>
                      <a:pt x="120" y="443"/>
                    </a:lnTo>
                    <a:lnTo>
                      <a:pt x="120" y="432"/>
                    </a:lnTo>
                    <a:lnTo>
                      <a:pt x="120" y="423"/>
                    </a:lnTo>
                    <a:lnTo>
                      <a:pt x="120" y="413"/>
                    </a:lnTo>
                    <a:lnTo>
                      <a:pt x="131" y="413"/>
                    </a:lnTo>
                    <a:lnTo>
                      <a:pt x="141" y="410"/>
                    </a:lnTo>
                    <a:lnTo>
                      <a:pt x="145" y="407"/>
                    </a:lnTo>
                    <a:lnTo>
                      <a:pt x="149" y="405"/>
                    </a:lnTo>
                    <a:lnTo>
                      <a:pt x="153" y="402"/>
                    </a:lnTo>
                    <a:lnTo>
                      <a:pt x="155" y="399"/>
                    </a:lnTo>
                    <a:lnTo>
                      <a:pt x="160" y="393"/>
                    </a:lnTo>
                    <a:lnTo>
                      <a:pt x="164" y="384"/>
                    </a:lnTo>
                    <a:lnTo>
                      <a:pt x="166" y="375"/>
                    </a:lnTo>
                    <a:lnTo>
                      <a:pt x="166" y="364"/>
                    </a:lnTo>
                    <a:lnTo>
                      <a:pt x="165" y="350"/>
                    </a:lnTo>
                    <a:lnTo>
                      <a:pt x="163" y="339"/>
                    </a:lnTo>
                    <a:lnTo>
                      <a:pt x="158" y="328"/>
                    </a:lnTo>
                    <a:lnTo>
                      <a:pt x="153" y="318"/>
                    </a:lnTo>
                    <a:lnTo>
                      <a:pt x="148" y="307"/>
                    </a:lnTo>
                    <a:lnTo>
                      <a:pt x="144" y="296"/>
                    </a:lnTo>
                    <a:lnTo>
                      <a:pt x="141" y="284"/>
                    </a:lnTo>
                    <a:lnTo>
                      <a:pt x="140" y="271"/>
                    </a:lnTo>
                    <a:lnTo>
                      <a:pt x="135" y="269"/>
                    </a:lnTo>
                    <a:lnTo>
                      <a:pt x="127" y="261"/>
                    </a:lnTo>
                    <a:lnTo>
                      <a:pt x="118" y="251"/>
                    </a:lnTo>
                    <a:lnTo>
                      <a:pt x="108" y="238"/>
                    </a:lnTo>
                    <a:lnTo>
                      <a:pt x="97" y="224"/>
                    </a:lnTo>
                    <a:lnTo>
                      <a:pt x="88" y="211"/>
                    </a:lnTo>
                    <a:lnTo>
                      <a:pt x="85" y="206"/>
                    </a:lnTo>
                    <a:lnTo>
                      <a:pt x="82" y="200"/>
                    </a:lnTo>
                    <a:lnTo>
                      <a:pt x="80" y="195"/>
                    </a:lnTo>
                    <a:lnTo>
                      <a:pt x="80" y="192"/>
                    </a:lnTo>
                    <a:lnTo>
                      <a:pt x="81" y="177"/>
                    </a:lnTo>
                    <a:lnTo>
                      <a:pt x="85" y="157"/>
                    </a:lnTo>
                    <a:lnTo>
                      <a:pt x="88" y="147"/>
                    </a:lnTo>
                    <a:lnTo>
                      <a:pt x="91" y="138"/>
                    </a:lnTo>
                    <a:lnTo>
                      <a:pt x="96" y="129"/>
                    </a:lnTo>
                    <a:lnTo>
                      <a:pt x="100" y="123"/>
                    </a:lnTo>
                    <a:lnTo>
                      <a:pt x="98" y="113"/>
                    </a:lnTo>
                    <a:lnTo>
                      <a:pt x="96" y="99"/>
                    </a:lnTo>
                    <a:lnTo>
                      <a:pt x="95" y="82"/>
                    </a:lnTo>
                    <a:lnTo>
                      <a:pt x="93" y="63"/>
                    </a:lnTo>
                    <a:lnTo>
                      <a:pt x="92" y="45"/>
                    </a:lnTo>
                    <a:lnTo>
                      <a:pt x="90" y="30"/>
                    </a:lnTo>
                    <a:lnTo>
                      <a:pt x="89" y="18"/>
                    </a:lnTo>
                    <a:lnTo>
                      <a:pt x="87" y="12"/>
                    </a:lnTo>
                    <a:lnTo>
                      <a:pt x="71" y="8"/>
                    </a:lnTo>
                    <a:lnTo>
                      <a:pt x="54" y="6"/>
                    </a:lnTo>
                    <a:lnTo>
                      <a:pt x="33" y="4"/>
                    </a:lnTo>
                    <a:lnTo>
                      <a:pt x="7" y="0"/>
                    </a:lnTo>
                    <a:lnTo>
                      <a:pt x="12" y="10"/>
                    </a:lnTo>
                    <a:lnTo>
                      <a:pt x="19" y="21"/>
                    </a:lnTo>
                    <a:lnTo>
                      <a:pt x="22" y="25"/>
                    </a:lnTo>
                    <a:lnTo>
                      <a:pt x="28" y="28"/>
                    </a:lnTo>
                    <a:lnTo>
                      <a:pt x="33" y="30"/>
                    </a:lnTo>
                    <a:lnTo>
                      <a:pt x="40" y="31"/>
                    </a:lnTo>
                    <a:lnTo>
                      <a:pt x="40" y="44"/>
                    </a:lnTo>
                    <a:lnTo>
                      <a:pt x="40" y="55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40" y="78"/>
                    </a:lnTo>
                    <a:lnTo>
                      <a:pt x="39" y="81"/>
                    </a:lnTo>
                    <a:lnTo>
                      <a:pt x="36" y="85"/>
                    </a:lnTo>
                    <a:lnTo>
                      <a:pt x="35" y="88"/>
                    </a:lnTo>
                    <a:lnTo>
                      <a:pt x="29" y="95"/>
                    </a:lnTo>
                    <a:lnTo>
                      <a:pt x="22" y="102"/>
                    </a:lnTo>
                    <a:lnTo>
                      <a:pt x="15" y="109"/>
                    </a:lnTo>
                    <a:lnTo>
                      <a:pt x="9" y="115"/>
                    </a:lnTo>
                    <a:lnTo>
                      <a:pt x="3" y="122"/>
                    </a:lnTo>
                    <a:lnTo>
                      <a:pt x="0" y="129"/>
                    </a:lnTo>
                    <a:lnTo>
                      <a:pt x="7" y="277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53" name="Freeform 475">
                <a:extLst>
                  <a:ext uri="{FF2B5EF4-FFF2-40B4-BE49-F238E27FC236}">
                    <a16:creationId xmlns="" xmlns:a16="http://schemas.microsoft.com/office/drawing/2014/main" id="{C0097AE9-8A6B-45FD-9AEE-45DC3AA76252}"/>
                  </a:ext>
                </a:extLst>
              </p:cNvPr>
              <p:cNvSpPr>
                <a:spLocks/>
              </p:cNvSpPr>
              <p:nvPr>
                <p:custDataLst>
                  <p:tags r:id="rId313"/>
                </p:custDataLst>
              </p:nvPr>
            </p:nvSpPr>
            <p:spPr bwMode="auto">
              <a:xfrm>
                <a:off x="4329113" y="2533650"/>
                <a:ext cx="14287" cy="57150"/>
              </a:xfrm>
              <a:custGeom>
                <a:avLst/>
                <a:gdLst>
                  <a:gd name="T0" fmla="*/ 2147483646 w 27"/>
                  <a:gd name="T1" fmla="*/ 0 h 19"/>
                  <a:gd name="T2" fmla="*/ 2147483646 w 27"/>
                  <a:gd name="T3" fmla="*/ 2147483646 h 19"/>
                  <a:gd name="T4" fmla="*/ 2147483646 w 27"/>
                  <a:gd name="T5" fmla="*/ 2147483646 h 19"/>
                  <a:gd name="T6" fmla="*/ 2147483646 w 27"/>
                  <a:gd name="T7" fmla="*/ 2147483646 h 19"/>
                  <a:gd name="T8" fmla="*/ 0 w 27"/>
                  <a:gd name="T9" fmla="*/ 2147483646 h 19"/>
                  <a:gd name="T10" fmla="*/ 2147483646 w 27"/>
                  <a:gd name="T11" fmla="*/ 2147483646 h 19"/>
                  <a:gd name="T12" fmla="*/ 2147483646 w 27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7"/>
                  <a:gd name="T22" fmla="*/ 0 h 19"/>
                  <a:gd name="T23" fmla="*/ 27 w 27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7" h="19">
                    <a:moveTo>
                      <a:pt x="27" y="0"/>
                    </a:moveTo>
                    <a:lnTo>
                      <a:pt x="27" y="12"/>
                    </a:lnTo>
                    <a:lnTo>
                      <a:pt x="27" y="19"/>
                    </a:lnTo>
                    <a:lnTo>
                      <a:pt x="9" y="19"/>
                    </a:lnTo>
                    <a:lnTo>
                      <a:pt x="0" y="19"/>
                    </a:lnTo>
                    <a:lnTo>
                      <a:pt x="9" y="12"/>
                    </a:lnTo>
                    <a:lnTo>
                      <a:pt x="27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54" name="Freeform 476">
                <a:extLst>
                  <a:ext uri="{FF2B5EF4-FFF2-40B4-BE49-F238E27FC236}">
                    <a16:creationId xmlns="" xmlns:a16="http://schemas.microsoft.com/office/drawing/2014/main" id="{3DB7C2FB-0E34-4026-84C8-C17F3B1AF864}"/>
                  </a:ext>
                </a:extLst>
              </p:cNvPr>
              <p:cNvSpPr>
                <a:spLocks/>
              </p:cNvSpPr>
              <p:nvPr>
                <p:custDataLst>
                  <p:tags r:id="rId314"/>
                </p:custDataLst>
              </p:nvPr>
            </p:nvSpPr>
            <p:spPr bwMode="auto">
              <a:xfrm>
                <a:off x="4648200" y="4154488"/>
                <a:ext cx="188913" cy="217487"/>
              </a:xfrm>
              <a:custGeom>
                <a:avLst/>
                <a:gdLst>
                  <a:gd name="T0" fmla="*/ 2147483646 w 438"/>
                  <a:gd name="T1" fmla="*/ 2147483646 h 406"/>
                  <a:gd name="T2" fmla="*/ 2147483646 w 438"/>
                  <a:gd name="T3" fmla="*/ 2147483646 h 406"/>
                  <a:gd name="T4" fmla="*/ 2147483646 w 438"/>
                  <a:gd name="T5" fmla="*/ 2147483646 h 406"/>
                  <a:gd name="T6" fmla="*/ 2147483646 w 438"/>
                  <a:gd name="T7" fmla="*/ 2147483646 h 406"/>
                  <a:gd name="T8" fmla="*/ 2147483646 w 438"/>
                  <a:gd name="T9" fmla="*/ 2147483646 h 406"/>
                  <a:gd name="T10" fmla="*/ 2147483646 w 438"/>
                  <a:gd name="T11" fmla="*/ 2147483646 h 406"/>
                  <a:gd name="T12" fmla="*/ 2147483646 w 438"/>
                  <a:gd name="T13" fmla="*/ 2147483646 h 406"/>
                  <a:gd name="T14" fmla="*/ 2147483646 w 438"/>
                  <a:gd name="T15" fmla="*/ 2147483646 h 406"/>
                  <a:gd name="T16" fmla="*/ 2147483646 w 438"/>
                  <a:gd name="T17" fmla="*/ 2147483646 h 406"/>
                  <a:gd name="T18" fmla="*/ 2147483646 w 438"/>
                  <a:gd name="T19" fmla="*/ 2147483646 h 406"/>
                  <a:gd name="T20" fmla="*/ 2147483646 w 438"/>
                  <a:gd name="T21" fmla="*/ 2147483646 h 406"/>
                  <a:gd name="T22" fmla="*/ 2147483646 w 438"/>
                  <a:gd name="T23" fmla="*/ 2147483646 h 406"/>
                  <a:gd name="T24" fmla="*/ 2147483646 w 438"/>
                  <a:gd name="T25" fmla="*/ 2147483646 h 406"/>
                  <a:gd name="T26" fmla="*/ 2147483646 w 438"/>
                  <a:gd name="T27" fmla="*/ 2147483646 h 406"/>
                  <a:gd name="T28" fmla="*/ 2147483646 w 438"/>
                  <a:gd name="T29" fmla="*/ 2147483646 h 406"/>
                  <a:gd name="T30" fmla="*/ 2147483646 w 438"/>
                  <a:gd name="T31" fmla="*/ 2147483646 h 406"/>
                  <a:gd name="T32" fmla="*/ 2147483646 w 438"/>
                  <a:gd name="T33" fmla="*/ 2147483646 h 406"/>
                  <a:gd name="T34" fmla="*/ 2147483646 w 438"/>
                  <a:gd name="T35" fmla="*/ 2147483646 h 406"/>
                  <a:gd name="T36" fmla="*/ 2147483646 w 438"/>
                  <a:gd name="T37" fmla="*/ 2147483646 h 406"/>
                  <a:gd name="T38" fmla="*/ 2147483646 w 438"/>
                  <a:gd name="T39" fmla="*/ 2147483646 h 406"/>
                  <a:gd name="T40" fmla="*/ 2147483646 w 438"/>
                  <a:gd name="T41" fmla="*/ 2147483646 h 406"/>
                  <a:gd name="T42" fmla="*/ 2147483646 w 438"/>
                  <a:gd name="T43" fmla="*/ 2147483646 h 406"/>
                  <a:gd name="T44" fmla="*/ 2147483646 w 438"/>
                  <a:gd name="T45" fmla="*/ 2147483646 h 406"/>
                  <a:gd name="T46" fmla="*/ 2147483646 w 438"/>
                  <a:gd name="T47" fmla="*/ 2147483646 h 406"/>
                  <a:gd name="T48" fmla="*/ 2147483646 w 438"/>
                  <a:gd name="T49" fmla="*/ 2147483646 h 406"/>
                  <a:gd name="T50" fmla="*/ 2147483646 w 438"/>
                  <a:gd name="T51" fmla="*/ 2147483646 h 406"/>
                  <a:gd name="T52" fmla="*/ 2147483646 w 438"/>
                  <a:gd name="T53" fmla="*/ 2147483646 h 406"/>
                  <a:gd name="T54" fmla="*/ 2147483646 w 438"/>
                  <a:gd name="T55" fmla="*/ 2147483646 h 406"/>
                  <a:gd name="T56" fmla="*/ 2147483646 w 438"/>
                  <a:gd name="T57" fmla="*/ 2147483646 h 406"/>
                  <a:gd name="T58" fmla="*/ 2147483646 w 438"/>
                  <a:gd name="T59" fmla="*/ 2147483646 h 406"/>
                  <a:gd name="T60" fmla="*/ 2147483646 w 438"/>
                  <a:gd name="T61" fmla="*/ 2147483646 h 406"/>
                  <a:gd name="T62" fmla="*/ 2147483646 w 438"/>
                  <a:gd name="T63" fmla="*/ 2147483646 h 406"/>
                  <a:gd name="T64" fmla="*/ 0 w 438"/>
                  <a:gd name="T65" fmla="*/ 2147483646 h 406"/>
                  <a:gd name="T66" fmla="*/ 2147483646 w 438"/>
                  <a:gd name="T67" fmla="*/ 2147483646 h 406"/>
                  <a:gd name="T68" fmla="*/ 2147483646 w 438"/>
                  <a:gd name="T69" fmla="*/ 2147483646 h 406"/>
                  <a:gd name="T70" fmla="*/ 2147483646 w 438"/>
                  <a:gd name="T71" fmla="*/ 2147483646 h 406"/>
                  <a:gd name="T72" fmla="*/ 2147483646 w 438"/>
                  <a:gd name="T73" fmla="*/ 2147483646 h 406"/>
                  <a:gd name="T74" fmla="*/ 2147483646 w 438"/>
                  <a:gd name="T75" fmla="*/ 2147483646 h 406"/>
                  <a:gd name="T76" fmla="*/ 2147483646 w 438"/>
                  <a:gd name="T77" fmla="*/ 2147483646 h 406"/>
                  <a:gd name="T78" fmla="*/ 2147483646 w 438"/>
                  <a:gd name="T79" fmla="*/ 2147483646 h 406"/>
                  <a:gd name="T80" fmla="*/ 2147483646 w 438"/>
                  <a:gd name="T81" fmla="*/ 2147483646 h 406"/>
                  <a:gd name="T82" fmla="*/ 2147483646 w 438"/>
                  <a:gd name="T83" fmla="*/ 2147483646 h 406"/>
                  <a:gd name="T84" fmla="*/ 2147483646 w 438"/>
                  <a:gd name="T85" fmla="*/ 2147483646 h 406"/>
                  <a:gd name="T86" fmla="*/ 2147483646 w 438"/>
                  <a:gd name="T87" fmla="*/ 2147483646 h 406"/>
                  <a:gd name="T88" fmla="*/ 2147483646 w 438"/>
                  <a:gd name="T89" fmla="*/ 2147483646 h 406"/>
                  <a:gd name="T90" fmla="*/ 2147483646 w 438"/>
                  <a:gd name="T91" fmla="*/ 2147483646 h 406"/>
                  <a:gd name="T92" fmla="*/ 2147483646 w 438"/>
                  <a:gd name="T93" fmla="*/ 2147483646 h 406"/>
                  <a:gd name="T94" fmla="*/ 2147483646 w 438"/>
                  <a:gd name="T95" fmla="*/ 2147483646 h 406"/>
                  <a:gd name="T96" fmla="*/ 2147483646 w 438"/>
                  <a:gd name="T97" fmla="*/ 2147483646 h 406"/>
                  <a:gd name="T98" fmla="*/ 2147483646 w 438"/>
                  <a:gd name="T99" fmla="*/ 2147483646 h 406"/>
                  <a:gd name="T100" fmla="*/ 2147483646 w 438"/>
                  <a:gd name="T101" fmla="*/ 2147483646 h 406"/>
                  <a:gd name="T102" fmla="*/ 2147483646 w 438"/>
                  <a:gd name="T103" fmla="*/ 2147483646 h 406"/>
                  <a:gd name="T104" fmla="*/ 2147483646 w 438"/>
                  <a:gd name="T105" fmla="*/ 2147483646 h 406"/>
                  <a:gd name="T106" fmla="*/ 2147483646 w 438"/>
                  <a:gd name="T107" fmla="*/ 2147483646 h 406"/>
                  <a:gd name="T108" fmla="*/ 2147483646 w 438"/>
                  <a:gd name="T109" fmla="*/ 2147483646 h 40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38"/>
                  <a:gd name="T166" fmla="*/ 0 h 406"/>
                  <a:gd name="T167" fmla="*/ 438 w 438"/>
                  <a:gd name="T168" fmla="*/ 406 h 40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38" h="406">
                    <a:moveTo>
                      <a:pt x="272" y="0"/>
                    </a:moveTo>
                    <a:lnTo>
                      <a:pt x="284" y="8"/>
                    </a:lnTo>
                    <a:lnTo>
                      <a:pt x="301" y="17"/>
                    </a:lnTo>
                    <a:lnTo>
                      <a:pt x="320" y="27"/>
                    </a:lnTo>
                    <a:lnTo>
                      <a:pt x="341" y="37"/>
                    </a:lnTo>
                    <a:lnTo>
                      <a:pt x="363" y="47"/>
                    </a:lnTo>
                    <a:lnTo>
                      <a:pt x="385" y="55"/>
                    </a:lnTo>
                    <a:lnTo>
                      <a:pt x="395" y="58"/>
                    </a:lnTo>
                    <a:lnTo>
                      <a:pt x="406" y="60"/>
                    </a:lnTo>
                    <a:lnTo>
                      <a:pt x="416" y="61"/>
                    </a:lnTo>
                    <a:lnTo>
                      <a:pt x="425" y="61"/>
                    </a:lnTo>
                    <a:lnTo>
                      <a:pt x="425" y="81"/>
                    </a:lnTo>
                    <a:lnTo>
                      <a:pt x="427" y="101"/>
                    </a:lnTo>
                    <a:lnTo>
                      <a:pt x="429" y="120"/>
                    </a:lnTo>
                    <a:lnTo>
                      <a:pt x="432" y="138"/>
                    </a:lnTo>
                    <a:lnTo>
                      <a:pt x="434" y="157"/>
                    </a:lnTo>
                    <a:lnTo>
                      <a:pt x="436" y="176"/>
                    </a:lnTo>
                    <a:lnTo>
                      <a:pt x="438" y="195"/>
                    </a:lnTo>
                    <a:lnTo>
                      <a:pt x="438" y="216"/>
                    </a:lnTo>
                    <a:lnTo>
                      <a:pt x="438" y="223"/>
                    </a:lnTo>
                    <a:lnTo>
                      <a:pt x="436" y="230"/>
                    </a:lnTo>
                    <a:lnTo>
                      <a:pt x="435" y="237"/>
                    </a:lnTo>
                    <a:lnTo>
                      <a:pt x="432" y="245"/>
                    </a:lnTo>
                    <a:lnTo>
                      <a:pt x="425" y="259"/>
                    </a:lnTo>
                    <a:lnTo>
                      <a:pt x="416" y="274"/>
                    </a:lnTo>
                    <a:lnTo>
                      <a:pt x="407" y="287"/>
                    </a:lnTo>
                    <a:lnTo>
                      <a:pt x="399" y="298"/>
                    </a:lnTo>
                    <a:lnTo>
                      <a:pt x="391" y="307"/>
                    </a:lnTo>
                    <a:lnTo>
                      <a:pt x="385" y="314"/>
                    </a:lnTo>
                    <a:lnTo>
                      <a:pt x="381" y="320"/>
                    </a:lnTo>
                    <a:lnTo>
                      <a:pt x="378" y="326"/>
                    </a:lnTo>
                    <a:lnTo>
                      <a:pt x="374" y="332"/>
                    </a:lnTo>
                    <a:lnTo>
                      <a:pt x="373" y="339"/>
                    </a:lnTo>
                    <a:lnTo>
                      <a:pt x="372" y="352"/>
                    </a:lnTo>
                    <a:lnTo>
                      <a:pt x="372" y="363"/>
                    </a:lnTo>
                    <a:lnTo>
                      <a:pt x="359" y="372"/>
                    </a:lnTo>
                    <a:lnTo>
                      <a:pt x="339" y="387"/>
                    </a:lnTo>
                    <a:lnTo>
                      <a:pt x="321" y="401"/>
                    </a:lnTo>
                    <a:lnTo>
                      <a:pt x="312" y="406"/>
                    </a:lnTo>
                    <a:lnTo>
                      <a:pt x="205" y="388"/>
                    </a:lnTo>
                    <a:lnTo>
                      <a:pt x="192" y="382"/>
                    </a:lnTo>
                    <a:lnTo>
                      <a:pt x="182" y="379"/>
                    </a:lnTo>
                    <a:lnTo>
                      <a:pt x="172" y="376"/>
                    </a:lnTo>
                    <a:lnTo>
                      <a:pt x="165" y="370"/>
                    </a:lnTo>
                    <a:lnTo>
                      <a:pt x="157" y="365"/>
                    </a:lnTo>
                    <a:lnTo>
                      <a:pt x="150" y="359"/>
                    </a:lnTo>
                    <a:lnTo>
                      <a:pt x="145" y="353"/>
                    </a:lnTo>
                    <a:lnTo>
                      <a:pt x="139" y="346"/>
                    </a:lnTo>
                    <a:lnTo>
                      <a:pt x="134" y="338"/>
                    </a:lnTo>
                    <a:lnTo>
                      <a:pt x="124" y="322"/>
                    </a:lnTo>
                    <a:lnTo>
                      <a:pt x="114" y="304"/>
                    </a:lnTo>
                    <a:lnTo>
                      <a:pt x="108" y="296"/>
                    </a:lnTo>
                    <a:lnTo>
                      <a:pt x="101" y="288"/>
                    </a:lnTo>
                    <a:lnTo>
                      <a:pt x="94" y="279"/>
                    </a:lnTo>
                    <a:lnTo>
                      <a:pt x="86" y="271"/>
                    </a:lnTo>
                    <a:lnTo>
                      <a:pt x="72" y="259"/>
                    </a:lnTo>
                    <a:lnTo>
                      <a:pt x="58" y="247"/>
                    </a:lnTo>
                    <a:lnTo>
                      <a:pt x="44" y="234"/>
                    </a:lnTo>
                    <a:lnTo>
                      <a:pt x="31" y="220"/>
                    </a:lnTo>
                    <a:lnTo>
                      <a:pt x="24" y="213"/>
                    </a:lnTo>
                    <a:lnTo>
                      <a:pt x="19" y="204"/>
                    </a:lnTo>
                    <a:lnTo>
                      <a:pt x="13" y="195"/>
                    </a:lnTo>
                    <a:lnTo>
                      <a:pt x="9" y="186"/>
                    </a:lnTo>
                    <a:lnTo>
                      <a:pt x="4" y="176"/>
                    </a:lnTo>
                    <a:lnTo>
                      <a:pt x="2" y="166"/>
                    </a:lnTo>
                    <a:lnTo>
                      <a:pt x="0" y="154"/>
                    </a:lnTo>
                    <a:lnTo>
                      <a:pt x="0" y="141"/>
                    </a:lnTo>
                    <a:lnTo>
                      <a:pt x="18" y="141"/>
                    </a:lnTo>
                    <a:lnTo>
                      <a:pt x="31" y="141"/>
                    </a:lnTo>
                    <a:lnTo>
                      <a:pt x="40" y="141"/>
                    </a:lnTo>
                    <a:lnTo>
                      <a:pt x="46" y="141"/>
                    </a:lnTo>
                    <a:lnTo>
                      <a:pt x="53" y="141"/>
                    </a:lnTo>
                    <a:lnTo>
                      <a:pt x="58" y="140"/>
                    </a:lnTo>
                    <a:lnTo>
                      <a:pt x="63" y="138"/>
                    </a:lnTo>
                    <a:lnTo>
                      <a:pt x="68" y="136"/>
                    </a:lnTo>
                    <a:lnTo>
                      <a:pt x="77" y="131"/>
                    </a:lnTo>
                    <a:lnTo>
                      <a:pt x="85" y="124"/>
                    </a:lnTo>
                    <a:lnTo>
                      <a:pt x="99" y="108"/>
                    </a:lnTo>
                    <a:lnTo>
                      <a:pt x="113" y="92"/>
                    </a:lnTo>
                    <a:lnTo>
                      <a:pt x="117" y="87"/>
                    </a:lnTo>
                    <a:lnTo>
                      <a:pt x="124" y="83"/>
                    </a:lnTo>
                    <a:lnTo>
                      <a:pt x="130" y="80"/>
                    </a:lnTo>
                    <a:lnTo>
                      <a:pt x="136" y="77"/>
                    </a:lnTo>
                    <a:lnTo>
                      <a:pt x="150" y="71"/>
                    </a:lnTo>
                    <a:lnTo>
                      <a:pt x="165" y="65"/>
                    </a:lnTo>
                    <a:lnTo>
                      <a:pt x="179" y="60"/>
                    </a:lnTo>
                    <a:lnTo>
                      <a:pt x="192" y="55"/>
                    </a:lnTo>
                    <a:lnTo>
                      <a:pt x="203" y="50"/>
                    </a:lnTo>
                    <a:lnTo>
                      <a:pt x="212" y="43"/>
                    </a:lnTo>
                    <a:lnTo>
                      <a:pt x="211" y="43"/>
                    </a:lnTo>
                    <a:lnTo>
                      <a:pt x="210" y="41"/>
                    </a:lnTo>
                    <a:lnTo>
                      <a:pt x="210" y="38"/>
                    </a:lnTo>
                    <a:lnTo>
                      <a:pt x="210" y="36"/>
                    </a:lnTo>
                    <a:lnTo>
                      <a:pt x="211" y="30"/>
                    </a:lnTo>
                    <a:lnTo>
                      <a:pt x="212" y="24"/>
                    </a:lnTo>
                    <a:lnTo>
                      <a:pt x="213" y="17"/>
                    </a:lnTo>
                    <a:lnTo>
                      <a:pt x="214" y="14"/>
                    </a:lnTo>
                    <a:lnTo>
                      <a:pt x="217" y="12"/>
                    </a:lnTo>
                    <a:lnTo>
                      <a:pt x="221" y="12"/>
                    </a:lnTo>
                    <a:lnTo>
                      <a:pt x="225" y="12"/>
                    </a:lnTo>
                    <a:lnTo>
                      <a:pt x="229" y="11"/>
                    </a:lnTo>
                    <a:lnTo>
                      <a:pt x="232" y="9"/>
                    </a:lnTo>
                    <a:lnTo>
                      <a:pt x="234" y="7"/>
                    </a:lnTo>
                    <a:lnTo>
                      <a:pt x="236" y="4"/>
                    </a:lnTo>
                    <a:lnTo>
                      <a:pt x="239" y="0"/>
                    </a:lnTo>
                    <a:lnTo>
                      <a:pt x="244" y="2"/>
                    </a:lnTo>
                    <a:lnTo>
                      <a:pt x="248" y="3"/>
                    </a:lnTo>
                    <a:lnTo>
                      <a:pt x="251" y="3"/>
                    </a:lnTo>
                    <a:lnTo>
                      <a:pt x="256" y="2"/>
                    </a:lnTo>
                    <a:lnTo>
                      <a:pt x="264" y="1"/>
                    </a:lnTo>
                    <a:lnTo>
                      <a:pt x="272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55" name="Freeform 477">
                <a:extLst>
                  <a:ext uri="{FF2B5EF4-FFF2-40B4-BE49-F238E27FC236}">
                    <a16:creationId xmlns="" xmlns:a16="http://schemas.microsoft.com/office/drawing/2014/main" id="{E65C141B-5986-4247-A78B-24BADD2211B7}"/>
                  </a:ext>
                </a:extLst>
              </p:cNvPr>
              <p:cNvSpPr>
                <a:spLocks/>
              </p:cNvSpPr>
              <p:nvPr>
                <p:custDataLst>
                  <p:tags r:id="rId315"/>
                </p:custDataLst>
              </p:nvPr>
            </p:nvSpPr>
            <p:spPr bwMode="auto">
              <a:xfrm>
                <a:off x="4560888" y="3930650"/>
                <a:ext cx="293687" cy="300038"/>
              </a:xfrm>
              <a:custGeom>
                <a:avLst/>
                <a:gdLst>
                  <a:gd name="T0" fmla="*/ 2147483646 w 678"/>
                  <a:gd name="T1" fmla="*/ 2147483646 h 574"/>
                  <a:gd name="T2" fmla="*/ 2147483646 w 678"/>
                  <a:gd name="T3" fmla="*/ 2147483646 h 574"/>
                  <a:gd name="T4" fmla="*/ 2147483646 w 678"/>
                  <a:gd name="T5" fmla="*/ 2147483646 h 574"/>
                  <a:gd name="T6" fmla="*/ 2147483646 w 678"/>
                  <a:gd name="T7" fmla="*/ 2147483646 h 574"/>
                  <a:gd name="T8" fmla="*/ 2147483646 w 678"/>
                  <a:gd name="T9" fmla="*/ 2147483646 h 574"/>
                  <a:gd name="T10" fmla="*/ 2147483646 w 678"/>
                  <a:gd name="T11" fmla="*/ 2147483646 h 574"/>
                  <a:gd name="T12" fmla="*/ 2147483646 w 678"/>
                  <a:gd name="T13" fmla="*/ 2147483646 h 574"/>
                  <a:gd name="T14" fmla="*/ 2147483646 w 678"/>
                  <a:gd name="T15" fmla="*/ 2147483646 h 574"/>
                  <a:gd name="T16" fmla="*/ 2147483646 w 678"/>
                  <a:gd name="T17" fmla="*/ 2147483646 h 574"/>
                  <a:gd name="T18" fmla="*/ 2147483646 w 678"/>
                  <a:gd name="T19" fmla="*/ 2147483646 h 574"/>
                  <a:gd name="T20" fmla="*/ 2147483646 w 678"/>
                  <a:gd name="T21" fmla="*/ 2147483646 h 574"/>
                  <a:gd name="T22" fmla="*/ 2147483646 w 678"/>
                  <a:gd name="T23" fmla="*/ 2147483646 h 574"/>
                  <a:gd name="T24" fmla="*/ 2147483646 w 678"/>
                  <a:gd name="T25" fmla="*/ 2147483646 h 574"/>
                  <a:gd name="T26" fmla="*/ 2147483646 w 678"/>
                  <a:gd name="T27" fmla="*/ 2147483646 h 574"/>
                  <a:gd name="T28" fmla="*/ 2147483646 w 678"/>
                  <a:gd name="T29" fmla="*/ 2147483646 h 574"/>
                  <a:gd name="T30" fmla="*/ 2147483646 w 678"/>
                  <a:gd name="T31" fmla="*/ 2147483646 h 574"/>
                  <a:gd name="T32" fmla="*/ 2147483646 w 678"/>
                  <a:gd name="T33" fmla="*/ 2147483646 h 574"/>
                  <a:gd name="T34" fmla="*/ 2147483646 w 678"/>
                  <a:gd name="T35" fmla="*/ 2147483646 h 574"/>
                  <a:gd name="T36" fmla="*/ 2147483646 w 678"/>
                  <a:gd name="T37" fmla="*/ 2147483646 h 574"/>
                  <a:gd name="T38" fmla="*/ 2147483646 w 678"/>
                  <a:gd name="T39" fmla="*/ 2147483646 h 574"/>
                  <a:gd name="T40" fmla="*/ 2147483646 w 678"/>
                  <a:gd name="T41" fmla="*/ 2147483646 h 574"/>
                  <a:gd name="T42" fmla="*/ 2147483646 w 678"/>
                  <a:gd name="T43" fmla="*/ 2147483646 h 574"/>
                  <a:gd name="T44" fmla="*/ 2147483646 w 678"/>
                  <a:gd name="T45" fmla="*/ 2147483646 h 574"/>
                  <a:gd name="T46" fmla="*/ 2147483646 w 678"/>
                  <a:gd name="T47" fmla="*/ 2147483646 h 574"/>
                  <a:gd name="T48" fmla="*/ 2147483646 w 678"/>
                  <a:gd name="T49" fmla="*/ 2147483646 h 574"/>
                  <a:gd name="T50" fmla="*/ 2147483646 w 678"/>
                  <a:gd name="T51" fmla="*/ 2147483646 h 574"/>
                  <a:gd name="T52" fmla="*/ 2147483646 w 678"/>
                  <a:gd name="T53" fmla="*/ 2147483646 h 574"/>
                  <a:gd name="T54" fmla="*/ 2147483646 w 678"/>
                  <a:gd name="T55" fmla="*/ 2147483646 h 574"/>
                  <a:gd name="T56" fmla="*/ 2147483646 w 678"/>
                  <a:gd name="T57" fmla="*/ 2147483646 h 574"/>
                  <a:gd name="T58" fmla="*/ 2147483646 w 678"/>
                  <a:gd name="T59" fmla="*/ 2147483646 h 574"/>
                  <a:gd name="T60" fmla="*/ 2147483646 w 678"/>
                  <a:gd name="T61" fmla="*/ 2147483646 h 574"/>
                  <a:gd name="T62" fmla="*/ 2147483646 w 678"/>
                  <a:gd name="T63" fmla="*/ 2147483646 h 574"/>
                  <a:gd name="T64" fmla="*/ 0 w 678"/>
                  <a:gd name="T65" fmla="*/ 2147483646 h 574"/>
                  <a:gd name="T66" fmla="*/ 2147483646 w 678"/>
                  <a:gd name="T67" fmla="*/ 2147483646 h 574"/>
                  <a:gd name="T68" fmla="*/ 2147483646 w 678"/>
                  <a:gd name="T69" fmla="*/ 2147483646 h 574"/>
                  <a:gd name="T70" fmla="*/ 2147483646 w 678"/>
                  <a:gd name="T71" fmla="*/ 2147483646 h 574"/>
                  <a:gd name="T72" fmla="*/ 2147483646 w 678"/>
                  <a:gd name="T73" fmla="*/ 2147483646 h 574"/>
                  <a:gd name="T74" fmla="*/ 2147483646 w 678"/>
                  <a:gd name="T75" fmla="*/ 2147483646 h 574"/>
                  <a:gd name="T76" fmla="*/ 2147483646 w 678"/>
                  <a:gd name="T77" fmla="*/ 2147483646 h 574"/>
                  <a:gd name="T78" fmla="*/ 2147483646 w 678"/>
                  <a:gd name="T79" fmla="*/ 2147483646 h 574"/>
                  <a:gd name="T80" fmla="*/ 2147483646 w 678"/>
                  <a:gd name="T81" fmla="*/ 2147483646 h 574"/>
                  <a:gd name="T82" fmla="*/ 2147483646 w 678"/>
                  <a:gd name="T83" fmla="*/ 2147483646 h 574"/>
                  <a:gd name="T84" fmla="*/ 2147483646 w 678"/>
                  <a:gd name="T85" fmla="*/ 2147483646 h 574"/>
                  <a:gd name="T86" fmla="*/ 2147483646 w 678"/>
                  <a:gd name="T87" fmla="*/ 2147483646 h 574"/>
                  <a:gd name="T88" fmla="*/ 2147483646 w 678"/>
                  <a:gd name="T89" fmla="*/ 2147483646 h 574"/>
                  <a:gd name="T90" fmla="*/ 2147483646 w 678"/>
                  <a:gd name="T91" fmla="*/ 2147483646 h 574"/>
                  <a:gd name="T92" fmla="*/ 2147483646 w 678"/>
                  <a:gd name="T93" fmla="*/ 2147483646 h 574"/>
                  <a:gd name="T94" fmla="*/ 2147483646 w 678"/>
                  <a:gd name="T95" fmla="*/ 2147483646 h 574"/>
                  <a:gd name="T96" fmla="*/ 2147483646 w 678"/>
                  <a:gd name="T97" fmla="*/ 2147483646 h 574"/>
                  <a:gd name="T98" fmla="*/ 2147483646 w 678"/>
                  <a:gd name="T99" fmla="*/ 2147483646 h 574"/>
                  <a:gd name="T100" fmla="*/ 2147483646 w 678"/>
                  <a:gd name="T101" fmla="*/ 2147483646 h 574"/>
                  <a:gd name="T102" fmla="*/ 2147483646 w 678"/>
                  <a:gd name="T103" fmla="*/ 2147483646 h 574"/>
                  <a:gd name="T104" fmla="*/ 2147483646 w 678"/>
                  <a:gd name="T105" fmla="*/ 2147483646 h 574"/>
                  <a:gd name="T106" fmla="*/ 2147483646 w 678"/>
                  <a:gd name="T107" fmla="*/ 2147483646 h 574"/>
                  <a:gd name="T108" fmla="*/ 2147483646 w 678"/>
                  <a:gd name="T109" fmla="*/ 2147483646 h 574"/>
                  <a:gd name="T110" fmla="*/ 2147483646 w 678"/>
                  <a:gd name="T111" fmla="*/ 2147483646 h 574"/>
                  <a:gd name="T112" fmla="*/ 2147483646 w 678"/>
                  <a:gd name="T113" fmla="*/ 2147483646 h 574"/>
                  <a:gd name="T114" fmla="*/ 2147483646 w 678"/>
                  <a:gd name="T115" fmla="*/ 2147483646 h 574"/>
                  <a:gd name="T116" fmla="*/ 2147483646 w 678"/>
                  <a:gd name="T117" fmla="*/ 2147483646 h 57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678"/>
                  <a:gd name="T178" fmla="*/ 0 h 574"/>
                  <a:gd name="T179" fmla="*/ 678 w 678"/>
                  <a:gd name="T180" fmla="*/ 574 h 57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678" h="574">
                    <a:moveTo>
                      <a:pt x="505" y="1"/>
                    </a:moveTo>
                    <a:lnTo>
                      <a:pt x="507" y="4"/>
                    </a:lnTo>
                    <a:lnTo>
                      <a:pt x="513" y="8"/>
                    </a:lnTo>
                    <a:lnTo>
                      <a:pt x="521" y="12"/>
                    </a:lnTo>
                    <a:lnTo>
                      <a:pt x="529" y="16"/>
                    </a:lnTo>
                    <a:lnTo>
                      <a:pt x="552" y="26"/>
                    </a:lnTo>
                    <a:lnTo>
                      <a:pt x="578" y="37"/>
                    </a:lnTo>
                    <a:lnTo>
                      <a:pt x="624" y="55"/>
                    </a:lnTo>
                    <a:lnTo>
                      <a:pt x="645" y="63"/>
                    </a:lnTo>
                    <a:lnTo>
                      <a:pt x="650" y="73"/>
                    </a:lnTo>
                    <a:lnTo>
                      <a:pt x="657" y="84"/>
                    </a:lnTo>
                    <a:lnTo>
                      <a:pt x="660" y="88"/>
                    </a:lnTo>
                    <a:lnTo>
                      <a:pt x="666" y="91"/>
                    </a:lnTo>
                    <a:lnTo>
                      <a:pt x="671" y="93"/>
                    </a:lnTo>
                    <a:lnTo>
                      <a:pt x="678" y="94"/>
                    </a:lnTo>
                    <a:lnTo>
                      <a:pt x="678" y="107"/>
                    </a:lnTo>
                    <a:lnTo>
                      <a:pt x="678" y="118"/>
                    </a:lnTo>
                    <a:lnTo>
                      <a:pt x="678" y="127"/>
                    </a:lnTo>
                    <a:lnTo>
                      <a:pt x="678" y="137"/>
                    </a:lnTo>
                    <a:lnTo>
                      <a:pt x="678" y="141"/>
                    </a:lnTo>
                    <a:lnTo>
                      <a:pt x="677" y="144"/>
                    </a:lnTo>
                    <a:lnTo>
                      <a:pt x="674" y="148"/>
                    </a:lnTo>
                    <a:lnTo>
                      <a:pt x="673" y="151"/>
                    </a:lnTo>
                    <a:lnTo>
                      <a:pt x="667" y="158"/>
                    </a:lnTo>
                    <a:lnTo>
                      <a:pt x="660" y="165"/>
                    </a:lnTo>
                    <a:lnTo>
                      <a:pt x="653" y="172"/>
                    </a:lnTo>
                    <a:lnTo>
                      <a:pt x="647" y="178"/>
                    </a:lnTo>
                    <a:lnTo>
                      <a:pt x="641" y="185"/>
                    </a:lnTo>
                    <a:lnTo>
                      <a:pt x="638" y="192"/>
                    </a:lnTo>
                    <a:lnTo>
                      <a:pt x="638" y="346"/>
                    </a:lnTo>
                    <a:lnTo>
                      <a:pt x="466" y="378"/>
                    </a:lnTo>
                    <a:lnTo>
                      <a:pt x="464" y="382"/>
                    </a:lnTo>
                    <a:lnTo>
                      <a:pt x="461" y="388"/>
                    </a:lnTo>
                    <a:lnTo>
                      <a:pt x="460" y="394"/>
                    </a:lnTo>
                    <a:lnTo>
                      <a:pt x="460" y="400"/>
                    </a:lnTo>
                    <a:lnTo>
                      <a:pt x="461" y="415"/>
                    </a:lnTo>
                    <a:lnTo>
                      <a:pt x="466" y="433"/>
                    </a:lnTo>
                    <a:lnTo>
                      <a:pt x="460" y="434"/>
                    </a:lnTo>
                    <a:lnTo>
                      <a:pt x="455" y="435"/>
                    </a:lnTo>
                    <a:lnTo>
                      <a:pt x="451" y="436"/>
                    </a:lnTo>
                    <a:lnTo>
                      <a:pt x="448" y="436"/>
                    </a:lnTo>
                    <a:lnTo>
                      <a:pt x="444" y="435"/>
                    </a:lnTo>
                    <a:lnTo>
                      <a:pt x="439" y="433"/>
                    </a:lnTo>
                    <a:lnTo>
                      <a:pt x="436" y="437"/>
                    </a:lnTo>
                    <a:lnTo>
                      <a:pt x="434" y="440"/>
                    </a:lnTo>
                    <a:lnTo>
                      <a:pt x="432" y="442"/>
                    </a:lnTo>
                    <a:lnTo>
                      <a:pt x="429" y="444"/>
                    </a:lnTo>
                    <a:lnTo>
                      <a:pt x="425" y="445"/>
                    </a:lnTo>
                    <a:lnTo>
                      <a:pt x="421" y="445"/>
                    </a:lnTo>
                    <a:lnTo>
                      <a:pt x="417" y="445"/>
                    </a:lnTo>
                    <a:lnTo>
                      <a:pt x="414" y="447"/>
                    </a:lnTo>
                    <a:lnTo>
                      <a:pt x="413" y="450"/>
                    </a:lnTo>
                    <a:lnTo>
                      <a:pt x="412" y="457"/>
                    </a:lnTo>
                    <a:lnTo>
                      <a:pt x="411" y="463"/>
                    </a:lnTo>
                    <a:lnTo>
                      <a:pt x="410" y="469"/>
                    </a:lnTo>
                    <a:lnTo>
                      <a:pt x="410" y="471"/>
                    </a:lnTo>
                    <a:lnTo>
                      <a:pt x="410" y="474"/>
                    </a:lnTo>
                    <a:lnTo>
                      <a:pt x="411" y="476"/>
                    </a:lnTo>
                    <a:lnTo>
                      <a:pt x="412" y="476"/>
                    </a:lnTo>
                    <a:lnTo>
                      <a:pt x="403" y="483"/>
                    </a:lnTo>
                    <a:lnTo>
                      <a:pt x="392" y="488"/>
                    </a:lnTo>
                    <a:lnTo>
                      <a:pt x="379" y="493"/>
                    </a:lnTo>
                    <a:lnTo>
                      <a:pt x="365" y="498"/>
                    </a:lnTo>
                    <a:lnTo>
                      <a:pt x="350" y="504"/>
                    </a:lnTo>
                    <a:lnTo>
                      <a:pt x="336" y="510"/>
                    </a:lnTo>
                    <a:lnTo>
                      <a:pt x="330" y="513"/>
                    </a:lnTo>
                    <a:lnTo>
                      <a:pt x="324" y="516"/>
                    </a:lnTo>
                    <a:lnTo>
                      <a:pt x="317" y="520"/>
                    </a:lnTo>
                    <a:lnTo>
                      <a:pt x="313" y="525"/>
                    </a:lnTo>
                    <a:lnTo>
                      <a:pt x="299" y="541"/>
                    </a:lnTo>
                    <a:lnTo>
                      <a:pt x="285" y="557"/>
                    </a:lnTo>
                    <a:lnTo>
                      <a:pt x="277" y="564"/>
                    </a:lnTo>
                    <a:lnTo>
                      <a:pt x="268" y="569"/>
                    </a:lnTo>
                    <a:lnTo>
                      <a:pt x="263" y="571"/>
                    </a:lnTo>
                    <a:lnTo>
                      <a:pt x="258" y="573"/>
                    </a:lnTo>
                    <a:lnTo>
                      <a:pt x="253" y="574"/>
                    </a:lnTo>
                    <a:lnTo>
                      <a:pt x="246" y="574"/>
                    </a:lnTo>
                    <a:lnTo>
                      <a:pt x="238" y="574"/>
                    </a:lnTo>
                    <a:lnTo>
                      <a:pt x="227" y="574"/>
                    </a:lnTo>
                    <a:lnTo>
                      <a:pt x="212" y="574"/>
                    </a:lnTo>
                    <a:lnTo>
                      <a:pt x="193" y="574"/>
                    </a:lnTo>
                    <a:lnTo>
                      <a:pt x="192" y="569"/>
                    </a:lnTo>
                    <a:lnTo>
                      <a:pt x="189" y="564"/>
                    </a:lnTo>
                    <a:lnTo>
                      <a:pt x="186" y="559"/>
                    </a:lnTo>
                    <a:lnTo>
                      <a:pt x="180" y="554"/>
                    </a:lnTo>
                    <a:lnTo>
                      <a:pt x="173" y="550"/>
                    </a:lnTo>
                    <a:lnTo>
                      <a:pt x="165" y="547"/>
                    </a:lnTo>
                    <a:lnTo>
                      <a:pt x="156" y="545"/>
                    </a:lnTo>
                    <a:lnTo>
                      <a:pt x="146" y="544"/>
                    </a:lnTo>
                    <a:lnTo>
                      <a:pt x="133" y="545"/>
                    </a:lnTo>
                    <a:lnTo>
                      <a:pt x="120" y="548"/>
                    </a:lnTo>
                    <a:lnTo>
                      <a:pt x="108" y="552"/>
                    </a:lnTo>
                    <a:lnTo>
                      <a:pt x="93" y="556"/>
                    </a:lnTo>
                    <a:lnTo>
                      <a:pt x="61" y="556"/>
                    </a:lnTo>
                    <a:lnTo>
                      <a:pt x="48" y="544"/>
                    </a:lnTo>
                    <a:lnTo>
                      <a:pt x="33" y="527"/>
                    </a:lnTo>
                    <a:lnTo>
                      <a:pt x="17" y="510"/>
                    </a:lnTo>
                    <a:lnTo>
                      <a:pt x="0" y="494"/>
                    </a:lnTo>
                    <a:lnTo>
                      <a:pt x="0" y="285"/>
                    </a:lnTo>
                    <a:lnTo>
                      <a:pt x="21" y="286"/>
                    </a:lnTo>
                    <a:lnTo>
                      <a:pt x="54" y="286"/>
                    </a:lnTo>
                    <a:lnTo>
                      <a:pt x="73" y="286"/>
                    </a:lnTo>
                    <a:lnTo>
                      <a:pt x="89" y="285"/>
                    </a:lnTo>
                    <a:lnTo>
                      <a:pt x="97" y="284"/>
                    </a:lnTo>
                    <a:lnTo>
                      <a:pt x="103" y="282"/>
                    </a:lnTo>
                    <a:lnTo>
                      <a:pt x="109" y="281"/>
                    </a:lnTo>
                    <a:lnTo>
                      <a:pt x="113" y="279"/>
                    </a:lnTo>
                    <a:lnTo>
                      <a:pt x="119" y="275"/>
                    </a:lnTo>
                    <a:lnTo>
                      <a:pt x="123" y="269"/>
                    </a:lnTo>
                    <a:lnTo>
                      <a:pt x="126" y="263"/>
                    </a:lnTo>
                    <a:lnTo>
                      <a:pt x="129" y="256"/>
                    </a:lnTo>
                    <a:lnTo>
                      <a:pt x="130" y="247"/>
                    </a:lnTo>
                    <a:lnTo>
                      <a:pt x="131" y="238"/>
                    </a:lnTo>
                    <a:lnTo>
                      <a:pt x="131" y="229"/>
                    </a:lnTo>
                    <a:lnTo>
                      <a:pt x="130" y="220"/>
                    </a:lnTo>
                    <a:lnTo>
                      <a:pt x="129" y="202"/>
                    </a:lnTo>
                    <a:lnTo>
                      <a:pt x="126" y="185"/>
                    </a:lnTo>
                    <a:lnTo>
                      <a:pt x="125" y="171"/>
                    </a:lnTo>
                    <a:lnTo>
                      <a:pt x="126" y="162"/>
                    </a:lnTo>
                    <a:lnTo>
                      <a:pt x="130" y="165"/>
                    </a:lnTo>
                    <a:lnTo>
                      <a:pt x="132" y="168"/>
                    </a:lnTo>
                    <a:lnTo>
                      <a:pt x="136" y="170"/>
                    </a:lnTo>
                    <a:lnTo>
                      <a:pt x="140" y="171"/>
                    </a:lnTo>
                    <a:lnTo>
                      <a:pt x="147" y="174"/>
                    </a:lnTo>
                    <a:lnTo>
                      <a:pt x="156" y="175"/>
                    </a:lnTo>
                    <a:lnTo>
                      <a:pt x="174" y="175"/>
                    </a:lnTo>
                    <a:lnTo>
                      <a:pt x="187" y="174"/>
                    </a:lnTo>
                    <a:lnTo>
                      <a:pt x="187" y="180"/>
                    </a:lnTo>
                    <a:lnTo>
                      <a:pt x="188" y="186"/>
                    </a:lnTo>
                    <a:lnTo>
                      <a:pt x="190" y="191"/>
                    </a:lnTo>
                    <a:lnTo>
                      <a:pt x="192" y="197"/>
                    </a:lnTo>
                    <a:lnTo>
                      <a:pt x="195" y="201"/>
                    </a:lnTo>
                    <a:lnTo>
                      <a:pt x="199" y="204"/>
                    </a:lnTo>
                    <a:lnTo>
                      <a:pt x="202" y="207"/>
                    </a:lnTo>
                    <a:lnTo>
                      <a:pt x="208" y="210"/>
                    </a:lnTo>
                    <a:lnTo>
                      <a:pt x="218" y="213"/>
                    </a:lnTo>
                    <a:lnTo>
                      <a:pt x="229" y="216"/>
                    </a:lnTo>
                    <a:lnTo>
                      <a:pt x="241" y="217"/>
                    </a:lnTo>
                    <a:lnTo>
                      <a:pt x="253" y="217"/>
                    </a:lnTo>
                    <a:lnTo>
                      <a:pt x="260" y="216"/>
                    </a:lnTo>
                    <a:lnTo>
                      <a:pt x="269" y="214"/>
                    </a:lnTo>
                    <a:lnTo>
                      <a:pt x="277" y="211"/>
                    </a:lnTo>
                    <a:lnTo>
                      <a:pt x="286" y="207"/>
                    </a:lnTo>
                    <a:lnTo>
                      <a:pt x="301" y="199"/>
                    </a:lnTo>
                    <a:lnTo>
                      <a:pt x="313" y="192"/>
                    </a:lnTo>
                    <a:lnTo>
                      <a:pt x="315" y="195"/>
                    </a:lnTo>
                    <a:lnTo>
                      <a:pt x="319" y="196"/>
                    </a:lnTo>
                    <a:lnTo>
                      <a:pt x="322" y="196"/>
                    </a:lnTo>
                    <a:lnTo>
                      <a:pt x="325" y="195"/>
                    </a:lnTo>
                    <a:lnTo>
                      <a:pt x="331" y="193"/>
                    </a:lnTo>
                    <a:lnTo>
                      <a:pt x="333" y="192"/>
                    </a:lnTo>
                    <a:lnTo>
                      <a:pt x="338" y="192"/>
                    </a:lnTo>
                    <a:lnTo>
                      <a:pt x="343" y="190"/>
                    </a:lnTo>
                    <a:lnTo>
                      <a:pt x="348" y="188"/>
                    </a:lnTo>
                    <a:lnTo>
                      <a:pt x="353" y="185"/>
                    </a:lnTo>
                    <a:lnTo>
                      <a:pt x="357" y="182"/>
                    </a:lnTo>
                    <a:lnTo>
                      <a:pt x="360" y="178"/>
                    </a:lnTo>
                    <a:lnTo>
                      <a:pt x="364" y="173"/>
                    </a:lnTo>
                    <a:lnTo>
                      <a:pt x="368" y="168"/>
                    </a:lnTo>
                    <a:lnTo>
                      <a:pt x="373" y="156"/>
                    </a:lnTo>
                    <a:lnTo>
                      <a:pt x="379" y="142"/>
                    </a:lnTo>
                    <a:lnTo>
                      <a:pt x="383" y="126"/>
                    </a:lnTo>
                    <a:lnTo>
                      <a:pt x="388" y="111"/>
                    </a:lnTo>
                    <a:lnTo>
                      <a:pt x="395" y="78"/>
                    </a:lnTo>
                    <a:lnTo>
                      <a:pt x="403" y="47"/>
                    </a:lnTo>
                    <a:lnTo>
                      <a:pt x="406" y="33"/>
                    </a:lnTo>
                    <a:lnTo>
                      <a:pt x="410" y="20"/>
                    </a:lnTo>
                    <a:lnTo>
                      <a:pt x="414" y="10"/>
                    </a:lnTo>
                    <a:lnTo>
                      <a:pt x="418" y="1"/>
                    </a:lnTo>
                    <a:lnTo>
                      <a:pt x="425" y="4"/>
                    </a:lnTo>
                    <a:lnTo>
                      <a:pt x="431" y="6"/>
                    </a:lnTo>
                    <a:lnTo>
                      <a:pt x="436" y="8"/>
                    </a:lnTo>
                    <a:lnTo>
                      <a:pt x="442" y="8"/>
                    </a:lnTo>
                    <a:lnTo>
                      <a:pt x="453" y="8"/>
                    </a:lnTo>
                    <a:lnTo>
                      <a:pt x="462" y="6"/>
                    </a:lnTo>
                    <a:lnTo>
                      <a:pt x="472" y="4"/>
                    </a:lnTo>
                    <a:lnTo>
                      <a:pt x="482" y="1"/>
                    </a:lnTo>
                    <a:lnTo>
                      <a:pt x="493" y="0"/>
                    </a:lnTo>
                    <a:lnTo>
                      <a:pt x="505" y="1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56" name="Freeform 478">
                <a:extLst>
                  <a:ext uri="{FF2B5EF4-FFF2-40B4-BE49-F238E27FC236}">
                    <a16:creationId xmlns="" xmlns:a16="http://schemas.microsoft.com/office/drawing/2014/main" id="{1777E19A-7F49-4A0B-A66E-28073687B55B}"/>
                  </a:ext>
                </a:extLst>
              </p:cNvPr>
              <p:cNvSpPr>
                <a:spLocks/>
              </p:cNvSpPr>
              <p:nvPr>
                <p:custDataLst>
                  <p:tags r:id="rId316"/>
                </p:custDataLst>
              </p:nvPr>
            </p:nvSpPr>
            <p:spPr bwMode="auto">
              <a:xfrm>
                <a:off x="4297363" y="4203700"/>
                <a:ext cx="350837" cy="381000"/>
              </a:xfrm>
              <a:custGeom>
                <a:avLst/>
                <a:gdLst>
                  <a:gd name="T0" fmla="*/ 2147483646 w 810"/>
                  <a:gd name="T1" fmla="*/ 2147483646 h 727"/>
                  <a:gd name="T2" fmla="*/ 2147483646 w 810"/>
                  <a:gd name="T3" fmla="*/ 2147483646 h 727"/>
                  <a:gd name="T4" fmla="*/ 2147483646 w 810"/>
                  <a:gd name="T5" fmla="*/ 2147483646 h 727"/>
                  <a:gd name="T6" fmla="*/ 2147483646 w 810"/>
                  <a:gd name="T7" fmla="*/ 2147483646 h 727"/>
                  <a:gd name="T8" fmla="*/ 2147483646 w 810"/>
                  <a:gd name="T9" fmla="*/ 2147483646 h 727"/>
                  <a:gd name="T10" fmla="*/ 2147483646 w 810"/>
                  <a:gd name="T11" fmla="*/ 2147483646 h 727"/>
                  <a:gd name="T12" fmla="*/ 2147483646 w 810"/>
                  <a:gd name="T13" fmla="*/ 2147483646 h 727"/>
                  <a:gd name="T14" fmla="*/ 2147483646 w 810"/>
                  <a:gd name="T15" fmla="*/ 2147483646 h 727"/>
                  <a:gd name="T16" fmla="*/ 2147483646 w 810"/>
                  <a:gd name="T17" fmla="*/ 0 h 727"/>
                  <a:gd name="T18" fmla="*/ 2147483646 w 810"/>
                  <a:gd name="T19" fmla="*/ 2147483646 h 727"/>
                  <a:gd name="T20" fmla="*/ 2147483646 w 810"/>
                  <a:gd name="T21" fmla="*/ 2147483646 h 727"/>
                  <a:gd name="T22" fmla="*/ 0 w 810"/>
                  <a:gd name="T23" fmla="*/ 2147483646 h 727"/>
                  <a:gd name="T24" fmla="*/ 2147483646 w 810"/>
                  <a:gd name="T25" fmla="*/ 2147483646 h 727"/>
                  <a:gd name="T26" fmla="*/ 2147483646 w 810"/>
                  <a:gd name="T27" fmla="*/ 2147483646 h 727"/>
                  <a:gd name="T28" fmla="*/ 2147483646 w 810"/>
                  <a:gd name="T29" fmla="*/ 2147483646 h 727"/>
                  <a:gd name="T30" fmla="*/ 2147483646 w 810"/>
                  <a:gd name="T31" fmla="*/ 2147483646 h 727"/>
                  <a:gd name="T32" fmla="*/ 2147483646 w 810"/>
                  <a:gd name="T33" fmla="*/ 2147483646 h 727"/>
                  <a:gd name="T34" fmla="*/ 2147483646 w 810"/>
                  <a:gd name="T35" fmla="*/ 2147483646 h 727"/>
                  <a:gd name="T36" fmla="*/ 2147483646 w 810"/>
                  <a:gd name="T37" fmla="*/ 2147483646 h 727"/>
                  <a:gd name="T38" fmla="*/ 2147483646 w 810"/>
                  <a:gd name="T39" fmla="*/ 2147483646 h 727"/>
                  <a:gd name="T40" fmla="*/ 2147483646 w 810"/>
                  <a:gd name="T41" fmla="*/ 2147483646 h 727"/>
                  <a:gd name="T42" fmla="*/ 2147483646 w 810"/>
                  <a:gd name="T43" fmla="*/ 2147483646 h 727"/>
                  <a:gd name="T44" fmla="*/ 2147483646 w 810"/>
                  <a:gd name="T45" fmla="*/ 2147483646 h 727"/>
                  <a:gd name="T46" fmla="*/ 2147483646 w 810"/>
                  <a:gd name="T47" fmla="*/ 2147483646 h 727"/>
                  <a:gd name="T48" fmla="*/ 2147483646 w 810"/>
                  <a:gd name="T49" fmla="*/ 2147483646 h 727"/>
                  <a:gd name="T50" fmla="*/ 2147483646 w 810"/>
                  <a:gd name="T51" fmla="*/ 2147483646 h 727"/>
                  <a:gd name="T52" fmla="*/ 2147483646 w 810"/>
                  <a:gd name="T53" fmla="*/ 2147483646 h 727"/>
                  <a:gd name="T54" fmla="*/ 2147483646 w 810"/>
                  <a:gd name="T55" fmla="*/ 2147483646 h 727"/>
                  <a:gd name="T56" fmla="*/ 2147483646 w 810"/>
                  <a:gd name="T57" fmla="*/ 2147483646 h 727"/>
                  <a:gd name="T58" fmla="*/ 2147483646 w 810"/>
                  <a:gd name="T59" fmla="*/ 2147483646 h 727"/>
                  <a:gd name="T60" fmla="*/ 2147483646 w 810"/>
                  <a:gd name="T61" fmla="*/ 2147483646 h 727"/>
                  <a:gd name="T62" fmla="*/ 2147483646 w 810"/>
                  <a:gd name="T63" fmla="*/ 2147483646 h 727"/>
                  <a:gd name="T64" fmla="*/ 2147483646 w 810"/>
                  <a:gd name="T65" fmla="*/ 2147483646 h 727"/>
                  <a:gd name="T66" fmla="*/ 2147483646 w 810"/>
                  <a:gd name="T67" fmla="*/ 2147483646 h 727"/>
                  <a:gd name="T68" fmla="*/ 2147483646 w 810"/>
                  <a:gd name="T69" fmla="*/ 2147483646 h 727"/>
                  <a:gd name="T70" fmla="*/ 2147483646 w 810"/>
                  <a:gd name="T71" fmla="*/ 2147483646 h 727"/>
                  <a:gd name="T72" fmla="*/ 2147483646 w 810"/>
                  <a:gd name="T73" fmla="*/ 2147483646 h 727"/>
                  <a:gd name="T74" fmla="*/ 2147483646 w 810"/>
                  <a:gd name="T75" fmla="*/ 2147483646 h 727"/>
                  <a:gd name="T76" fmla="*/ 2147483646 w 810"/>
                  <a:gd name="T77" fmla="*/ 2147483646 h 727"/>
                  <a:gd name="T78" fmla="*/ 2147483646 w 810"/>
                  <a:gd name="T79" fmla="*/ 2147483646 h 727"/>
                  <a:gd name="T80" fmla="*/ 2147483646 w 810"/>
                  <a:gd name="T81" fmla="*/ 2147483646 h 727"/>
                  <a:gd name="T82" fmla="*/ 2147483646 w 810"/>
                  <a:gd name="T83" fmla="*/ 2147483646 h 727"/>
                  <a:gd name="T84" fmla="*/ 2147483646 w 810"/>
                  <a:gd name="T85" fmla="*/ 2147483646 h 727"/>
                  <a:gd name="T86" fmla="*/ 2147483646 w 810"/>
                  <a:gd name="T87" fmla="*/ 2147483646 h 727"/>
                  <a:gd name="T88" fmla="*/ 2147483646 w 810"/>
                  <a:gd name="T89" fmla="*/ 2147483646 h 727"/>
                  <a:gd name="T90" fmla="*/ 2147483646 w 810"/>
                  <a:gd name="T91" fmla="*/ 2147483646 h 727"/>
                  <a:gd name="T92" fmla="*/ 2147483646 w 810"/>
                  <a:gd name="T93" fmla="*/ 2147483646 h 727"/>
                  <a:gd name="T94" fmla="*/ 2147483646 w 810"/>
                  <a:gd name="T95" fmla="*/ 2147483646 h 727"/>
                  <a:gd name="T96" fmla="*/ 2147483646 w 810"/>
                  <a:gd name="T97" fmla="*/ 2147483646 h 727"/>
                  <a:gd name="T98" fmla="*/ 2147483646 w 810"/>
                  <a:gd name="T99" fmla="*/ 2147483646 h 727"/>
                  <a:gd name="T100" fmla="*/ 2147483646 w 810"/>
                  <a:gd name="T101" fmla="*/ 2147483646 h 727"/>
                  <a:gd name="T102" fmla="*/ 2147483646 w 810"/>
                  <a:gd name="T103" fmla="*/ 2147483646 h 72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810"/>
                  <a:gd name="T157" fmla="*/ 0 h 727"/>
                  <a:gd name="T158" fmla="*/ 810 w 810"/>
                  <a:gd name="T159" fmla="*/ 727 h 727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810" h="727">
                    <a:moveTo>
                      <a:pt x="810" y="61"/>
                    </a:moveTo>
                    <a:lnTo>
                      <a:pt x="807" y="54"/>
                    </a:lnTo>
                    <a:lnTo>
                      <a:pt x="802" y="48"/>
                    </a:lnTo>
                    <a:lnTo>
                      <a:pt x="797" y="42"/>
                    </a:lnTo>
                    <a:lnTo>
                      <a:pt x="790" y="36"/>
                    </a:lnTo>
                    <a:lnTo>
                      <a:pt x="784" y="32"/>
                    </a:lnTo>
                    <a:lnTo>
                      <a:pt x="775" y="28"/>
                    </a:lnTo>
                    <a:lnTo>
                      <a:pt x="766" y="26"/>
                    </a:lnTo>
                    <a:lnTo>
                      <a:pt x="756" y="25"/>
                    </a:lnTo>
                    <a:lnTo>
                      <a:pt x="743" y="26"/>
                    </a:lnTo>
                    <a:lnTo>
                      <a:pt x="730" y="29"/>
                    </a:lnTo>
                    <a:lnTo>
                      <a:pt x="718" y="33"/>
                    </a:lnTo>
                    <a:lnTo>
                      <a:pt x="703" y="37"/>
                    </a:lnTo>
                    <a:lnTo>
                      <a:pt x="671" y="37"/>
                    </a:lnTo>
                    <a:lnTo>
                      <a:pt x="651" y="41"/>
                    </a:lnTo>
                    <a:lnTo>
                      <a:pt x="634" y="44"/>
                    </a:lnTo>
                    <a:lnTo>
                      <a:pt x="627" y="46"/>
                    </a:lnTo>
                    <a:lnTo>
                      <a:pt x="619" y="48"/>
                    </a:lnTo>
                    <a:lnTo>
                      <a:pt x="611" y="51"/>
                    </a:lnTo>
                    <a:lnTo>
                      <a:pt x="604" y="55"/>
                    </a:lnTo>
                    <a:lnTo>
                      <a:pt x="411" y="55"/>
                    </a:lnTo>
                    <a:lnTo>
                      <a:pt x="411" y="37"/>
                    </a:lnTo>
                    <a:lnTo>
                      <a:pt x="292" y="37"/>
                    </a:lnTo>
                    <a:lnTo>
                      <a:pt x="280" y="40"/>
                    </a:lnTo>
                    <a:lnTo>
                      <a:pt x="269" y="41"/>
                    </a:lnTo>
                    <a:lnTo>
                      <a:pt x="257" y="40"/>
                    </a:lnTo>
                    <a:lnTo>
                      <a:pt x="245" y="39"/>
                    </a:lnTo>
                    <a:lnTo>
                      <a:pt x="232" y="37"/>
                    </a:lnTo>
                    <a:lnTo>
                      <a:pt x="220" y="34"/>
                    </a:lnTo>
                    <a:lnTo>
                      <a:pt x="208" y="30"/>
                    </a:lnTo>
                    <a:lnTo>
                      <a:pt x="196" y="26"/>
                    </a:lnTo>
                    <a:lnTo>
                      <a:pt x="172" y="17"/>
                    </a:lnTo>
                    <a:lnTo>
                      <a:pt x="149" y="8"/>
                    </a:lnTo>
                    <a:lnTo>
                      <a:pt x="137" y="5"/>
                    </a:lnTo>
                    <a:lnTo>
                      <a:pt x="126" y="2"/>
                    </a:lnTo>
                    <a:lnTo>
                      <a:pt x="116" y="0"/>
                    </a:lnTo>
                    <a:lnTo>
                      <a:pt x="105" y="0"/>
                    </a:lnTo>
                    <a:lnTo>
                      <a:pt x="97" y="0"/>
                    </a:lnTo>
                    <a:lnTo>
                      <a:pt x="91" y="2"/>
                    </a:lnTo>
                    <a:lnTo>
                      <a:pt x="83" y="5"/>
                    </a:lnTo>
                    <a:lnTo>
                      <a:pt x="75" y="8"/>
                    </a:lnTo>
                    <a:lnTo>
                      <a:pt x="68" y="13"/>
                    </a:lnTo>
                    <a:lnTo>
                      <a:pt x="60" y="19"/>
                    </a:lnTo>
                    <a:lnTo>
                      <a:pt x="53" y="24"/>
                    </a:lnTo>
                    <a:lnTo>
                      <a:pt x="46" y="31"/>
                    </a:lnTo>
                    <a:lnTo>
                      <a:pt x="6" y="31"/>
                    </a:lnTo>
                    <a:lnTo>
                      <a:pt x="3" y="45"/>
                    </a:lnTo>
                    <a:lnTo>
                      <a:pt x="0" y="55"/>
                    </a:lnTo>
                    <a:lnTo>
                      <a:pt x="0" y="58"/>
                    </a:lnTo>
                    <a:lnTo>
                      <a:pt x="2" y="61"/>
                    </a:lnTo>
                    <a:lnTo>
                      <a:pt x="4" y="64"/>
                    </a:lnTo>
                    <a:lnTo>
                      <a:pt x="7" y="68"/>
                    </a:lnTo>
                    <a:lnTo>
                      <a:pt x="12" y="70"/>
                    </a:lnTo>
                    <a:lnTo>
                      <a:pt x="16" y="72"/>
                    </a:lnTo>
                    <a:lnTo>
                      <a:pt x="21" y="74"/>
                    </a:lnTo>
                    <a:lnTo>
                      <a:pt x="26" y="74"/>
                    </a:lnTo>
                    <a:lnTo>
                      <a:pt x="26" y="86"/>
                    </a:lnTo>
                    <a:lnTo>
                      <a:pt x="28" y="99"/>
                    </a:lnTo>
                    <a:lnTo>
                      <a:pt x="32" y="113"/>
                    </a:lnTo>
                    <a:lnTo>
                      <a:pt x="36" y="129"/>
                    </a:lnTo>
                    <a:lnTo>
                      <a:pt x="40" y="144"/>
                    </a:lnTo>
                    <a:lnTo>
                      <a:pt x="47" y="160"/>
                    </a:lnTo>
                    <a:lnTo>
                      <a:pt x="53" y="175"/>
                    </a:lnTo>
                    <a:lnTo>
                      <a:pt x="60" y="192"/>
                    </a:lnTo>
                    <a:lnTo>
                      <a:pt x="77" y="223"/>
                    </a:lnTo>
                    <a:lnTo>
                      <a:pt x="93" y="252"/>
                    </a:lnTo>
                    <a:lnTo>
                      <a:pt x="102" y="265"/>
                    </a:lnTo>
                    <a:lnTo>
                      <a:pt x="109" y="276"/>
                    </a:lnTo>
                    <a:lnTo>
                      <a:pt x="117" y="286"/>
                    </a:lnTo>
                    <a:lnTo>
                      <a:pt x="125" y="296"/>
                    </a:lnTo>
                    <a:lnTo>
                      <a:pt x="128" y="298"/>
                    </a:lnTo>
                    <a:lnTo>
                      <a:pt x="133" y="300"/>
                    </a:lnTo>
                    <a:lnTo>
                      <a:pt x="137" y="301"/>
                    </a:lnTo>
                    <a:lnTo>
                      <a:pt x="142" y="301"/>
                    </a:lnTo>
                    <a:lnTo>
                      <a:pt x="151" y="302"/>
                    </a:lnTo>
                    <a:lnTo>
                      <a:pt x="159" y="302"/>
                    </a:lnTo>
                    <a:lnTo>
                      <a:pt x="159" y="309"/>
                    </a:lnTo>
                    <a:lnTo>
                      <a:pt x="159" y="317"/>
                    </a:lnTo>
                    <a:lnTo>
                      <a:pt x="159" y="326"/>
                    </a:lnTo>
                    <a:lnTo>
                      <a:pt x="159" y="332"/>
                    </a:lnTo>
                    <a:lnTo>
                      <a:pt x="158" y="339"/>
                    </a:lnTo>
                    <a:lnTo>
                      <a:pt x="157" y="346"/>
                    </a:lnTo>
                    <a:lnTo>
                      <a:pt x="154" y="353"/>
                    </a:lnTo>
                    <a:lnTo>
                      <a:pt x="152" y="359"/>
                    </a:lnTo>
                    <a:lnTo>
                      <a:pt x="149" y="366"/>
                    </a:lnTo>
                    <a:lnTo>
                      <a:pt x="147" y="374"/>
                    </a:lnTo>
                    <a:lnTo>
                      <a:pt x="146" y="383"/>
                    </a:lnTo>
                    <a:lnTo>
                      <a:pt x="146" y="394"/>
                    </a:lnTo>
                    <a:lnTo>
                      <a:pt x="146" y="403"/>
                    </a:lnTo>
                    <a:lnTo>
                      <a:pt x="147" y="410"/>
                    </a:lnTo>
                    <a:lnTo>
                      <a:pt x="148" y="418"/>
                    </a:lnTo>
                    <a:lnTo>
                      <a:pt x="150" y="425"/>
                    </a:lnTo>
                    <a:lnTo>
                      <a:pt x="156" y="439"/>
                    </a:lnTo>
                    <a:lnTo>
                      <a:pt x="162" y="453"/>
                    </a:lnTo>
                    <a:lnTo>
                      <a:pt x="168" y="469"/>
                    </a:lnTo>
                    <a:lnTo>
                      <a:pt x="173" y="484"/>
                    </a:lnTo>
                    <a:lnTo>
                      <a:pt x="175" y="491"/>
                    </a:lnTo>
                    <a:lnTo>
                      <a:pt x="178" y="500"/>
                    </a:lnTo>
                    <a:lnTo>
                      <a:pt x="179" y="508"/>
                    </a:lnTo>
                    <a:lnTo>
                      <a:pt x="179" y="518"/>
                    </a:lnTo>
                    <a:lnTo>
                      <a:pt x="179" y="542"/>
                    </a:lnTo>
                    <a:lnTo>
                      <a:pt x="180" y="564"/>
                    </a:lnTo>
                    <a:lnTo>
                      <a:pt x="183" y="586"/>
                    </a:lnTo>
                    <a:lnTo>
                      <a:pt x="187" y="606"/>
                    </a:lnTo>
                    <a:lnTo>
                      <a:pt x="191" y="616"/>
                    </a:lnTo>
                    <a:lnTo>
                      <a:pt x="194" y="627"/>
                    </a:lnTo>
                    <a:lnTo>
                      <a:pt x="198" y="637"/>
                    </a:lnTo>
                    <a:lnTo>
                      <a:pt x="204" y="647"/>
                    </a:lnTo>
                    <a:lnTo>
                      <a:pt x="209" y="657"/>
                    </a:lnTo>
                    <a:lnTo>
                      <a:pt x="216" y="667"/>
                    </a:lnTo>
                    <a:lnTo>
                      <a:pt x="224" y="679"/>
                    </a:lnTo>
                    <a:lnTo>
                      <a:pt x="231" y="690"/>
                    </a:lnTo>
                    <a:lnTo>
                      <a:pt x="235" y="696"/>
                    </a:lnTo>
                    <a:lnTo>
                      <a:pt x="238" y="698"/>
                    </a:lnTo>
                    <a:lnTo>
                      <a:pt x="241" y="700"/>
                    </a:lnTo>
                    <a:lnTo>
                      <a:pt x="245" y="700"/>
                    </a:lnTo>
                    <a:lnTo>
                      <a:pt x="249" y="701"/>
                    </a:lnTo>
                    <a:lnTo>
                      <a:pt x="252" y="703"/>
                    </a:lnTo>
                    <a:lnTo>
                      <a:pt x="256" y="707"/>
                    </a:lnTo>
                    <a:lnTo>
                      <a:pt x="259" y="715"/>
                    </a:lnTo>
                    <a:lnTo>
                      <a:pt x="259" y="708"/>
                    </a:lnTo>
                    <a:lnTo>
                      <a:pt x="262" y="699"/>
                    </a:lnTo>
                    <a:lnTo>
                      <a:pt x="264" y="688"/>
                    </a:lnTo>
                    <a:lnTo>
                      <a:pt x="265" y="678"/>
                    </a:lnTo>
                    <a:lnTo>
                      <a:pt x="298" y="678"/>
                    </a:lnTo>
                    <a:lnTo>
                      <a:pt x="301" y="685"/>
                    </a:lnTo>
                    <a:lnTo>
                      <a:pt x="304" y="691"/>
                    </a:lnTo>
                    <a:lnTo>
                      <a:pt x="308" y="696"/>
                    </a:lnTo>
                    <a:lnTo>
                      <a:pt x="313" y="701"/>
                    </a:lnTo>
                    <a:lnTo>
                      <a:pt x="317" y="706"/>
                    </a:lnTo>
                    <a:lnTo>
                      <a:pt x="322" y="710"/>
                    </a:lnTo>
                    <a:lnTo>
                      <a:pt x="328" y="713"/>
                    </a:lnTo>
                    <a:lnTo>
                      <a:pt x="333" y="716"/>
                    </a:lnTo>
                    <a:lnTo>
                      <a:pt x="346" y="721"/>
                    </a:lnTo>
                    <a:lnTo>
                      <a:pt x="359" y="724"/>
                    </a:lnTo>
                    <a:lnTo>
                      <a:pt x="372" y="726"/>
                    </a:lnTo>
                    <a:lnTo>
                      <a:pt x="384" y="727"/>
                    </a:lnTo>
                    <a:lnTo>
                      <a:pt x="393" y="726"/>
                    </a:lnTo>
                    <a:lnTo>
                      <a:pt x="400" y="725"/>
                    </a:lnTo>
                    <a:lnTo>
                      <a:pt x="407" y="723"/>
                    </a:lnTo>
                    <a:lnTo>
                      <a:pt x="414" y="721"/>
                    </a:lnTo>
                    <a:lnTo>
                      <a:pt x="419" y="718"/>
                    </a:lnTo>
                    <a:lnTo>
                      <a:pt x="425" y="714"/>
                    </a:lnTo>
                    <a:lnTo>
                      <a:pt x="429" y="710"/>
                    </a:lnTo>
                    <a:lnTo>
                      <a:pt x="433" y="706"/>
                    </a:lnTo>
                    <a:lnTo>
                      <a:pt x="441" y="696"/>
                    </a:lnTo>
                    <a:lnTo>
                      <a:pt x="447" y="686"/>
                    </a:lnTo>
                    <a:lnTo>
                      <a:pt x="452" y="675"/>
                    </a:lnTo>
                    <a:lnTo>
                      <a:pt x="458" y="665"/>
                    </a:lnTo>
                    <a:lnTo>
                      <a:pt x="458" y="554"/>
                    </a:lnTo>
                    <a:lnTo>
                      <a:pt x="462" y="542"/>
                    </a:lnTo>
                    <a:lnTo>
                      <a:pt x="463" y="529"/>
                    </a:lnTo>
                    <a:lnTo>
                      <a:pt x="464" y="516"/>
                    </a:lnTo>
                    <a:lnTo>
                      <a:pt x="464" y="502"/>
                    </a:lnTo>
                    <a:lnTo>
                      <a:pt x="464" y="490"/>
                    </a:lnTo>
                    <a:lnTo>
                      <a:pt x="465" y="480"/>
                    </a:lnTo>
                    <a:lnTo>
                      <a:pt x="466" y="476"/>
                    </a:lnTo>
                    <a:lnTo>
                      <a:pt x="467" y="473"/>
                    </a:lnTo>
                    <a:lnTo>
                      <a:pt x="469" y="470"/>
                    </a:lnTo>
                    <a:lnTo>
                      <a:pt x="471" y="469"/>
                    </a:lnTo>
                    <a:lnTo>
                      <a:pt x="466" y="456"/>
                    </a:lnTo>
                    <a:lnTo>
                      <a:pt x="464" y="444"/>
                    </a:lnTo>
                    <a:lnTo>
                      <a:pt x="463" y="435"/>
                    </a:lnTo>
                    <a:lnTo>
                      <a:pt x="463" y="426"/>
                    </a:lnTo>
                    <a:lnTo>
                      <a:pt x="463" y="409"/>
                    </a:lnTo>
                    <a:lnTo>
                      <a:pt x="464" y="388"/>
                    </a:lnTo>
                    <a:lnTo>
                      <a:pt x="465" y="378"/>
                    </a:lnTo>
                    <a:lnTo>
                      <a:pt x="469" y="368"/>
                    </a:lnTo>
                    <a:lnTo>
                      <a:pt x="474" y="358"/>
                    </a:lnTo>
                    <a:lnTo>
                      <a:pt x="482" y="348"/>
                    </a:lnTo>
                    <a:lnTo>
                      <a:pt x="490" y="338"/>
                    </a:lnTo>
                    <a:lnTo>
                      <a:pt x="500" y="330"/>
                    </a:lnTo>
                    <a:lnTo>
                      <a:pt x="506" y="327"/>
                    </a:lnTo>
                    <a:lnTo>
                      <a:pt x="511" y="324"/>
                    </a:lnTo>
                    <a:lnTo>
                      <a:pt x="518" y="322"/>
                    </a:lnTo>
                    <a:lnTo>
                      <a:pt x="525" y="320"/>
                    </a:lnTo>
                    <a:lnTo>
                      <a:pt x="526" y="298"/>
                    </a:lnTo>
                    <a:lnTo>
                      <a:pt x="528" y="275"/>
                    </a:lnTo>
                    <a:lnTo>
                      <a:pt x="532" y="254"/>
                    </a:lnTo>
                    <a:lnTo>
                      <a:pt x="538" y="232"/>
                    </a:lnTo>
                    <a:lnTo>
                      <a:pt x="542" y="211"/>
                    </a:lnTo>
                    <a:lnTo>
                      <a:pt x="546" y="190"/>
                    </a:lnTo>
                    <a:lnTo>
                      <a:pt x="550" y="168"/>
                    </a:lnTo>
                    <a:lnTo>
                      <a:pt x="551" y="148"/>
                    </a:lnTo>
                    <a:lnTo>
                      <a:pt x="550" y="141"/>
                    </a:lnTo>
                    <a:lnTo>
                      <a:pt x="548" y="135"/>
                    </a:lnTo>
                    <a:lnTo>
                      <a:pt x="544" y="129"/>
                    </a:lnTo>
                    <a:lnTo>
                      <a:pt x="541" y="124"/>
                    </a:lnTo>
                    <a:lnTo>
                      <a:pt x="537" y="117"/>
                    </a:lnTo>
                    <a:lnTo>
                      <a:pt x="533" y="111"/>
                    </a:lnTo>
                    <a:lnTo>
                      <a:pt x="531" y="105"/>
                    </a:lnTo>
                    <a:lnTo>
                      <a:pt x="531" y="99"/>
                    </a:lnTo>
                    <a:lnTo>
                      <a:pt x="531" y="94"/>
                    </a:lnTo>
                    <a:lnTo>
                      <a:pt x="532" y="91"/>
                    </a:lnTo>
                    <a:lnTo>
                      <a:pt x="535" y="88"/>
                    </a:lnTo>
                    <a:lnTo>
                      <a:pt x="539" y="86"/>
                    </a:lnTo>
                    <a:lnTo>
                      <a:pt x="548" y="84"/>
                    </a:lnTo>
                    <a:lnTo>
                      <a:pt x="559" y="83"/>
                    </a:lnTo>
                    <a:lnTo>
                      <a:pt x="587" y="82"/>
                    </a:lnTo>
                    <a:lnTo>
                      <a:pt x="617" y="80"/>
                    </a:lnTo>
                    <a:lnTo>
                      <a:pt x="640" y="74"/>
                    </a:lnTo>
                    <a:lnTo>
                      <a:pt x="662" y="70"/>
                    </a:lnTo>
                    <a:lnTo>
                      <a:pt x="685" y="67"/>
                    </a:lnTo>
                    <a:lnTo>
                      <a:pt x="708" y="63"/>
                    </a:lnTo>
                    <a:lnTo>
                      <a:pt x="731" y="62"/>
                    </a:lnTo>
                    <a:lnTo>
                      <a:pt x="754" y="61"/>
                    </a:lnTo>
                    <a:lnTo>
                      <a:pt x="778" y="61"/>
                    </a:lnTo>
                    <a:lnTo>
                      <a:pt x="803" y="61"/>
                    </a:lnTo>
                    <a:lnTo>
                      <a:pt x="810" y="61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57" name="Freeform 479">
                <a:extLst>
                  <a:ext uri="{FF2B5EF4-FFF2-40B4-BE49-F238E27FC236}">
                    <a16:creationId xmlns="" xmlns:a16="http://schemas.microsoft.com/office/drawing/2014/main" id="{54ACB8DF-9F06-43E3-9A43-CA753E72FD9A}"/>
                  </a:ext>
                </a:extLst>
              </p:cNvPr>
              <p:cNvSpPr>
                <a:spLocks/>
              </p:cNvSpPr>
              <p:nvPr>
                <p:custDataLst>
                  <p:tags r:id="rId317"/>
                </p:custDataLst>
              </p:nvPr>
            </p:nvSpPr>
            <p:spPr bwMode="auto">
              <a:xfrm>
                <a:off x="3576638" y="3133725"/>
                <a:ext cx="161925" cy="141288"/>
              </a:xfrm>
              <a:custGeom>
                <a:avLst/>
                <a:gdLst>
                  <a:gd name="T0" fmla="*/ 2147483646 w 365"/>
                  <a:gd name="T1" fmla="*/ 2147483646 h 271"/>
                  <a:gd name="T2" fmla="*/ 2147483646 w 365"/>
                  <a:gd name="T3" fmla="*/ 2147483646 h 271"/>
                  <a:gd name="T4" fmla="*/ 2147483646 w 365"/>
                  <a:gd name="T5" fmla="*/ 2147483646 h 271"/>
                  <a:gd name="T6" fmla="*/ 2147483646 w 365"/>
                  <a:gd name="T7" fmla="*/ 2147483646 h 271"/>
                  <a:gd name="T8" fmla="*/ 2147483646 w 365"/>
                  <a:gd name="T9" fmla="*/ 2147483646 h 271"/>
                  <a:gd name="T10" fmla="*/ 2147483646 w 365"/>
                  <a:gd name="T11" fmla="*/ 2147483646 h 271"/>
                  <a:gd name="T12" fmla="*/ 2147483646 w 365"/>
                  <a:gd name="T13" fmla="*/ 2147483646 h 271"/>
                  <a:gd name="T14" fmla="*/ 2147483646 w 365"/>
                  <a:gd name="T15" fmla="*/ 2147483646 h 271"/>
                  <a:gd name="T16" fmla="*/ 2147483646 w 365"/>
                  <a:gd name="T17" fmla="*/ 2147483646 h 271"/>
                  <a:gd name="T18" fmla="*/ 2147483646 w 365"/>
                  <a:gd name="T19" fmla="*/ 2147483646 h 271"/>
                  <a:gd name="T20" fmla="*/ 2147483646 w 365"/>
                  <a:gd name="T21" fmla="*/ 2147483646 h 271"/>
                  <a:gd name="T22" fmla="*/ 2147483646 w 365"/>
                  <a:gd name="T23" fmla="*/ 2147483646 h 271"/>
                  <a:gd name="T24" fmla="*/ 2147483646 w 365"/>
                  <a:gd name="T25" fmla="*/ 2147483646 h 271"/>
                  <a:gd name="T26" fmla="*/ 2147483646 w 365"/>
                  <a:gd name="T27" fmla="*/ 2147483646 h 271"/>
                  <a:gd name="T28" fmla="*/ 2147483646 w 365"/>
                  <a:gd name="T29" fmla="*/ 2147483646 h 271"/>
                  <a:gd name="T30" fmla="*/ 2147483646 w 365"/>
                  <a:gd name="T31" fmla="*/ 2147483646 h 271"/>
                  <a:gd name="T32" fmla="*/ 2147483646 w 365"/>
                  <a:gd name="T33" fmla="*/ 2147483646 h 271"/>
                  <a:gd name="T34" fmla="*/ 2147483646 w 365"/>
                  <a:gd name="T35" fmla="*/ 2147483646 h 271"/>
                  <a:gd name="T36" fmla="*/ 2147483646 w 365"/>
                  <a:gd name="T37" fmla="*/ 2147483646 h 271"/>
                  <a:gd name="T38" fmla="*/ 2147483646 w 365"/>
                  <a:gd name="T39" fmla="*/ 2147483646 h 271"/>
                  <a:gd name="T40" fmla="*/ 2147483646 w 365"/>
                  <a:gd name="T41" fmla="*/ 2147483646 h 271"/>
                  <a:gd name="T42" fmla="*/ 2147483646 w 365"/>
                  <a:gd name="T43" fmla="*/ 2147483646 h 271"/>
                  <a:gd name="T44" fmla="*/ 2147483646 w 365"/>
                  <a:gd name="T45" fmla="*/ 2147483646 h 271"/>
                  <a:gd name="T46" fmla="*/ 2147483646 w 365"/>
                  <a:gd name="T47" fmla="*/ 2147483646 h 271"/>
                  <a:gd name="T48" fmla="*/ 2147483646 w 365"/>
                  <a:gd name="T49" fmla="*/ 2147483646 h 271"/>
                  <a:gd name="T50" fmla="*/ 2147483646 w 365"/>
                  <a:gd name="T51" fmla="*/ 2147483646 h 271"/>
                  <a:gd name="T52" fmla="*/ 2147483646 w 365"/>
                  <a:gd name="T53" fmla="*/ 2147483646 h 271"/>
                  <a:gd name="T54" fmla="*/ 2147483646 w 365"/>
                  <a:gd name="T55" fmla="*/ 2147483646 h 271"/>
                  <a:gd name="T56" fmla="*/ 2147483646 w 365"/>
                  <a:gd name="T57" fmla="*/ 2147483646 h 271"/>
                  <a:gd name="T58" fmla="*/ 2147483646 w 365"/>
                  <a:gd name="T59" fmla="*/ 2147483646 h 271"/>
                  <a:gd name="T60" fmla="*/ 2147483646 w 365"/>
                  <a:gd name="T61" fmla="*/ 2147483646 h 271"/>
                  <a:gd name="T62" fmla="*/ 2147483646 w 365"/>
                  <a:gd name="T63" fmla="*/ 2147483646 h 271"/>
                  <a:gd name="T64" fmla="*/ 0 w 365"/>
                  <a:gd name="T65" fmla="*/ 2147483646 h 271"/>
                  <a:gd name="T66" fmla="*/ 2147483646 w 365"/>
                  <a:gd name="T67" fmla="*/ 2147483646 h 271"/>
                  <a:gd name="T68" fmla="*/ 2147483646 w 365"/>
                  <a:gd name="T69" fmla="*/ 2147483646 h 271"/>
                  <a:gd name="T70" fmla="*/ 2147483646 w 365"/>
                  <a:gd name="T71" fmla="*/ 2147483646 h 271"/>
                  <a:gd name="T72" fmla="*/ 2147483646 w 365"/>
                  <a:gd name="T73" fmla="*/ 2147483646 h 271"/>
                  <a:gd name="T74" fmla="*/ 2147483646 w 365"/>
                  <a:gd name="T75" fmla="*/ 2147483646 h 271"/>
                  <a:gd name="T76" fmla="*/ 2147483646 w 365"/>
                  <a:gd name="T77" fmla="*/ 2147483646 h 271"/>
                  <a:gd name="T78" fmla="*/ 2147483646 w 365"/>
                  <a:gd name="T79" fmla="*/ 2147483646 h 271"/>
                  <a:gd name="T80" fmla="*/ 2147483646 w 365"/>
                  <a:gd name="T81" fmla="*/ 2147483646 h 271"/>
                  <a:gd name="T82" fmla="*/ 2147483646 w 365"/>
                  <a:gd name="T83" fmla="*/ 2147483646 h 271"/>
                  <a:gd name="T84" fmla="*/ 2147483646 w 365"/>
                  <a:gd name="T85" fmla="*/ 0 h 271"/>
                  <a:gd name="T86" fmla="*/ 2147483646 w 365"/>
                  <a:gd name="T87" fmla="*/ 2147483646 h 271"/>
                  <a:gd name="T88" fmla="*/ 2147483646 w 365"/>
                  <a:gd name="T89" fmla="*/ 2147483646 h 271"/>
                  <a:gd name="T90" fmla="*/ 2147483646 w 365"/>
                  <a:gd name="T91" fmla="*/ 2147483646 h 271"/>
                  <a:gd name="T92" fmla="*/ 2147483646 w 365"/>
                  <a:gd name="T93" fmla="*/ 2147483646 h 271"/>
                  <a:gd name="T94" fmla="*/ 2147483646 w 365"/>
                  <a:gd name="T95" fmla="*/ 2147483646 h 271"/>
                  <a:gd name="T96" fmla="*/ 2147483646 w 365"/>
                  <a:gd name="T97" fmla="*/ 2147483646 h 271"/>
                  <a:gd name="T98" fmla="*/ 2147483646 w 365"/>
                  <a:gd name="T99" fmla="*/ 2147483646 h 271"/>
                  <a:gd name="T100" fmla="*/ 2147483646 w 365"/>
                  <a:gd name="T101" fmla="*/ 2147483646 h 271"/>
                  <a:gd name="T102" fmla="*/ 2147483646 w 365"/>
                  <a:gd name="T103" fmla="*/ 2147483646 h 271"/>
                  <a:gd name="T104" fmla="*/ 2147483646 w 365"/>
                  <a:gd name="T105" fmla="*/ 2147483646 h 271"/>
                  <a:gd name="T106" fmla="*/ 2147483646 w 365"/>
                  <a:gd name="T107" fmla="*/ 2147483646 h 271"/>
                  <a:gd name="T108" fmla="*/ 2147483646 w 365"/>
                  <a:gd name="T109" fmla="*/ 2147483646 h 271"/>
                  <a:gd name="T110" fmla="*/ 2147483646 w 365"/>
                  <a:gd name="T111" fmla="*/ 2147483646 h 271"/>
                  <a:gd name="T112" fmla="*/ 2147483646 w 365"/>
                  <a:gd name="T113" fmla="*/ 2147483646 h 271"/>
                  <a:gd name="T114" fmla="*/ 2147483646 w 365"/>
                  <a:gd name="T115" fmla="*/ 2147483646 h 271"/>
                  <a:gd name="T116" fmla="*/ 2147483646 w 365"/>
                  <a:gd name="T117" fmla="*/ 2147483646 h 27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365"/>
                  <a:gd name="T178" fmla="*/ 0 h 271"/>
                  <a:gd name="T179" fmla="*/ 365 w 365"/>
                  <a:gd name="T180" fmla="*/ 271 h 271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365" h="271">
                    <a:moveTo>
                      <a:pt x="219" y="252"/>
                    </a:moveTo>
                    <a:lnTo>
                      <a:pt x="203" y="250"/>
                    </a:lnTo>
                    <a:lnTo>
                      <a:pt x="184" y="248"/>
                    </a:lnTo>
                    <a:lnTo>
                      <a:pt x="163" y="246"/>
                    </a:lnTo>
                    <a:lnTo>
                      <a:pt x="142" y="246"/>
                    </a:lnTo>
                    <a:lnTo>
                      <a:pt x="121" y="247"/>
                    </a:lnTo>
                    <a:lnTo>
                      <a:pt x="101" y="249"/>
                    </a:lnTo>
                    <a:lnTo>
                      <a:pt x="92" y="250"/>
                    </a:lnTo>
                    <a:lnTo>
                      <a:pt x="82" y="252"/>
                    </a:lnTo>
                    <a:lnTo>
                      <a:pt x="74" y="255"/>
                    </a:lnTo>
                    <a:lnTo>
                      <a:pt x="65" y="258"/>
                    </a:lnTo>
                    <a:lnTo>
                      <a:pt x="26" y="271"/>
                    </a:lnTo>
                    <a:lnTo>
                      <a:pt x="23" y="271"/>
                    </a:lnTo>
                    <a:lnTo>
                      <a:pt x="20" y="270"/>
                    </a:lnTo>
                    <a:lnTo>
                      <a:pt x="18" y="268"/>
                    </a:lnTo>
                    <a:lnTo>
                      <a:pt x="17" y="266"/>
                    </a:lnTo>
                    <a:lnTo>
                      <a:pt x="17" y="260"/>
                    </a:lnTo>
                    <a:lnTo>
                      <a:pt x="18" y="254"/>
                    </a:lnTo>
                    <a:lnTo>
                      <a:pt x="24" y="240"/>
                    </a:lnTo>
                    <a:lnTo>
                      <a:pt x="26" y="228"/>
                    </a:lnTo>
                    <a:lnTo>
                      <a:pt x="45" y="227"/>
                    </a:lnTo>
                    <a:lnTo>
                      <a:pt x="61" y="226"/>
                    </a:lnTo>
                    <a:lnTo>
                      <a:pt x="75" y="224"/>
                    </a:lnTo>
                    <a:lnTo>
                      <a:pt x="89" y="222"/>
                    </a:lnTo>
                    <a:lnTo>
                      <a:pt x="102" y="220"/>
                    </a:lnTo>
                    <a:lnTo>
                      <a:pt x="115" y="218"/>
                    </a:lnTo>
                    <a:lnTo>
                      <a:pt x="129" y="216"/>
                    </a:lnTo>
                    <a:lnTo>
                      <a:pt x="146" y="216"/>
                    </a:lnTo>
                    <a:lnTo>
                      <a:pt x="164" y="217"/>
                    </a:lnTo>
                    <a:lnTo>
                      <a:pt x="182" y="218"/>
                    </a:lnTo>
                    <a:lnTo>
                      <a:pt x="191" y="218"/>
                    </a:lnTo>
                    <a:lnTo>
                      <a:pt x="199" y="218"/>
                    </a:lnTo>
                    <a:lnTo>
                      <a:pt x="209" y="217"/>
                    </a:lnTo>
                    <a:lnTo>
                      <a:pt x="219" y="216"/>
                    </a:lnTo>
                    <a:lnTo>
                      <a:pt x="217" y="211"/>
                    </a:lnTo>
                    <a:lnTo>
                      <a:pt x="215" y="208"/>
                    </a:lnTo>
                    <a:lnTo>
                      <a:pt x="213" y="203"/>
                    </a:lnTo>
                    <a:lnTo>
                      <a:pt x="210" y="201"/>
                    </a:lnTo>
                    <a:lnTo>
                      <a:pt x="204" y="196"/>
                    </a:lnTo>
                    <a:lnTo>
                      <a:pt x="195" y="194"/>
                    </a:lnTo>
                    <a:lnTo>
                      <a:pt x="186" y="192"/>
                    </a:lnTo>
                    <a:lnTo>
                      <a:pt x="175" y="191"/>
                    </a:lnTo>
                    <a:lnTo>
                      <a:pt x="164" y="191"/>
                    </a:lnTo>
                    <a:lnTo>
                      <a:pt x="152" y="190"/>
                    </a:lnTo>
                    <a:lnTo>
                      <a:pt x="120" y="191"/>
                    </a:lnTo>
                    <a:lnTo>
                      <a:pt x="93" y="192"/>
                    </a:lnTo>
                    <a:lnTo>
                      <a:pt x="79" y="193"/>
                    </a:lnTo>
                    <a:lnTo>
                      <a:pt x="64" y="196"/>
                    </a:lnTo>
                    <a:lnTo>
                      <a:pt x="49" y="199"/>
                    </a:lnTo>
                    <a:lnTo>
                      <a:pt x="33" y="203"/>
                    </a:lnTo>
                    <a:lnTo>
                      <a:pt x="37" y="191"/>
                    </a:lnTo>
                    <a:lnTo>
                      <a:pt x="38" y="183"/>
                    </a:lnTo>
                    <a:lnTo>
                      <a:pt x="39" y="177"/>
                    </a:lnTo>
                    <a:lnTo>
                      <a:pt x="39" y="172"/>
                    </a:lnTo>
                    <a:lnTo>
                      <a:pt x="34" y="168"/>
                    </a:lnTo>
                    <a:lnTo>
                      <a:pt x="26" y="164"/>
                    </a:lnTo>
                    <a:lnTo>
                      <a:pt x="18" y="161"/>
                    </a:lnTo>
                    <a:lnTo>
                      <a:pt x="13" y="160"/>
                    </a:lnTo>
                    <a:lnTo>
                      <a:pt x="13" y="153"/>
                    </a:lnTo>
                    <a:lnTo>
                      <a:pt x="11" y="147"/>
                    </a:lnTo>
                    <a:lnTo>
                      <a:pt x="8" y="144"/>
                    </a:lnTo>
                    <a:lnTo>
                      <a:pt x="6" y="143"/>
                    </a:lnTo>
                    <a:lnTo>
                      <a:pt x="4" y="142"/>
                    </a:lnTo>
                    <a:lnTo>
                      <a:pt x="2" y="141"/>
                    </a:lnTo>
                    <a:lnTo>
                      <a:pt x="0" y="139"/>
                    </a:lnTo>
                    <a:lnTo>
                      <a:pt x="0" y="135"/>
                    </a:lnTo>
                    <a:lnTo>
                      <a:pt x="1" y="125"/>
                    </a:lnTo>
                    <a:lnTo>
                      <a:pt x="5" y="115"/>
                    </a:lnTo>
                    <a:lnTo>
                      <a:pt x="11" y="104"/>
                    </a:lnTo>
                    <a:lnTo>
                      <a:pt x="17" y="92"/>
                    </a:lnTo>
                    <a:lnTo>
                      <a:pt x="24" y="80"/>
                    </a:lnTo>
                    <a:lnTo>
                      <a:pt x="30" y="69"/>
                    </a:lnTo>
                    <a:lnTo>
                      <a:pt x="36" y="59"/>
                    </a:lnTo>
                    <a:lnTo>
                      <a:pt x="39" y="49"/>
                    </a:lnTo>
                    <a:lnTo>
                      <a:pt x="45" y="43"/>
                    </a:lnTo>
                    <a:lnTo>
                      <a:pt x="48" y="42"/>
                    </a:lnTo>
                    <a:lnTo>
                      <a:pt x="49" y="44"/>
                    </a:lnTo>
                    <a:lnTo>
                      <a:pt x="49" y="48"/>
                    </a:lnTo>
                    <a:lnTo>
                      <a:pt x="48" y="51"/>
                    </a:lnTo>
                    <a:lnTo>
                      <a:pt x="52" y="36"/>
                    </a:lnTo>
                    <a:lnTo>
                      <a:pt x="61" y="35"/>
                    </a:lnTo>
                    <a:lnTo>
                      <a:pt x="75" y="31"/>
                    </a:lnTo>
                    <a:lnTo>
                      <a:pt x="94" y="25"/>
                    </a:lnTo>
                    <a:lnTo>
                      <a:pt x="114" y="18"/>
                    </a:lnTo>
                    <a:lnTo>
                      <a:pt x="150" y="6"/>
                    </a:lnTo>
                    <a:lnTo>
                      <a:pt x="165" y="0"/>
                    </a:lnTo>
                    <a:lnTo>
                      <a:pt x="175" y="8"/>
                    </a:lnTo>
                    <a:lnTo>
                      <a:pt x="184" y="15"/>
                    </a:lnTo>
                    <a:lnTo>
                      <a:pt x="194" y="20"/>
                    </a:lnTo>
                    <a:lnTo>
                      <a:pt x="202" y="24"/>
                    </a:lnTo>
                    <a:lnTo>
                      <a:pt x="210" y="27"/>
                    </a:lnTo>
                    <a:lnTo>
                      <a:pt x="220" y="29"/>
                    </a:lnTo>
                    <a:lnTo>
                      <a:pt x="229" y="30"/>
                    </a:lnTo>
                    <a:lnTo>
                      <a:pt x="239" y="30"/>
                    </a:lnTo>
                    <a:lnTo>
                      <a:pt x="239" y="42"/>
                    </a:lnTo>
                    <a:lnTo>
                      <a:pt x="241" y="52"/>
                    </a:lnTo>
                    <a:lnTo>
                      <a:pt x="243" y="61"/>
                    </a:lnTo>
                    <a:lnTo>
                      <a:pt x="247" y="69"/>
                    </a:lnTo>
                    <a:lnTo>
                      <a:pt x="250" y="77"/>
                    </a:lnTo>
                    <a:lnTo>
                      <a:pt x="254" y="84"/>
                    </a:lnTo>
                    <a:lnTo>
                      <a:pt x="259" y="90"/>
                    </a:lnTo>
                    <a:lnTo>
                      <a:pt x="264" y="95"/>
                    </a:lnTo>
                    <a:lnTo>
                      <a:pt x="286" y="115"/>
                    </a:lnTo>
                    <a:lnTo>
                      <a:pt x="305" y="129"/>
                    </a:lnTo>
                    <a:lnTo>
                      <a:pt x="305" y="210"/>
                    </a:lnTo>
                    <a:lnTo>
                      <a:pt x="352" y="234"/>
                    </a:lnTo>
                    <a:lnTo>
                      <a:pt x="353" y="245"/>
                    </a:lnTo>
                    <a:lnTo>
                      <a:pt x="359" y="257"/>
                    </a:lnTo>
                    <a:lnTo>
                      <a:pt x="363" y="267"/>
                    </a:lnTo>
                    <a:lnTo>
                      <a:pt x="365" y="271"/>
                    </a:lnTo>
                    <a:lnTo>
                      <a:pt x="353" y="267"/>
                    </a:lnTo>
                    <a:lnTo>
                      <a:pt x="321" y="259"/>
                    </a:lnTo>
                    <a:lnTo>
                      <a:pt x="300" y="255"/>
                    </a:lnTo>
                    <a:lnTo>
                      <a:pt x="275" y="252"/>
                    </a:lnTo>
                    <a:lnTo>
                      <a:pt x="262" y="251"/>
                    </a:lnTo>
                    <a:lnTo>
                      <a:pt x="248" y="251"/>
                    </a:lnTo>
                    <a:lnTo>
                      <a:pt x="233" y="251"/>
                    </a:lnTo>
                    <a:lnTo>
                      <a:pt x="219" y="252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58" name="Freeform 480">
                <a:extLst>
                  <a:ext uri="{FF2B5EF4-FFF2-40B4-BE49-F238E27FC236}">
                    <a16:creationId xmlns="" xmlns:a16="http://schemas.microsoft.com/office/drawing/2014/main" id="{A1549E4D-64A9-443B-BE02-7D691BD600D2}"/>
                  </a:ext>
                </a:extLst>
              </p:cNvPr>
              <p:cNvSpPr>
                <a:spLocks/>
              </p:cNvSpPr>
              <p:nvPr>
                <p:custDataLst>
                  <p:tags r:id="rId318"/>
                </p:custDataLst>
              </p:nvPr>
            </p:nvSpPr>
            <p:spPr bwMode="auto">
              <a:xfrm>
                <a:off x="4749800" y="3695700"/>
                <a:ext cx="269875" cy="334963"/>
              </a:xfrm>
              <a:custGeom>
                <a:avLst/>
                <a:gdLst>
                  <a:gd name="T0" fmla="*/ 2147483646 w 624"/>
                  <a:gd name="T1" fmla="*/ 2147483646 h 640"/>
                  <a:gd name="T2" fmla="*/ 2147483646 w 624"/>
                  <a:gd name="T3" fmla="*/ 2147483646 h 640"/>
                  <a:gd name="T4" fmla="*/ 2147483646 w 624"/>
                  <a:gd name="T5" fmla="*/ 2147483646 h 640"/>
                  <a:gd name="T6" fmla="*/ 2147483646 w 624"/>
                  <a:gd name="T7" fmla="*/ 2147483646 h 640"/>
                  <a:gd name="T8" fmla="*/ 2147483646 w 624"/>
                  <a:gd name="T9" fmla="*/ 2147483646 h 640"/>
                  <a:gd name="T10" fmla="*/ 2147483646 w 624"/>
                  <a:gd name="T11" fmla="*/ 2147483646 h 640"/>
                  <a:gd name="T12" fmla="*/ 2147483646 w 624"/>
                  <a:gd name="T13" fmla="*/ 2147483646 h 640"/>
                  <a:gd name="T14" fmla="*/ 2147483646 w 624"/>
                  <a:gd name="T15" fmla="*/ 2147483646 h 640"/>
                  <a:gd name="T16" fmla="*/ 2147483646 w 624"/>
                  <a:gd name="T17" fmla="*/ 2147483646 h 640"/>
                  <a:gd name="T18" fmla="*/ 2147483646 w 624"/>
                  <a:gd name="T19" fmla="*/ 2147483646 h 640"/>
                  <a:gd name="T20" fmla="*/ 2147483646 w 624"/>
                  <a:gd name="T21" fmla="*/ 2147483646 h 640"/>
                  <a:gd name="T22" fmla="*/ 2147483646 w 624"/>
                  <a:gd name="T23" fmla="*/ 2147483646 h 640"/>
                  <a:gd name="T24" fmla="*/ 2147483646 w 624"/>
                  <a:gd name="T25" fmla="*/ 2147483646 h 640"/>
                  <a:gd name="T26" fmla="*/ 2147483646 w 624"/>
                  <a:gd name="T27" fmla="*/ 2147483646 h 640"/>
                  <a:gd name="T28" fmla="*/ 2147483646 w 624"/>
                  <a:gd name="T29" fmla="*/ 2147483646 h 640"/>
                  <a:gd name="T30" fmla="*/ 2147483646 w 624"/>
                  <a:gd name="T31" fmla="*/ 2147483646 h 640"/>
                  <a:gd name="T32" fmla="*/ 2147483646 w 624"/>
                  <a:gd name="T33" fmla="*/ 2147483646 h 640"/>
                  <a:gd name="T34" fmla="*/ 2147483646 w 624"/>
                  <a:gd name="T35" fmla="*/ 2147483646 h 640"/>
                  <a:gd name="T36" fmla="*/ 2147483646 w 624"/>
                  <a:gd name="T37" fmla="*/ 2147483646 h 640"/>
                  <a:gd name="T38" fmla="*/ 2147483646 w 624"/>
                  <a:gd name="T39" fmla="*/ 2147483646 h 640"/>
                  <a:gd name="T40" fmla="*/ 2147483646 w 624"/>
                  <a:gd name="T41" fmla="*/ 2147483646 h 640"/>
                  <a:gd name="T42" fmla="*/ 2147483646 w 624"/>
                  <a:gd name="T43" fmla="*/ 2147483646 h 640"/>
                  <a:gd name="T44" fmla="*/ 2147483646 w 624"/>
                  <a:gd name="T45" fmla="*/ 2147483646 h 640"/>
                  <a:gd name="T46" fmla="*/ 2147483646 w 624"/>
                  <a:gd name="T47" fmla="*/ 2147483646 h 640"/>
                  <a:gd name="T48" fmla="*/ 2147483646 w 624"/>
                  <a:gd name="T49" fmla="*/ 2147483646 h 640"/>
                  <a:gd name="T50" fmla="*/ 2147483646 w 624"/>
                  <a:gd name="T51" fmla="*/ 2147483646 h 640"/>
                  <a:gd name="T52" fmla="*/ 2147483646 w 624"/>
                  <a:gd name="T53" fmla="*/ 2147483646 h 640"/>
                  <a:gd name="T54" fmla="*/ 2147483646 w 624"/>
                  <a:gd name="T55" fmla="*/ 2147483646 h 640"/>
                  <a:gd name="T56" fmla="*/ 2147483646 w 624"/>
                  <a:gd name="T57" fmla="*/ 2147483646 h 640"/>
                  <a:gd name="T58" fmla="*/ 2147483646 w 624"/>
                  <a:gd name="T59" fmla="*/ 2147483646 h 640"/>
                  <a:gd name="T60" fmla="*/ 2147483646 w 624"/>
                  <a:gd name="T61" fmla="*/ 2147483646 h 640"/>
                  <a:gd name="T62" fmla="*/ 2147483646 w 624"/>
                  <a:gd name="T63" fmla="*/ 2147483646 h 640"/>
                  <a:gd name="T64" fmla="*/ 2147483646 w 624"/>
                  <a:gd name="T65" fmla="*/ 2147483646 h 640"/>
                  <a:gd name="T66" fmla="*/ 2147483646 w 624"/>
                  <a:gd name="T67" fmla="*/ 2147483646 h 640"/>
                  <a:gd name="T68" fmla="*/ 2147483646 w 624"/>
                  <a:gd name="T69" fmla="*/ 2147483646 h 640"/>
                  <a:gd name="T70" fmla="*/ 2147483646 w 624"/>
                  <a:gd name="T71" fmla="*/ 2147483646 h 640"/>
                  <a:gd name="T72" fmla="*/ 2147483646 w 624"/>
                  <a:gd name="T73" fmla="*/ 2147483646 h 640"/>
                  <a:gd name="T74" fmla="*/ 2147483646 w 624"/>
                  <a:gd name="T75" fmla="*/ 2147483646 h 640"/>
                  <a:gd name="T76" fmla="*/ 2147483646 w 624"/>
                  <a:gd name="T77" fmla="*/ 2147483646 h 640"/>
                  <a:gd name="T78" fmla="*/ 2147483646 w 624"/>
                  <a:gd name="T79" fmla="*/ 2147483646 h 640"/>
                  <a:gd name="T80" fmla="*/ 2147483646 w 624"/>
                  <a:gd name="T81" fmla="*/ 2147483646 h 640"/>
                  <a:gd name="T82" fmla="*/ 2147483646 w 624"/>
                  <a:gd name="T83" fmla="*/ 2147483646 h 640"/>
                  <a:gd name="T84" fmla="*/ 2147483646 w 624"/>
                  <a:gd name="T85" fmla="*/ 2147483646 h 640"/>
                  <a:gd name="T86" fmla="*/ 2147483646 w 624"/>
                  <a:gd name="T87" fmla="*/ 2147483646 h 640"/>
                  <a:gd name="T88" fmla="*/ 2147483646 w 624"/>
                  <a:gd name="T89" fmla="*/ 2147483646 h 640"/>
                  <a:gd name="T90" fmla="*/ 0 w 624"/>
                  <a:gd name="T91" fmla="*/ 2147483646 h 640"/>
                  <a:gd name="T92" fmla="*/ 0 w 624"/>
                  <a:gd name="T93" fmla="*/ 2147483646 h 640"/>
                  <a:gd name="T94" fmla="*/ 2147483646 w 624"/>
                  <a:gd name="T95" fmla="*/ 2147483646 h 640"/>
                  <a:gd name="T96" fmla="*/ 2147483646 w 624"/>
                  <a:gd name="T97" fmla="*/ 2147483646 h 640"/>
                  <a:gd name="T98" fmla="*/ 2147483646 w 624"/>
                  <a:gd name="T99" fmla="*/ 2147483646 h 640"/>
                  <a:gd name="T100" fmla="*/ 2147483646 w 624"/>
                  <a:gd name="T101" fmla="*/ 2147483646 h 640"/>
                  <a:gd name="T102" fmla="*/ 2147483646 w 624"/>
                  <a:gd name="T103" fmla="*/ 2147483646 h 640"/>
                  <a:gd name="T104" fmla="*/ 2147483646 w 624"/>
                  <a:gd name="T105" fmla="*/ 2147483646 h 64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624"/>
                  <a:gd name="T160" fmla="*/ 0 h 640"/>
                  <a:gd name="T161" fmla="*/ 624 w 624"/>
                  <a:gd name="T162" fmla="*/ 640 h 640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624" h="640">
                    <a:moveTo>
                      <a:pt x="79" y="0"/>
                    </a:moveTo>
                    <a:lnTo>
                      <a:pt x="146" y="0"/>
                    </a:lnTo>
                    <a:lnTo>
                      <a:pt x="146" y="12"/>
                    </a:lnTo>
                    <a:lnTo>
                      <a:pt x="173" y="43"/>
                    </a:lnTo>
                    <a:lnTo>
                      <a:pt x="232" y="43"/>
                    </a:lnTo>
                    <a:lnTo>
                      <a:pt x="239" y="12"/>
                    </a:lnTo>
                    <a:lnTo>
                      <a:pt x="259" y="0"/>
                    </a:lnTo>
                    <a:lnTo>
                      <a:pt x="273" y="0"/>
                    </a:lnTo>
                    <a:lnTo>
                      <a:pt x="287" y="5"/>
                    </a:lnTo>
                    <a:lnTo>
                      <a:pt x="301" y="10"/>
                    </a:lnTo>
                    <a:lnTo>
                      <a:pt x="314" y="16"/>
                    </a:lnTo>
                    <a:lnTo>
                      <a:pt x="326" y="22"/>
                    </a:lnTo>
                    <a:lnTo>
                      <a:pt x="351" y="36"/>
                    </a:lnTo>
                    <a:lnTo>
                      <a:pt x="374" y="51"/>
                    </a:lnTo>
                    <a:lnTo>
                      <a:pt x="396" y="66"/>
                    </a:lnTo>
                    <a:lnTo>
                      <a:pt x="418" y="81"/>
                    </a:lnTo>
                    <a:lnTo>
                      <a:pt x="441" y="97"/>
                    </a:lnTo>
                    <a:lnTo>
                      <a:pt x="465" y="111"/>
                    </a:lnTo>
                    <a:lnTo>
                      <a:pt x="465" y="118"/>
                    </a:lnTo>
                    <a:lnTo>
                      <a:pt x="467" y="124"/>
                    </a:lnTo>
                    <a:lnTo>
                      <a:pt x="469" y="131"/>
                    </a:lnTo>
                    <a:lnTo>
                      <a:pt x="471" y="138"/>
                    </a:lnTo>
                    <a:lnTo>
                      <a:pt x="476" y="146"/>
                    </a:lnTo>
                    <a:lnTo>
                      <a:pt x="480" y="153"/>
                    </a:lnTo>
                    <a:lnTo>
                      <a:pt x="485" y="159"/>
                    </a:lnTo>
                    <a:lnTo>
                      <a:pt x="491" y="165"/>
                    </a:lnTo>
                    <a:lnTo>
                      <a:pt x="497" y="170"/>
                    </a:lnTo>
                    <a:lnTo>
                      <a:pt x="503" y="175"/>
                    </a:lnTo>
                    <a:lnTo>
                      <a:pt x="511" y="179"/>
                    </a:lnTo>
                    <a:lnTo>
                      <a:pt x="519" y="183"/>
                    </a:lnTo>
                    <a:lnTo>
                      <a:pt x="526" y="186"/>
                    </a:lnTo>
                    <a:lnTo>
                      <a:pt x="534" y="188"/>
                    </a:lnTo>
                    <a:lnTo>
                      <a:pt x="543" y="190"/>
                    </a:lnTo>
                    <a:lnTo>
                      <a:pt x="552" y="190"/>
                    </a:lnTo>
                    <a:lnTo>
                      <a:pt x="552" y="193"/>
                    </a:lnTo>
                    <a:lnTo>
                      <a:pt x="554" y="195"/>
                    </a:lnTo>
                    <a:lnTo>
                      <a:pt x="556" y="198"/>
                    </a:lnTo>
                    <a:lnTo>
                      <a:pt x="559" y="200"/>
                    </a:lnTo>
                    <a:lnTo>
                      <a:pt x="565" y="205"/>
                    </a:lnTo>
                    <a:lnTo>
                      <a:pt x="571" y="209"/>
                    </a:lnTo>
                    <a:lnTo>
                      <a:pt x="567" y="219"/>
                    </a:lnTo>
                    <a:lnTo>
                      <a:pt x="561" y="227"/>
                    </a:lnTo>
                    <a:lnTo>
                      <a:pt x="554" y="236"/>
                    </a:lnTo>
                    <a:lnTo>
                      <a:pt x="545" y="244"/>
                    </a:lnTo>
                    <a:lnTo>
                      <a:pt x="537" y="252"/>
                    </a:lnTo>
                    <a:lnTo>
                      <a:pt x="531" y="260"/>
                    </a:lnTo>
                    <a:lnTo>
                      <a:pt x="526" y="266"/>
                    </a:lnTo>
                    <a:lnTo>
                      <a:pt x="525" y="271"/>
                    </a:lnTo>
                    <a:lnTo>
                      <a:pt x="526" y="277"/>
                    </a:lnTo>
                    <a:lnTo>
                      <a:pt x="528" y="283"/>
                    </a:lnTo>
                    <a:lnTo>
                      <a:pt x="533" y="287"/>
                    </a:lnTo>
                    <a:lnTo>
                      <a:pt x="538" y="291"/>
                    </a:lnTo>
                    <a:lnTo>
                      <a:pt x="543" y="295"/>
                    </a:lnTo>
                    <a:lnTo>
                      <a:pt x="547" y="299"/>
                    </a:lnTo>
                    <a:lnTo>
                      <a:pt x="550" y="303"/>
                    </a:lnTo>
                    <a:lnTo>
                      <a:pt x="552" y="307"/>
                    </a:lnTo>
                    <a:lnTo>
                      <a:pt x="552" y="425"/>
                    </a:lnTo>
                    <a:lnTo>
                      <a:pt x="549" y="430"/>
                    </a:lnTo>
                    <a:lnTo>
                      <a:pt x="549" y="434"/>
                    </a:lnTo>
                    <a:lnTo>
                      <a:pt x="550" y="439"/>
                    </a:lnTo>
                    <a:lnTo>
                      <a:pt x="552" y="443"/>
                    </a:lnTo>
                    <a:lnTo>
                      <a:pt x="556" y="452"/>
                    </a:lnTo>
                    <a:lnTo>
                      <a:pt x="558" y="462"/>
                    </a:lnTo>
                    <a:lnTo>
                      <a:pt x="558" y="475"/>
                    </a:lnTo>
                    <a:lnTo>
                      <a:pt x="558" y="483"/>
                    </a:lnTo>
                    <a:lnTo>
                      <a:pt x="558" y="489"/>
                    </a:lnTo>
                    <a:lnTo>
                      <a:pt x="558" y="499"/>
                    </a:lnTo>
                    <a:lnTo>
                      <a:pt x="559" y="507"/>
                    </a:lnTo>
                    <a:lnTo>
                      <a:pt x="561" y="515"/>
                    </a:lnTo>
                    <a:lnTo>
                      <a:pt x="567" y="523"/>
                    </a:lnTo>
                    <a:lnTo>
                      <a:pt x="574" y="532"/>
                    </a:lnTo>
                    <a:lnTo>
                      <a:pt x="594" y="549"/>
                    </a:lnTo>
                    <a:lnTo>
                      <a:pt x="624" y="572"/>
                    </a:lnTo>
                    <a:lnTo>
                      <a:pt x="622" y="575"/>
                    </a:lnTo>
                    <a:lnTo>
                      <a:pt x="616" y="579"/>
                    </a:lnTo>
                    <a:lnTo>
                      <a:pt x="609" y="583"/>
                    </a:lnTo>
                    <a:lnTo>
                      <a:pt x="599" y="589"/>
                    </a:lnTo>
                    <a:lnTo>
                      <a:pt x="575" y="600"/>
                    </a:lnTo>
                    <a:lnTo>
                      <a:pt x="546" y="611"/>
                    </a:lnTo>
                    <a:lnTo>
                      <a:pt x="518" y="622"/>
                    </a:lnTo>
                    <a:lnTo>
                      <a:pt x="491" y="631"/>
                    </a:lnTo>
                    <a:lnTo>
                      <a:pt x="470" y="638"/>
                    </a:lnTo>
                    <a:lnTo>
                      <a:pt x="458" y="640"/>
                    </a:lnTo>
                    <a:lnTo>
                      <a:pt x="443" y="638"/>
                    </a:lnTo>
                    <a:lnTo>
                      <a:pt x="423" y="634"/>
                    </a:lnTo>
                    <a:lnTo>
                      <a:pt x="403" y="630"/>
                    </a:lnTo>
                    <a:lnTo>
                      <a:pt x="392" y="628"/>
                    </a:lnTo>
                    <a:lnTo>
                      <a:pt x="369" y="630"/>
                    </a:lnTo>
                    <a:lnTo>
                      <a:pt x="348" y="632"/>
                    </a:lnTo>
                    <a:lnTo>
                      <a:pt x="339" y="633"/>
                    </a:lnTo>
                    <a:lnTo>
                      <a:pt x="329" y="633"/>
                    </a:lnTo>
                    <a:lnTo>
                      <a:pt x="318" y="631"/>
                    </a:lnTo>
                    <a:lnTo>
                      <a:pt x="306" y="628"/>
                    </a:lnTo>
                    <a:lnTo>
                      <a:pt x="303" y="625"/>
                    </a:lnTo>
                    <a:lnTo>
                      <a:pt x="301" y="620"/>
                    </a:lnTo>
                    <a:lnTo>
                      <a:pt x="299" y="614"/>
                    </a:lnTo>
                    <a:lnTo>
                      <a:pt x="298" y="608"/>
                    </a:lnTo>
                    <a:lnTo>
                      <a:pt x="295" y="592"/>
                    </a:lnTo>
                    <a:lnTo>
                      <a:pt x="294" y="573"/>
                    </a:lnTo>
                    <a:lnTo>
                      <a:pt x="291" y="556"/>
                    </a:lnTo>
                    <a:lnTo>
                      <a:pt x="289" y="541"/>
                    </a:lnTo>
                    <a:lnTo>
                      <a:pt x="288" y="529"/>
                    </a:lnTo>
                    <a:lnTo>
                      <a:pt x="286" y="523"/>
                    </a:lnTo>
                    <a:lnTo>
                      <a:pt x="270" y="519"/>
                    </a:lnTo>
                    <a:lnTo>
                      <a:pt x="253" y="517"/>
                    </a:lnTo>
                    <a:lnTo>
                      <a:pt x="232" y="515"/>
                    </a:lnTo>
                    <a:lnTo>
                      <a:pt x="206" y="511"/>
                    </a:lnTo>
                    <a:lnTo>
                      <a:pt x="185" y="502"/>
                    </a:lnTo>
                    <a:lnTo>
                      <a:pt x="139" y="482"/>
                    </a:lnTo>
                    <a:lnTo>
                      <a:pt x="113" y="470"/>
                    </a:lnTo>
                    <a:lnTo>
                      <a:pt x="90" y="459"/>
                    </a:lnTo>
                    <a:lnTo>
                      <a:pt x="82" y="454"/>
                    </a:lnTo>
                    <a:lnTo>
                      <a:pt x="74" y="450"/>
                    </a:lnTo>
                    <a:lnTo>
                      <a:pt x="68" y="446"/>
                    </a:lnTo>
                    <a:lnTo>
                      <a:pt x="66" y="443"/>
                    </a:lnTo>
                    <a:lnTo>
                      <a:pt x="66" y="437"/>
                    </a:lnTo>
                    <a:lnTo>
                      <a:pt x="66" y="428"/>
                    </a:lnTo>
                    <a:lnTo>
                      <a:pt x="66" y="419"/>
                    </a:lnTo>
                    <a:lnTo>
                      <a:pt x="66" y="412"/>
                    </a:lnTo>
                    <a:lnTo>
                      <a:pt x="65" y="402"/>
                    </a:lnTo>
                    <a:lnTo>
                      <a:pt x="62" y="392"/>
                    </a:lnTo>
                    <a:lnTo>
                      <a:pt x="57" y="384"/>
                    </a:lnTo>
                    <a:lnTo>
                      <a:pt x="53" y="377"/>
                    </a:lnTo>
                    <a:lnTo>
                      <a:pt x="48" y="371"/>
                    </a:lnTo>
                    <a:lnTo>
                      <a:pt x="44" y="363"/>
                    </a:lnTo>
                    <a:lnTo>
                      <a:pt x="41" y="357"/>
                    </a:lnTo>
                    <a:lnTo>
                      <a:pt x="40" y="351"/>
                    </a:lnTo>
                    <a:lnTo>
                      <a:pt x="32" y="350"/>
                    </a:lnTo>
                    <a:lnTo>
                      <a:pt x="27" y="347"/>
                    </a:lnTo>
                    <a:lnTo>
                      <a:pt x="21" y="343"/>
                    </a:lnTo>
                    <a:lnTo>
                      <a:pt x="17" y="338"/>
                    </a:lnTo>
                    <a:lnTo>
                      <a:pt x="12" y="332"/>
                    </a:lnTo>
                    <a:lnTo>
                      <a:pt x="9" y="325"/>
                    </a:lnTo>
                    <a:lnTo>
                      <a:pt x="7" y="317"/>
                    </a:lnTo>
                    <a:lnTo>
                      <a:pt x="5" y="308"/>
                    </a:lnTo>
                    <a:lnTo>
                      <a:pt x="1" y="291"/>
                    </a:lnTo>
                    <a:lnTo>
                      <a:pt x="0" y="276"/>
                    </a:lnTo>
                    <a:lnTo>
                      <a:pt x="0" y="262"/>
                    </a:lnTo>
                    <a:lnTo>
                      <a:pt x="0" y="252"/>
                    </a:lnTo>
                    <a:lnTo>
                      <a:pt x="0" y="243"/>
                    </a:lnTo>
                    <a:lnTo>
                      <a:pt x="0" y="234"/>
                    </a:lnTo>
                    <a:lnTo>
                      <a:pt x="0" y="225"/>
                    </a:lnTo>
                    <a:lnTo>
                      <a:pt x="0" y="215"/>
                    </a:lnTo>
                    <a:lnTo>
                      <a:pt x="10" y="212"/>
                    </a:lnTo>
                    <a:lnTo>
                      <a:pt x="20" y="208"/>
                    </a:lnTo>
                    <a:lnTo>
                      <a:pt x="29" y="202"/>
                    </a:lnTo>
                    <a:lnTo>
                      <a:pt x="38" y="195"/>
                    </a:lnTo>
                    <a:lnTo>
                      <a:pt x="46" y="188"/>
                    </a:lnTo>
                    <a:lnTo>
                      <a:pt x="54" y="180"/>
                    </a:lnTo>
                    <a:lnTo>
                      <a:pt x="61" y="173"/>
                    </a:lnTo>
                    <a:lnTo>
                      <a:pt x="66" y="166"/>
                    </a:lnTo>
                    <a:lnTo>
                      <a:pt x="73" y="85"/>
                    </a:lnTo>
                    <a:lnTo>
                      <a:pt x="77" y="77"/>
                    </a:lnTo>
                    <a:lnTo>
                      <a:pt x="81" y="67"/>
                    </a:lnTo>
                    <a:lnTo>
                      <a:pt x="83" y="55"/>
                    </a:lnTo>
                    <a:lnTo>
                      <a:pt x="84" y="43"/>
                    </a:lnTo>
                    <a:lnTo>
                      <a:pt x="84" y="30"/>
                    </a:lnTo>
                    <a:lnTo>
                      <a:pt x="83" y="18"/>
                    </a:lnTo>
                    <a:lnTo>
                      <a:pt x="82" y="8"/>
                    </a:lnTo>
                    <a:lnTo>
                      <a:pt x="79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59" name="Freeform 481">
                <a:extLst>
                  <a:ext uri="{FF2B5EF4-FFF2-40B4-BE49-F238E27FC236}">
                    <a16:creationId xmlns="" xmlns:a16="http://schemas.microsoft.com/office/drawing/2014/main" id="{883450DF-E43B-47DC-8BE5-85748632B28D}"/>
                  </a:ext>
                </a:extLst>
              </p:cNvPr>
              <p:cNvSpPr>
                <a:spLocks/>
              </p:cNvSpPr>
              <p:nvPr>
                <p:custDataLst>
                  <p:tags r:id="rId319"/>
                </p:custDataLst>
              </p:nvPr>
            </p:nvSpPr>
            <p:spPr bwMode="auto">
              <a:xfrm>
                <a:off x="7313613" y="2209800"/>
                <a:ext cx="19050" cy="57150"/>
              </a:xfrm>
              <a:custGeom>
                <a:avLst/>
                <a:gdLst>
                  <a:gd name="T0" fmla="*/ 2147483646 w 52"/>
                  <a:gd name="T1" fmla="*/ 2147483646 h 50"/>
                  <a:gd name="T2" fmla="*/ 0 w 52"/>
                  <a:gd name="T3" fmla="*/ 2147483646 h 50"/>
                  <a:gd name="T4" fmla="*/ 2147483646 w 52"/>
                  <a:gd name="T5" fmla="*/ 2147483646 h 50"/>
                  <a:gd name="T6" fmla="*/ 2147483646 w 52"/>
                  <a:gd name="T7" fmla="*/ 2147483646 h 50"/>
                  <a:gd name="T8" fmla="*/ 2147483646 w 52"/>
                  <a:gd name="T9" fmla="*/ 2147483646 h 50"/>
                  <a:gd name="T10" fmla="*/ 2147483646 w 52"/>
                  <a:gd name="T11" fmla="*/ 2147483646 h 50"/>
                  <a:gd name="T12" fmla="*/ 2147483646 w 52"/>
                  <a:gd name="T13" fmla="*/ 2147483646 h 50"/>
                  <a:gd name="T14" fmla="*/ 2147483646 w 52"/>
                  <a:gd name="T15" fmla="*/ 2147483646 h 50"/>
                  <a:gd name="T16" fmla="*/ 2147483646 w 52"/>
                  <a:gd name="T17" fmla="*/ 2147483646 h 50"/>
                  <a:gd name="T18" fmla="*/ 2147483646 w 52"/>
                  <a:gd name="T19" fmla="*/ 0 h 50"/>
                  <a:gd name="T20" fmla="*/ 2147483646 w 52"/>
                  <a:gd name="T21" fmla="*/ 2147483646 h 50"/>
                  <a:gd name="T22" fmla="*/ 2147483646 w 52"/>
                  <a:gd name="T23" fmla="*/ 2147483646 h 50"/>
                  <a:gd name="T24" fmla="*/ 2147483646 w 52"/>
                  <a:gd name="T25" fmla="*/ 2147483646 h 50"/>
                  <a:gd name="T26" fmla="*/ 2147483646 w 52"/>
                  <a:gd name="T27" fmla="*/ 2147483646 h 50"/>
                  <a:gd name="T28" fmla="*/ 2147483646 w 52"/>
                  <a:gd name="T29" fmla="*/ 2147483646 h 50"/>
                  <a:gd name="T30" fmla="*/ 2147483646 w 52"/>
                  <a:gd name="T31" fmla="*/ 2147483646 h 5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52"/>
                  <a:gd name="T49" fmla="*/ 0 h 50"/>
                  <a:gd name="T50" fmla="*/ 52 w 52"/>
                  <a:gd name="T51" fmla="*/ 50 h 50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52" h="50">
                    <a:moveTo>
                      <a:pt x="13" y="50"/>
                    </a:moveTo>
                    <a:lnTo>
                      <a:pt x="0" y="32"/>
                    </a:lnTo>
                    <a:lnTo>
                      <a:pt x="2" y="25"/>
                    </a:lnTo>
                    <a:lnTo>
                      <a:pt x="6" y="18"/>
                    </a:lnTo>
                    <a:lnTo>
                      <a:pt x="12" y="13"/>
                    </a:lnTo>
                    <a:lnTo>
                      <a:pt x="18" y="9"/>
                    </a:lnTo>
                    <a:lnTo>
                      <a:pt x="26" y="5"/>
                    </a:lnTo>
                    <a:lnTo>
                      <a:pt x="34" y="3"/>
                    </a:lnTo>
                    <a:lnTo>
                      <a:pt x="43" y="1"/>
                    </a:lnTo>
                    <a:lnTo>
                      <a:pt x="52" y="0"/>
                    </a:lnTo>
                    <a:lnTo>
                      <a:pt x="40" y="11"/>
                    </a:lnTo>
                    <a:lnTo>
                      <a:pt x="27" y="22"/>
                    </a:lnTo>
                    <a:lnTo>
                      <a:pt x="22" y="30"/>
                    </a:lnTo>
                    <a:lnTo>
                      <a:pt x="17" y="36"/>
                    </a:lnTo>
                    <a:lnTo>
                      <a:pt x="14" y="43"/>
                    </a:lnTo>
                    <a:lnTo>
                      <a:pt x="13" y="5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60" name="Freeform 482">
                <a:extLst>
                  <a:ext uri="{FF2B5EF4-FFF2-40B4-BE49-F238E27FC236}">
                    <a16:creationId xmlns="" xmlns:a16="http://schemas.microsoft.com/office/drawing/2014/main" id="{C0ED942C-8F6C-4304-AD4B-EB45E65B2587}"/>
                  </a:ext>
                </a:extLst>
              </p:cNvPr>
              <p:cNvSpPr>
                <a:spLocks/>
              </p:cNvSpPr>
              <p:nvPr>
                <p:custDataLst>
                  <p:tags r:id="rId320"/>
                </p:custDataLst>
              </p:nvPr>
            </p:nvSpPr>
            <p:spPr bwMode="auto">
              <a:xfrm>
                <a:off x="7172325" y="2211388"/>
                <a:ext cx="141288" cy="125412"/>
              </a:xfrm>
              <a:custGeom>
                <a:avLst/>
                <a:gdLst>
                  <a:gd name="T0" fmla="*/ 2147483646 w 320"/>
                  <a:gd name="T1" fmla="*/ 2147483646 h 234"/>
                  <a:gd name="T2" fmla="*/ 2147483646 w 320"/>
                  <a:gd name="T3" fmla="*/ 2147483646 h 234"/>
                  <a:gd name="T4" fmla="*/ 2147483646 w 320"/>
                  <a:gd name="T5" fmla="*/ 2147483646 h 234"/>
                  <a:gd name="T6" fmla="*/ 2147483646 w 320"/>
                  <a:gd name="T7" fmla="*/ 2147483646 h 234"/>
                  <a:gd name="T8" fmla="*/ 2147483646 w 320"/>
                  <a:gd name="T9" fmla="*/ 2147483646 h 234"/>
                  <a:gd name="T10" fmla="*/ 2147483646 w 320"/>
                  <a:gd name="T11" fmla="*/ 2147483646 h 234"/>
                  <a:gd name="T12" fmla="*/ 2147483646 w 320"/>
                  <a:gd name="T13" fmla="*/ 2147483646 h 234"/>
                  <a:gd name="T14" fmla="*/ 2147483646 w 320"/>
                  <a:gd name="T15" fmla="*/ 2147483646 h 234"/>
                  <a:gd name="T16" fmla="*/ 2147483646 w 320"/>
                  <a:gd name="T17" fmla="*/ 2147483646 h 234"/>
                  <a:gd name="T18" fmla="*/ 2147483646 w 320"/>
                  <a:gd name="T19" fmla="*/ 2147483646 h 234"/>
                  <a:gd name="T20" fmla="*/ 2147483646 w 320"/>
                  <a:gd name="T21" fmla="*/ 2147483646 h 234"/>
                  <a:gd name="T22" fmla="*/ 2147483646 w 320"/>
                  <a:gd name="T23" fmla="*/ 2147483646 h 234"/>
                  <a:gd name="T24" fmla="*/ 2147483646 w 320"/>
                  <a:gd name="T25" fmla="*/ 2147483646 h 234"/>
                  <a:gd name="T26" fmla="*/ 2147483646 w 320"/>
                  <a:gd name="T27" fmla="*/ 2147483646 h 234"/>
                  <a:gd name="T28" fmla="*/ 2147483646 w 320"/>
                  <a:gd name="T29" fmla="*/ 2147483646 h 234"/>
                  <a:gd name="T30" fmla="*/ 2147483646 w 320"/>
                  <a:gd name="T31" fmla="*/ 2147483646 h 234"/>
                  <a:gd name="T32" fmla="*/ 2147483646 w 320"/>
                  <a:gd name="T33" fmla="*/ 2147483646 h 234"/>
                  <a:gd name="T34" fmla="*/ 2147483646 w 320"/>
                  <a:gd name="T35" fmla="*/ 2147483646 h 234"/>
                  <a:gd name="T36" fmla="*/ 2147483646 w 320"/>
                  <a:gd name="T37" fmla="*/ 2147483646 h 234"/>
                  <a:gd name="T38" fmla="*/ 2147483646 w 320"/>
                  <a:gd name="T39" fmla="*/ 2147483646 h 234"/>
                  <a:gd name="T40" fmla="*/ 2147483646 w 320"/>
                  <a:gd name="T41" fmla="*/ 2147483646 h 234"/>
                  <a:gd name="T42" fmla="*/ 2147483646 w 320"/>
                  <a:gd name="T43" fmla="*/ 2147483646 h 234"/>
                  <a:gd name="T44" fmla="*/ 2147483646 w 320"/>
                  <a:gd name="T45" fmla="*/ 0 h 234"/>
                  <a:gd name="T46" fmla="*/ 2147483646 w 320"/>
                  <a:gd name="T47" fmla="*/ 0 h 234"/>
                  <a:gd name="T48" fmla="*/ 2147483646 w 320"/>
                  <a:gd name="T49" fmla="*/ 2147483646 h 234"/>
                  <a:gd name="T50" fmla="*/ 2147483646 w 320"/>
                  <a:gd name="T51" fmla="*/ 2147483646 h 234"/>
                  <a:gd name="T52" fmla="*/ 2147483646 w 320"/>
                  <a:gd name="T53" fmla="*/ 2147483646 h 234"/>
                  <a:gd name="T54" fmla="*/ 2147483646 w 320"/>
                  <a:gd name="T55" fmla="*/ 2147483646 h 234"/>
                  <a:gd name="T56" fmla="*/ 2147483646 w 320"/>
                  <a:gd name="T57" fmla="*/ 2147483646 h 234"/>
                  <a:gd name="T58" fmla="*/ 2147483646 w 320"/>
                  <a:gd name="T59" fmla="*/ 2147483646 h 234"/>
                  <a:gd name="T60" fmla="*/ 2147483646 w 320"/>
                  <a:gd name="T61" fmla="*/ 2147483646 h 234"/>
                  <a:gd name="T62" fmla="*/ 2147483646 w 320"/>
                  <a:gd name="T63" fmla="*/ 2147483646 h 234"/>
                  <a:gd name="T64" fmla="*/ 2147483646 w 320"/>
                  <a:gd name="T65" fmla="*/ 2147483646 h 234"/>
                  <a:gd name="T66" fmla="*/ 2147483646 w 320"/>
                  <a:gd name="T67" fmla="*/ 2147483646 h 234"/>
                  <a:gd name="T68" fmla="*/ 2147483646 w 320"/>
                  <a:gd name="T69" fmla="*/ 2147483646 h 234"/>
                  <a:gd name="T70" fmla="*/ 2147483646 w 320"/>
                  <a:gd name="T71" fmla="*/ 2147483646 h 234"/>
                  <a:gd name="T72" fmla="*/ 2147483646 w 320"/>
                  <a:gd name="T73" fmla="*/ 2147483646 h 234"/>
                  <a:gd name="T74" fmla="*/ 2147483646 w 320"/>
                  <a:gd name="T75" fmla="*/ 2147483646 h 234"/>
                  <a:gd name="T76" fmla="*/ 2147483646 w 320"/>
                  <a:gd name="T77" fmla="*/ 2147483646 h 234"/>
                  <a:gd name="T78" fmla="*/ 2147483646 w 320"/>
                  <a:gd name="T79" fmla="*/ 2147483646 h 234"/>
                  <a:gd name="T80" fmla="*/ 2147483646 w 320"/>
                  <a:gd name="T81" fmla="*/ 2147483646 h 234"/>
                  <a:gd name="T82" fmla="*/ 2147483646 w 320"/>
                  <a:gd name="T83" fmla="*/ 2147483646 h 234"/>
                  <a:gd name="T84" fmla="*/ 2147483646 w 320"/>
                  <a:gd name="T85" fmla="*/ 2147483646 h 234"/>
                  <a:gd name="T86" fmla="*/ 2147483646 w 320"/>
                  <a:gd name="T87" fmla="*/ 2147483646 h 234"/>
                  <a:gd name="T88" fmla="*/ 2147483646 w 320"/>
                  <a:gd name="T89" fmla="*/ 2147483646 h 234"/>
                  <a:gd name="T90" fmla="*/ 2147483646 w 320"/>
                  <a:gd name="T91" fmla="*/ 2147483646 h 234"/>
                  <a:gd name="T92" fmla="*/ 2147483646 w 320"/>
                  <a:gd name="T93" fmla="*/ 2147483646 h 234"/>
                  <a:gd name="T94" fmla="*/ 2147483646 w 320"/>
                  <a:gd name="T95" fmla="*/ 2147483646 h 234"/>
                  <a:gd name="T96" fmla="*/ 2147483646 w 320"/>
                  <a:gd name="T97" fmla="*/ 2147483646 h 234"/>
                  <a:gd name="T98" fmla="*/ 2147483646 w 320"/>
                  <a:gd name="T99" fmla="*/ 2147483646 h 234"/>
                  <a:gd name="T100" fmla="*/ 2147483646 w 320"/>
                  <a:gd name="T101" fmla="*/ 2147483646 h 234"/>
                  <a:gd name="T102" fmla="*/ 2147483646 w 320"/>
                  <a:gd name="T103" fmla="*/ 2147483646 h 234"/>
                  <a:gd name="T104" fmla="*/ 2147483646 w 320"/>
                  <a:gd name="T105" fmla="*/ 2147483646 h 234"/>
                  <a:gd name="T106" fmla="*/ 2147483646 w 320"/>
                  <a:gd name="T107" fmla="*/ 2147483646 h 234"/>
                  <a:gd name="T108" fmla="*/ 2147483646 w 320"/>
                  <a:gd name="T109" fmla="*/ 2147483646 h 234"/>
                  <a:gd name="T110" fmla="*/ 2147483646 w 320"/>
                  <a:gd name="T111" fmla="*/ 2147483646 h 234"/>
                  <a:gd name="T112" fmla="*/ 2147483646 w 320"/>
                  <a:gd name="T113" fmla="*/ 2147483646 h 234"/>
                  <a:gd name="T114" fmla="*/ 2147483646 w 320"/>
                  <a:gd name="T115" fmla="*/ 2147483646 h 234"/>
                  <a:gd name="T116" fmla="*/ 2147483646 w 320"/>
                  <a:gd name="T117" fmla="*/ 2147483646 h 23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320"/>
                  <a:gd name="T178" fmla="*/ 0 h 234"/>
                  <a:gd name="T179" fmla="*/ 320 w 320"/>
                  <a:gd name="T180" fmla="*/ 234 h 23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320" h="234">
                    <a:moveTo>
                      <a:pt x="87" y="234"/>
                    </a:moveTo>
                    <a:lnTo>
                      <a:pt x="76" y="231"/>
                    </a:lnTo>
                    <a:lnTo>
                      <a:pt x="61" y="228"/>
                    </a:lnTo>
                    <a:lnTo>
                      <a:pt x="61" y="226"/>
                    </a:lnTo>
                    <a:lnTo>
                      <a:pt x="63" y="224"/>
                    </a:lnTo>
                    <a:lnTo>
                      <a:pt x="66" y="222"/>
                    </a:lnTo>
                    <a:lnTo>
                      <a:pt x="70" y="220"/>
                    </a:lnTo>
                    <a:lnTo>
                      <a:pt x="77" y="217"/>
                    </a:lnTo>
                    <a:lnTo>
                      <a:pt x="80" y="216"/>
                    </a:lnTo>
                    <a:lnTo>
                      <a:pt x="64" y="204"/>
                    </a:lnTo>
                    <a:lnTo>
                      <a:pt x="50" y="194"/>
                    </a:lnTo>
                    <a:lnTo>
                      <a:pt x="43" y="189"/>
                    </a:lnTo>
                    <a:lnTo>
                      <a:pt x="38" y="182"/>
                    </a:lnTo>
                    <a:lnTo>
                      <a:pt x="36" y="179"/>
                    </a:lnTo>
                    <a:lnTo>
                      <a:pt x="34" y="175"/>
                    </a:lnTo>
                    <a:lnTo>
                      <a:pt x="34" y="171"/>
                    </a:lnTo>
                    <a:lnTo>
                      <a:pt x="33" y="167"/>
                    </a:lnTo>
                    <a:lnTo>
                      <a:pt x="34" y="164"/>
                    </a:lnTo>
                    <a:lnTo>
                      <a:pt x="34" y="160"/>
                    </a:lnTo>
                    <a:lnTo>
                      <a:pt x="36" y="157"/>
                    </a:lnTo>
                    <a:lnTo>
                      <a:pt x="38" y="154"/>
                    </a:lnTo>
                    <a:lnTo>
                      <a:pt x="43" y="149"/>
                    </a:lnTo>
                    <a:lnTo>
                      <a:pt x="50" y="145"/>
                    </a:lnTo>
                    <a:lnTo>
                      <a:pt x="56" y="141"/>
                    </a:lnTo>
                    <a:lnTo>
                      <a:pt x="64" y="139"/>
                    </a:lnTo>
                    <a:lnTo>
                      <a:pt x="73" y="137"/>
                    </a:lnTo>
                    <a:lnTo>
                      <a:pt x="80" y="137"/>
                    </a:lnTo>
                    <a:lnTo>
                      <a:pt x="80" y="126"/>
                    </a:lnTo>
                    <a:lnTo>
                      <a:pt x="80" y="111"/>
                    </a:lnTo>
                    <a:lnTo>
                      <a:pt x="67" y="111"/>
                    </a:lnTo>
                    <a:lnTo>
                      <a:pt x="61" y="111"/>
                    </a:lnTo>
                    <a:lnTo>
                      <a:pt x="61" y="102"/>
                    </a:lnTo>
                    <a:lnTo>
                      <a:pt x="61" y="93"/>
                    </a:lnTo>
                    <a:lnTo>
                      <a:pt x="60" y="86"/>
                    </a:lnTo>
                    <a:lnTo>
                      <a:pt x="58" y="79"/>
                    </a:lnTo>
                    <a:lnTo>
                      <a:pt x="55" y="70"/>
                    </a:lnTo>
                    <a:lnTo>
                      <a:pt x="53" y="62"/>
                    </a:lnTo>
                    <a:lnTo>
                      <a:pt x="46" y="46"/>
                    </a:lnTo>
                    <a:lnTo>
                      <a:pt x="40" y="32"/>
                    </a:lnTo>
                    <a:lnTo>
                      <a:pt x="33" y="31"/>
                    </a:lnTo>
                    <a:lnTo>
                      <a:pt x="27" y="29"/>
                    </a:lnTo>
                    <a:lnTo>
                      <a:pt x="20" y="25"/>
                    </a:lnTo>
                    <a:lnTo>
                      <a:pt x="16" y="21"/>
                    </a:lnTo>
                    <a:lnTo>
                      <a:pt x="7" y="10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17" y="0"/>
                    </a:lnTo>
                    <a:lnTo>
                      <a:pt x="24" y="0"/>
                    </a:lnTo>
                    <a:lnTo>
                      <a:pt x="33" y="0"/>
                    </a:lnTo>
                    <a:lnTo>
                      <a:pt x="38" y="3"/>
                    </a:lnTo>
                    <a:lnTo>
                      <a:pt x="45" y="8"/>
                    </a:lnTo>
                    <a:lnTo>
                      <a:pt x="56" y="16"/>
                    </a:lnTo>
                    <a:lnTo>
                      <a:pt x="67" y="26"/>
                    </a:lnTo>
                    <a:lnTo>
                      <a:pt x="78" y="35"/>
                    </a:lnTo>
                    <a:lnTo>
                      <a:pt x="88" y="42"/>
                    </a:lnTo>
                    <a:lnTo>
                      <a:pt x="96" y="48"/>
                    </a:lnTo>
                    <a:lnTo>
                      <a:pt x="100" y="50"/>
                    </a:lnTo>
                    <a:lnTo>
                      <a:pt x="119" y="58"/>
                    </a:lnTo>
                    <a:lnTo>
                      <a:pt x="135" y="65"/>
                    </a:lnTo>
                    <a:lnTo>
                      <a:pt x="152" y="70"/>
                    </a:lnTo>
                    <a:lnTo>
                      <a:pt x="166" y="76"/>
                    </a:lnTo>
                    <a:lnTo>
                      <a:pt x="181" y="79"/>
                    </a:lnTo>
                    <a:lnTo>
                      <a:pt x="197" y="82"/>
                    </a:lnTo>
                    <a:lnTo>
                      <a:pt x="214" y="85"/>
                    </a:lnTo>
                    <a:lnTo>
                      <a:pt x="233" y="87"/>
                    </a:lnTo>
                    <a:lnTo>
                      <a:pt x="236" y="77"/>
                    </a:lnTo>
                    <a:lnTo>
                      <a:pt x="240" y="62"/>
                    </a:lnTo>
                    <a:lnTo>
                      <a:pt x="257" y="83"/>
                    </a:lnTo>
                    <a:lnTo>
                      <a:pt x="275" y="100"/>
                    </a:lnTo>
                    <a:lnTo>
                      <a:pt x="284" y="107"/>
                    </a:lnTo>
                    <a:lnTo>
                      <a:pt x="293" y="113"/>
                    </a:lnTo>
                    <a:lnTo>
                      <a:pt x="305" y="119"/>
                    </a:lnTo>
                    <a:lnTo>
                      <a:pt x="320" y="123"/>
                    </a:lnTo>
                    <a:lnTo>
                      <a:pt x="297" y="133"/>
                    </a:lnTo>
                    <a:lnTo>
                      <a:pt x="277" y="141"/>
                    </a:lnTo>
                    <a:lnTo>
                      <a:pt x="268" y="144"/>
                    </a:lnTo>
                    <a:lnTo>
                      <a:pt x="258" y="147"/>
                    </a:lnTo>
                    <a:lnTo>
                      <a:pt x="249" y="148"/>
                    </a:lnTo>
                    <a:lnTo>
                      <a:pt x="240" y="149"/>
                    </a:lnTo>
                    <a:lnTo>
                      <a:pt x="237" y="159"/>
                    </a:lnTo>
                    <a:lnTo>
                      <a:pt x="234" y="170"/>
                    </a:lnTo>
                    <a:lnTo>
                      <a:pt x="232" y="176"/>
                    </a:lnTo>
                    <a:lnTo>
                      <a:pt x="231" y="181"/>
                    </a:lnTo>
                    <a:lnTo>
                      <a:pt x="231" y="187"/>
                    </a:lnTo>
                    <a:lnTo>
                      <a:pt x="233" y="192"/>
                    </a:lnTo>
                    <a:lnTo>
                      <a:pt x="222" y="192"/>
                    </a:lnTo>
                    <a:lnTo>
                      <a:pt x="213" y="191"/>
                    </a:lnTo>
                    <a:lnTo>
                      <a:pt x="204" y="189"/>
                    </a:lnTo>
                    <a:lnTo>
                      <a:pt x="198" y="187"/>
                    </a:lnTo>
                    <a:lnTo>
                      <a:pt x="186" y="181"/>
                    </a:lnTo>
                    <a:lnTo>
                      <a:pt x="176" y="176"/>
                    </a:lnTo>
                    <a:lnTo>
                      <a:pt x="168" y="170"/>
                    </a:lnTo>
                    <a:lnTo>
                      <a:pt x="159" y="165"/>
                    </a:lnTo>
                    <a:lnTo>
                      <a:pt x="155" y="164"/>
                    </a:lnTo>
                    <a:lnTo>
                      <a:pt x="151" y="162"/>
                    </a:lnTo>
                    <a:lnTo>
                      <a:pt x="145" y="161"/>
                    </a:lnTo>
                    <a:lnTo>
                      <a:pt x="140" y="161"/>
                    </a:lnTo>
                    <a:lnTo>
                      <a:pt x="131" y="162"/>
                    </a:lnTo>
                    <a:lnTo>
                      <a:pt x="122" y="164"/>
                    </a:lnTo>
                    <a:lnTo>
                      <a:pt x="114" y="167"/>
                    </a:lnTo>
                    <a:lnTo>
                      <a:pt x="108" y="170"/>
                    </a:lnTo>
                    <a:lnTo>
                      <a:pt x="100" y="173"/>
                    </a:lnTo>
                    <a:lnTo>
                      <a:pt x="94" y="176"/>
                    </a:lnTo>
                    <a:lnTo>
                      <a:pt x="87" y="178"/>
                    </a:lnTo>
                    <a:lnTo>
                      <a:pt x="80" y="179"/>
                    </a:lnTo>
                    <a:lnTo>
                      <a:pt x="85" y="183"/>
                    </a:lnTo>
                    <a:lnTo>
                      <a:pt x="90" y="188"/>
                    </a:lnTo>
                    <a:lnTo>
                      <a:pt x="96" y="191"/>
                    </a:lnTo>
                    <a:lnTo>
                      <a:pt x="101" y="194"/>
                    </a:lnTo>
                    <a:lnTo>
                      <a:pt x="116" y="200"/>
                    </a:lnTo>
                    <a:lnTo>
                      <a:pt x="133" y="204"/>
                    </a:lnTo>
                    <a:lnTo>
                      <a:pt x="126" y="212"/>
                    </a:lnTo>
                    <a:lnTo>
                      <a:pt x="119" y="219"/>
                    </a:lnTo>
                    <a:lnTo>
                      <a:pt x="113" y="224"/>
                    </a:lnTo>
                    <a:lnTo>
                      <a:pt x="108" y="228"/>
                    </a:lnTo>
                    <a:lnTo>
                      <a:pt x="102" y="231"/>
                    </a:lnTo>
                    <a:lnTo>
                      <a:pt x="97" y="233"/>
                    </a:lnTo>
                    <a:lnTo>
                      <a:pt x="91" y="234"/>
                    </a:lnTo>
                    <a:lnTo>
                      <a:pt x="87" y="234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61" name="Freeform 483">
                <a:extLst>
                  <a:ext uri="{FF2B5EF4-FFF2-40B4-BE49-F238E27FC236}">
                    <a16:creationId xmlns="" xmlns:a16="http://schemas.microsoft.com/office/drawing/2014/main" id="{CB3972AB-5927-4E9E-843D-C803C4BCA56A}"/>
                  </a:ext>
                </a:extLst>
              </p:cNvPr>
              <p:cNvSpPr>
                <a:spLocks/>
              </p:cNvSpPr>
              <p:nvPr>
                <p:custDataLst>
                  <p:tags r:id="rId321"/>
                </p:custDataLst>
              </p:nvPr>
            </p:nvSpPr>
            <p:spPr bwMode="auto">
              <a:xfrm>
                <a:off x="7142163" y="2565400"/>
                <a:ext cx="52387" cy="57150"/>
              </a:xfrm>
              <a:custGeom>
                <a:avLst/>
                <a:gdLst>
                  <a:gd name="T0" fmla="*/ 2147483646 w 125"/>
                  <a:gd name="T1" fmla="*/ 2147483646 h 93"/>
                  <a:gd name="T2" fmla="*/ 2147483646 w 125"/>
                  <a:gd name="T3" fmla="*/ 2147483646 h 93"/>
                  <a:gd name="T4" fmla="*/ 2147483646 w 125"/>
                  <a:gd name="T5" fmla="*/ 2147483646 h 93"/>
                  <a:gd name="T6" fmla="*/ 2147483646 w 125"/>
                  <a:gd name="T7" fmla="*/ 2147483646 h 93"/>
                  <a:gd name="T8" fmla="*/ 2147483646 w 125"/>
                  <a:gd name="T9" fmla="*/ 2147483646 h 93"/>
                  <a:gd name="T10" fmla="*/ 2147483646 w 125"/>
                  <a:gd name="T11" fmla="*/ 2147483646 h 93"/>
                  <a:gd name="T12" fmla="*/ 2147483646 w 125"/>
                  <a:gd name="T13" fmla="*/ 2147483646 h 93"/>
                  <a:gd name="T14" fmla="*/ 2147483646 w 125"/>
                  <a:gd name="T15" fmla="*/ 2147483646 h 93"/>
                  <a:gd name="T16" fmla="*/ 2147483646 w 125"/>
                  <a:gd name="T17" fmla="*/ 2147483646 h 93"/>
                  <a:gd name="T18" fmla="*/ 2147483646 w 125"/>
                  <a:gd name="T19" fmla="*/ 2147483646 h 93"/>
                  <a:gd name="T20" fmla="*/ 2147483646 w 125"/>
                  <a:gd name="T21" fmla="*/ 0 h 93"/>
                  <a:gd name="T22" fmla="*/ 2147483646 w 125"/>
                  <a:gd name="T23" fmla="*/ 0 h 93"/>
                  <a:gd name="T24" fmla="*/ 2147483646 w 125"/>
                  <a:gd name="T25" fmla="*/ 2147483646 h 93"/>
                  <a:gd name="T26" fmla="*/ 2147483646 w 125"/>
                  <a:gd name="T27" fmla="*/ 2147483646 h 93"/>
                  <a:gd name="T28" fmla="*/ 2147483646 w 125"/>
                  <a:gd name="T29" fmla="*/ 2147483646 h 93"/>
                  <a:gd name="T30" fmla="*/ 2147483646 w 125"/>
                  <a:gd name="T31" fmla="*/ 2147483646 h 93"/>
                  <a:gd name="T32" fmla="*/ 2147483646 w 125"/>
                  <a:gd name="T33" fmla="*/ 2147483646 h 93"/>
                  <a:gd name="T34" fmla="*/ 2147483646 w 125"/>
                  <a:gd name="T35" fmla="*/ 2147483646 h 93"/>
                  <a:gd name="T36" fmla="*/ 2147483646 w 125"/>
                  <a:gd name="T37" fmla="*/ 2147483646 h 93"/>
                  <a:gd name="T38" fmla="*/ 2147483646 w 125"/>
                  <a:gd name="T39" fmla="*/ 2147483646 h 93"/>
                  <a:gd name="T40" fmla="*/ 2147483646 w 125"/>
                  <a:gd name="T41" fmla="*/ 2147483646 h 93"/>
                  <a:gd name="T42" fmla="*/ 2147483646 w 125"/>
                  <a:gd name="T43" fmla="*/ 2147483646 h 93"/>
                  <a:gd name="T44" fmla="*/ 2147483646 w 125"/>
                  <a:gd name="T45" fmla="*/ 2147483646 h 93"/>
                  <a:gd name="T46" fmla="*/ 2147483646 w 125"/>
                  <a:gd name="T47" fmla="*/ 2147483646 h 93"/>
                  <a:gd name="T48" fmla="*/ 2147483646 w 125"/>
                  <a:gd name="T49" fmla="*/ 2147483646 h 93"/>
                  <a:gd name="T50" fmla="*/ 2147483646 w 125"/>
                  <a:gd name="T51" fmla="*/ 2147483646 h 93"/>
                  <a:gd name="T52" fmla="*/ 2147483646 w 125"/>
                  <a:gd name="T53" fmla="*/ 2147483646 h 93"/>
                  <a:gd name="T54" fmla="*/ 2147483646 w 125"/>
                  <a:gd name="T55" fmla="*/ 2147483646 h 93"/>
                  <a:gd name="T56" fmla="*/ 2147483646 w 125"/>
                  <a:gd name="T57" fmla="*/ 2147483646 h 93"/>
                  <a:gd name="T58" fmla="*/ 2147483646 w 125"/>
                  <a:gd name="T59" fmla="*/ 2147483646 h 93"/>
                  <a:gd name="T60" fmla="*/ 2147483646 w 125"/>
                  <a:gd name="T61" fmla="*/ 2147483646 h 93"/>
                  <a:gd name="T62" fmla="*/ 2147483646 w 125"/>
                  <a:gd name="T63" fmla="*/ 2147483646 h 93"/>
                  <a:gd name="T64" fmla="*/ 2147483646 w 125"/>
                  <a:gd name="T65" fmla="*/ 2147483646 h 93"/>
                  <a:gd name="T66" fmla="*/ 2147483646 w 125"/>
                  <a:gd name="T67" fmla="*/ 2147483646 h 93"/>
                  <a:gd name="T68" fmla="*/ 0 w 125"/>
                  <a:gd name="T69" fmla="*/ 2147483646 h 93"/>
                  <a:gd name="T70" fmla="*/ 0 w 125"/>
                  <a:gd name="T71" fmla="*/ 2147483646 h 93"/>
                  <a:gd name="T72" fmla="*/ 2147483646 w 125"/>
                  <a:gd name="T73" fmla="*/ 2147483646 h 93"/>
                  <a:gd name="T74" fmla="*/ 2147483646 w 125"/>
                  <a:gd name="T75" fmla="*/ 2147483646 h 93"/>
                  <a:gd name="T76" fmla="*/ 2147483646 w 125"/>
                  <a:gd name="T77" fmla="*/ 2147483646 h 93"/>
                  <a:gd name="T78" fmla="*/ 2147483646 w 125"/>
                  <a:gd name="T79" fmla="*/ 2147483646 h 93"/>
                  <a:gd name="T80" fmla="*/ 2147483646 w 125"/>
                  <a:gd name="T81" fmla="*/ 2147483646 h 93"/>
                  <a:gd name="T82" fmla="*/ 2147483646 w 125"/>
                  <a:gd name="T83" fmla="*/ 2147483646 h 93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25"/>
                  <a:gd name="T127" fmla="*/ 0 h 93"/>
                  <a:gd name="T128" fmla="*/ 125 w 125"/>
                  <a:gd name="T129" fmla="*/ 93 h 93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25" h="93">
                    <a:moveTo>
                      <a:pt x="33" y="19"/>
                    </a:moveTo>
                    <a:lnTo>
                      <a:pt x="43" y="19"/>
                    </a:lnTo>
                    <a:lnTo>
                      <a:pt x="52" y="19"/>
                    </a:lnTo>
                    <a:lnTo>
                      <a:pt x="55" y="19"/>
                    </a:lnTo>
                    <a:lnTo>
                      <a:pt x="58" y="17"/>
                    </a:lnTo>
                    <a:lnTo>
                      <a:pt x="61" y="15"/>
                    </a:lnTo>
                    <a:lnTo>
                      <a:pt x="65" y="11"/>
                    </a:lnTo>
                    <a:lnTo>
                      <a:pt x="68" y="8"/>
                    </a:lnTo>
                    <a:lnTo>
                      <a:pt x="70" y="5"/>
                    </a:lnTo>
                    <a:lnTo>
                      <a:pt x="72" y="3"/>
                    </a:lnTo>
                    <a:lnTo>
                      <a:pt x="72" y="0"/>
                    </a:lnTo>
                    <a:lnTo>
                      <a:pt x="118" y="0"/>
                    </a:lnTo>
                    <a:lnTo>
                      <a:pt x="122" y="15"/>
                    </a:lnTo>
                    <a:lnTo>
                      <a:pt x="125" y="25"/>
                    </a:lnTo>
                    <a:lnTo>
                      <a:pt x="124" y="29"/>
                    </a:lnTo>
                    <a:lnTo>
                      <a:pt x="122" y="33"/>
                    </a:lnTo>
                    <a:lnTo>
                      <a:pt x="119" y="35"/>
                    </a:lnTo>
                    <a:lnTo>
                      <a:pt x="117" y="37"/>
                    </a:lnTo>
                    <a:lnTo>
                      <a:pt x="111" y="40"/>
                    </a:lnTo>
                    <a:lnTo>
                      <a:pt x="104" y="41"/>
                    </a:lnTo>
                    <a:lnTo>
                      <a:pt x="88" y="41"/>
                    </a:lnTo>
                    <a:lnTo>
                      <a:pt x="72" y="43"/>
                    </a:lnTo>
                    <a:lnTo>
                      <a:pt x="70" y="47"/>
                    </a:lnTo>
                    <a:lnTo>
                      <a:pt x="69" y="53"/>
                    </a:lnTo>
                    <a:lnTo>
                      <a:pt x="67" y="61"/>
                    </a:lnTo>
                    <a:lnTo>
                      <a:pt x="67" y="71"/>
                    </a:lnTo>
                    <a:lnTo>
                      <a:pt x="66" y="86"/>
                    </a:lnTo>
                    <a:lnTo>
                      <a:pt x="66" y="93"/>
                    </a:lnTo>
                    <a:lnTo>
                      <a:pt x="49" y="85"/>
                    </a:lnTo>
                    <a:lnTo>
                      <a:pt x="27" y="73"/>
                    </a:lnTo>
                    <a:lnTo>
                      <a:pt x="16" y="65"/>
                    </a:lnTo>
                    <a:lnTo>
                      <a:pt x="7" y="58"/>
                    </a:lnTo>
                    <a:lnTo>
                      <a:pt x="4" y="54"/>
                    </a:lnTo>
                    <a:lnTo>
                      <a:pt x="2" y="50"/>
                    </a:lnTo>
                    <a:lnTo>
                      <a:pt x="0" y="47"/>
                    </a:lnTo>
                    <a:lnTo>
                      <a:pt x="0" y="43"/>
                    </a:lnTo>
                    <a:lnTo>
                      <a:pt x="7" y="43"/>
                    </a:lnTo>
                    <a:lnTo>
                      <a:pt x="15" y="41"/>
                    </a:lnTo>
                    <a:lnTo>
                      <a:pt x="20" y="39"/>
                    </a:lnTo>
                    <a:lnTo>
                      <a:pt x="23" y="36"/>
                    </a:lnTo>
                    <a:lnTo>
                      <a:pt x="28" y="28"/>
                    </a:lnTo>
                    <a:lnTo>
                      <a:pt x="33" y="19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62" name="Freeform 484">
                <a:extLst>
                  <a:ext uri="{FF2B5EF4-FFF2-40B4-BE49-F238E27FC236}">
                    <a16:creationId xmlns="" xmlns:a16="http://schemas.microsoft.com/office/drawing/2014/main" id="{63CD0779-51E5-4CA2-9162-B5C7800674DD}"/>
                  </a:ext>
                </a:extLst>
              </p:cNvPr>
              <p:cNvSpPr>
                <a:spLocks/>
              </p:cNvSpPr>
              <p:nvPr>
                <p:custDataLst>
                  <p:tags r:id="rId322"/>
                </p:custDataLst>
              </p:nvPr>
            </p:nvSpPr>
            <p:spPr bwMode="auto">
              <a:xfrm>
                <a:off x="7088188" y="2579688"/>
                <a:ext cx="60325" cy="84137"/>
              </a:xfrm>
              <a:custGeom>
                <a:avLst/>
                <a:gdLst>
                  <a:gd name="T0" fmla="*/ 2147483646 w 133"/>
                  <a:gd name="T1" fmla="*/ 2147483646 h 154"/>
                  <a:gd name="T2" fmla="*/ 2147483646 w 133"/>
                  <a:gd name="T3" fmla="*/ 2147483646 h 154"/>
                  <a:gd name="T4" fmla="*/ 2147483646 w 133"/>
                  <a:gd name="T5" fmla="*/ 2147483646 h 154"/>
                  <a:gd name="T6" fmla="*/ 2147483646 w 133"/>
                  <a:gd name="T7" fmla="*/ 2147483646 h 154"/>
                  <a:gd name="T8" fmla="*/ 2147483646 w 133"/>
                  <a:gd name="T9" fmla="*/ 2147483646 h 154"/>
                  <a:gd name="T10" fmla="*/ 2147483646 w 133"/>
                  <a:gd name="T11" fmla="*/ 2147483646 h 154"/>
                  <a:gd name="T12" fmla="*/ 2147483646 w 133"/>
                  <a:gd name="T13" fmla="*/ 0 h 154"/>
                  <a:gd name="T14" fmla="*/ 2147483646 w 133"/>
                  <a:gd name="T15" fmla="*/ 2147483646 h 154"/>
                  <a:gd name="T16" fmla="*/ 2147483646 w 133"/>
                  <a:gd name="T17" fmla="*/ 2147483646 h 154"/>
                  <a:gd name="T18" fmla="*/ 2147483646 w 133"/>
                  <a:gd name="T19" fmla="*/ 2147483646 h 154"/>
                  <a:gd name="T20" fmla="*/ 2147483646 w 133"/>
                  <a:gd name="T21" fmla="*/ 2147483646 h 154"/>
                  <a:gd name="T22" fmla="*/ 2147483646 w 133"/>
                  <a:gd name="T23" fmla="*/ 2147483646 h 154"/>
                  <a:gd name="T24" fmla="*/ 2147483646 w 133"/>
                  <a:gd name="T25" fmla="*/ 2147483646 h 154"/>
                  <a:gd name="T26" fmla="*/ 2147483646 w 133"/>
                  <a:gd name="T27" fmla="*/ 2147483646 h 154"/>
                  <a:gd name="T28" fmla="*/ 2147483646 w 133"/>
                  <a:gd name="T29" fmla="*/ 2147483646 h 154"/>
                  <a:gd name="T30" fmla="*/ 2147483646 w 133"/>
                  <a:gd name="T31" fmla="*/ 2147483646 h 154"/>
                  <a:gd name="T32" fmla="*/ 2147483646 w 133"/>
                  <a:gd name="T33" fmla="*/ 2147483646 h 154"/>
                  <a:gd name="T34" fmla="*/ 2147483646 w 133"/>
                  <a:gd name="T35" fmla="*/ 2147483646 h 154"/>
                  <a:gd name="T36" fmla="*/ 2147483646 w 133"/>
                  <a:gd name="T37" fmla="*/ 2147483646 h 154"/>
                  <a:gd name="T38" fmla="*/ 2147483646 w 133"/>
                  <a:gd name="T39" fmla="*/ 2147483646 h 154"/>
                  <a:gd name="T40" fmla="*/ 2147483646 w 133"/>
                  <a:gd name="T41" fmla="*/ 2147483646 h 154"/>
                  <a:gd name="T42" fmla="*/ 2147483646 w 133"/>
                  <a:gd name="T43" fmla="*/ 2147483646 h 154"/>
                  <a:gd name="T44" fmla="*/ 2147483646 w 133"/>
                  <a:gd name="T45" fmla="*/ 2147483646 h 154"/>
                  <a:gd name="T46" fmla="*/ 2147483646 w 133"/>
                  <a:gd name="T47" fmla="*/ 2147483646 h 154"/>
                  <a:gd name="T48" fmla="*/ 2147483646 w 133"/>
                  <a:gd name="T49" fmla="*/ 2147483646 h 154"/>
                  <a:gd name="T50" fmla="*/ 2147483646 w 133"/>
                  <a:gd name="T51" fmla="*/ 2147483646 h 154"/>
                  <a:gd name="T52" fmla="*/ 2147483646 w 133"/>
                  <a:gd name="T53" fmla="*/ 2147483646 h 154"/>
                  <a:gd name="T54" fmla="*/ 2147483646 w 133"/>
                  <a:gd name="T55" fmla="*/ 2147483646 h 154"/>
                  <a:gd name="T56" fmla="*/ 2147483646 w 133"/>
                  <a:gd name="T57" fmla="*/ 2147483646 h 154"/>
                  <a:gd name="T58" fmla="*/ 2147483646 w 133"/>
                  <a:gd name="T59" fmla="*/ 2147483646 h 154"/>
                  <a:gd name="T60" fmla="*/ 2147483646 w 133"/>
                  <a:gd name="T61" fmla="*/ 2147483646 h 154"/>
                  <a:gd name="T62" fmla="*/ 2147483646 w 133"/>
                  <a:gd name="T63" fmla="*/ 2147483646 h 154"/>
                  <a:gd name="T64" fmla="*/ 2147483646 w 133"/>
                  <a:gd name="T65" fmla="*/ 2147483646 h 154"/>
                  <a:gd name="T66" fmla="*/ 2147483646 w 133"/>
                  <a:gd name="T67" fmla="*/ 2147483646 h 154"/>
                  <a:gd name="T68" fmla="*/ 2147483646 w 133"/>
                  <a:gd name="T69" fmla="*/ 2147483646 h 154"/>
                  <a:gd name="T70" fmla="*/ 2147483646 w 133"/>
                  <a:gd name="T71" fmla="*/ 2147483646 h 154"/>
                  <a:gd name="T72" fmla="*/ 2147483646 w 133"/>
                  <a:gd name="T73" fmla="*/ 2147483646 h 154"/>
                  <a:gd name="T74" fmla="*/ 2147483646 w 133"/>
                  <a:gd name="T75" fmla="*/ 2147483646 h 154"/>
                  <a:gd name="T76" fmla="*/ 2147483646 w 133"/>
                  <a:gd name="T77" fmla="*/ 2147483646 h 154"/>
                  <a:gd name="T78" fmla="*/ 2147483646 w 133"/>
                  <a:gd name="T79" fmla="*/ 2147483646 h 154"/>
                  <a:gd name="T80" fmla="*/ 2147483646 w 133"/>
                  <a:gd name="T81" fmla="*/ 2147483646 h 154"/>
                  <a:gd name="T82" fmla="*/ 2147483646 w 133"/>
                  <a:gd name="T83" fmla="*/ 2147483646 h 154"/>
                  <a:gd name="T84" fmla="*/ 2147483646 w 133"/>
                  <a:gd name="T85" fmla="*/ 2147483646 h 154"/>
                  <a:gd name="T86" fmla="*/ 2147483646 w 133"/>
                  <a:gd name="T87" fmla="*/ 2147483646 h 154"/>
                  <a:gd name="T88" fmla="*/ 2147483646 w 133"/>
                  <a:gd name="T89" fmla="*/ 2147483646 h 154"/>
                  <a:gd name="T90" fmla="*/ 2147483646 w 133"/>
                  <a:gd name="T91" fmla="*/ 2147483646 h 154"/>
                  <a:gd name="T92" fmla="*/ 2147483646 w 133"/>
                  <a:gd name="T93" fmla="*/ 2147483646 h 154"/>
                  <a:gd name="T94" fmla="*/ 2147483646 w 133"/>
                  <a:gd name="T95" fmla="*/ 2147483646 h 154"/>
                  <a:gd name="T96" fmla="*/ 2147483646 w 133"/>
                  <a:gd name="T97" fmla="*/ 2147483646 h 154"/>
                  <a:gd name="T98" fmla="*/ 2147483646 w 133"/>
                  <a:gd name="T99" fmla="*/ 2147483646 h 154"/>
                  <a:gd name="T100" fmla="*/ 2147483646 w 133"/>
                  <a:gd name="T101" fmla="*/ 2147483646 h 154"/>
                  <a:gd name="T102" fmla="*/ 0 w 133"/>
                  <a:gd name="T103" fmla="*/ 2147483646 h 154"/>
                  <a:gd name="T104" fmla="*/ 0 w 133"/>
                  <a:gd name="T105" fmla="*/ 2147483646 h 154"/>
                  <a:gd name="T106" fmla="*/ 2147483646 w 133"/>
                  <a:gd name="T107" fmla="*/ 2147483646 h 154"/>
                  <a:gd name="T108" fmla="*/ 2147483646 w 133"/>
                  <a:gd name="T109" fmla="*/ 2147483646 h 15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33"/>
                  <a:gd name="T166" fmla="*/ 0 h 154"/>
                  <a:gd name="T167" fmla="*/ 133 w 133"/>
                  <a:gd name="T168" fmla="*/ 154 h 15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33" h="154">
                    <a:moveTo>
                      <a:pt x="20" y="12"/>
                    </a:moveTo>
                    <a:lnTo>
                      <a:pt x="24" y="10"/>
                    </a:lnTo>
                    <a:lnTo>
                      <a:pt x="31" y="6"/>
                    </a:lnTo>
                    <a:lnTo>
                      <a:pt x="34" y="4"/>
                    </a:lnTo>
                    <a:lnTo>
                      <a:pt x="37" y="2"/>
                    </a:lnTo>
                    <a:lnTo>
                      <a:pt x="42" y="1"/>
                    </a:lnTo>
                    <a:lnTo>
                      <a:pt x="46" y="0"/>
                    </a:lnTo>
                    <a:lnTo>
                      <a:pt x="59" y="1"/>
                    </a:lnTo>
                    <a:lnTo>
                      <a:pt x="70" y="4"/>
                    </a:lnTo>
                    <a:lnTo>
                      <a:pt x="81" y="8"/>
                    </a:lnTo>
                    <a:lnTo>
                      <a:pt x="90" y="14"/>
                    </a:lnTo>
                    <a:lnTo>
                      <a:pt x="99" y="21"/>
                    </a:lnTo>
                    <a:lnTo>
                      <a:pt x="105" y="30"/>
                    </a:lnTo>
                    <a:lnTo>
                      <a:pt x="112" y="40"/>
                    </a:lnTo>
                    <a:lnTo>
                      <a:pt x="116" y="50"/>
                    </a:lnTo>
                    <a:lnTo>
                      <a:pt x="121" y="60"/>
                    </a:lnTo>
                    <a:lnTo>
                      <a:pt x="124" y="71"/>
                    </a:lnTo>
                    <a:lnTo>
                      <a:pt x="127" y="82"/>
                    </a:lnTo>
                    <a:lnTo>
                      <a:pt x="130" y="94"/>
                    </a:lnTo>
                    <a:lnTo>
                      <a:pt x="132" y="116"/>
                    </a:lnTo>
                    <a:lnTo>
                      <a:pt x="133" y="135"/>
                    </a:lnTo>
                    <a:lnTo>
                      <a:pt x="132" y="138"/>
                    </a:lnTo>
                    <a:lnTo>
                      <a:pt x="130" y="141"/>
                    </a:lnTo>
                    <a:lnTo>
                      <a:pt x="125" y="144"/>
                    </a:lnTo>
                    <a:lnTo>
                      <a:pt x="121" y="147"/>
                    </a:lnTo>
                    <a:lnTo>
                      <a:pt x="115" y="150"/>
                    </a:lnTo>
                    <a:lnTo>
                      <a:pt x="110" y="153"/>
                    </a:lnTo>
                    <a:lnTo>
                      <a:pt x="104" y="154"/>
                    </a:lnTo>
                    <a:lnTo>
                      <a:pt x="99" y="154"/>
                    </a:lnTo>
                    <a:lnTo>
                      <a:pt x="93" y="153"/>
                    </a:lnTo>
                    <a:lnTo>
                      <a:pt x="87" y="149"/>
                    </a:lnTo>
                    <a:lnTo>
                      <a:pt x="79" y="141"/>
                    </a:lnTo>
                    <a:lnTo>
                      <a:pt x="71" y="134"/>
                    </a:lnTo>
                    <a:lnTo>
                      <a:pt x="64" y="126"/>
                    </a:lnTo>
                    <a:lnTo>
                      <a:pt x="58" y="118"/>
                    </a:lnTo>
                    <a:lnTo>
                      <a:pt x="54" y="111"/>
                    </a:lnTo>
                    <a:lnTo>
                      <a:pt x="53" y="105"/>
                    </a:lnTo>
                    <a:lnTo>
                      <a:pt x="54" y="98"/>
                    </a:lnTo>
                    <a:lnTo>
                      <a:pt x="56" y="83"/>
                    </a:lnTo>
                    <a:lnTo>
                      <a:pt x="58" y="68"/>
                    </a:lnTo>
                    <a:lnTo>
                      <a:pt x="59" y="62"/>
                    </a:lnTo>
                    <a:lnTo>
                      <a:pt x="47" y="61"/>
                    </a:lnTo>
                    <a:lnTo>
                      <a:pt x="36" y="59"/>
                    </a:lnTo>
                    <a:lnTo>
                      <a:pt x="25" y="56"/>
                    </a:lnTo>
                    <a:lnTo>
                      <a:pt x="17" y="52"/>
                    </a:lnTo>
                    <a:lnTo>
                      <a:pt x="13" y="49"/>
                    </a:lnTo>
                    <a:lnTo>
                      <a:pt x="10" y="46"/>
                    </a:lnTo>
                    <a:lnTo>
                      <a:pt x="7" y="43"/>
                    </a:lnTo>
                    <a:lnTo>
                      <a:pt x="4" y="39"/>
                    </a:lnTo>
                    <a:lnTo>
                      <a:pt x="2" y="34"/>
                    </a:lnTo>
                    <a:lnTo>
                      <a:pt x="1" y="29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7" y="15"/>
                    </a:lnTo>
                    <a:lnTo>
                      <a:pt x="20" y="12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63" name="Freeform 485">
                <a:extLst>
                  <a:ext uri="{FF2B5EF4-FFF2-40B4-BE49-F238E27FC236}">
                    <a16:creationId xmlns="" xmlns:a16="http://schemas.microsoft.com/office/drawing/2014/main" id="{E8C685C2-577F-41E6-8692-7CF367C7D1D6}"/>
                  </a:ext>
                </a:extLst>
              </p:cNvPr>
              <p:cNvSpPr>
                <a:spLocks/>
              </p:cNvSpPr>
              <p:nvPr>
                <p:custDataLst>
                  <p:tags r:id="rId323"/>
                </p:custDataLst>
              </p:nvPr>
            </p:nvSpPr>
            <p:spPr bwMode="auto">
              <a:xfrm>
                <a:off x="7104063" y="2341563"/>
                <a:ext cx="209550" cy="244475"/>
              </a:xfrm>
              <a:custGeom>
                <a:avLst/>
                <a:gdLst>
                  <a:gd name="T0" fmla="*/ 2147483646 w 485"/>
                  <a:gd name="T1" fmla="*/ 2147483646 h 468"/>
                  <a:gd name="T2" fmla="*/ 2147483646 w 485"/>
                  <a:gd name="T3" fmla="*/ 2147483646 h 468"/>
                  <a:gd name="T4" fmla="*/ 2147483646 w 485"/>
                  <a:gd name="T5" fmla="*/ 2147483646 h 468"/>
                  <a:gd name="T6" fmla="*/ 2147483646 w 485"/>
                  <a:gd name="T7" fmla="*/ 2147483646 h 468"/>
                  <a:gd name="T8" fmla="*/ 2147483646 w 485"/>
                  <a:gd name="T9" fmla="*/ 2147483646 h 468"/>
                  <a:gd name="T10" fmla="*/ 2147483646 w 485"/>
                  <a:gd name="T11" fmla="*/ 2147483646 h 468"/>
                  <a:gd name="T12" fmla="*/ 2147483646 w 485"/>
                  <a:gd name="T13" fmla="*/ 2147483646 h 468"/>
                  <a:gd name="T14" fmla="*/ 2147483646 w 485"/>
                  <a:gd name="T15" fmla="*/ 2147483646 h 468"/>
                  <a:gd name="T16" fmla="*/ 2147483646 w 485"/>
                  <a:gd name="T17" fmla="*/ 2147483646 h 468"/>
                  <a:gd name="T18" fmla="*/ 2147483646 w 485"/>
                  <a:gd name="T19" fmla="*/ 2147483646 h 468"/>
                  <a:gd name="T20" fmla="*/ 2147483646 w 485"/>
                  <a:gd name="T21" fmla="*/ 2147483646 h 468"/>
                  <a:gd name="T22" fmla="*/ 2147483646 w 485"/>
                  <a:gd name="T23" fmla="*/ 2147483646 h 468"/>
                  <a:gd name="T24" fmla="*/ 2147483646 w 485"/>
                  <a:gd name="T25" fmla="*/ 2147483646 h 468"/>
                  <a:gd name="T26" fmla="*/ 2147483646 w 485"/>
                  <a:gd name="T27" fmla="*/ 2147483646 h 468"/>
                  <a:gd name="T28" fmla="*/ 2147483646 w 485"/>
                  <a:gd name="T29" fmla="*/ 2147483646 h 468"/>
                  <a:gd name="T30" fmla="*/ 2147483646 w 485"/>
                  <a:gd name="T31" fmla="*/ 2147483646 h 468"/>
                  <a:gd name="T32" fmla="*/ 2147483646 w 485"/>
                  <a:gd name="T33" fmla="*/ 2147483646 h 468"/>
                  <a:gd name="T34" fmla="*/ 2147483646 w 485"/>
                  <a:gd name="T35" fmla="*/ 2147483646 h 468"/>
                  <a:gd name="T36" fmla="*/ 2147483646 w 485"/>
                  <a:gd name="T37" fmla="*/ 2147483646 h 468"/>
                  <a:gd name="T38" fmla="*/ 2147483646 w 485"/>
                  <a:gd name="T39" fmla="*/ 2147483646 h 468"/>
                  <a:gd name="T40" fmla="*/ 2147483646 w 485"/>
                  <a:gd name="T41" fmla="*/ 2147483646 h 468"/>
                  <a:gd name="T42" fmla="*/ 2147483646 w 485"/>
                  <a:gd name="T43" fmla="*/ 2147483646 h 468"/>
                  <a:gd name="T44" fmla="*/ 2147483646 w 485"/>
                  <a:gd name="T45" fmla="*/ 2147483646 h 468"/>
                  <a:gd name="T46" fmla="*/ 2147483646 w 485"/>
                  <a:gd name="T47" fmla="*/ 2147483646 h 468"/>
                  <a:gd name="T48" fmla="*/ 2147483646 w 485"/>
                  <a:gd name="T49" fmla="*/ 2147483646 h 468"/>
                  <a:gd name="T50" fmla="*/ 2147483646 w 485"/>
                  <a:gd name="T51" fmla="*/ 2147483646 h 468"/>
                  <a:gd name="T52" fmla="*/ 2147483646 w 485"/>
                  <a:gd name="T53" fmla="*/ 2147483646 h 468"/>
                  <a:gd name="T54" fmla="*/ 2147483646 w 485"/>
                  <a:gd name="T55" fmla="*/ 2147483646 h 468"/>
                  <a:gd name="T56" fmla="*/ 2147483646 w 485"/>
                  <a:gd name="T57" fmla="*/ 2147483646 h 468"/>
                  <a:gd name="T58" fmla="*/ 2147483646 w 485"/>
                  <a:gd name="T59" fmla="*/ 2147483646 h 468"/>
                  <a:gd name="T60" fmla="*/ 2147483646 w 485"/>
                  <a:gd name="T61" fmla="*/ 2147483646 h 468"/>
                  <a:gd name="T62" fmla="*/ 2147483646 w 485"/>
                  <a:gd name="T63" fmla="*/ 2147483646 h 468"/>
                  <a:gd name="T64" fmla="*/ 2147483646 w 485"/>
                  <a:gd name="T65" fmla="*/ 2147483646 h 468"/>
                  <a:gd name="T66" fmla="*/ 2147483646 w 485"/>
                  <a:gd name="T67" fmla="*/ 2147483646 h 468"/>
                  <a:gd name="T68" fmla="*/ 2147483646 w 485"/>
                  <a:gd name="T69" fmla="*/ 2147483646 h 468"/>
                  <a:gd name="T70" fmla="*/ 2147483646 w 485"/>
                  <a:gd name="T71" fmla="*/ 2147483646 h 468"/>
                  <a:gd name="T72" fmla="*/ 2147483646 w 485"/>
                  <a:gd name="T73" fmla="*/ 2147483646 h 468"/>
                  <a:gd name="T74" fmla="*/ 2147483646 w 485"/>
                  <a:gd name="T75" fmla="*/ 2147483646 h 468"/>
                  <a:gd name="T76" fmla="*/ 2147483646 w 485"/>
                  <a:gd name="T77" fmla="*/ 2147483646 h 468"/>
                  <a:gd name="T78" fmla="*/ 2147483646 w 485"/>
                  <a:gd name="T79" fmla="*/ 2147483646 h 468"/>
                  <a:gd name="T80" fmla="*/ 2147483646 w 485"/>
                  <a:gd name="T81" fmla="*/ 2147483646 h 468"/>
                  <a:gd name="T82" fmla="*/ 2147483646 w 485"/>
                  <a:gd name="T83" fmla="*/ 2147483646 h 468"/>
                  <a:gd name="T84" fmla="*/ 2147483646 w 485"/>
                  <a:gd name="T85" fmla="*/ 2147483646 h 468"/>
                  <a:gd name="T86" fmla="*/ 2147483646 w 485"/>
                  <a:gd name="T87" fmla="*/ 2147483646 h 468"/>
                  <a:gd name="T88" fmla="*/ 2147483646 w 485"/>
                  <a:gd name="T89" fmla="*/ 2147483646 h 468"/>
                  <a:gd name="T90" fmla="*/ 2147483646 w 485"/>
                  <a:gd name="T91" fmla="*/ 2147483646 h 468"/>
                  <a:gd name="T92" fmla="*/ 2147483646 w 485"/>
                  <a:gd name="T93" fmla="*/ 2147483646 h 468"/>
                  <a:gd name="T94" fmla="*/ 2147483646 w 485"/>
                  <a:gd name="T95" fmla="*/ 2147483646 h 468"/>
                  <a:gd name="T96" fmla="*/ 2147483646 w 485"/>
                  <a:gd name="T97" fmla="*/ 2147483646 h 468"/>
                  <a:gd name="T98" fmla="*/ 2147483646 w 485"/>
                  <a:gd name="T99" fmla="*/ 2147483646 h 468"/>
                  <a:gd name="T100" fmla="*/ 2147483646 w 485"/>
                  <a:gd name="T101" fmla="*/ 2147483646 h 468"/>
                  <a:gd name="T102" fmla="*/ 2147483646 w 485"/>
                  <a:gd name="T103" fmla="*/ 2147483646 h 468"/>
                  <a:gd name="T104" fmla="*/ 2147483646 w 485"/>
                  <a:gd name="T105" fmla="*/ 2147483646 h 468"/>
                  <a:gd name="T106" fmla="*/ 2147483646 w 485"/>
                  <a:gd name="T107" fmla="*/ 2147483646 h 468"/>
                  <a:gd name="T108" fmla="*/ 2147483646 w 485"/>
                  <a:gd name="T109" fmla="*/ 2147483646 h 468"/>
                  <a:gd name="T110" fmla="*/ 2147483646 w 485"/>
                  <a:gd name="T111" fmla="*/ 2147483646 h 468"/>
                  <a:gd name="T112" fmla="*/ 2147483646 w 485"/>
                  <a:gd name="T113" fmla="*/ 2147483646 h 468"/>
                  <a:gd name="T114" fmla="*/ 0 w 485"/>
                  <a:gd name="T115" fmla="*/ 2147483646 h 468"/>
                  <a:gd name="T116" fmla="*/ 2147483646 w 485"/>
                  <a:gd name="T117" fmla="*/ 2147483646 h 468"/>
                  <a:gd name="T118" fmla="*/ 2147483646 w 485"/>
                  <a:gd name="T119" fmla="*/ 2147483646 h 468"/>
                  <a:gd name="T120" fmla="*/ 2147483646 w 485"/>
                  <a:gd name="T121" fmla="*/ 2147483646 h 468"/>
                  <a:gd name="T122" fmla="*/ 2147483646 w 485"/>
                  <a:gd name="T123" fmla="*/ 2147483646 h 468"/>
                  <a:gd name="T124" fmla="*/ 2147483646 w 485"/>
                  <a:gd name="T125" fmla="*/ 2147483646 h 46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485"/>
                  <a:gd name="T190" fmla="*/ 0 h 468"/>
                  <a:gd name="T191" fmla="*/ 485 w 485"/>
                  <a:gd name="T192" fmla="*/ 468 h 468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485" h="468">
                    <a:moveTo>
                      <a:pt x="100" y="351"/>
                    </a:moveTo>
                    <a:lnTo>
                      <a:pt x="113" y="351"/>
                    </a:lnTo>
                    <a:lnTo>
                      <a:pt x="126" y="351"/>
                    </a:lnTo>
                    <a:lnTo>
                      <a:pt x="134" y="351"/>
                    </a:lnTo>
                    <a:lnTo>
                      <a:pt x="142" y="348"/>
                    </a:lnTo>
                    <a:lnTo>
                      <a:pt x="149" y="346"/>
                    </a:lnTo>
                    <a:lnTo>
                      <a:pt x="158" y="342"/>
                    </a:lnTo>
                    <a:lnTo>
                      <a:pt x="167" y="339"/>
                    </a:lnTo>
                    <a:lnTo>
                      <a:pt x="177" y="336"/>
                    </a:lnTo>
                    <a:lnTo>
                      <a:pt x="188" y="334"/>
                    </a:lnTo>
                    <a:lnTo>
                      <a:pt x="199" y="333"/>
                    </a:lnTo>
                    <a:lnTo>
                      <a:pt x="200" y="339"/>
                    </a:lnTo>
                    <a:lnTo>
                      <a:pt x="203" y="345"/>
                    </a:lnTo>
                    <a:lnTo>
                      <a:pt x="208" y="352"/>
                    </a:lnTo>
                    <a:lnTo>
                      <a:pt x="212" y="357"/>
                    </a:lnTo>
                    <a:lnTo>
                      <a:pt x="226" y="348"/>
                    </a:lnTo>
                    <a:lnTo>
                      <a:pt x="239" y="339"/>
                    </a:lnTo>
                    <a:lnTo>
                      <a:pt x="233" y="335"/>
                    </a:lnTo>
                    <a:lnTo>
                      <a:pt x="226" y="329"/>
                    </a:lnTo>
                    <a:lnTo>
                      <a:pt x="224" y="327"/>
                    </a:lnTo>
                    <a:lnTo>
                      <a:pt x="221" y="325"/>
                    </a:lnTo>
                    <a:lnTo>
                      <a:pt x="220" y="322"/>
                    </a:lnTo>
                    <a:lnTo>
                      <a:pt x="220" y="320"/>
                    </a:lnTo>
                    <a:lnTo>
                      <a:pt x="220" y="316"/>
                    </a:lnTo>
                    <a:lnTo>
                      <a:pt x="222" y="312"/>
                    </a:lnTo>
                    <a:lnTo>
                      <a:pt x="225" y="309"/>
                    </a:lnTo>
                    <a:lnTo>
                      <a:pt x="229" y="306"/>
                    </a:lnTo>
                    <a:lnTo>
                      <a:pt x="233" y="303"/>
                    </a:lnTo>
                    <a:lnTo>
                      <a:pt x="236" y="301"/>
                    </a:lnTo>
                    <a:lnTo>
                      <a:pt x="238" y="298"/>
                    </a:lnTo>
                    <a:lnTo>
                      <a:pt x="239" y="296"/>
                    </a:lnTo>
                    <a:lnTo>
                      <a:pt x="239" y="276"/>
                    </a:lnTo>
                    <a:lnTo>
                      <a:pt x="239" y="268"/>
                    </a:lnTo>
                    <a:lnTo>
                      <a:pt x="239" y="259"/>
                    </a:lnTo>
                    <a:lnTo>
                      <a:pt x="239" y="240"/>
                    </a:lnTo>
                    <a:lnTo>
                      <a:pt x="242" y="246"/>
                    </a:lnTo>
                    <a:lnTo>
                      <a:pt x="246" y="253"/>
                    </a:lnTo>
                    <a:lnTo>
                      <a:pt x="253" y="259"/>
                    </a:lnTo>
                    <a:lnTo>
                      <a:pt x="259" y="265"/>
                    </a:lnTo>
                    <a:lnTo>
                      <a:pt x="268" y="255"/>
                    </a:lnTo>
                    <a:lnTo>
                      <a:pt x="277" y="249"/>
                    </a:lnTo>
                    <a:lnTo>
                      <a:pt x="284" y="244"/>
                    </a:lnTo>
                    <a:lnTo>
                      <a:pt x="292" y="241"/>
                    </a:lnTo>
                    <a:lnTo>
                      <a:pt x="300" y="238"/>
                    </a:lnTo>
                    <a:lnTo>
                      <a:pt x="307" y="235"/>
                    </a:lnTo>
                    <a:lnTo>
                      <a:pt x="316" y="230"/>
                    </a:lnTo>
                    <a:lnTo>
                      <a:pt x="325" y="222"/>
                    </a:lnTo>
                    <a:lnTo>
                      <a:pt x="316" y="217"/>
                    </a:lnTo>
                    <a:lnTo>
                      <a:pt x="310" y="212"/>
                    </a:lnTo>
                    <a:lnTo>
                      <a:pt x="304" y="208"/>
                    </a:lnTo>
                    <a:lnTo>
                      <a:pt x="301" y="203"/>
                    </a:lnTo>
                    <a:lnTo>
                      <a:pt x="293" y="194"/>
                    </a:lnTo>
                    <a:lnTo>
                      <a:pt x="285" y="185"/>
                    </a:lnTo>
                    <a:lnTo>
                      <a:pt x="300" y="190"/>
                    </a:lnTo>
                    <a:lnTo>
                      <a:pt x="312" y="196"/>
                    </a:lnTo>
                    <a:lnTo>
                      <a:pt x="318" y="199"/>
                    </a:lnTo>
                    <a:lnTo>
                      <a:pt x="325" y="201"/>
                    </a:lnTo>
                    <a:lnTo>
                      <a:pt x="332" y="203"/>
                    </a:lnTo>
                    <a:lnTo>
                      <a:pt x="338" y="203"/>
                    </a:lnTo>
                    <a:lnTo>
                      <a:pt x="343" y="202"/>
                    </a:lnTo>
                    <a:lnTo>
                      <a:pt x="345" y="200"/>
                    </a:lnTo>
                    <a:lnTo>
                      <a:pt x="347" y="197"/>
                    </a:lnTo>
                    <a:lnTo>
                      <a:pt x="347" y="193"/>
                    </a:lnTo>
                    <a:lnTo>
                      <a:pt x="346" y="185"/>
                    </a:lnTo>
                    <a:lnTo>
                      <a:pt x="345" y="179"/>
                    </a:lnTo>
                    <a:lnTo>
                      <a:pt x="322" y="142"/>
                    </a:lnTo>
                    <a:lnTo>
                      <a:pt x="303" y="111"/>
                    </a:lnTo>
                    <a:lnTo>
                      <a:pt x="295" y="96"/>
                    </a:lnTo>
                    <a:lnTo>
                      <a:pt x="290" y="80"/>
                    </a:lnTo>
                    <a:lnTo>
                      <a:pt x="288" y="72"/>
                    </a:lnTo>
                    <a:lnTo>
                      <a:pt x="287" y="63"/>
                    </a:lnTo>
                    <a:lnTo>
                      <a:pt x="285" y="53"/>
                    </a:lnTo>
                    <a:lnTo>
                      <a:pt x="285" y="43"/>
                    </a:lnTo>
                    <a:lnTo>
                      <a:pt x="287" y="34"/>
                    </a:lnTo>
                    <a:lnTo>
                      <a:pt x="288" y="26"/>
                    </a:lnTo>
                    <a:lnTo>
                      <a:pt x="291" y="19"/>
                    </a:lnTo>
                    <a:lnTo>
                      <a:pt x="295" y="13"/>
                    </a:lnTo>
                    <a:lnTo>
                      <a:pt x="301" y="7"/>
                    </a:lnTo>
                    <a:lnTo>
                      <a:pt x="307" y="4"/>
                    </a:lnTo>
                    <a:lnTo>
                      <a:pt x="316" y="1"/>
                    </a:lnTo>
                    <a:lnTo>
                      <a:pt x="325" y="0"/>
                    </a:lnTo>
                    <a:lnTo>
                      <a:pt x="328" y="7"/>
                    </a:lnTo>
                    <a:lnTo>
                      <a:pt x="332" y="13"/>
                    </a:lnTo>
                    <a:lnTo>
                      <a:pt x="336" y="18"/>
                    </a:lnTo>
                    <a:lnTo>
                      <a:pt x="340" y="23"/>
                    </a:lnTo>
                    <a:lnTo>
                      <a:pt x="351" y="31"/>
                    </a:lnTo>
                    <a:lnTo>
                      <a:pt x="363" y="38"/>
                    </a:lnTo>
                    <a:lnTo>
                      <a:pt x="377" y="45"/>
                    </a:lnTo>
                    <a:lnTo>
                      <a:pt x="389" y="51"/>
                    </a:lnTo>
                    <a:lnTo>
                      <a:pt x="401" y="60"/>
                    </a:lnTo>
                    <a:lnTo>
                      <a:pt x="412" y="68"/>
                    </a:lnTo>
                    <a:lnTo>
                      <a:pt x="415" y="72"/>
                    </a:lnTo>
                    <a:lnTo>
                      <a:pt x="418" y="76"/>
                    </a:lnTo>
                    <a:lnTo>
                      <a:pt x="421" y="81"/>
                    </a:lnTo>
                    <a:lnTo>
                      <a:pt x="423" y="86"/>
                    </a:lnTo>
                    <a:lnTo>
                      <a:pt x="426" y="98"/>
                    </a:lnTo>
                    <a:lnTo>
                      <a:pt x="428" y="111"/>
                    </a:lnTo>
                    <a:lnTo>
                      <a:pt x="430" y="122"/>
                    </a:lnTo>
                    <a:lnTo>
                      <a:pt x="434" y="133"/>
                    </a:lnTo>
                    <a:lnTo>
                      <a:pt x="436" y="137"/>
                    </a:lnTo>
                    <a:lnTo>
                      <a:pt x="438" y="142"/>
                    </a:lnTo>
                    <a:lnTo>
                      <a:pt x="441" y="145"/>
                    </a:lnTo>
                    <a:lnTo>
                      <a:pt x="445" y="148"/>
                    </a:lnTo>
                    <a:lnTo>
                      <a:pt x="445" y="173"/>
                    </a:lnTo>
                    <a:lnTo>
                      <a:pt x="440" y="173"/>
                    </a:lnTo>
                    <a:lnTo>
                      <a:pt x="436" y="175"/>
                    </a:lnTo>
                    <a:lnTo>
                      <a:pt x="432" y="177"/>
                    </a:lnTo>
                    <a:lnTo>
                      <a:pt x="428" y="179"/>
                    </a:lnTo>
                    <a:lnTo>
                      <a:pt x="425" y="181"/>
                    </a:lnTo>
                    <a:lnTo>
                      <a:pt x="421" y="183"/>
                    </a:lnTo>
                    <a:lnTo>
                      <a:pt x="416" y="184"/>
                    </a:lnTo>
                    <a:lnTo>
                      <a:pt x="412" y="185"/>
                    </a:lnTo>
                    <a:lnTo>
                      <a:pt x="415" y="189"/>
                    </a:lnTo>
                    <a:lnTo>
                      <a:pt x="418" y="193"/>
                    </a:lnTo>
                    <a:lnTo>
                      <a:pt x="422" y="196"/>
                    </a:lnTo>
                    <a:lnTo>
                      <a:pt x="426" y="199"/>
                    </a:lnTo>
                    <a:lnTo>
                      <a:pt x="430" y="201"/>
                    </a:lnTo>
                    <a:lnTo>
                      <a:pt x="435" y="202"/>
                    </a:lnTo>
                    <a:lnTo>
                      <a:pt x="440" y="203"/>
                    </a:lnTo>
                    <a:lnTo>
                      <a:pt x="445" y="203"/>
                    </a:lnTo>
                    <a:lnTo>
                      <a:pt x="446" y="211"/>
                    </a:lnTo>
                    <a:lnTo>
                      <a:pt x="447" y="225"/>
                    </a:lnTo>
                    <a:lnTo>
                      <a:pt x="450" y="243"/>
                    </a:lnTo>
                    <a:lnTo>
                      <a:pt x="455" y="262"/>
                    </a:lnTo>
                    <a:lnTo>
                      <a:pt x="460" y="282"/>
                    </a:lnTo>
                    <a:lnTo>
                      <a:pt x="468" y="299"/>
                    </a:lnTo>
                    <a:lnTo>
                      <a:pt x="471" y="306"/>
                    </a:lnTo>
                    <a:lnTo>
                      <a:pt x="475" y="312"/>
                    </a:lnTo>
                    <a:lnTo>
                      <a:pt x="480" y="317"/>
                    </a:lnTo>
                    <a:lnTo>
                      <a:pt x="485" y="320"/>
                    </a:lnTo>
                    <a:lnTo>
                      <a:pt x="485" y="382"/>
                    </a:lnTo>
                    <a:lnTo>
                      <a:pt x="480" y="381"/>
                    </a:lnTo>
                    <a:lnTo>
                      <a:pt x="475" y="378"/>
                    </a:lnTo>
                    <a:lnTo>
                      <a:pt x="471" y="374"/>
                    </a:lnTo>
                    <a:lnTo>
                      <a:pt x="467" y="369"/>
                    </a:lnTo>
                    <a:lnTo>
                      <a:pt x="463" y="364"/>
                    </a:lnTo>
                    <a:lnTo>
                      <a:pt x="460" y="359"/>
                    </a:lnTo>
                    <a:lnTo>
                      <a:pt x="459" y="354"/>
                    </a:lnTo>
                    <a:lnTo>
                      <a:pt x="458" y="351"/>
                    </a:lnTo>
                    <a:lnTo>
                      <a:pt x="453" y="356"/>
                    </a:lnTo>
                    <a:lnTo>
                      <a:pt x="448" y="360"/>
                    </a:lnTo>
                    <a:lnTo>
                      <a:pt x="444" y="361"/>
                    </a:lnTo>
                    <a:lnTo>
                      <a:pt x="440" y="362"/>
                    </a:lnTo>
                    <a:lnTo>
                      <a:pt x="436" y="363"/>
                    </a:lnTo>
                    <a:lnTo>
                      <a:pt x="432" y="363"/>
                    </a:lnTo>
                    <a:lnTo>
                      <a:pt x="432" y="380"/>
                    </a:lnTo>
                    <a:lnTo>
                      <a:pt x="430" y="391"/>
                    </a:lnTo>
                    <a:lnTo>
                      <a:pt x="429" y="399"/>
                    </a:lnTo>
                    <a:lnTo>
                      <a:pt x="425" y="413"/>
                    </a:lnTo>
                    <a:lnTo>
                      <a:pt x="419" y="403"/>
                    </a:lnTo>
                    <a:lnTo>
                      <a:pt x="412" y="393"/>
                    </a:lnTo>
                    <a:lnTo>
                      <a:pt x="408" y="389"/>
                    </a:lnTo>
                    <a:lnTo>
                      <a:pt x="404" y="385"/>
                    </a:lnTo>
                    <a:lnTo>
                      <a:pt x="401" y="382"/>
                    </a:lnTo>
                    <a:lnTo>
                      <a:pt x="399" y="382"/>
                    </a:lnTo>
                    <a:lnTo>
                      <a:pt x="389" y="382"/>
                    </a:lnTo>
                    <a:lnTo>
                      <a:pt x="379" y="382"/>
                    </a:lnTo>
                    <a:lnTo>
                      <a:pt x="378" y="389"/>
                    </a:lnTo>
                    <a:lnTo>
                      <a:pt x="376" y="398"/>
                    </a:lnTo>
                    <a:lnTo>
                      <a:pt x="376" y="402"/>
                    </a:lnTo>
                    <a:lnTo>
                      <a:pt x="376" y="406"/>
                    </a:lnTo>
                    <a:lnTo>
                      <a:pt x="377" y="410"/>
                    </a:lnTo>
                    <a:lnTo>
                      <a:pt x="379" y="413"/>
                    </a:lnTo>
                    <a:lnTo>
                      <a:pt x="345" y="413"/>
                    </a:lnTo>
                    <a:lnTo>
                      <a:pt x="340" y="410"/>
                    </a:lnTo>
                    <a:lnTo>
                      <a:pt x="337" y="407"/>
                    </a:lnTo>
                    <a:lnTo>
                      <a:pt x="335" y="404"/>
                    </a:lnTo>
                    <a:lnTo>
                      <a:pt x="334" y="400"/>
                    </a:lnTo>
                    <a:lnTo>
                      <a:pt x="333" y="392"/>
                    </a:lnTo>
                    <a:lnTo>
                      <a:pt x="332" y="382"/>
                    </a:lnTo>
                    <a:lnTo>
                      <a:pt x="312" y="382"/>
                    </a:lnTo>
                    <a:lnTo>
                      <a:pt x="312" y="395"/>
                    </a:lnTo>
                    <a:lnTo>
                      <a:pt x="310" y="405"/>
                    </a:lnTo>
                    <a:lnTo>
                      <a:pt x="307" y="413"/>
                    </a:lnTo>
                    <a:lnTo>
                      <a:pt x="305" y="420"/>
                    </a:lnTo>
                    <a:lnTo>
                      <a:pt x="303" y="426"/>
                    </a:lnTo>
                    <a:lnTo>
                      <a:pt x="301" y="431"/>
                    </a:lnTo>
                    <a:lnTo>
                      <a:pt x="300" y="437"/>
                    </a:lnTo>
                    <a:lnTo>
                      <a:pt x="299" y="443"/>
                    </a:lnTo>
                    <a:lnTo>
                      <a:pt x="299" y="450"/>
                    </a:lnTo>
                    <a:lnTo>
                      <a:pt x="301" y="456"/>
                    </a:lnTo>
                    <a:lnTo>
                      <a:pt x="302" y="460"/>
                    </a:lnTo>
                    <a:lnTo>
                      <a:pt x="304" y="463"/>
                    </a:lnTo>
                    <a:lnTo>
                      <a:pt x="307" y="466"/>
                    </a:lnTo>
                    <a:lnTo>
                      <a:pt x="312" y="468"/>
                    </a:lnTo>
                    <a:lnTo>
                      <a:pt x="298" y="468"/>
                    </a:lnTo>
                    <a:lnTo>
                      <a:pt x="284" y="468"/>
                    </a:lnTo>
                    <a:lnTo>
                      <a:pt x="272" y="468"/>
                    </a:lnTo>
                    <a:lnTo>
                      <a:pt x="266" y="468"/>
                    </a:lnTo>
                    <a:lnTo>
                      <a:pt x="264" y="468"/>
                    </a:lnTo>
                    <a:lnTo>
                      <a:pt x="260" y="467"/>
                    </a:lnTo>
                    <a:lnTo>
                      <a:pt x="258" y="465"/>
                    </a:lnTo>
                    <a:lnTo>
                      <a:pt x="256" y="462"/>
                    </a:lnTo>
                    <a:lnTo>
                      <a:pt x="251" y="456"/>
                    </a:lnTo>
                    <a:lnTo>
                      <a:pt x="247" y="449"/>
                    </a:lnTo>
                    <a:lnTo>
                      <a:pt x="244" y="440"/>
                    </a:lnTo>
                    <a:lnTo>
                      <a:pt x="242" y="432"/>
                    </a:lnTo>
                    <a:lnTo>
                      <a:pt x="239" y="424"/>
                    </a:lnTo>
                    <a:lnTo>
                      <a:pt x="239" y="419"/>
                    </a:lnTo>
                    <a:lnTo>
                      <a:pt x="229" y="418"/>
                    </a:lnTo>
                    <a:lnTo>
                      <a:pt x="222" y="417"/>
                    </a:lnTo>
                    <a:lnTo>
                      <a:pt x="215" y="414"/>
                    </a:lnTo>
                    <a:lnTo>
                      <a:pt x="209" y="411"/>
                    </a:lnTo>
                    <a:lnTo>
                      <a:pt x="204" y="406"/>
                    </a:lnTo>
                    <a:lnTo>
                      <a:pt x="202" y="401"/>
                    </a:lnTo>
                    <a:lnTo>
                      <a:pt x="200" y="395"/>
                    </a:lnTo>
                    <a:lnTo>
                      <a:pt x="199" y="389"/>
                    </a:lnTo>
                    <a:lnTo>
                      <a:pt x="190" y="394"/>
                    </a:lnTo>
                    <a:lnTo>
                      <a:pt x="179" y="399"/>
                    </a:lnTo>
                    <a:lnTo>
                      <a:pt x="166" y="405"/>
                    </a:lnTo>
                    <a:lnTo>
                      <a:pt x="150" y="411"/>
                    </a:lnTo>
                    <a:lnTo>
                      <a:pt x="136" y="417"/>
                    </a:lnTo>
                    <a:lnTo>
                      <a:pt x="121" y="421"/>
                    </a:lnTo>
                    <a:lnTo>
                      <a:pt x="107" y="424"/>
                    </a:lnTo>
                    <a:lnTo>
                      <a:pt x="93" y="425"/>
                    </a:lnTo>
                    <a:lnTo>
                      <a:pt x="90" y="435"/>
                    </a:lnTo>
                    <a:lnTo>
                      <a:pt x="86" y="443"/>
                    </a:lnTo>
                    <a:lnTo>
                      <a:pt x="80" y="451"/>
                    </a:lnTo>
                    <a:lnTo>
                      <a:pt x="72" y="455"/>
                    </a:lnTo>
                    <a:lnTo>
                      <a:pt x="65" y="459"/>
                    </a:lnTo>
                    <a:lnTo>
                      <a:pt x="56" y="461"/>
                    </a:lnTo>
                    <a:lnTo>
                      <a:pt x="45" y="462"/>
                    </a:lnTo>
                    <a:lnTo>
                      <a:pt x="33" y="462"/>
                    </a:lnTo>
                    <a:lnTo>
                      <a:pt x="27" y="461"/>
                    </a:lnTo>
                    <a:lnTo>
                      <a:pt x="22" y="457"/>
                    </a:lnTo>
                    <a:lnTo>
                      <a:pt x="16" y="452"/>
                    </a:lnTo>
                    <a:lnTo>
                      <a:pt x="11" y="446"/>
                    </a:lnTo>
                    <a:lnTo>
                      <a:pt x="7" y="438"/>
                    </a:lnTo>
                    <a:lnTo>
                      <a:pt x="3" y="431"/>
                    </a:lnTo>
                    <a:lnTo>
                      <a:pt x="1" y="424"/>
                    </a:lnTo>
                    <a:lnTo>
                      <a:pt x="0" y="419"/>
                    </a:lnTo>
                    <a:lnTo>
                      <a:pt x="0" y="417"/>
                    </a:lnTo>
                    <a:lnTo>
                      <a:pt x="1" y="415"/>
                    </a:lnTo>
                    <a:lnTo>
                      <a:pt x="2" y="414"/>
                    </a:lnTo>
                    <a:lnTo>
                      <a:pt x="3" y="414"/>
                    </a:lnTo>
                    <a:lnTo>
                      <a:pt x="7" y="413"/>
                    </a:lnTo>
                    <a:lnTo>
                      <a:pt x="11" y="414"/>
                    </a:lnTo>
                    <a:lnTo>
                      <a:pt x="16" y="414"/>
                    </a:lnTo>
                    <a:lnTo>
                      <a:pt x="22" y="415"/>
                    </a:lnTo>
                    <a:lnTo>
                      <a:pt x="27" y="414"/>
                    </a:lnTo>
                    <a:lnTo>
                      <a:pt x="33" y="413"/>
                    </a:lnTo>
                    <a:lnTo>
                      <a:pt x="38" y="411"/>
                    </a:lnTo>
                    <a:lnTo>
                      <a:pt x="44" y="409"/>
                    </a:lnTo>
                    <a:lnTo>
                      <a:pt x="48" y="405"/>
                    </a:lnTo>
                    <a:lnTo>
                      <a:pt x="53" y="401"/>
                    </a:lnTo>
                    <a:lnTo>
                      <a:pt x="60" y="391"/>
                    </a:lnTo>
                    <a:lnTo>
                      <a:pt x="66" y="379"/>
                    </a:lnTo>
                    <a:lnTo>
                      <a:pt x="72" y="369"/>
                    </a:lnTo>
                    <a:lnTo>
                      <a:pt x="80" y="360"/>
                    </a:lnTo>
                    <a:lnTo>
                      <a:pt x="83" y="356"/>
                    </a:lnTo>
                    <a:lnTo>
                      <a:pt x="89" y="354"/>
                    </a:lnTo>
                    <a:lnTo>
                      <a:pt x="93" y="352"/>
                    </a:lnTo>
                    <a:lnTo>
                      <a:pt x="100" y="351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64" name="Freeform 486">
                <a:extLst>
                  <a:ext uri="{FF2B5EF4-FFF2-40B4-BE49-F238E27FC236}">
                    <a16:creationId xmlns="" xmlns:a16="http://schemas.microsoft.com/office/drawing/2014/main" id="{80E7036C-AF85-46F6-90B8-7594DEEA9463}"/>
                  </a:ext>
                </a:extLst>
              </p:cNvPr>
              <p:cNvSpPr>
                <a:spLocks/>
              </p:cNvSpPr>
              <p:nvPr>
                <p:custDataLst>
                  <p:tags r:id="rId324"/>
                </p:custDataLst>
              </p:nvPr>
            </p:nvSpPr>
            <p:spPr bwMode="auto">
              <a:xfrm>
                <a:off x="4687888" y="1231900"/>
                <a:ext cx="107950" cy="60325"/>
              </a:xfrm>
              <a:custGeom>
                <a:avLst/>
                <a:gdLst>
                  <a:gd name="T0" fmla="*/ 2147483646 w 246"/>
                  <a:gd name="T1" fmla="*/ 2147483646 h 42"/>
                  <a:gd name="T2" fmla="*/ 2147483646 w 246"/>
                  <a:gd name="T3" fmla="*/ 2147483646 h 42"/>
                  <a:gd name="T4" fmla="*/ 2147483646 w 246"/>
                  <a:gd name="T5" fmla="*/ 2147483646 h 42"/>
                  <a:gd name="T6" fmla="*/ 2147483646 w 246"/>
                  <a:gd name="T7" fmla="*/ 2147483646 h 42"/>
                  <a:gd name="T8" fmla="*/ 2147483646 w 246"/>
                  <a:gd name="T9" fmla="*/ 2147483646 h 42"/>
                  <a:gd name="T10" fmla="*/ 2147483646 w 246"/>
                  <a:gd name="T11" fmla="*/ 2147483646 h 42"/>
                  <a:gd name="T12" fmla="*/ 2147483646 w 246"/>
                  <a:gd name="T13" fmla="*/ 2147483646 h 42"/>
                  <a:gd name="T14" fmla="*/ 2147483646 w 246"/>
                  <a:gd name="T15" fmla="*/ 2147483646 h 42"/>
                  <a:gd name="T16" fmla="*/ 2147483646 w 246"/>
                  <a:gd name="T17" fmla="*/ 2147483646 h 42"/>
                  <a:gd name="T18" fmla="*/ 2147483646 w 246"/>
                  <a:gd name="T19" fmla="*/ 2147483646 h 42"/>
                  <a:gd name="T20" fmla="*/ 2147483646 w 246"/>
                  <a:gd name="T21" fmla="*/ 2147483646 h 42"/>
                  <a:gd name="T22" fmla="*/ 2147483646 w 246"/>
                  <a:gd name="T23" fmla="*/ 2147483646 h 42"/>
                  <a:gd name="T24" fmla="*/ 2147483646 w 246"/>
                  <a:gd name="T25" fmla="*/ 2147483646 h 42"/>
                  <a:gd name="T26" fmla="*/ 2147483646 w 246"/>
                  <a:gd name="T27" fmla="*/ 2147483646 h 42"/>
                  <a:gd name="T28" fmla="*/ 2147483646 w 246"/>
                  <a:gd name="T29" fmla="*/ 2147483646 h 42"/>
                  <a:gd name="T30" fmla="*/ 2147483646 w 246"/>
                  <a:gd name="T31" fmla="*/ 2147483646 h 42"/>
                  <a:gd name="T32" fmla="*/ 2147483646 w 246"/>
                  <a:gd name="T33" fmla="*/ 2147483646 h 42"/>
                  <a:gd name="T34" fmla="*/ 2147483646 w 246"/>
                  <a:gd name="T35" fmla="*/ 2147483646 h 42"/>
                  <a:gd name="T36" fmla="*/ 2147483646 w 246"/>
                  <a:gd name="T37" fmla="*/ 2147483646 h 42"/>
                  <a:gd name="T38" fmla="*/ 2147483646 w 246"/>
                  <a:gd name="T39" fmla="*/ 2147483646 h 42"/>
                  <a:gd name="T40" fmla="*/ 2147483646 w 246"/>
                  <a:gd name="T41" fmla="*/ 2147483646 h 42"/>
                  <a:gd name="T42" fmla="*/ 2147483646 w 246"/>
                  <a:gd name="T43" fmla="*/ 2147483646 h 42"/>
                  <a:gd name="T44" fmla="*/ 2147483646 w 246"/>
                  <a:gd name="T45" fmla="*/ 2147483646 h 42"/>
                  <a:gd name="T46" fmla="*/ 2147483646 w 246"/>
                  <a:gd name="T47" fmla="*/ 2147483646 h 42"/>
                  <a:gd name="T48" fmla="*/ 2147483646 w 246"/>
                  <a:gd name="T49" fmla="*/ 2147483646 h 42"/>
                  <a:gd name="T50" fmla="*/ 2147483646 w 246"/>
                  <a:gd name="T51" fmla="*/ 2147483646 h 42"/>
                  <a:gd name="T52" fmla="*/ 2147483646 w 246"/>
                  <a:gd name="T53" fmla="*/ 2147483646 h 42"/>
                  <a:gd name="T54" fmla="*/ 2147483646 w 246"/>
                  <a:gd name="T55" fmla="*/ 2147483646 h 42"/>
                  <a:gd name="T56" fmla="*/ 2147483646 w 246"/>
                  <a:gd name="T57" fmla="*/ 2147483646 h 42"/>
                  <a:gd name="T58" fmla="*/ 2147483646 w 246"/>
                  <a:gd name="T59" fmla="*/ 2147483646 h 42"/>
                  <a:gd name="T60" fmla="*/ 2147483646 w 246"/>
                  <a:gd name="T61" fmla="*/ 2147483646 h 42"/>
                  <a:gd name="T62" fmla="*/ 2147483646 w 246"/>
                  <a:gd name="T63" fmla="*/ 2147483646 h 42"/>
                  <a:gd name="T64" fmla="*/ 2147483646 w 246"/>
                  <a:gd name="T65" fmla="*/ 0 h 42"/>
                  <a:gd name="T66" fmla="*/ 2147483646 w 246"/>
                  <a:gd name="T67" fmla="*/ 2147483646 h 42"/>
                  <a:gd name="T68" fmla="*/ 2147483646 w 246"/>
                  <a:gd name="T69" fmla="*/ 2147483646 h 42"/>
                  <a:gd name="T70" fmla="*/ 2147483646 w 246"/>
                  <a:gd name="T71" fmla="*/ 2147483646 h 42"/>
                  <a:gd name="T72" fmla="*/ 2147483646 w 246"/>
                  <a:gd name="T73" fmla="*/ 2147483646 h 42"/>
                  <a:gd name="T74" fmla="*/ 2147483646 w 246"/>
                  <a:gd name="T75" fmla="*/ 2147483646 h 42"/>
                  <a:gd name="T76" fmla="*/ 2147483646 w 246"/>
                  <a:gd name="T77" fmla="*/ 2147483646 h 42"/>
                  <a:gd name="T78" fmla="*/ 2147483646 w 246"/>
                  <a:gd name="T79" fmla="*/ 2147483646 h 42"/>
                  <a:gd name="T80" fmla="*/ 2147483646 w 246"/>
                  <a:gd name="T81" fmla="*/ 2147483646 h 42"/>
                  <a:gd name="T82" fmla="*/ 2147483646 w 246"/>
                  <a:gd name="T83" fmla="*/ 2147483646 h 42"/>
                  <a:gd name="T84" fmla="*/ 2147483646 w 246"/>
                  <a:gd name="T85" fmla="*/ 2147483646 h 42"/>
                  <a:gd name="T86" fmla="*/ 2147483646 w 246"/>
                  <a:gd name="T87" fmla="*/ 2147483646 h 42"/>
                  <a:gd name="T88" fmla="*/ 2147483646 w 246"/>
                  <a:gd name="T89" fmla="*/ 2147483646 h 42"/>
                  <a:gd name="T90" fmla="*/ 2147483646 w 246"/>
                  <a:gd name="T91" fmla="*/ 2147483646 h 42"/>
                  <a:gd name="T92" fmla="*/ 0 w 246"/>
                  <a:gd name="T93" fmla="*/ 2147483646 h 42"/>
                  <a:gd name="T94" fmla="*/ 2147483646 w 246"/>
                  <a:gd name="T95" fmla="*/ 2147483646 h 42"/>
                  <a:gd name="T96" fmla="*/ 2147483646 w 246"/>
                  <a:gd name="T97" fmla="*/ 2147483646 h 42"/>
                  <a:gd name="T98" fmla="*/ 2147483646 w 246"/>
                  <a:gd name="T99" fmla="*/ 2147483646 h 42"/>
                  <a:gd name="T100" fmla="*/ 2147483646 w 246"/>
                  <a:gd name="T101" fmla="*/ 2147483646 h 42"/>
                  <a:gd name="T102" fmla="*/ 2147483646 w 246"/>
                  <a:gd name="T103" fmla="*/ 2147483646 h 42"/>
                  <a:gd name="T104" fmla="*/ 2147483646 w 246"/>
                  <a:gd name="T105" fmla="*/ 2147483646 h 4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46"/>
                  <a:gd name="T160" fmla="*/ 0 h 42"/>
                  <a:gd name="T161" fmla="*/ 246 w 246"/>
                  <a:gd name="T162" fmla="*/ 42 h 42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46" h="42">
                    <a:moveTo>
                      <a:pt x="27" y="36"/>
                    </a:moveTo>
                    <a:lnTo>
                      <a:pt x="36" y="36"/>
                    </a:lnTo>
                    <a:lnTo>
                      <a:pt x="45" y="35"/>
                    </a:lnTo>
                    <a:lnTo>
                      <a:pt x="53" y="33"/>
                    </a:lnTo>
                    <a:lnTo>
                      <a:pt x="59" y="31"/>
                    </a:lnTo>
                    <a:lnTo>
                      <a:pt x="66" y="30"/>
                    </a:lnTo>
                    <a:lnTo>
                      <a:pt x="72" y="29"/>
                    </a:lnTo>
                    <a:lnTo>
                      <a:pt x="80" y="29"/>
                    </a:lnTo>
                    <a:lnTo>
                      <a:pt x="87" y="30"/>
                    </a:lnTo>
                    <a:lnTo>
                      <a:pt x="87" y="42"/>
                    </a:lnTo>
                    <a:lnTo>
                      <a:pt x="154" y="42"/>
                    </a:lnTo>
                    <a:lnTo>
                      <a:pt x="154" y="39"/>
                    </a:lnTo>
                    <a:lnTo>
                      <a:pt x="156" y="36"/>
                    </a:lnTo>
                    <a:lnTo>
                      <a:pt x="159" y="33"/>
                    </a:lnTo>
                    <a:lnTo>
                      <a:pt x="163" y="31"/>
                    </a:lnTo>
                    <a:lnTo>
                      <a:pt x="175" y="26"/>
                    </a:lnTo>
                    <a:lnTo>
                      <a:pt x="190" y="23"/>
                    </a:lnTo>
                    <a:lnTo>
                      <a:pt x="221" y="17"/>
                    </a:lnTo>
                    <a:lnTo>
                      <a:pt x="246" y="12"/>
                    </a:lnTo>
                    <a:lnTo>
                      <a:pt x="212" y="13"/>
                    </a:lnTo>
                    <a:lnTo>
                      <a:pt x="186" y="14"/>
                    </a:lnTo>
                    <a:lnTo>
                      <a:pt x="178" y="15"/>
                    </a:lnTo>
                    <a:lnTo>
                      <a:pt x="171" y="15"/>
                    </a:lnTo>
                    <a:lnTo>
                      <a:pt x="168" y="14"/>
                    </a:lnTo>
                    <a:lnTo>
                      <a:pt x="167" y="12"/>
                    </a:lnTo>
                    <a:lnTo>
                      <a:pt x="159" y="16"/>
                    </a:lnTo>
                    <a:lnTo>
                      <a:pt x="152" y="17"/>
                    </a:lnTo>
                    <a:lnTo>
                      <a:pt x="147" y="17"/>
                    </a:lnTo>
                    <a:lnTo>
                      <a:pt x="141" y="15"/>
                    </a:lnTo>
                    <a:lnTo>
                      <a:pt x="137" y="12"/>
                    </a:lnTo>
                    <a:lnTo>
                      <a:pt x="133" y="9"/>
                    </a:lnTo>
                    <a:lnTo>
                      <a:pt x="129" y="5"/>
                    </a:lnTo>
                    <a:lnTo>
                      <a:pt x="126" y="0"/>
                    </a:lnTo>
                    <a:lnTo>
                      <a:pt x="121" y="2"/>
                    </a:lnTo>
                    <a:lnTo>
                      <a:pt x="113" y="4"/>
                    </a:lnTo>
                    <a:lnTo>
                      <a:pt x="103" y="5"/>
                    </a:lnTo>
                    <a:lnTo>
                      <a:pt x="93" y="5"/>
                    </a:lnTo>
                    <a:lnTo>
                      <a:pt x="74" y="6"/>
                    </a:lnTo>
                    <a:lnTo>
                      <a:pt x="60" y="6"/>
                    </a:lnTo>
                    <a:lnTo>
                      <a:pt x="58" y="9"/>
                    </a:lnTo>
                    <a:lnTo>
                      <a:pt x="56" y="12"/>
                    </a:lnTo>
                    <a:lnTo>
                      <a:pt x="54" y="15"/>
                    </a:lnTo>
                    <a:lnTo>
                      <a:pt x="50" y="17"/>
                    </a:lnTo>
                    <a:lnTo>
                      <a:pt x="42" y="20"/>
                    </a:lnTo>
                    <a:lnTo>
                      <a:pt x="33" y="22"/>
                    </a:lnTo>
                    <a:lnTo>
                      <a:pt x="14" y="24"/>
                    </a:lnTo>
                    <a:lnTo>
                      <a:pt x="0" y="24"/>
                    </a:lnTo>
                    <a:lnTo>
                      <a:pt x="1" y="27"/>
                    </a:lnTo>
                    <a:lnTo>
                      <a:pt x="3" y="29"/>
                    </a:lnTo>
                    <a:lnTo>
                      <a:pt x="5" y="31"/>
                    </a:lnTo>
                    <a:lnTo>
                      <a:pt x="9" y="33"/>
                    </a:lnTo>
                    <a:lnTo>
                      <a:pt x="17" y="35"/>
                    </a:lnTo>
                    <a:lnTo>
                      <a:pt x="27" y="36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65" name="Freeform 487">
                <a:extLst>
                  <a:ext uri="{FF2B5EF4-FFF2-40B4-BE49-F238E27FC236}">
                    <a16:creationId xmlns="" xmlns:a16="http://schemas.microsoft.com/office/drawing/2014/main" id="{DF9C01A2-75BC-46D2-8999-1BC9A2AB803A}"/>
                  </a:ext>
                </a:extLst>
              </p:cNvPr>
              <p:cNvSpPr>
                <a:spLocks/>
              </p:cNvSpPr>
              <p:nvPr>
                <p:custDataLst>
                  <p:tags r:id="rId325"/>
                </p:custDataLst>
              </p:nvPr>
            </p:nvSpPr>
            <p:spPr bwMode="auto">
              <a:xfrm>
                <a:off x="4830763" y="1214438"/>
                <a:ext cx="63500" cy="57150"/>
              </a:xfrm>
              <a:custGeom>
                <a:avLst/>
                <a:gdLst>
                  <a:gd name="T0" fmla="*/ 2147483646 w 149"/>
                  <a:gd name="T1" fmla="*/ 0 h 61"/>
                  <a:gd name="T2" fmla="*/ 2147483646 w 149"/>
                  <a:gd name="T3" fmla="*/ 2147483646 h 61"/>
                  <a:gd name="T4" fmla="*/ 2147483646 w 149"/>
                  <a:gd name="T5" fmla="*/ 2147483646 h 61"/>
                  <a:gd name="T6" fmla="*/ 2147483646 w 149"/>
                  <a:gd name="T7" fmla="*/ 2147483646 h 61"/>
                  <a:gd name="T8" fmla="*/ 2147483646 w 149"/>
                  <a:gd name="T9" fmla="*/ 2147483646 h 61"/>
                  <a:gd name="T10" fmla="*/ 2147483646 w 149"/>
                  <a:gd name="T11" fmla="*/ 2147483646 h 61"/>
                  <a:gd name="T12" fmla="*/ 2147483646 w 149"/>
                  <a:gd name="T13" fmla="*/ 2147483646 h 61"/>
                  <a:gd name="T14" fmla="*/ 2147483646 w 149"/>
                  <a:gd name="T15" fmla="*/ 2147483646 h 61"/>
                  <a:gd name="T16" fmla="*/ 2147483646 w 149"/>
                  <a:gd name="T17" fmla="*/ 2147483646 h 61"/>
                  <a:gd name="T18" fmla="*/ 2147483646 w 149"/>
                  <a:gd name="T19" fmla="*/ 2147483646 h 61"/>
                  <a:gd name="T20" fmla="*/ 2147483646 w 149"/>
                  <a:gd name="T21" fmla="*/ 2147483646 h 61"/>
                  <a:gd name="T22" fmla="*/ 2147483646 w 149"/>
                  <a:gd name="T23" fmla="*/ 2147483646 h 61"/>
                  <a:gd name="T24" fmla="*/ 2147483646 w 149"/>
                  <a:gd name="T25" fmla="*/ 2147483646 h 61"/>
                  <a:gd name="T26" fmla="*/ 2147483646 w 149"/>
                  <a:gd name="T27" fmla="*/ 2147483646 h 61"/>
                  <a:gd name="T28" fmla="*/ 2147483646 w 149"/>
                  <a:gd name="T29" fmla="*/ 2147483646 h 61"/>
                  <a:gd name="T30" fmla="*/ 2147483646 w 149"/>
                  <a:gd name="T31" fmla="*/ 2147483646 h 61"/>
                  <a:gd name="T32" fmla="*/ 2147483646 w 149"/>
                  <a:gd name="T33" fmla="*/ 2147483646 h 61"/>
                  <a:gd name="T34" fmla="*/ 2147483646 w 149"/>
                  <a:gd name="T35" fmla="*/ 2147483646 h 61"/>
                  <a:gd name="T36" fmla="*/ 2147483646 w 149"/>
                  <a:gd name="T37" fmla="*/ 2147483646 h 61"/>
                  <a:gd name="T38" fmla="*/ 2147483646 w 149"/>
                  <a:gd name="T39" fmla="*/ 2147483646 h 61"/>
                  <a:gd name="T40" fmla="*/ 2147483646 w 149"/>
                  <a:gd name="T41" fmla="*/ 2147483646 h 61"/>
                  <a:gd name="T42" fmla="*/ 2147483646 w 149"/>
                  <a:gd name="T43" fmla="*/ 2147483646 h 61"/>
                  <a:gd name="T44" fmla="*/ 2147483646 w 149"/>
                  <a:gd name="T45" fmla="*/ 2147483646 h 61"/>
                  <a:gd name="T46" fmla="*/ 2147483646 w 149"/>
                  <a:gd name="T47" fmla="*/ 2147483646 h 61"/>
                  <a:gd name="T48" fmla="*/ 2147483646 w 149"/>
                  <a:gd name="T49" fmla="*/ 2147483646 h 61"/>
                  <a:gd name="T50" fmla="*/ 2147483646 w 149"/>
                  <a:gd name="T51" fmla="*/ 2147483646 h 61"/>
                  <a:gd name="T52" fmla="*/ 2147483646 w 149"/>
                  <a:gd name="T53" fmla="*/ 2147483646 h 61"/>
                  <a:gd name="T54" fmla="*/ 2147483646 w 149"/>
                  <a:gd name="T55" fmla="*/ 2147483646 h 61"/>
                  <a:gd name="T56" fmla="*/ 2147483646 w 149"/>
                  <a:gd name="T57" fmla="*/ 2147483646 h 61"/>
                  <a:gd name="T58" fmla="*/ 2147483646 w 149"/>
                  <a:gd name="T59" fmla="*/ 2147483646 h 61"/>
                  <a:gd name="T60" fmla="*/ 2147483646 w 149"/>
                  <a:gd name="T61" fmla="*/ 2147483646 h 61"/>
                  <a:gd name="T62" fmla="*/ 2147483646 w 149"/>
                  <a:gd name="T63" fmla="*/ 2147483646 h 61"/>
                  <a:gd name="T64" fmla="*/ 0 w 149"/>
                  <a:gd name="T65" fmla="*/ 2147483646 h 61"/>
                  <a:gd name="T66" fmla="*/ 0 w 149"/>
                  <a:gd name="T67" fmla="*/ 2147483646 h 61"/>
                  <a:gd name="T68" fmla="*/ 2147483646 w 149"/>
                  <a:gd name="T69" fmla="*/ 2147483646 h 61"/>
                  <a:gd name="T70" fmla="*/ 2147483646 w 149"/>
                  <a:gd name="T71" fmla="*/ 2147483646 h 61"/>
                  <a:gd name="T72" fmla="*/ 2147483646 w 149"/>
                  <a:gd name="T73" fmla="*/ 2147483646 h 61"/>
                  <a:gd name="T74" fmla="*/ 2147483646 w 149"/>
                  <a:gd name="T75" fmla="*/ 2147483646 h 61"/>
                  <a:gd name="T76" fmla="*/ 2147483646 w 149"/>
                  <a:gd name="T77" fmla="*/ 2147483646 h 61"/>
                  <a:gd name="T78" fmla="*/ 2147483646 w 149"/>
                  <a:gd name="T79" fmla="*/ 2147483646 h 61"/>
                  <a:gd name="T80" fmla="*/ 2147483646 w 149"/>
                  <a:gd name="T81" fmla="*/ 2147483646 h 61"/>
                  <a:gd name="T82" fmla="*/ 2147483646 w 149"/>
                  <a:gd name="T83" fmla="*/ 2147483646 h 61"/>
                  <a:gd name="T84" fmla="*/ 2147483646 w 149"/>
                  <a:gd name="T85" fmla="*/ 0 h 61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9"/>
                  <a:gd name="T130" fmla="*/ 0 h 61"/>
                  <a:gd name="T131" fmla="*/ 149 w 149"/>
                  <a:gd name="T132" fmla="*/ 61 h 61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9" h="61">
                    <a:moveTo>
                      <a:pt x="103" y="0"/>
                    </a:moveTo>
                    <a:lnTo>
                      <a:pt x="118" y="1"/>
                    </a:lnTo>
                    <a:lnTo>
                      <a:pt x="134" y="3"/>
                    </a:lnTo>
                    <a:lnTo>
                      <a:pt x="145" y="5"/>
                    </a:lnTo>
                    <a:lnTo>
                      <a:pt x="149" y="6"/>
                    </a:lnTo>
                    <a:lnTo>
                      <a:pt x="149" y="8"/>
                    </a:lnTo>
                    <a:lnTo>
                      <a:pt x="147" y="10"/>
                    </a:lnTo>
                    <a:lnTo>
                      <a:pt x="145" y="12"/>
                    </a:lnTo>
                    <a:lnTo>
                      <a:pt x="141" y="13"/>
                    </a:lnTo>
                    <a:lnTo>
                      <a:pt x="137" y="14"/>
                    </a:lnTo>
                    <a:lnTo>
                      <a:pt x="132" y="14"/>
                    </a:lnTo>
                    <a:lnTo>
                      <a:pt x="127" y="14"/>
                    </a:lnTo>
                    <a:lnTo>
                      <a:pt x="123" y="12"/>
                    </a:lnTo>
                    <a:lnTo>
                      <a:pt x="123" y="23"/>
                    </a:lnTo>
                    <a:lnTo>
                      <a:pt x="123" y="33"/>
                    </a:lnTo>
                    <a:lnTo>
                      <a:pt x="123" y="41"/>
                    </a:lnTo>
                    <a:lnTo>
                      <a:pt x="123" y="49"/>
                    </a:lnTo>
                    <a:lnTo>
                      <a:pt x="116" y="50"/>
                    </a:lnTo>
                    <a:lnTo>
                      <a:pt x="109" y="51"/>
                    </a:lnTo>
                    <a:lnTo>
                      <a:pt x="104" y="53"/>
                    </a:lnTo>
                    <a:lnTo>
                      <a:pt x="100" y="55"/>
                    </a:lnTo>
                    <a:lnTo>
                      <a:pt x="94" y="57"/>
                    </a:lnTo>
                    <a:lnTo>
                      <a:pt x="89" y="59"/>
                    </a:lnTo>
                    <a:lnTo>
                      <a:pt x="83" y="61"/>
                    </a:lnTo>
                    <a:lnTo>
                      <a:pt x="76" y="61"/>
                    </a:lnTo>
                    <a:lnTo>
                      <a:pt x="67" y="60"/>
                    </a:lnTo>
                    <a:lnTo>
                      <a:pt x="53" y="57"/>
                    </a:lnTo>
                    <a:lnTo>
                      <a:pt x="39" y="54"/>
                    </a:lnTo>
                    <a:lnTo>
                      <a:pt x="25" y="49"/>
                    </a:lnTo>
                    <a:lnTo>
                      <a:pt x="12" y="45"/>
                    </a:lnTo>
                    <a:lnTo>
                      <a:pt x="3" y="41"/>
                    </a:lnTo>
                    <a:lnTo>
                      <a:pt x="1" y="39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3" y="37"/>
                    </a:lnTo>
                    <a:lnTo>
                      <a:pt x="19" y="36"/>
                    </a:lnTo>
                    <a:lnTo>
                      <a:pt x="35" y="35"/>
                    </a:lnTo>
                    <a:lnTo>
                      <a:pt x="48" y="32"/>
                    </a:lnTo>
                    <a:lnTo>
                      <a:pt x="60" y="27"/>
                    </a:lnTo>
                    <a:lnTo>
                      <a:pt x="72" y="22"/>
                    </a:lnTo>
                    <a:lnTo>
                      <a:pt x="82" y="16"/>
                    </a:lnTo>
                    <a:lnTo>
                      <a:pt x="93" y="8"/>
                    </a:lnTo>
                    <a:lnTo>
                      <a:pt x="103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66" name="Freeform 488">
                <a:extLst>
                  <a:ext uri="{FF2B5EF4-FFF2-40B4-BE49-F238E27FC236}">
                    <a16:creationId xmlns="" xmlns:a16="http://schemas.microsoft.com/office/drawing/2014/main" id="{B1DA5E34-E863-4270-B30B-8B7A604531DA}"/>
                  </a:ext>
                </a:extLst>
              </p:cNvPr>
              <p:cNvSpPr>
                <a:spLocks/>
              </p:cNvSpPr>
              <p:nvPr>
                <p:custDataLst>
                  <p:tags r:id="rId326"/>
                </p:custDataLst>
              </p:nvPr>
            </p:nvSpPr>
            <p:spPr bwMode="auto">
              <a:xfrm>
                <a:off x="4867275" y="1222375"/>
                <a:ext cx="130175" cy="57150"/>
              </a:xfrm>
              <a:custGeom>
                <a:avLst/>
                <a:gdLst>
                  <a:gd name="T0" fmla="*/ 2147483646 w 299"/>
                  <a:gd name="T1" fmla="*/ 2147483646 h 74"/>
                  <a:gd name="T2" fmla="*/ 2147483646 w 299"/>
                  <a:gd name="T3" fmla="*/ 2147483646 h 74"/>
                  <a:gd name="T4" fmla="*/ 2147483646 w 299"/>
                  <a:gd name="T5" fmla="*/ 2147483646 h 74"/>
                  <a:gd name="T6" fmla="*/ 2147483646 w 299"/>
                  <a:gd name="T7" fmla="*/ 2147483646 h 74"/>
                  <a:gd name="T8" fmla="*/ 2147483646 w 299"/>
                  <a:gd name="T9" fmla="*/ 2147483646 h 74"/>
                  <a:gd name="T10" fmla="*/ 2147483646 w 299"/>
                  <a:gd name="T11" fmla="*/ 2147483646 h 74"/>
                  <a:gd name="T12" fmla="*/ 2147483646 w 299"/>
                  <a:gd name="T13" fmla="*/ 2147483646 h 74"/>
                  <a:gd name="T14" fmla="*/ 2147483646 w 299"/>
                  <a:gd name="T15" fmla="*/ 2147483646 h 74"/>
                  <a:gd name="T16" fmla="*/ 2147483646 w 299"/>
                  <a:gd name="T17" fmla="*/ 2147483646 h 74"/>
                  <a:gd name="T18" fmla="*/ 2147483646 w 299"/>
                  <a:gd name="T19" fmla="*/ 2147483646 h 74"/>
                  <a:gd name="T20" fmla="*/ 2147483646 w 299"/>
                  <a:gd name="T21" fmla="*/ 2147483646 h 74"/>
                  <a:gd name="T22" fmla="*/ 2147483646 w 299"/>
                  <a:gd name="T23" fmla="*/ 2147483646 h 74"/>
                  <a:gd name="T24" fmla="*/ 2147483646 w 299"/>
                  <a:gd name="T25" fmla="*/ 2147483646 h 74"/>
                  <a:gd name="T26" fmla="*/ 2147483646 w 299"/>
                  <a:gd name="T27" fmla="*/ 2147483646 h 74"/>
                  <a:gd name="T28" fmla="*/ 2147483646 w 299"/>
                  <a:gd name="T29" fmla="*/ 2147483646 h 74"/>
                  <a:gd name="T30" fmla="*/ 2147483646 w 299"/>
                  <a:gd name="T31" fmla="*/ 2147483646 h 74"/>
                  <a:gd name="T32" fmla="*/ 2147483646 w 299"/>
                  <a:gd name="T33" fmla="*/ 2147483646 h 74"/>
                  <a:gd name="T34" fmla="*/ 2147483646 w 299"/>
                  <a:gd name="T35" fmla="*/ 2147483646 h 74"/>
                  <a:gd name="T36" fmla="*/ 2147483646 w 299"/>
                  <a:gd name="T37" fmla="*/ 2147483646 h 74"/>
                  <a:gd name="T38" fmla="*/ 2147483646 w 299"/>
                  <a:gd name="T39" fmla="*/ 2147483646 h 74"/>
                  <a:gd name="T40" fmla="*/ 2147483646 w 299"/>
                  <a:gd name="T41" fmla="*/ 2147483646 h 74"/>
                  <a:gd name="T42" fmla="*/ 2147483646 w 299"/>
                  <a:gd name="T43" fmla="*/ 2147483646 h 74"/>
                  <a:gd name="T44" fmla="*/ 2147483646 w 299"/>
                  <a:gd name="T45" fmla="*/ 0 h 74"/>
                  <a:gd name="T46" fmla="*/ 2147483646 w 299"/>
                  <a:gd name="T47" fmla="*/ 2147483646 h 74"/>
                  <a:gd name="T48" fmla="*/ 2147483646 w 299"/>
                  <a:gd name="T49" fmla="*/ 2147483646 h 74"/>
                  <a:gd name="T50" fmla="*/ 2147483646 w 299"/>
                  <a:gd name="T51" fmla="*/ 2147483646 h 74"/>
                  <a:gd name="T52" fmla="*/ 2147483646 w 299"/>
                  <a:gd name="T53" fmla="*/ 2147483646 h 74"/>
                  <a:gd name="T54" fmla="*/ 2147483646 w 299"/>
                  <a:gd name="T55" fmla="*/ 2147483646 h 74"/>
                  <a:gd name="T56" fmla="*/ 2147483646 w 299"/>
                  <a:gd name="T57" fmla="*/ 2147483646 h 74"/>
                  <a:gd name="T58" fmla="*/ 2147483646 w 299"/>
                  <a:gd name="T59" fmla="*/ 2147483646 h 74"/>
                  <a:gd name="T60" fmla="*/ 2147483646 w 299"/>
                  <a:gd name="T61" fmla="*/ 2147483646 h 74"/>
                  <a:gd name="T62" fmla="*/ 2147483646 w 299"/>
                  <a:gd name="T63" fmla="*/ 2147483646 h 74"/>
                  <a:gd name="T64" fmla="*/ 2147483646 w 299"/>
                  <a:gd name="T65" fmla="*/ 2147483646 h 74"/>
                  <a:gd name="T66" fmla="*/ 2147483646 w 299"/>
                  <a:gd name="T67" fmla="*/ 2147483646 h 74"/>
                  <a:gd name="T68" fmla="*/ 2147483646 w 299"/>
                  <a:gd name="T69" fmla="*/ 2147483646 h 74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299"/>
                  <a:gd name="T106" fmla="*/ 0 h 74"/>
                  <a:gd name="T107" fmla="*/ 299 w 299"/>
                  <a:gd name="T108" fmla="*/ 74 h 74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299" h="74">
                    <a:moveTo>
                      <a:pt x="126" y="74"/>
                    </a:moveTo>
                    <a:lnTo>
                      <a:pt x="133" y="72"/>
                    </a:lnTo>
                    <a:lnTo>
                      <a:pt x="142" y="69"/>
                    </a:lnTo>
                    <a:lnTo>
                      <a:pt x="154" y="65"/>
                    </a:lnTo>
                    <a:lnTo>
                      <a:pt x="166" y="60"/>
                    </a:lnTo>
                    <a:lnTo>
                      <a:pt x="178" y="54"/>
                    </a:lnTo>
                    <a:lnTo>
                      <a:pt x="189" y="48"/>
                    </a:lnTo>
                    <a:lnTo>
                      <a:pt x="199" y="42"/>
                    </a:lnTo>
                    <a:lnTo>
                      <a:pt x="205" y="37"/>
                    </a:lnTo>
                    <a:lnTo>
                      <a:pt x="207" y="40"/>
                    </a:lnTo>
                    <a:lnTo>
                      <a:pt x="209" y="43"/>
                    </a:lnTo>
                    <a:lnTo>
                      <a:pt x="211" y="46"/>
                    </a:lnTo>
                    <a:lnTo>
                      <a:pt x="214" y="48"/>
                    </a:lnTo>
                    <a:lnTo>
                      <a:pt x="220" y="51"/>
                    </a:lnTo>
                    <a:lnTo>
                      <a:pt x="227" y="53"/>
                    </a:lnTo>
                    <a:lnTo>
                      <a:pt x="243" y="55"/>
                    </a:lnTo>
                    <a:lnTo>
                      <a:pt x="259" y="55"/>
                    </a:lnTo>
                    <a:lnTo>
                      <a:pt x="269" y="55"/>
                    </a:lnTo>
                    <a:lnTo>
                      <a:pt x="278" y="55"/>
                    </a:lnTo>
                    <a:lnTo>
                      <a:pt x="286" y="55"/>
                    </a:lnTo>
                    <a:lnTo>
                      <a:pt x="292" y="55"/>
                    </a:lnTo>
                    <a:lnTo>
                      <a:pt x="293" y="46"/>
                    </a:lnTo>
                    <a:lnTo>
                      <a:pt x="295" y="38"/>
                    </a:lnTo>
                    <a:lnTo>
                      <a:pt x="298" y="31"/>
                    </a:lnTo>
                    <a:lnTo>
                      <a:pt x="299" y="25"/>
                    </a:lnTo>
                    <a:lnTo>
                      <a:pt x="279" y="25"/>
                    </a:lnTo>
                    <a:lnTo>
                      <a:pt x="260" y="25"/>
                    </a:lnTo>
                    <a:lnTo>
                      <a:pt x="244" y="25"/>
                    </a:lnTo>
                    <a:lnTo>
                      <a:pt x="232" y="25"/>
                    </a:lnTo>
                    <a:lnTo>
                      <a:pt x="225" y="25"/>
                    </a:lnTo>
                    <a:lnTo>
                      <a:pt x="220" y="26"/>
                    </a:lnTo>
                    <a:lnTo>
                      <a:pt x="214" y="27"/>
                    </a:lnTo>
                    <a:lnTo>
                      <a:pt x="211" y="29"/>
                    </a:lnTo>
                    <a:lnTo>
                      <a:pt x="204" y="33"/>
                    </a:lnTo>
                    <a:lnTo>
                      <a:pt x="199" y="37"/>
                    </a:lnTo>
                    <a:lnTo>
                      <a:pt x="172" y="37"/>
                    </a:lnTo>
                    <a:lnTo>
                      <a:pt x="174" y="32"/>
                    </a:lnTo>
                    <a:lnTo>
                      <a:pt x="176" y="28"/>
                    </a:lnTo>
                    <a:lnTo>
                      <a:pt x="178" y="24"/>
                    </a:lnTo>
                    <a:lnTo>
                      <a:pt x="180" y="21"/>
                    </a:lnTo>
                    <a:lnTo>
                      <a:pt x="187" y="16"/>
                    </a:lnTo>
                    <a:lnTo>
                      <a:pt x="194" y="13"/>
                    </a:lnTo>
                    <a:lnTo>
                      <a:pt x="202" y="11"/>
                    </a:lnTo>
                    <a:lnTo>
                      <a:pt x="210" y="9"/>
                    </a:lnTo>
                    <a:lnTo>
                      <a:pt x="217" y="5"/>
                    </a:lnTo>
                    <a:lnTo>
                      <a:pt x="225" y="0"/>
                    </a:lnTo>
                    <a:lnTo>
                      <a:pt x="199" y="0"/>
                    </a:lnTo>
                    <a:lnTo>
                      <a:pt x="185" y="3"/>
                    </a:lnTo>
                    <a:lnTo>
                      <a:pt x="170" y="7"/>
                    </a:lnTo>
                    <a:lnTo>
                      <a:pt x="157" y="11"/>
                    </a:lnTo>
                    <a:lnTo>
                      <a:pt x="145" y="18"/>
                    </a:lnTo>
                    <a:lnTo>
                      <a:pt x="134" y="25"/>
                    </a:lnTo>
                    <a:lnTo>
                      <a:pt x="123" y="32"/>
                    </a:lnTo>
                    <a:lnTo>
                      <a:pt x="114" y="40"/>
                    </a:lnTo>
                    <a:lnTo>
                      <a:pt x="105" y="49"/>
                    </a:lnTo>
                    <a:lnTo>
                      <a:pt x="100" y="53"/>
                    </a:lnTo>
                    <a:lnTo>
                      <a:pt x="95" y="56"/>
                    </a:lnTo>
                    <a:lnTo>
                      <a:pt x="87" y="59"/>
                    </a:lnTo>
                    <a:lnTo>
                      <a:pt x="80" y="61"/>
                    </a:lnTo>
                    <a:lnTo>
                      <a:pt x="64" y="63"/>
                    </a:lnTo>
                    <a:lnTo>
                      <a:pt x="47" y="64"/>
                    </a:lnTo>
                    <a:lnTo>
                      <a:pt x="32" y="64"/>
                    </a:lnTo>
                    <a:lnTo>
                      <a:pt x="18" y="65"/>
                    </a:lnTo>
                    <a:lnTo>
                      <a:pt x="12" y="67"/>
                    </a:lnTo>
                    <a:lnTo>
                      <a:pt x="7" y="68"/>
                    </a:lnTo>
                    <a:lnTo>
                      <a:pt x="2" y="70"/>
                    </a:lnTo>
                    <a:lnTo>
                      <a:pt x="0" y="74"/>
                    </a:lnTo>
                    <a:lnTo>
                      <a:pt x="39" y="74"/>
                    </a:lnTo>
                    <a:lnTo>
                      <a:pt x="73" y="74"/>
                    </a:lnTo>
                    <a:lnTo>
                      <a:pt x="102" y="74"/>
                    </a:lnTo>
                    <a:lnTo>
                      <a:pt x="126" y="74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67" name="Freeform 489">
                <a:extLst>
                  <a:ext uri="{FF2B5EF4-FFF2-40B4-BE49-F238E27FC236}">
                    <a16:creationId xmlns="" xmlns:a16="http://schemas.microsoft.com/office/drawing/2014/main" id="{994AD6A0-796A-48BF-A716-EDC17B0D98DF}"/>
                  </a:ext>
                </a:extLst>
              </p:cNvPr>
              <p:cNvSpPr>
                <a:spLocks/>
              </p:cNvSpPr>
              <p:nvPr>
                <p:custDataLst>
                  <p:tags r:id="rId327"/>
                </p:custDataLst>
              </p:nvPr>
            </p:nvSpPr>
            <p:spPr bwMode="auto">
              <a:xfrm>
                <a:off x="5400675" y="1408113"/>
                <a:ext cx="41275" cy="57150"/>
              </a:xfrm>
              <a:custGeom>
                <a:avLst/>
                <a:gdLst>
                  <a:gd name="T0" fmla="*/ 2147483646 w 100"/>
                  <a:gd name="T1" fmla="*/ 0 h 42"/>
                  <a:gd name="T2" fmla="*/ 2147483646 w 100"/>
                  <a:gd name="T3" fmla="*/ 2147483646 h 42"/>
                  <a:gd name="T4" fmla="*/ 2147483646 w 100"/>
                  <a:gd name="T5" fmla="*/ 2147483646 h 42"/>
                  <a:gd name="T6" fmla="*/ 2147483646 w 100"/>
                  <a:gd name="T7" fmla="*/ 2147483646 h 42"/>
                  <a:gd name="T8" fmla="*/ 2147483646 w 100"/>
                  <a:gd name="T9" fmla="*/ 2147483646 h 42"/>
                  <a:gd name="T10" fmla="*/ 2147483646 w 100"/>
                  <a:gd name="T11" fmla="*/ 2147483646 h 42"/>
                  <a:gd name="T12" fmla="*/ 2147483646 w 100"/>
                  <a:gd name="T13" fmla="*/ 2147483646 h 42"/>
                  <a:gd name="T14" fmla="*/ 2147483646 w 100"/>
                  <a:gd name="T15" fmla="*/ 2147483646 h 42"/>
                  <a:gd name="T16" fmla="*/ 2147483646 w 100"/>
                  <a:gd name="T17" fmla="*/ 2147483646 h 42"/>
                  <a:gd name="T18" fmla="*/ 2147483646 w 100"/>
                  <a:gd name="T19" fmla="*/ 2147483646 h 42"/>
                  <a:gd name="T20" fmla="*/ 2147483646 w 100"/>
                  <a:gd name="T21" fmla="*/ 2147483646 h 42"/>
                  <a:gd name="T22" fmla="*/ 2147483646 w 100"/>
                  <a:gd name="T23" fmla="*/ 2147483646 h 42"/>
                  <a:gd name="T24" fmla="*/ 2147483646 w 100"/>
                  <a:gd name="T25" fmla="*/ 2147483646 h 42"/>
                  <a:gd name="T26" fmla="*/ 2147483646 w 100"/>
                  <a:gd name="T27" fmla="*/ 2147483646 h 42"/>
                  <a:gd name="T28" fmla="*/ 0 w 100"/>
                  <a:gd name="T29" fmla="*/ 2147483646 h 42"/>
                  <a:gd name="T30" fmla="*/ 2147483646 w 100"/>
                  <a:gd name="T31" fmla="*/ 2147483646 h 42"/>
                  <a:gd name="T32" fmla="*/ 2147483646 w 100"/>
                  <a:gd name="T33" fmla="*/ 2147483646 h 42"/>
                  <a:gd name="T34" fmla="*/ 2147483646 w 100"/>
                  <a:gd name="T35" fmla="*/ 2147483646 h 42"/>
                  <a:gd name="T36" fmla="*/ 2147483646 w 100"/>
                  <a:gd name="T37" fmla="*/ 2147483646 h 42"/>
                  <a:gd name="T38" fmla="*/ 2147483646 w 100"/>
                  <a:gd name="T39" fmla="*/ 2147483646 h 42"/>
                  <a:gd name="T40" fmla="*/ 2147483646 w 100"/>
                  <a:gd name="T41" fmla="*/ 2147483646 h 42"/>
                  <a:gd name="T42" fmla="*/ 2147483646 w 100"/>
                  <a:gd name="T43" fmla="*/ 2147483646 h 42"/>
                  <a:gd name="T44" fmla="*/ 2147483646 w 100"/>
                  <a:gd name="T45" fmla="*/ 2147483646 h 42"/>
                  <a:gd name="T46" fmla="*/ 2147483646 w 100"/>
                  <a:gd name="T47" fmla="*/ 2147483646 h 42"/>
                  <a:gd name="T48" fmla="*/ 2147483646 w 100"/>
                  <a:gd name="T49" fmla="*/ 2147483646 h 42"/>
                  <a:gd name="T50" fmla="*/ 2147483646 w 100"/>
                  <a:gd name="T51" fmla="*/ 0 h 42"/>
                  <a:gd name="T52" fmla="*/ 2147483646 w 100"/>
                  <a:gd name="T53" fmla="*/ 0 h 4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00"/>
                  <a:gd name="T82" fmla="*/ 0 h 42"/>
                  <a:gd name="T83" fmla="*/ 100 w 100"/>
                  <a:gd name="T84" fmla="*/ 42 h 42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00" h="42">
                    <a:moveTo>
                      <a:pt x="93" y="0"/>
                    </a:moveTo>
                    <a:lnTo>
                      <a:pt x="97" y="7"/>
                    </a:lnTo>
                    <a:lnTo>
                      <a:pt x="100" y="18"/>
                    </a:lnTo>
                    <a:lnTo>
                      <a:pt x="92" y="24"/>
                    </a:lnTo>
                    <a:lnTo>
                      <a:pt x="86" y="29"/>
                    </a:lnTo>
                    <a:lnTo>
                      <a:pt x="79" y="34"/>
                    </a:lnTo>
                    <a:lnTo>
                      <a:pt x="72" y="37"/>
                    </a:lnTo>
                    <a:lnTo>
                      <a:pt x="65" y="39"/>
                    </a:lnTo>
                    <a:lnTo>
                      <a:pt x="57" y="41"/>
                    </a:lnTo>
                    <a:lnTo>
                      <a:pt x="49" y="42"/>
                    </a:lnTo>
                    <a:lnTo>
                      <a:pt x="40" y="42"/>
                    </a:lnTo>
                    <a:lnTo>
                      <a:pt x="27" y="41"/>
                    </a:lnTo>
                    <a:lnTo>
                      <a:pt x="12" y="39"/>
                    </a:lnTo>
                    <a:lnTo>
                      <a:pt x="1" y="37"/>
                    </a:lnTo>
                    <a:lnTo>
                      <a:pt x="0" y="36"/>
                    </a:lnTo>
                    <a:lnTo>
                      <a:pt x="6" y="36"/>
                    </a:lnTo>
                    <a:lnTo>
                      <a:pt x="12" y="35"/>
                    </a:lnTo>
                    <a:lnTo>
                      <a:pt x="18" y="33"/>
                    </a:lnTo>
                    <a:lnTo>
                      <a:pt x="23" y="30"/>
                    </a:lnTo>
                    <a:lnTo>
                      <a:pt x="33" y="25"/>
                    </a:lnTo>
                    <a:lnTo>
                      <a:pt x="44" y="18"/>
                    </a:lnTo>
                    <a:lnTo>
                      <a:pt x="55" y="11"/>
                    </a:lnTo>
                    <a:lnTo>
                      <a:pt x="66" y="5"/>
                    </a:lnTo>
                    <a:lnTo>
                      <a:pt x="72" y="3"/>
                    </a:lnTo>
                    <a:lnTo>
                      <a:pt x="79" y="1"/>
                    </a:lnTo>
                    <a:lnTo>
                      <a:pt x="86" y="0"/>
                    </a:lnTo>
                    <a:lnTo>
                      <a:pt x="93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68" name="Freeform 490">
                <a:extLst>
                  <a:ext uri="{FF2B5EF4-FFF2-40B4-BE49-F238E27FC236}">
                    <a16:creationId xmlns="" xmlns:a16="http://schemas.microsoft.com/office/drawing/2014/main" id="{A21F6045-E2BA-480A-9D03-CD52ABB3326F}"/>
                  </a:ext>
                </a:extLst>
              </p:cNvPr>
              <p:cNvSpPr>
                <a:spLocks/>
              </p:cNvSpPr>
              <p:nvPr>
                <p:custDataLst>
                  <p:tags r:id="rId328"/>
                </p:custDataLst>
              </p:nvPr>
            </p:nvSpPr>
            <p:spPr bwMode="auto">
              <a:xfrm>
                <a:off x="5310188" y="1266825"/>
                <a:ext cx="15875" cy="58738"/>
              </a:xfrm>
              <a:custGeom>
                <a:avLst/>
                <a:gdLst>
                  <a:gd name="T0" fmla="*/ 2147483646 w 40"/>
                  <a:gd name="T1" fmla="*/ 2147483646 h 5"/>
                  <a:gd name="T2" fmla="*/ 0 w 40"/>
                  <a:gd name="T3" fmla="*/ 2147483646 h 5"/>
                  <a:gd name="T4" fmla="*/ 2147483646 w 40"/>
                  <a:gd name="T5" fmla="*/ 2147483646 h 5"/>
                  <a:gd name="T6" fmla="*/ 2147483646 w 40"/>
                  <a:gd name="T7" fmla="*/ 2147483646 h 5"/>
                  <a:gd name="T8" fmla="*/ 2147483646 w 40"/>
                  <a:gd name="T9" fmla="*/ 0 h 5"/>
                  <a:gd name="T10" fmla="*/ 2147483646 w 40"/>
                  <a:gd name="T11" fmla="*/ 0 h 5"/>
                  <a:gd name="T12" fmla="*/ 2147483646 w 40"/>
                  <a:gd name="T13" fmla="*/ 0 h 5"/>
                  <a:gd name="T14" fmla="*/ 2147483646 w 40"/>
                  <a:gd name="T15" fmla="*/ 2147483646 h 5"/>
                  <a:gd name="T16" fmla="*/ 2147483646 w 40"/>
                  <a:gd name="T17" fmla="*/ 2147483646 h 5"/>
                  <a:gd name="T18" fmla="*/ 2147483646 w 40"/>
                  <a:gd name="T19" fmla="*/ 2147483646 h 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40"/>
                  <a:gd name="T31" fmla="*/ 0 h 5"/>
                  <a:gd name="T32" fmla="*/ 40 w 40"/>
                  <a:gd name="T33" fmla="*/ 5 h 5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40" h="5">
                    <a:moveTo>
                      <a:pt x="40" y="5"/>
                    </a:moveTo>
                    <a:lnTo>
                      <a:pt x="0" y="5"/>
                    </a:lnTo>
                    <a:lnTo>
                      <a:pt x="5" y="3"/>
                    </a:lnTo>
                    <a:lnTo>
                      <a:pt x="9" y="1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0" y="1"/>
                    </a:lnTo>
                    <a:lnTo>
                      <a:pt x="35" y="3"/>
                    </a:lnTo>
                    <a:lnTo>
                      <a:pt x="40" y="5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69" name="Freeform 491">
                <a:extLst>
                  <a:ext uri="{FF2B5EF4-FFF2-40B4-BE49-F238E27FC236}">
                    <a16:creationId xmlns="" xmlns:a16="http://schemas.microsoft.com/office/drawing/2014/main" id="{373CA175-0DAE-4542-BA43-7734E95D23D0}"/>
                  </a:ext>
                </a:extLst>
              </p:cNvPr>
              <p:cNvSpPr>
                <a:spLocks/>
              </p:cNvSpPr>
              <p:nvPr>
                <p:custDataLst>
                  <p:tags r:id="rId329"/>
                </p:custDataLst>
              </p:nvPr>
            </p:nvSpPr>
            <p:spPr bwMode="auto">
              <a:xfrm>
                <a:off x="5332413" y="1225550"/>
                <a:ext cx="14287" cy="60325"/>
              </a:xfrm>
              <a:custGeom>
                <a:avLst/>
                <a:gdLst>
                  <a:gd name="T0" fmla="*/ 0 w 33"/>
                  <a:gd name="T1" fmla="*/ 2147483646 h 31"/>
                  <a:gd name="T2" fmla="*/ 2147483646 w 33"/>
                  <a:gd name="T3" fmla="*/ 0 h 31"/>
                  <a:gd name="T4" fmla="*/ 2147483646 w 33"/>
                  <a:gd name="T5" fmla="*/ 2147483646 h 31"/>
                  <a:gd name="T6" fmla="*/ 2147483646 w 33"/>
                  <a:gd name="T7" fmla="*/ 2147483646 h 31"/>
                  <a:gd name="T8" fmla="*/ 2147483646 w 33"/>
                  <a:gd name="T9" fmla="*/ 2147483646 h 31"/>
                  <a:gd name="T10" fmla="*/ 2147483646 w 33"/>
                  <a:gd name="T11" fmla="*/ 2147483646 h 31"/>
                  <a:gd name="T12" fmla="*/ 2147483646 w 33"/>
                  <a:gd name="T13" fmla="*/ 2147483646 h 31"/>
                  <a:gd name="T14" fmla="*/ 2147483646 w 33"/>
                  <a:gd name="T15" fmla="*/ 2147483646 h 31"/>
                  <a:gd name="T16" fmla="*/ 0 w 33"/>
                  <a:gd name="T17" fmla="*/ 2147483646 h 31"/>
                  <a:gd name="T18" fmla="*/ 0 w 33"/>
                  <a:gd name="T19" fmla="*/ 2147483646 h 31"/>
                  <a:gd name="T20" fmla="*/ 0 w 33"/>
                  <a:gd name="T21" fmla="*/ 2147483646 h 3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3"/>
                  <a:gd name="T34" fmla="*/ 0 h 31"/>
                  <a:gd name="T35" fmla="*/ 33 w 33"/>
                  <a:gd name="T36" fmla="*/ 31 h 31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3" h="31">
                    <a:moveTo>
                      <a:pt x="0" y="19"/>
                    </a:moveTo>
                    <a:lnTo>
                      <a:pt x="20" y="0"/>
                    </a:lnTo>
                    <a:lnTo>
                      <a:pt x="20" y="4"/>
                    </a:lnTo>
                    <a:lnTo>
                      <a:pt x="22" y="10"/>
                    </a:lnTo>
                    <a:lnTo>
                      <a:pt x="25" y="14"/>
                    </a:lnTo>
                    <a:lnTo>
                      <a:pt x="27" y="18"/>
                    </a:lnTo>
                    <a:lnTo>
                      <a:pt x="31" y="26"/>
                    </a:lnTo>
                    <a:lnTo>
                      <a:pt x="33" y="31"/>
                    </a:lnTo>
                    <a:lnTo>
                      <a:pt x="0" y="31"/>
                    </a:lnTo>
                    <a:lnTo>
                      <a:pt x="0" y="25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70" name="Freeform 492">
                <a:extLst>
                  <a:ext uri="{FF2B5EF4-FFF2-40B4-BE49-F238E27FC236}">
                    <a16:creationId xmlns="" xmlns:a16="http://schemas.microsoft.com/office/drawing/2014/main" id="{3B6BF602-3789-4D8F-A8ED-9EE18BA1E4D4}"/>
                  </a:ext>
                </a:extLst>
              </p:cNvPr>
              <p:cNvSpPr>
                <a:spLocks/>
              </p:cNvSpPr>
              <p:nvPr>
                <p:custDataLst>
                  <p:tags r:id="rId330"/>
                </p:custDataLst>
              </p:nvPr>
            </p:nvSpPr>
            <p:spPr bwMode="auto">
              <a:xfrm>
                <a:off x="5476875" y="1341438"/>
                <a:ext cx="17463" cy="57150"/>
              </a:xfrm>
              <a:custGeom>
                <a:avLst/>
                <a:gdLst>
                  <a:gd name="T0" fmla="*/ 2147483646 w 41"/>
                  <a:gd name="T1" fmla="*/ 0 h 43"/>
                  <a:gd name="T2" fmla="*/ 2147483646 w 41"/>
                  <a:gd name="T3" fmla="*/ 2147483646 h 43"/>
                  <a:gd name="T4" fmla="*/ 2147483646 w 41"/>
                  <a:gd name="T5" fmla="*/ 2147483646 h 43"/>
                  <a:gd name="T6" fmla="*/ 2147483646 w 41"/>
                  <a:gd name="T7" fmla="*/ 2147483646 h 43"/>
                  <a:gd name="T8" fmla="*/ 2147483646 w 41"/>
                  <a:gd name="T9" fmla="*/ 2147483646 h 43"/>
                  <a:gd name="T10" fmla="*/ 2147483646 w 41"/>
                  <a:gd name="T11" fmla="*/ 2147483646 h 43"/>
                  <a:gd name="T12" fmla="*/ 2147483646 w 41"/>
                  <a:gd name="T13" fmla="*/ 2147483646 h 43"/>
                  <a:gd name="T14" fmla="*/ 0 w 41"/>
                  <a:gd name="T15" fmla="*/ 2147483646 h 43"/>
                  <a:gd name="T16" fmla="*/ 2147483646 w 41"/>
                  <a:gd name="T17" fmla="*/ 2147483646 h 43"/>
                  <a:gd name="T18" fmla="*/ 2147483646 w 41"/>
                  <a:gd name="T19" fmla="*/ 2147483646 h 43"/>
                  <a:gd name="T20" fmla="*/ 2147483646 w 41"/>
                  <a:gd name="T21" fmla="*/ 2147483646 h 43"/>
                  <a:gd name="T22" fmla="*/ 2147483646 w 41"/>
                  <a:gd name="T23" fmla="*/ 0 h 4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1"/>
                  <a:gd name="T37" fmla="*/ 0 h 43"/>
                  <a:gd name="T38" fmla="*/ 41 w 41"/>
                  <a:gd name="T39" fmla="*/ 43 h 43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1" h="43">
                    <a:moveTo>
                      <a:pt x="41" y="0"/>
                    </a:moveTo>
                    <a:lnTo>
                      <a:pt x="41" y="43"/>
                    </a:lnTo>
                    <a:lnTo>
                      <a:pt x="31" y="42"/>
                    </a:lnTo>
                    <a:lnTo>
                      <a:pt x="24" y="40"/>
                    </a:lnTo>
                    <a:lnTo>
                      <a:pt x="18" y="37"/>
                    </a:lnTo>
                    <a:lnTo>
                      <a:pt x="13" y="33"/>
                    </a:lnTo>
                    <a:lnTo>
                      <a:pt x="5" y="25"/>
                    </a:lnTo>
                    <a:lnTo>
                      <a:pt x="0" y="19"/>
                    </a:lnTo>
                    <a:lnTo>
                      <a:pt x="12" y="13"/>
                    </a:lnTo>
                    <a:lnTo>
                      <a:pt x="25" y="7"/>
                    </a:lnTo>
                    <a:lnTo>
                      <a:pt x="36" y="2"/>
                    </a:lnTo>
                    <a:lnTo>
                      <a:pt x="41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71" name="Freeform 493">
                <a:extLst>
                  <a:ext uri="{FF2B5EF4-FFF2-40B4-BE49-F238E27FC236}">
                    <a16:creationId xmlns="" xmlns:a16="http://schemas.microsoft.com/office/drawing/2014/main" id="{49D6687E-7C28-4AB2-898B-FC2916E4C634}"/>
                  </a:ext>
                </a:extLst>
              </p:cNvPr>
              <p:cNvSpPr>
                <a:spLocks/>
              </p:cNvSpPr>
              <p:nvPr>
                <p:custDataLst>
                  <p:tags r:id="rId331"/>
                </p:custDataLst>
              </p:nvPr>
            </p:nvSpPr>
            <p:spPr bwMode="auto">
              <a:xfrm>
                <a:off x="5530850" y="1225550"/>
                <a:ext cx="93663" cy="60325"/>
              </a:xfrm>
              <a:custGeom>
                <a:avLst/>
                <a:gdLst>
                  <a:gd name="T0" fmla="*/ 2147483646 w 213"/>
                  <a:gd name="T1" fmla="*/ 0 h 62"/>
                  <a:gd name="T2" fmla="*/ 2147483646 w 213"/>
                  <a:gd name="T3" fmla="*/ 0 h 62"/>
                  <a:gd name="T4" fmla="*/ 2147483646 w 213"/>
                  <a:gd name="T5" fmla="*/ 2147483646 h 62"/>
                  <a:gd name="T6" fmla="*/ 2147483646 w 213"/>
                  <a:gd name="T7" fmla="*/ 2147483646 h 62"/>
                  <a:gd name="T8" fmla="*/ 2147483646 w 213"/>
                  <a:gd name="T9" fmla="*/ 2147483646 h 62"/>
                  <a:gd name="T10" fmla="*/ 2147483646 w 213"/>
                  <a:gd name="T11" fmla="*/ 2147483646 h 62"/>
                  <a:gd name="T12" fmla="*/ 2147483646 w 213"/>
                  <a:gd name="T13" fmla="*/ 2147483646 h 62"/>
                  <a:gd name="T14" fmla="*/ 2147483646 w 213"/>
                  <a:gd name="T15" fmla="*/ 2147483646 h 62"/>
                  <a:gd name="T16" fmla="*/ 2147483646 w 213"/>
                  <a:gd name="T17" fmla="*/ 2147483646 h 62"/>
                  <a:gd name="T18" fmla="*/ 2147483646 w 213"/>
                  <a:gd name="T19" fmla="*/ 2147483646 h 62"/>
                  <a:gd name="T20" fmla="*/ 2147483646 w 213"/>
                  <a:gd name="T21" fmla="*/ 2147483646 h 62"/>
                  <a:gd name="T22" fmla="*/ 2147483646 w 213"/>
                  <a:gd name="T23" fmla="*/ 2147483646 h 62"/>
                  <a:gd name="T24" fmla="*/ 2147483646 w 213"/>
                  <a:gd name="T25" fmla="*/ 2147483646 h 62"/>
                  <a:gd name="T26" fmla="*/ 2147483646 w 213"/>
                  <a:gd name="T27" fmla="*/ 2147483646 h 62"/>
                  <a:gd name="T28" fmla="*/ 2147483646 w 213"/>
                  <a:gd name="T29" fmla="*/ 2147483646 h 62"/>
                  <a:gd name="T30" fmla="*/ 2147483646 w 213"/>
                  <a:gd name="T31" fmla="*/ 2147483646 h 62"/>
                  <a:gd name="T32" fmla="*/ 2147483646 w 213"/>
                  <a:gd name="T33" fmla="*/ 2147483646 h 62"/>
                  <a:gd name="T34" fmla="*/ 2147483646 w 213"/>
                  <a:gd name="T35" fmla="*/ 2147483646 h 62"/>
                  <a:gd name="T36" fmla="*/ 2147483646 w 213"/>
                  <a:gd name="T37" fmla="*/ 2147483646 h 62"/>
                  <a:gd name="T38" fmla="*/ 2147483646 w 213"/>
                  <a:gd name="T39" fmla="*/ 2147483646 h 62"/>
                  <a:gd name="T40" fmla="*/ 2147483646 w 213"/>
                  <a:gd name="T41" fmla="*/ 2147483646 h 62"/>
                  <a:gd name="T42" fmla="*/ 2147483646 w 213"/>
                  <a:gd name="T43" fmla="*/ 2147483646 h 62"/>
                  <a:gd name="T44" fmla="*/ 2147483646 w 213"/>
                  <a:gd name="T45" fmla="*/ 2147483646 h 62"/>
                  <a:gd name="T46" fmla="*/ 2147483646 w 213"/>
                  <a:gd name="T47" fmla="*/ 2147483646 h 62"/>
                  <a:gd name="T48" fmla="*/ 2147483646 w 213"/>
                  <a:gd name="T49" fmla="*/ 2147483646 h 62"/>
                  <a:gd name="T50" fmla="*/ 2147483646 w 213"/>
                  <a:gd name="T51" fmla="*/ 2147483646 h 62"/>
                  <a:gd name="T52" fmla="*/ 0 w 213"/>
                  <a:gd name="T53" fmla="*/ 2147483646 h 62"/>
                  <a:gd name="T54" fmla="*/ 2147483646 w 213"/>
                  <a:gd name="T55" fmla="*/ 2147483646 h 62"/>
                  <a:gd name="T56" fmla="*/ 2147483646 w 213"/>
                  <a:gd name="T57" fmla="*/ 2147483646 h 62"/>
                  <a:gd name="T58" fmla="*/ 2147483646 w 213"/>
                  <a:gd name="T59" fmla="*/ 2147483646 h 62"/>
                  <a:gd name="T60" fmla="*/ 2147483646 w 213"/>
                  <a:gd name="T61" fmla="*/ 2147483646 h 62"/>
                  <a:gd name="T62" fmla="*/ 2147483646 w 213"/>
                  <a:gd name="T63" fmla="*/ 2147483646 h 62"/>
                  <a:gd name="T64" fmla="*/ 2147483646 w 213"/>
                  <a:gd name="T65" fmla="*/ 2147483646 h 62"/>
                  <a:gd name="T66" fmla="*/ 2147483646 w 213"/>
                  <a:gd name="T67" fmla="*/ 2147483646 h 62"/>
                  <a:gd name="T68" fmla="*/ 2147483646 w 213"/>
                  <a:gd name="T69" fmla="*/ 2147483646 h 62"/>
                  <a:gd name="T70" fmla="*/ 2147483646 w 213"/>
                  <a:gd name="T71" fmla="*/ 2147483646 h 62"/>
                  <a:gd name="T72" fmla="*/ 2147483646 w 213"/>
                  <a:gd name="T73" fmla="*/ 2147483646 h 62"/>
                  <a:gd name="T74" fmla="*/ 2147483646 w 213"/>
                  <a:gd name="T75" fmla="*/ 0 h 62"/>
                  <a:gd name="T76" fmla="*/ 2147483646 w 213"/>
                  <a:gd name="T77" fmla="*/ 0 h 6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213"/>
                  <a:gd name="T118" fmla="*/ 0 h 62"/>
                  <a:gd name="T119" fmla="*/ 213 w 213"/>
                  <a:gd name="T120" fmla="*/ 62 h 62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213" h="62">
                    <a:moveTo>
                      <a:pt x="61" y="0"/>
                    </a:moveTo>
                    <a:lnTo>
                      <a:pt x="83" y="0"/>
                    </a:lnTo>
                    <a:lnTo>
                      <a:pt x="105" y="1"/>
                    </a:lnTo>
                    <a:lnTo>
                      <a:pt x="127" y="3"/>
                    </a:lnTo>
                    <a:lnTo>
                      <a:pt x="146" y="7"/>
                    </a:lnTo>
                    <a:lnTo>
                      <a:pt x="166" y="11"/>
                    </a:lnTo>
                    <a:lnTo>
                      <a:pt x="184" y="16"/>
                    </a:lnTo>
                    <a:lnTo>
                      <a:pt x="191" y="19"/>
                    </a:lnTo>
                    <a:lnTo>
                      <a:pt x="199" y="23"/>
                    </a:lnTo>
                    <a:lnTo>
                      <a:pt x="207" y="27"/>
                    </a:lnTo>
                    <a:lnTo>
                      <a:pt x="213" y="31"/>
                    </a:lnTo>
                    <a:lnTo>
                      <a:pt x="211" y="35"/>
                    </a:lnTo>
                    <a:lnTo>
                      <a:pt x="207" y="38"/>
                    </a:lnTo>
                    <a:lnTo>
                      <a:pt x="201" y="41"/>
                    </a:lnTo>
                    <a:lnTo>
                      <a:pt x="195" y="44"/>
                    </a:lnTo>
                    <a:lnTo>
                      <a:pt x="177" y="49"/>
                    </a:lnTo>
                    <a:lnTo>
                      <a:pt x="156" y="53"/>
                    </a:lnTo>
                    <a:lnTo>
                      <a:pt x="135" y="57"/>
                    </a:lnTo>
                    <a:lnTo>
                      <a:pt x="114" y="59"/>
                    </a:lnTo>
                    <a:lnTo>
                      <a:pt x="95" y="62"/>
                    </a:lnTo>
                    <a:lnTo>
                      <a:pt x="80" y="62"/>
                    </a:lnTo>
                    <a:lnTo>
                      <a:pt x="62" y="62"/>
                    </a:lnTo>
                    <a:lnTo>
                      <a:pt x="43" y="59"/>
                    </a:lnTo>
                    <a:lnTo>
                      <a:pt x="33" y="59"/>
                    </a:lnTo>
                    <a:lnTo>
                      <a:pt x="23" y="59"/>
                    </a:lnTo>
                    <a:lnTo>
                      <a:pt x="12" y="60"/>
                    </a:lnTo>
                    <a:lnTo>
                      <a:pt x="0" y="62"/>
                    </a:lnTo>
                    <a:lnTo>
                      <a:pt x="6" y="50"/>
                    </a:lnTo>
                    <a:lnTo>
                      <a:pt x="11" y="39"/>
                    </a:lnTo>
                    <a:lnTo>
                      <a:pt x="17" y="29"/>
                    </a:lnTo>
                    <a:lnTo>
                      <a:pt x="23" y="20"/>
                    </a:lnTo>
                    <a:lnTo>
                      <a:pt x="27" y="16"/>
                    </a:lnTo>
                    <a:lnTo>
                      <a:pt x="30" y="12"/>
                    </a:lnTo>
                    <a:lnTo>
                      <a:pt x="34" y="9"/>
                    </a:lnTo>
                    <a:lnTo>
                      <a:pt x="39" y="6"/>
                    </a:lnTo>
                    <a:lnTo>
                      <a:pt x="43" y="3"/>
                    </a:lnTo>
                    <a:lnTo>
                      <a:pt x="49" y="1"/>
                    </a:lnTo>
                    <a:lnTo>
                      <a:pt x="54" y="0"/>
                    </a:lnTo>
                    <a:lnTo>
                      <a:pt x="61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72" name="Freeform 494">
                <a:extLst>
                  <a:ext uri="{FF2B5EF4-FFF2-40B4-BE49-F238E27FC236}">
                    <a16:creationId xmlns="" xmlns:a16="http://schemas.microsoft.com/office/drawing/2014/main" id="{C66F9B4F-0C54-4739-93BE-1580D208E47E}"/>
                  </a:ext>
                </a:extLst>
              </p:cNvPr>
              <p:cNvSpPr>
                <a:spLocks/>
              </p:cNvSpPr>
              <p:nvPr>
                <p:custDataLst>
                  <p:tags r:id="rId332"/>
                </p:custDataLst>
              </p:nvPr>
            </p:nvSpPr>
            <p:spPr bwMode="auto">
              <a:xfrm>
                <a:off x="5591175" y="1250950"/>
                <a:ext cx="103188" cy="60325"/>
              </a:xfrm>
              <a:custGeom>
                <a:avLst/>
                <a:gdLst>
                  <a:gd name="T0" fmla="*/ 2147483646 w 239"/>
                  <a:gd name="T1" fmla="*/ 0 h 56"/>
                  <a:gd name="T2" fmla="*/ 2147483646 w 239"/>
                  <a:gd name="T3" fmla="*/ 2147483646 h 56"/>
                  <a:gd name="T4" fmla="*/ 2147483646 w 239"/>
                  <a:gd name="T5" fmla="*/ 2147483646 h 56"/>
                  <a:gd name="T6" fmla="*/ 2147483646 w 239"/>
                  <a:gd name="T7" fmla="*/ 2147483646 h 56"/>
                  <a:gd name="T8" fmla="*/ 2147483646 w 239"/>
                  <a:gd name="T9" fmla="*/ 2147483646 h 56"/>
                  <a:gd name="T10" fmla="*/ 2147483646 w 239"/>
                  <a:gd name="T11" fmla="*/ 2147483646 h 56"/>
                  <a:gd name="T12" fmla="*/ 2147483646 w 239"/>
                  <a:gd name="T13" fmla="*/ 2147483646 h 56"/>
                  <a:gd name="T14" fmla="*/ 2147483646 w 239"/>
                  <a:gd name="T15" fmla="*/ 2147483646 h 56"/>
                  <a:gd name="T16" fmla="*/ 0 w 239"/>
                  <a:gd name="T17" fmla="*/ 2147483646 h 56"/>
                  <a:gd name="T18" fmla="*/ 2147483646 w 239"/>
                  <a:gd name="T19" fmla="*/ 2147483646 h 56"/>
                  <a:gd name="T20" fmla="*/ 2147483646 w 239"/>
                  <a:gd name="T21" fmla="*/ 2147483646 h 56"/>
                  <a:gd name="T22" fmla="*/ 2147483646 w 239"/>
                  <a:gd name="T23" fmla="*/ 2147483646 h 56"/>
                  <a:gd name="T24" fmla="*/ 2147483646 w 239"/>
                  <a:gd name="T25" fmla="*/ 2147483646 h 56"/>
                  <a:gd name="T26" fmla="*/ 2147483646 w 239"/>
                  <a:gd name="T27" fmla="*/ 2147483646 h 56"/>
                  <a:gd name="T28" fmla="*/ 2147483646 w 239"/>
                  <a:gd name="T29" fmla="*/ 2147483646 h 56"/>
                  <a:gd name="T30" fmla="*/ 2147483646 w 239"/>
                  <a:gd name="T31" fmla="*/ 2147483646 h 56"/>
                  <a:gd name="T32" fmla="*/ 2147483646 w 239"/>
                  <a:gd name="T33" fmla="*/ 2147483646 h 56"/>
                  <a:gd name="T34" fmla="*/ 2147483646 w 239"/>
                  <a:gd name="T35" fmla="*/ 2147483646 h 56"/>
                  <a:gd name="T36" fmla="*/ 2147483646 w 239"/>
                  <a:gd name="T37" fmla="*/ 2147483646 h 56"/>
                  <a:gd name="T38" fmla="*/ 2147483646 w 239"/>
                  <a:gd name="T39" fmla="*/ 2147483646 h 56"/>
                  <a:gd name="T40" fmla="*/ 2147483646 w 239"/>
                  <a:gd name="T41" fmla="*/ 2147483646 h 56"/>
                  <a:gd name="T42" fmla="*/ 2147483646 w 239"/>
                  <a:gd name="T43" fmla="*/ 2147483646 h 56"/>
                  <a:gd name="T44" fmla="*/ 2147483646 w 239"/>
                  <a:gd name="T45" fmla="*/ 2147483646 h 56"/>
                  <a:gd name="T46" fmla="*/ 2147483646 w 239"/>
                  <a:gd name="T47" fmla="*/ 2147483646 h 56"/>
                  <a:gd name="T48" fmla="*/ 2147483646 w 239"/>
                  <a:gd name="T49" fmla="*/ 2147483646 h 56"/>
                  <a:gd name="T50" fmla="*/ 2147483646 w 239"/>
                  <a:gd name="T51" fmla="*/ 2147483646 h 56"/>
                  <a:gd name="T52" fmla="*/ 2147483646 w 239"/>
                  <a:gd name="T53" fmla="*/ 2147483646 h 56"/>
                  <a:gd name="T54" fmla="*/ 2147483646 w 239"/>
                  <a:gd name="T55" fmla="*/ 2147483646 h 56"/>
                  <a:gd name="T56" fmla="*/ 2147483646 w 239"/>
                  <a:gd name="T57" fmla="*/ 2147483646 h 56"/>
                  <a:gd name="T58" fmla="*/ 2147483646 w 239"/>
                  <a:gd name="T59" fmla="*/ 2147483646 h 56"/>
                  <a:gd name="T60" fmla="*/ 2147483646 w 239"/>
                  <a:gd name="T61" fmla="*/ 2147483646 h 56"/>
                  <a:gd name="T62" fmla="*/ 2147483646 w 239"/>
                  <a:gd name="T63" fmla="*/ 2147483646 h 56"/>
                  <a:gd name="T64" fmla="*/ 2147483646 w 239"/>
                  <a:gd name="T65" fmla="*/ 2147483646 h 56"/>
                  <a:gd name="T66" fmla="*/ 2147483646 w 239"/>
                  <a:gd name="T67" fmla="*/ 2147483646 h 56"/>
                  <a:gd name="T68" fmla="*/ 2147483646 w 239"/>
                  <a:gd name="T69" fmla="*/ 2147483646 h 56"/>
                  <a:gd name="T70" fmla="*/ 2147483646 w 239"/>
                  <a:gd name="T71" fmla="*/ 2147483646 h 56"/>
                  <a:gd name="T72" fmla="*/ 2147483646 w 239"/>
                  <a:gd name="T73" fmla="*/ 2147483646 h 56"/>
                  <a:gd name="T74" fmla="*/ 2147483646 w 239"/>
                  <a:gd name="T75" fmla="*/ 2147483646 h 56"/>
                  <a:gd name="T76" fmla="*/ 2147483646 w 239"/>
                  <a:gd name="T77" fmla="*/ 2147483646 h 56"/>
                  <a:gd name="T78" fmla="*/ 2147483646 w 239"/>
                  <a:gd name="T79" fmla="*/ 2147483646 h 56"/>
                  <a:gd name="T80" fmla="*/ 2147483646 w 239"/>
                  <a:gd name="T81" fmla="*/ 2147483646 h 56"/>
                  <a:gd name="T82" fmla="*/ 2147483646 w 239"/>
                  <a:gd name="T83" fmla="*/ 2147483646 h 56"/>
                  <a:gd name="T84" fmla="*/ 2147483646 w 239"/>
                  <a:gd name="T85" fmla="*/ 2147483646 h 56"/>
                  <a:gd name="T86" fmla="*/ 2147483646 w 239"/>
                  <a:gd name="T87" fmla="*/ 0 h 56"/>
                  <a:gd name="T88" fmla="*/ 2147483646 w 239"/>
                  <a:gd name="T89" fmla="*/ 2147483646 h 56"/>
                  <a:gd name="T90" fmla="*/ 2147483646 w 239"/>
                  <a:gd name="T91" fmla="*/ 2147483646 h 56"/>
                  <a:gd name="T92" fmla="*/ 2147483646 w 239"/>
                  <a:gd name="T93" fmla="*/ 2147483646 h 56"/>
                  <a:gd name="T94" fmla="*/ 2147483646 w 239"/>
                  <a:gd name="T95" fmla="*/ 2147483646 h 56"/>
                  <a:gd name="T96" fmla="*/ 2147483646 w 239"/>
                  <a:gd name="T97" fmla="*/ 2147483646 h 56"/>
                  <a:gd name="T98" fmla="*/ 2147483646 w 239"/>
                  <a:gd name="T99" fmla="*/ 2147483646 h 56"/>
                  <a:gd name="T100" fmla="*/ 2147483646 w 239"/>
                  <a:gd name="T101" fmla="*/ 2147483646 h 56"/>
                  <a:gd name="T102" fmla="*/ 2147483646 w 239"/>
                  <a:gd name="T103" fmla="*/ 2147483646 h 56"/>
                  <a:gd name="T104" fmla="*/ 2147483646 w 239"/>
                  <a:gd name="T105" fmla="*/ 2147483646 h 56"/>
                  <a:gd name="T106" fmla="*/ 2147483646 w 239"/>
                  <a:gd name="T107" fmla="*/ 0 h 5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39"/>
                  <a:gd name="T163" fmla="*/ 0 h 56"/>
                  <a:gd name="T164" fmla="*/ 239 w 239"/>
                  <a:gd name="T165" fmla="*/ 56 h 5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39" h="56">
                    <a:moveTo>
                      <a:pt x="41" y="0"/>
                    </a:moveTo>
                    <a:lnTo>
                      <a:pt x="30" y="3"/>
                    </a:lnTo>
                    <a:lnTo>
                      <a:pt x="23" y="5"/>
                    </a:lnTo>
                    <a:lnTo>
                      <a:pt x="19" y="7"/>
                    </a:lnTo>
                    <a:lnTo>
                      <a:pt x="15" y="9"/>
                    </a:lnTo>
                    <a:lnTo>
                      <a:pt x="13" y="13"/>
                    </a:lnTo>
                    <a:lnTo>
                      <a:pt x="10" y="15"/>
                    </a:lnTo>
                    <a:lnTo>
                      <a:pt x="7" y="17"/>
                    </a:lnTo>
                    <a:lnTo>
                      <a:pt x="0" y="19"/>
                    </a:lnTo>
                    <a:lnTo>
                      <a:pt x="2" y="24"/>
                    </a:lnTo>
                    <a:lnTo>
                      <a:pt x="5" y="27"/>
                    </a:lnTo>
                    <a:lnTo>
                      <a:pt x="7" y="30"/>
                    </a:lnTo>
                    <a:lnTo>
                      <a:pt x="10" y="33"/>
                    </a:lnTo>
                    <a:lnTo>
                      <a:pt x="17" y="36"/>
                    </a:lnTo>
                    <a:lnTo>
                      <a:pt x="24" y="38"/>
                    </a:lnTo>
                    <a:lnTo>
                      <a:pt x="41" y="38"/>
                    </a:lnTo>
                    <a:lnTo>
                      <a:pt x="54" y="38"/>
                    </a:lnTo>
                    <a:lnTo>
                      <a:pt x="153" y="38"/>
                    </a:lnTo>
                    <a:lnTo>
                      <a:pt x="155" y="41"/>
                    </a:lnTo>
                    <a:lnTo>
                      <a:pt x="156" y="44"/>
                    </a:lnTo>
                    <a:lnTo>
                      <a:pt x="159" y="46"/>
                    </a:lnTo>
                    <a:lnTo>
                      <a:pt x="162" y="48"/>
                    </a:lnTo>
                    <a:lnTo>
                      <a:pt x="167" y="51"/>
                    </a:lnTo>
                    <a:lnTo>
                      <a:pt x="174" y="54"/>
                    </a:lnTo>
                    <a:lnTo>
                      <a:pt x="188" y="56"/>
                    </a:lnTo>
                    <a:lnTo>
                      <a:pt x="200" y="56"/>
                    </a:lnTo>
                    <a:lnTo>
                      <a:pt x="204" y="55"/>
                    </a:lnTo>
                    <a:lnTo>
                      <a:pt x="210" y="54"/>
                    </a:lnTo>
                    <a:lnTo>
                      <a:pt x="214" y="52"/>
                    </a:lnTo>
                    <a:lnTo>
                      <a:pt x="220" y="49"/>
                    </a:lnTo>
                    <a:lnTo>
                      <a:pt x="230" y="43"/>
                    </a:lnTo>
                    <a:lnTo>
                      <a:pt x="239" y="38"/>
                    </a:lnTo>
                    <a:lnTo>
                      <a:pt x="232" y="37"/>
                    </a:lnTo>
                    <a:lnTo>
                      <a:pt x="225" y="36"/>
                    </a:lnTo>
                    <a:lnTo>
                      <a:pt x="219" y="34"/>
                    </a:lnTo>
                    <a:lnTo>
                      <a:pt x="213" y="32"/>
                    </a:lnTo>
                    <a:lnTo>
                      <a:pt x="201" y="26"/>
                    </a:lnTo>
                    <a:lnTo>
                      <a:pt x="190" y="19"/>
                    </a:lnTo>
                    <a:lnTo>
                      <a:pt x="178" y="13"/>
                    </a:lnTo>
                    <a:lnTo>
                      <a:pt x="167" y="6"/>
                    </a:lnTo>
                    <a:lnTo>
                      <a:pt x="160" y="4"/>
                    </a:lnTo>
                    <a:lnTo>
                      <a:pt x="154" y="2"/>
                    </a:lnTo>
                    <a:lnTo>
                      <a:pt x="147" y="1"/>
                    </a:lnTo>
                    <a:lnTo>
                      <a:pt x="140" y="0"/>
                    </a:lnTo>
                    <a:lnTo>
                      <a:pt x="134" y="1"/>
                    </a:lnTo>
                    <a:lnTo>
                      <a:pt x="127" y="4"/>
                    </a:lnTo>
                    <a:lnTo>
                      <a:pt x="124" y="6"/>
                    </a:lnTo>
                    <a:lnTo>
                      <a:pt x="122" y="8"/>
                    </a:lnTo>
                    <a:lnTo>
                      <a:pt x="121" y="10"/>
                    </a:lnTo>
                    <a:lnTo>
                      <a:pt x="120" y="13"/>
                    </a:lnTo>
                    <a:lnTo>
                      <a:pt x="100" y="8"/>
                    </a:lnTo>
                    <a:lnTo>
                      <a:pt x="80" y="4"/>
                    </a:lnTo>
                    <a:lnTo>
                      <a:pt x="61" y="1"/>
                    </a:lnTo>
                    <a:lnTo>
                      <a:pt x="41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73" name="Freeform 495">
                <a:extLst>
                  <a:ext uri="{FF2B5EF4-FFF2-40B4-BE49-F238E27FC236}">
                    <a16:creationId xmlns="" xmlns:a16="http://schemas.microsoft.com/office/drawing/2014/main" id="{1350BE82-5B5E-4C0C-89A2-8C2653872CAF}"/>
                  </a:ext>
                </a:extLst>
              </p:cNvPr>
              <p:cNvSpPr>
                <a:spLocks/>
              </p:cNvSpPr>
              <p:nvPr>
                <p:custDataLst>
                  <p:tags r:id="rId333"/>
                </p:custDataLst>
              </p:nvPr>
            </p:nvSpPr>
            <p:spPr bwMode="auto">
              <a:xfrm>
                <a:off x="5708650" y="1265238"/>
                <a:ext cx="82550" cy="57150"/>
              </a:xfrm>
              <a:custGeom>
                <a:avLst/>
                <a:gdLst>
                  <a:gd name="T0" fmla="*/ 2147483646 w 187"/>
                  <a:gd name="T1" fmla="*/ 2147483646 h 80"/>
                  <a:gd name="T2" fmla="*/ 2147483646 w 187"/>
                  <a:gd name="T3" fmla="*/ 0 h 80"/>
                  <a:gd name="T4" fmla="*/ 2147483646 w 187"/>
                  <a:gd name="T5" fmla="*/ 2147483646 h 80"/>
                  <a:gd name="T6" fmla="*/ 2147483646 w 187"/>
                  <a:gd name="T7" fmla="*/ 2147483646 h 80"/>
                  <a:gd name="T8" fmla="*/ 2147483646 w 187"/>
                  <a:gd name="T9" fmla="*/ 2147483646 h 80"/>
                  <a:gd name="T10" fmla="*/ 2147483646 w 187"/>
                  <a:gd name="T11" fmla="*/ 2147483646 h 80"/>
                  <a:gd name="T12" fmla="*/ 2147483646 w 187"/>
                  <a:gd name="T13" fmla="*/ 2147483646 h 80"/>
                  <a:gd name="T14" fmla="*/ 2147483646 w 187"/>
                  <a:gd name="T15" fmla="*/ 2147483646 h 80"/>
                  <a:gd name="T16" fmla="*/ 2147483646 w 187"/>
                  <a:gd name="T17" fmla="*/ 2147483646 h 80"/>
                  <a:gd name="T18" fmla="*/ 2147483646 w 187"/>
                  <a:gd name="T19" fmla="*/ 2147483646 h 80"/>
                  <a:gd name="T20" fmla="*/ 2147483646 w 187"/>
                  <a:gd name="T21" fmla="*/ 2147483646 h 80"/>
                  <a:gd name="T22" fmla="*/ 2147483646 w 187"/>
                  <a:gd name="T23" fmla="*/ 2147483646 h 80"/>
                  <a:gd name="T24" fmla="*/ 2147483646 w 187"/>
                  <a:gd name="T25" fmla="*/ 2147483646 h 80"/>
                  <a:gd name="T26" fmla="*/ 2147483646 w 187"/>
                  <a:gd name="T27" fmla="*/ 2147483646 h 80"/>
                  <a:gd name="T28" fmla="*/ 2147483646 w 187"/>
                  <a:gd name="T29" fmla="*/ 2147483646 h 80"/>
                  <a:gd name="T30" fmla="*/ 2147483646 w 187"/>
                  <a:gd name="T31" fmla="*/ 2147483646 h 80"/>
                  <a:gd name="T32" fmla="*/ 2147483646 w 187"/>
                  <a:gd name="T33" fmla="*/ 2147483646 h 80"/>
                  <a:gd name="T34" fmla="*/ 2147483646 w 187"/>
                  <a:gd name="T35" fmla="*/ 2147483646 h 80"/>
                  <a:gd name="T36" fmla="*/ 2147483646 w 187"/>
                  <a:gd name="T37" fmla="*/ 2147483646 h 80"/>
                  <a:gd name="T38" fmla="*/ 2147483646 w 187"/>
                  <a:gd name="T39" fmla="*/ 2147483646 h 80"/>
                  <a:gd name="T40" fmla="*/ 2147483646 w 187"/>
                  <a:gd name="T41" fmla="*/ 2147483646 h 80"/>
                  <a:gd name="T42" fmla="*/ 2147483646 w 187"/>
                  <a:gd name="T43" fmla="*/ 2147483646 h 80"/>
                  <a:gd name="T44" fmla="*/ 2147483646 w 187"/>
                  <a:gd name="T45" fmla="*/ 2147483646 h 80"/>
                  <a:gd name="T46" fmla="*/ 2147483646 w 187"/>
                  <a:gd name="T47" fmla="*/ 2147483646 h 80"/>
                  <a:gd name="T48" fmla="*/ 2147483646 w 187"/>
                  <a:gd name="T49" fmla="*/ 2147483646 h 80"/>
                  <a:gd name="T50" fmla="*/ 2147483646 w 187"/>
                  <a:gd name="T51" fmla="*/ 2147483646 h 80"/>
                  <a:gd name="T52" fmla="*/ 2147483646 w 187"/>
                  <a:gd name="T53" fmla="*/ 2147483646 h 80"/>
                  <a:gd name="T54" fmla="*/ 2147483646 w 187"/>
                  <a:gd name="T55" fmla="*/ 2147483646 h 80"/>
                  <a:gd name="T56" fmla="*/ 2147483646 w 187"/>
                  <a:gd name="T57" fmla="*/ 2147483646 h 80"/>
                  <a:gd name="T58" fmla="*/ 2147483646 w 187"/>
                  <a:gd name="T59" fmla="*/ 2147483646 h 80"/>
                  <a:gd name="T60" fmla="*/ 2147483646 w 187"/>
                  <a:gd name="T61" fmla="*/ 2147483646 h 80"/>
                  <a:gd name="T62" fmla="*/ 2147483646 w 187"/>
                  <a:gd name="T63" fmla="*/ 2147483646 h 80"/>
                  <a:gd name="T64" fmla="*/ 2147483646 w 187"/>
                  <a:gd name="T65" fmla="*/ 2147483646 h 80"/>
                  <a:gd name="T66" fmla="*/ 0 w 187"/>
                  <a:gd name="T67" fmla="*/ 2147483646 h 80"/>
                  <a:gd name="T68" fmla="*/ 2147483646 w 187"/>
                  <a:gd name="T69" fmla="*/ 2147483646 h 80"/>
                  <a:gd name="T70" fmla="*/ 2147483646 w 187"/>
                  <a:gd name="T71" fmla="*/ 2147483646 h 80"/>
                  <a:gd name="T72" fmla="*/ 2147483646 w 187"/>
                  <a:gd name="T73" fmla="*/ 2147483646 h 80"/>
                  <a:gd name="T74" fmla="*/ 2147483646 w 187"/>
                  <a:gd name="T75" fmla="*/ 2147483646 h 80"/>
                  <a:gd name="T76" fmla="*/ 2147483646 w 187"/>
                  <a:gd name="T77" fmla="*/ 2147483646 h 80"/>
                  <a:gd name="T78" fmla="*/ 2147483646 w 187"/>
                  <a:gd name="T79" fmla="*/ 2147483646 h 80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187"/>
                  <a:gd name="T121" fmla="*/ 0 h 80"/>
                  <a:gd name="T122" fmla="*/ 187 w 187"/>
                  <a:gd name="T123" fmla="*/ 80 h 80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187" h="80">
                    <a:moveTo>
                      <a:pt x="14" y="19"/>
                    </a:moveTo>
                    <a:lnTo>
                      <a:pt x="41" y="0"/>
                    </a:lnTo>
                    <a:lnTo>
                      <a:pt x="44" y="3"/>
                    </a:lnTo>
                    <a:lnTo>
                      <a:pt x="50" y="6"/>
                    </a:lnTo>
                    <a:lnTo>
                      <a:pt x="58" y="9"/>
                    </a:lnTo>
                    <a:lnTo>
                      <a:pt x="67" y="12"/>
                    </a:lnTo>
                    <a:lnTo>
                      <a:pt x="89" y="19"/>
                    </a:lnTo>
                    <a:lnTo>
                      <a:pt x="114" y="26"/>
                    </a:lnTo>
                    <a:lnTo>
                      <a:pt x="139" y="33"/>
                    </a:lnTo>
                    <a:lnTo>
                      <a:pt x="161" y="38"/>
                    </a:lnTo>
                    <a:lnTo>
                      <a:pt x="177" y="42"/>
                    </a:lnTo>
                    <a:lnTo>
                      <a:pt x="187" y="43"/>
                    </a:lnTo>
                    <a:lnTo>
                      <a:pt x="187" y="56"/>
                    </a:lnTo>
                    <a:lnTo>
                      <a:pt x="187" y="68"/>
                    </a:lnTo>
                    <a:lnTo>
                      <a:pt x="170" y="70"/>
                    </a:lnTo>
                    <a:lnTo>
                      <a:pt x="151" y="71"/>
                    </a:lnTo>
                    <a:lnTo>
                      <a:pt x="133" y="71"/>
                    </a:lnTo>
                    <a:lnTo>
                      <a:pt x="116" y="70"/>
                    </a:lnTo>
                    <a:lnTo>
                      <a:pt x="85" y="69"/>
                    </a:lnTo>
                    <a:lnTo>
                      <a:pt x="61" y="68"/>
                    </a:lnTo>
                    <a:lnTo>
                      <a:pt x="55" y="69"/>
                    </a:lnTo>
                    <a:lnTo>
                      <a:pt x="51" y="70"/>
                    </a:lnTo>
                    <a:lnTo>
                      <a:pt x="45" y="72"/>
                    </a:lnTo>
                    <a:lnTo>
                      <a:pt x="41" y="74"/>
                    </a:lnTo>
                    <a:lnTo>
                      <a:pt x="33" y="78"/>
                    </a:lnTo>
                    <a:lnTo>
                      <a:pt x="28" y="80"/>
                    </a:lnTo>
                    <a:lnTo>
                      <a:pt x="22" y="79"/>
                    </a:lnTo>
                    <a:lnTo>
                      <a:pt x="18" y="76"/>
                    </a:lnTo>
                    <a:lnTo>
                      <a:pt x="14" y="72"/>
                    </a:lnTo>
                    <a:lnTo>
                      <a:pt x="9" y="67"/>
                    </a:lnTo>
                    <a:lnTo>
                      <a:pt x="6" y="62"/>
                    </a:lnTo>
                    <a:lnTo>
                      <a:pt x="3" y="57"/>
                    </a:lnTo>
                    <a:lnTo>
                      <a:pt x="2" y="53"/>
                    </a:lnTo>
                    <a:lnTo>
                      <a:pt x="0" y="50"/>
                    </a:lnTo>
                    <a:lnTo>
                      <a:pt x="2" y="44"/>
                    </a:lnTo>
                    <a:lnTo>
                      <a:pt x="3" y="40"/>
                    </a:lnTo>
                    <a:lnTo>
                      <a:pt x="5" y="36"/>
                    </a:lnTo>
                    <a:lnTo>
                      <a:pt x="7" y="31"/>
                    </a:lnTo>
                    <a:lnTo>
                      <a:pt x="13" y="24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74" name="Freeform 496">
                <a:extLst>
                  <a:ext uri="{FF2B5EF4-FFF2-40B4-BE49-F238E27FC236}">
                    <a16:creationId xmlns="" xmlns:a16="http://schemas.microsoft.com/office/drawing/2014/main" id="{8FCBA626-E6D4-4E66-B18B-C8D92CE84277}"/>
                  </a:ext>
                </a:extLst>
              </p:cNvPr>
              <p:cNvSpPr>
                <a:spLocks/>
              </p:cNvSpPr>
              <p:nvPr>
                <p:custDataLst>
                  <p:tags r:id="rId334"/>
                </p:custDataLst>
              </p:nvPr>
            </p:nvSpPr>
            <p:spPr bwMode="auto">
              <a:xfrm>
                <a:off x="6235700" y="1390650"/>
                <a:ext cx="79375" cy="58738"/>
              </a:xfrm>
              <a:custGeom>
                <a:avLst/>
                <a:gdLst>
                  <a:gd name="T0" fmla="*/ 2147483646 w 183"/>
                  <a:gd name="T1" fmla="*/ 0 h 73"/>
                  <a:gd name="T2" fmla="*/ 2147483646 w 183"/>
                  <a:gd name="T3" fmla="*/ 0 h 73"/>
                  <a:gd name="T4" fmla="*/ 2147483646 w 183"/>
                  <a:gd name="T5" fmla="*/ 2147483646 h 73"/>
                  <a:gd name="T6" fmla="*/ 2147483646 w 183"/>
                  <a:gd name="T7" fmla="*/ 2147483646 h 73"/>
                  <a:gd name="T8" fmla="*/ 2147483646 w 183"/>
                  <a:gd name="T9" fmla="*/ 2147483646 h 73"/>
                  <a:gd name="T10" fmla="*/ 2147483646 w 183"/>
                  <a:gd name="T11" fmla="*/ 2147483646 h 73"/>
                  <a:gd name="T12" fmla="*/ 2147483646 w 183"/>
                  <a:gd name="T13" fmla="*/ 2147483646 h 73"/>
                  <a:gd name="T14" fmla="*/ 2147483646 w 183"/>
                  <a:gd name="T15" fmla="*/ 2147483646 h 73"/>
                  <a:gd name="T16" fmla="*/ 2147483646 w 183"/>
                  <a:gd name="T17" fmla="*/ 2147483646 h 73"/>
                  <a:gd name="T18" fmla="*/ 2147483646 w 183"/>
                  <a:gd name="T19" fmla="*/ 2147483646 h 73"/>
                  <a:gd name="T20" fmla="*/ 2147483646 w 183"/>
                  <a:gd name="T21" fmla="*/ 2147483646 h 73"/>
                  <a:gd name="T22" fmla="*/ 2147483646 w 183"/>
                  <a:gd name="T23" fmla="*/ 2147483646 h 73"/>
                  <a:gd name="T24" fmla="*/ 2147483646 w 183"/>
                  <a:gd name="T25" fmla="*/ 2147483646 h 73"/>
                  <a:gd name="T26" fmla="*/ 2147483646 w 183"/>
                  <a:gd name="T27" fmla="*/ 2147483646 h 73"/>
                  <a:gd name="T28" fmla="*/ 2147483646 w 183"/>
                  <a:gd name="T29" fmla="*/ 2147483646 h 73"/>
                  <a:gd name="T30" fmla="*/ 2147483646 w 183"/>
                  <a:gd name="T31" fmla="*/ 2147483646 h 73"/>
                  <a:gd name="T32" fmla="*/ 2147483646 w 183"/>
                  <a:gd name="T33" fmla="*/ 2147483646 h 73"/>
                  <a:gd name="T34" fmla="*/ 2147483646 w 183"/>
                  <a:gd name="T35" fmla="*/ 2147483646 h 73"/>
                  <a:gd name="T36" fmla="*/ 2147483646 w 183"/>
                  <a:gd name="T37" fmla="*/ 2147483646 h 73"/>
                  <a:gd name="T38" fmla="*/ 2147483646 w 183"/>
                  <a:gd name="T39" fmla="*/ 2147483646 h 73"/>
                  <a:gd name="T40" fmla="*/ 2147483646 w 183"/>
                  <a:gd name="T41" fmla="*/ 2147483646 h 73"/>
                  <a:gd name="T42" fmla="*/ 2147483646 w 183"/>
                  <a:gd name="T43" fmla="*/ 2147483646 h 73"/>
                  <a:gd name="T44" fmla="*/ 2147483646 w 183"/>
                  <a:gd name="T45" fmla="*/ 2147483646 h 73"/>
                  <a:gd name="T46" fmla="*/ 2147483646 w 183"/>
                  <a:gd name="T47" fmla="*/ 2147483646 h 73"/>
                  <a:gd name="T48" fmla="*/ 2147483646 w 183"/>
                  <a:gd name="T49" fmla="*/ 2147483646 h 73"/>
                  <a:gd name="T50" fmla="*/ 0 w 183"/>
                  <a:gd name="T51" fmla="*/ 2147483646 h 73"/>
                  <a:gd name="T52" fmla="*/ 2147483646 w 183"/>
                  <a:gd name="T53" fmla="*/ 2147483646 h 73"/>
                  <a:gd name="T54" fmla="*/ 2147483646 w 183"/>
                  <a:gd name="T55" fmla="*/ 2147483646 h 73"/>
                  <a:gd name="T56" fmla="*/ 2147483646 w 183"/>
                  <a:gd name="T57" fmla="*/ 2147483646 h 73"/>
                  <a:gd name="T58" fmla="*/ 2147483646 w 183"/>
                  <a:gd name="T59" fmla="*/ 2147483646 h 73"/>
                  <a:gd name="T60" fmla="*/ 2147483646 w 183"/>
                  <a:gd name="T61" fmla="*/ 2147483646 h 73"/>
                  <a:gd name="T62" fmla="*/ 2147483646 w 183"/>
                  <a:gd name="T63" fmla="*/ 0 h 73"/>
                  <a:gd name="T64" fmla="*/ 2147483646 w 183"/>
                  <a:gd name="T65" fmla="*/ 0 h 73"/>
                  <a:gd name="T66" fmla="*/ 2147483646 w 183"/>
                  <a:gd name="T67" fmla="*/ 0 h 73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83"/>
                  <a:gd name="T103" fmla="*/ 0 h 73"/>
                  <a:gd name="T104" fmla="*/ 183 w 183"/>
                  <a:gd name="T105" fmla="*/ 73 h 73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83" h="73">
                    <a:moveTo>
                      <a:pt x="50" y="0"/>
                    </a:moveTo>
                    <a:lnTo>
                      <a:pt x="63" y="0"/>
                    </a:lnTo>
                    <a:lnTo>
                      <a:pt x="75" y="1"/>
                    </a:lnTo>
                    <a:lnTo>
                      <a:pt x="86" y="4"/>
                    </a:lnTo>
                    <a:lnTo>
                      <a:pt x="97" y="7"/>
                    </a:lnTo>
                    <a:lnTo>
                      <a:pt x="106" y="10"/>
                    </a:lnTo>
                    <a:lnTo>
                      <a:pt x="116" y="15"/>
                    </a:lnTo>
                    <a:lnTo>
                      <a:pt x="124" y="19"/>
                    </a:lnTo>
                    <a:lnTo>
                      <a:pt x="131" y="25"/>
                    </a:lnTo>
                    <a:lnTo>
                      <a:pt x="159" y="49"/>
                    </a:lnTo>
                    <a:lnTo>
                      <a:pt x="183" y="73"/>
                    </a:lnTo>
                    <a:lnTo>
                      <a:pt x="137" y="73"/>
                    </a:lnTo>
                    <a:lnTo>
                      <a:pt x="128" y="72"/>
                    </a:lnTo>
                    <a:lnTo>
                      <a:pt x="117" y="70"/>
                    </a:lnTo>
                    <a:lnTo>
                      <a:pt x="104" y="66"/>
                    </a:lnTo>
                    <a:lnTo>
                      <a:pt x="90" y="62"/>
                    </a:lnTo>
                    <a:lnTo>
                      <a:pt x="73" y="56"/>
                    </a:lnTo>
                    <a:lnTo>
                      <a:pt x="58" y="50"/>
                    </a:lnTo>
                    <a:lnTo>
                      <a:pt x="42" y="44"/>
                    </a:lnTo>
                    <a:lnTo>
                      <a:pt x="28" y="37"/>
                    </a:lnTo>
                    <a:lnTo>
                      <a:pt x="16" y="30"/>
                    </a:lnTo>
                    <a:lnTo>
                      <a:pt x="7" y="23"/>
                    </a:lnTo>
                    <a:lnTo>
                      <a:pt x="4" y="19"/>
                    </a:lnTo>
                    <a:lnTo>
                      <a:pt x="2" y="16"/>
                    </a:lnTo>
                    <a:lnTo>
                      <a:pt x="1" y="14"/>
                    </a:lnTo>
                    <a:lnTo>
                      <a:pt x="0" y="11"/>
                    </a:lnTo>
                    <a:lnTo>
                      <a:pt x="1" y="8"/>
                    </a:lnTo>
                    <a:lnTo>
                      <a:pt x="3" y="6"/>
                    </a:lnTo>
                    <a:lnTo>
                      <a:pt x="7" y="4"/>
                    </a:lnTo>
                    <a:lnTo>
                      <a:pt x="13" y="3"/>
                    </a:lnTo>
                    <a:lnTo>
                      <a:pt x="19" y="1"/>
                    </a:lnTo>
                    <a:lnTo>
                      <a:pt x="28" y="0"/>
                    </a:lnTo>
                    <a:lnTo>
                      <a:pt x="38" y="0"/>
                    </a:lnTo>
                    <a:lnTo>
                      <a:pt x="5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75" name="Freeform 497">
                <a:extLst>
                  <a:ext uri="{FF2B5EF4-FFF2-40B4-BE49-F238E27FC236}">
                    <a16:creationId xmlns="" xmlns:a16="http://schemas.microsoft.com/office/drawing/2014/main" id="{C2C1D08D-F241-4B71-82D5-FC6B192A1B44}"/>
                  </a:ext>
                </a:extLst>
              </p:cNvPr>
              <p:cNvSpPr>
                <a:spLocks/>
              </p:cNvSpPr>
              <p:nvPr>
                <p:custDataLst>
                  <p:tags r:id="rId335"/>
                </p:custDataLst>
              </p:nvPr>
            </p:nvSpPr>
            <p:spPr bwMode="auto">
              <a:xfrm>
                <a:off x="6302375" y="1408113"/>
                <a:ext cx="33338" cy="57150"/>
              </a:xfrm>
              <a:custGeom>
                <a:avLst/>
                <a:gdLst>
                  <a:gd name="T0" fmla="*/ 0 w 79"/>
                  <a:gd name="T1" fmla="*/ 2147483646 h 42"/>
                  <a:gd name="T2" fmla="*/ 2147483646 w 79"/>
                  <a:gd name="T3" fmla="*/ 2147483646 h 42"/>
                  <a:gd name="T4" fmla="*/ 2147483646 w 79"/>
                  <a:gd name="T5" fmla="*/ 2147483646 h 42"/>
                  <a:gd name="T6" fmla="*/ 2147483646 w 79"/>
                  <a:gd name="T7" fmla="*/ 0 h 42"/>
                  <a:gd name="T8" fmla="*/ 2147483646 w 79"/>
                  <a:gd name="T9" fmla="*/ 0 h 42"/>
                  <a:gd name="T10" fmla="*/ 2147483646 w 79"/>
                  <a:gd name="T11" fmla="*/ 2147483646 h 42"/>
                  <a:gd name="T12" fmla="*/ 2147483646 w 79"/>
                  <a:gd name="T13" fmla="*/ 2147483646 h 42"/>
                  <a:gd name="T14" fmla="*/ 2147483646 w 79"/>
                  <a:gd name="T15" fmla="*/ 2147483646 h 42"/>
                  <a:gd name="T16" fmla="*/ 2147483646 w 79"/>
                  <a:gd name="T17" fmla="*/ 2147483646 h 42"/>
                  <a:gd name="T18" fmla="*/ 2147483646 w 79"/>
                  <a:gd name="T19" fmla="*/ 2147483646 h 42"/>
                  <a:gd name="T20" fmla="*/ 2147483646 w 79"/>
                  <a:gd name="T21" fmla="*/ 2147483646 h 42"/>
                  <a:gd name="T22" fmla="*/ 2147483646 w 79"/>
                  <a:gd name="T23" fmla="*/ 2147483646 h 42"/>
                  <a:gd name="T24" fmla="*/ 2147483646 w 79"/>
                  <a:gd name="T25" fmla="*/ 2147483646 h 42"/>
                  <a:gd name="T26" fmla="*/ 2147483646 w 79"/>
                  <a:gd name="T27" fmla="*/ 2147483646 h 42"/>
                  <a:gd name="T28" fmla="*/ 2147483646 w 79"/>
                  <a:gd name="T29" fmla="*/ 2147483646 h 42"/>
                  <a:gd name="T30" fmla="*/ 2147483646 w 79"/>
                  <a:gd name="T31" fmla="*/ 2147483646 h 42"/>
                  <a:gd name="T32" fmla="*/ 2147483646 w 79"/>
                  <a:gd name="T33" fmla="*/ 2147483646 h 42"/>
                  <a:gd name="T34" fmla="*/ 2147483646 w 79"/>
                  <a:gd name="T35" fmla="*/ 2147483646 h 42"/>
                  <a:gd name="T36" fmla="*/ 2147483646 w 79"/>
                  <a:gd name="T37" fmla="*/ 2147483646 h 42"/>
                  <a:gd name="T38" fmla="*/ 2147483646 w 79"/>
                  <a:gd name="T39" fmla="*/ 2147483646 h 42"/>
                  <a:gd name="T40" fmla="*/ 2147483646 w 79"/>
                  <a:gd name="T41" fmla="*/ 2147483646 h 42"/>
                  <a:gd name="T42" fmla="*/ 2147483646 w 79"/>
                  <a:gd name="T43" fmla="*/ 2147483646 h 42"/>
                  <a:gd name="T44" fmla="*/ 2147483646 w 79"/>
                  <a:gd name="T45" fmla="*/ 2147483646 h 42"/>
                  <a:gd name="T46" fmla="*/ 0 w 79"/>
                  <a:gd name="T47" fmla="*/ 2147483646 h 42"/>
                  <a:gd name="T48" fmla="*/ 0 w 79"/>
                  <a:gd name="T49" fmla="*/ 2147483646 h 42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79"/>
                  <a:gd name="T76" fmla="*/ 0 h 42"/>
                  <a:gd name="T77" fmla="*/ 79 w 79"/>
                  <a:gd name="T78" fmla="*/ 42 h 42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79" h="42">
                    <a:moveTo>
                      <a:pt x="0" y="6"/>
                    </a:moveTo>
                    <a:lnTo>
                      <a:pt x="23" y="2"/>
                    </a:lnTo>
                    <a:lnTo>
                      <a:pt x="41" y="1"/>
                    </a:lnTo>
                    <a:lnTo>
                      <a:pt x="60" y="0"/>
                    </a:lnTo>
                    <a:lnTo>
                      <a:pt x="79" y="0"/>
                    </a:lnTo>
                    <a:lnTo>
                      <a:pt x="79" y="9"/>
                    </a:lnTo>
                    <a:lnTo>
                      <a:pt x="79" y="18"/>
                    </a:lnTo>
                    <a:lnTo>
                      <a:pt x="79" y="22"/>
                    </a:lnTo>
                    <a:lnTo>
                      <a:pt x="75" y="27"/>
                    </a:lnTo>
                    <a:lnTo>
                      <a:pt x="72" y="31"/>
                    </a:lnTo>
                    <a:lnTo>
                      <a:pt x="68" y="35"/>
                    </a:lnTo>
                    <a:lnTo>
                      <a:pt x="62" y="38"/>
                    </a:lnTo>
                    <a:lnTo>
                      <a:pt x="57" y="40"/>
                    </a:lnTo>
                    <a:lnTo>
                      <a:pt x="51" y="42"/>
                    </a:lnTo>
                    <a:lnTo>
                      <a:pt x="46" y="42"/>
                    </a:lnTo>
                    <a:lnTo>
                      <a:pt x="40" y="42"/>
                    </a:lnTo>
                    <a:lnTo>
                      <a:pt x="35" y="41"/>
                    </a:lnTo>
                    <a:lnTo>
                      <a:pt x="29" y="39"/>
                    </a:lnTo>
                    <a:lnTo>
                      <a:pt x="25" y="37"/>
                    </a:lnTo>
                    <a:lnTo>
                      <a:pt x="16" y="32"/>
                    </a:lnTo>
                    <a:lnTo>
                      <a:pt x="11" y="26"/>
                    </a:lnTo>
                    <a:lnTo>
                      <a:pt x="5" y="20"/>
                    </a:lnTo>
                    <a:lnTo>
                      <a:pt x="2" y="14"/>
                    </a:lnTo>
                    <a:lnTo>
                      <a:pt x="0" y="9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76" name="Freeform 498">
                <a:extLst>
                  <a:ext uri="{FF2B5EF4-FFF2-40B4-BE49-F238E27FC236}">
                    <a16:creationId xmlns="" xmlns:a16="http://schemas.microsoft.com/office/drawing/2014/main" id="{39694689-2E23-4F0C-AEC6-AEC125692386}"/>
                  </a:ext>
                </a:extLst>
              </p:cNvPr>
              <p:cNvSpPr>
                <a:spLocks/>
              </p:cNvSpPr>
              <p:nvPr>
                <p:custDataLst>
                  <p:tags r:id="rId336"/>
                </p:custDataLst>
              </p:nvPr>
            </p:nvSpPr>
            <p:spPr bwMode="auto">
              <a:xfrm>
                <a:off x="6332538" y="1419225"/>
                <a:ext cx="52387" cy="58738"/>
              </a:xfrm>
              <a:custGeom>
                <a:avLst/>
                <a:gdLst>
                  <a:gd name="T0" fmla="*/ 2147483646 w 113"/>
                  <a:gd name="T1" fmla="*/ 2147483646 h 52"/>
                  <a:gd name="T2" fmla="*/ 2147483646 w 113"/>
                  <a:gd name="T3" fmla="*/ 2147483646 h 52"/>
                  <a:gd name="T4" fmla="*/ 2147483646 w 113"/>
                  <a:gd name="T5" fmla="*/ 2147483646 h 52"/>
                  <a:gd name="T6" fmla="*/ 2147483646 w 113"/>
                  <a:gd name="T7" fmla="*/ 2147483646 h 52"/>
                  <a:gd name="T8" fmla="*/ 2147483646 w 113"/>
                  <a:gd name="T9" fmla="*/ 2147483646 h 52"/>
                  <a:gd name="T10" fmla="*/ 2147483646 w 113"/>
                  <a:gd name="T11" fmla="*/ 2147483646 h 52"/>
                  <a:gd name="T12" fmla="*/ 2147483646 w 113"/>
                  <a:gd name="T13" fmla="*/ 2147483646 h 52"/>
                  <a:gd name="T14" fmla="*/ 2147483646 w 113"/>
                  <a:gd name="T15" fmla="*/ 2147483646 h 52"/>
                  <a:gd name="T16" fmla="*/ 2147483646 w 113"/>
                  <a:gd name="T17" fmla="*/ 2147483646 h 52"/>
                  <a:gd name="T18" fmla="*/ 2147483646 w 113"/>
                  <a:gd name="T19" fmla="*/ 2147483646 h 52"/>
                  <a:gd name="T20" fmla="*/ 2147483646 w 113"/>
                  <a:gd name="T21" fmla="*/ 2147483646 h 52"/>
                  <a:gd name="T22" fmla="*/ 2147483646 w 113"/>
                  <a:gd name="T23" fmla="*/ 2147483646 h 52"/>
                  <a:gd name="T24" fmla="*/ 2147483646 w 113"/>
                  <a:gd name="T25" fmla="*/ 2147483646 h 52"/>
                  <a:gd name="T26" fmla="*/ 2147483646 w 113"/>
                  <a:gd name="T27" fmla="*/ 2147483646 h 52"/>
                  <a:gd name="T28" fmla="*/ 2147483646 w 113"/>
                  <a:gd name="T29" fmla="*/ 2147483646 h 52"/>
                  <a:gd name="T30" fmla="*/ 2147483646 w 113"/>
                  <a:gd name="T31" fmla="*/ 2147483646 h 52"/>
                  <a:gd name="T32" fmla="*/ 2147483646 w 113"/>
                  <a:gd name="T33" fmla="*/ 2147483646 h 52"/>
                  <a:gd name="T34" fmla="*/ 2147483646 w 113"/>
                  <a:gd name="T35" fmla="*/ 2147483646 h 52"/>
                  <a:gd name="T36" fmla="*/ 0 w 113"/>
                  <a:gd name="T37" fmla="*/ 2147483646 h 52"/>
                  <a:gd name="T38" fmla="*/ 2147483646 w 113"/>
                  <a:gd name="T39" fmla="*/ 2147483646 h 52"/>
                  <a:gd name="T40" fmla="*/ 2147483646 w 113"/>
                  <a:gd name="T41" fmla="*/ 2147483646 h 52"/>
                  <a:gd name="T42" fmla="*/ 2147483646 w 113"/>
                  <a:gd name="T43" fmla="*/ 2147483646 h 52"/>
                  <a:gd name="T44" fmla="*/ 2147483646 w 113"/>
                  <a:gd name="T45" fmla="*/ 2147483646 h 52"/>
                  <a:gd name="T46" fmla="*/ 2147483646 w 113"/>
                  <a:gd name="T47" fmla="*/ 2147483646 h 52"/>
                  <a:gd name="T48" fmla="*/ 2147483646 w 113"/>
                  <a:gd name="T49" fmla="*/ 2147483646 h 52"/>
                  <a:gd name="T50" fmla="*/ 2147483646 w 113"/>
                  <a:gd name="T51" fmla="*/ 2147483646 h 52"/>
                  <a:gd name="T52" fmla="*/ 2147483646 w 113"/>
                  <a:gd name="T53" fmla="*/ 0 h 52"/>
                  <a:gd name="T54" fmla="*/ 2147483646 w 113"/>
                  <a:gd name="T55" fmla="*/ 0 h 52"/>
                  <a:gd name="T56" fmla="*/ 2147483646 w 113"/>
                  <a:gd name="T57" fmla="*/ 2147483646 h 52"/>
                  <a:gd name="T58" fmla="*/ 2147483646 w 113"/>
                  <a:gd name="T59" fmla="*/ 2147483646 h 52"/>
                  <a:gd name="T60" fmla="*/ 2147483646 w 113"/>
                  <a:gd name="T61" fmla="*/ 2147483646 h 52"/>
                  <a:gd name="T62" fmla="*/ 2147483646 w 113"/>
                  <a:gd name="T63" fmla="*/ 2147483646 h 52"/>
                  <a:gd name="T64" fmla="*/ 2147483646 w 113"/>
                  <a:gd name="T65" fmla="*/ 2147483646 h 52"/>
                  <a:gd name="T66" fmla="*/ 2147483646 w 113"/>
                  <a:gd name="T67" fmla="*/ 2147483646 h 52"/>
                  <a:gd name="T68" fmla="*/ 2147483646 w 113"/>
                  <a:gd name="T69" fmla="*/ 2147483646 h 5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13"/>
                  <a:gd name="T106" fmla="*/ 0 h 52"/>
                  <a:gd name="T107" fmla="*/ 113 w 113"/>
                  <a:gd name="T108" fmla="*/ 52 h 52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13" h="52">
                    <a:moveTo>
                      <a:pt x="113" y="39"/>
                    </a:moveTo>
                    <a:lnTo>
                      <a:pt x="112" y="42"/>
                    </a:lnTo>
                    <a:lnTo>
                      <a:pt x="109" y="45"/>
                    </a:lnTo>
                    <a:lnTo>
                      <a:pt x="106" y="47"/>
                    </a:lnTo>
                    <a:lnTo>
                      <a:pt x="103" y="49"/>
                    </a:lnTo>
                    <a:lnTo>
                      <a:pt x="94" y="51"/>
                    </a:lnTo>
                    <a:lnTo>
                      <a:pt x="85" y="52"/>
                    </a:lnTo>
                    <a:lnTo>
                      <a:pt x="66" y="52"/>
                    </a:lnTo>
                    <a:lnTo>
                      <a:pt x="53" y="51"/>
                    </a:lnTo>
                    <a:lnTo>
                      <a:pt x="47" y="51"/>
                    </a:lnTo>
                    <a:lnTo>
                      <a:pt x="39" y="48"/>
                    </a:lnTo>
                    <a:lnTo>
                      <a:pt x="30" y="45"/>
                    </a:lnTo>
                    <a:lnTo>
                      <a:pt x="21" y="41"/>
                    </a:lnTo>
                    <a:lnTo>
                      <a:pt x="13" y="36"/>
                    </a:lnTo>
                    <a:lnTo>
                      <a:pt x="6" y="31"/>
                    </a:lnTo>
                    <a:lnTo>
                      <a:pt x="4" y="28"/>
                    </a:lnTo>
                    <a:lnTo>
                      <a:pt x="2" y="25"/>
                    </a:lnTo>
                    <a:lnTo>
                      <a:pt x="1" y="22"/>
                    </a:lnTo>
                    <a:lnTo>
                      <a:pt x="0" y="20"/>
                    </a:lnTo>
                    <a:lnTo>
                      <a:pt x="1" y="15"/>
                    </a:lnTo>
                    <a:lnTo>
                      <a:pt x="1" y="11"/>
                    </a:lnTo>
                    <a:lnTo>
                      <a:pt x="3" y="8"/>
                    </a:lnTo>
                    <a:lnTo>
                      <a:pt x="5" y="5"/>
                    </a:lnTo>
                    <a:lnTo>
                      <a:pt x="7" y="3"/>
                    </a:lnTo>
                    <a:lnTo>
                      <a:pt x="10" y="2"/>
                    </a:lnTo>
                    <a:lnTo>
                      <a:pt x="14" y="1"/>
                    </a:lnTo>
                    <a:lnTo>
                      <a:pt x="17" y="0"/>
                    </a:lnTo>
                    <a:lnTo>
                      <a:pt x="26" y="0"/>
                    </a:lnTo>
                    <a:lnTo>
                      <a:pt x="36" y="2"/>
                    </a:lnTo>
                    <a:lnTo>
                      <a:pt x="46" y="5"/>
                    </a:lnTo>
                    <a:lnTo>
                      <a:pt x="57" y="9"/>
                    </a:lnTo>
                    <a:lnTo>
                      <a:pt x="77" y="18"/>
                    </a:lnTo>
                    <a:lnTo>
                      <a:pt x="95" y="29"/>
                    </a:lnTo>
                    <a:lnTo>
                      <a:pt x="108" y="36"/>
                    </a:lnTo>
                    <a:lnTo>
                      <a:pt x="113" y="39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77" name="Freeform 499">
                <a:extLst>
                  <a:ext uri="{FF2B5EF4-FFF2-40B4-BE49-F238E27FC236}">
                    <a16:creationId xmlns="" xmlns:a16="http://schemas.microsoft.com/office/drawing/2014/main" id="{5A230F67-8240-43B6-B5AF-9F336E8B6001}"/>
                  </a:ext>
                </a:extLst>
              </p:cNvPr>
              <p:cNvSpPr>
                <a:spLocks/>
              </p:cNvSpPr>
              <p:nvPr>
                <p:custDataLst>
                  <p:tags r:id="rId337"/>
                </p:custDataLst>
              </p:nvPr>
            </p:nvSpPr>
            <p:spPr bwMode="auto">
              <a:xfrm>
                <a:off x="6103938" y="1392238"/>
                <a:ext cx="61912" cy="58737"/>
              </a:xfrm>
              <a:custGeom>
                <a:avLst/>
                <a:gdLst>
                  <a:gd name="T0" fmla="*/ 0 w 139"/>
                  <a:gd name="T1" fmla="*/ 2147483646 h 40"/>
                  <a:gd name="T2" fmla="*/ 2147483646 w 139"/>
                  <a:gd name="T3" fmla="*/ 2147483646 h 40"/>
                  <a:gd name="T4" fmla="*/ 2147483646 w 139"/>
                  <a:gd name="T5" fmla="*/ 2147483646 h 40"/>
                  <a:gd name="T6" fmla="*/ 2147483646 w 139"/>
                  <a:gd name="T7" fmla="*/ 2147483646 h 40"/>
                  <a:gd name="T8" fmla="*/ 2147483646 w 139"/>
                  <a:gd name="T9" fmla="*/ 2147483646 h 40"/>
                  <a:gd name="T10" fmla="*/ 2147483646 w 139"/>
                  <a:gd name="T11" fmla="*/ 2147483646 h 40"/>
                  <a:gd name="T12" fmla="*/ 2147483646 w 139"/>
                  <a:gd name="T13" fmla="*/ 2147483646 h 40"/>
                  <a:gd name="T14" fmla="*/ 2147483646 w 139"/>
                  <a:gd name="T15" fmla="*/ 0 h 40"/>
                  <a:gd name="T16" fmla="*/ 2147483646 w 139"/>
                  <a:gd name="T17" fmla="*/ 2147483646 h 40"/>
                  <a:gd name="T18" fmla="*/ 2147483646 w 139"/>
                  <a:gd name="T19" fmla="*/ 2147483646 h 40"/>
                  <a:gd name="T20" fmla="*/ 2147483646 w 139"/>
                  <a:gd name="T21" fmla="*/ 2147483646 h 40"/>
                  <a:gd name="T22" fmla="*/ 2147483646 w 139"/>
                  <a:gd name="T23" fmla="*/ 2147483646 h 40"/>
                  <a:gd name="T24" fmla="*/ 2147483646 w 139"/>
                  <a:gd name="T25" fmla="*/ 2147483646 h 40"/>
                  <a:gd name="T26" fmla="*/ 2147483646 w 139"/>
                  <a:gd name="T27" fmla="*/ 2147483646 h 40"/>
                  <a:gd name="T28" fmla="*/ 2147483646 w 139"/>
                  <a:gd name="T29" fmla="*/ 2147483646 h 40"/>
                  <a:gd name="T30" fmla="*/ 2147483646 w 139"/>
                  <a:gd name="T31" fmla="*/ 2147483646 h 40"/>
                  <a:gd name="T32" fmla="*/ 2147483646 w 139"/>
                  <a:gd name="T33" fmla="*/ 2147483646 h 40"/>
                  <a:gd name="T34" fmla="*/ 2147483646 w 139"/>
                  <a:gd name="T35" fmla="*/ 2147483646 h 40"/>
                  <a:gd name="T36" fmla="*/ 2147483646 w 139"/>
                  <a:gd name="T37" fmla="*/ 2147483646 h 40"/>
                  <a:gd name="T38" fmla="*/ 2147483646 w 139"/>
                  <a:gd name="T39" fmla="*/ 2147483646 h 40"/>
                  <a:gd name="T40" fmla="*/ 2147483646 w 139"/>
                  <a:gd name="T41" fmla="*/ 2147483646 h 40"/>
                  <a:gd name="T42" fmla="*/ 0 w 139"/>
                  <a:gd name="T43" fmla="*/ 2147483646 h 4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139"/>
                  <a:gd name="T67" fmla="*/ 0 h 40"/>
                  <a:gd name="T68" fmla="*/ 139 w 139"/>
                  <a:gd name="T69" fmla="*/ 40 h 40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139" h="40">
                    <a:moveTo>
                      <a:pt x="0" y="8"/>
                    </a:moveTo>
                    <a:lnTo>
                      <a:pt x="8" y="9"/>
                    </a:lnTo>
                    <a:lnTo>
                      <a:pt x="19" y="8"/>
                    </a:lnTo>
                    <a:lnTo>
                      <a:pt x="30" y="7"/>
                    </a:lnTo>
                    <a:lnTo>
                      <a:pt x="42" y="5"/>
                    </a:lnTo>
                    <a:lnTo>
                      <a:pt x="53" y="2"/>
                    </a:lnTo>
                    <a:lnTo>
                      <a:pt x="64" y="1"/>
                    </a:lnTo>
                    <a:lnTo>
                      <a:pt x="73" y="0"/>
                    </a:lnTo>
                    <a:lnTo>
                      <a:pt x="80" y="2"/>
                    </a:lnTo>
                    <a:lnTo>
                      <a:pt x="139" y="39"/>
                    </a:lnTo>
                    <a:lnTo>
                      <a:pt x="133" y="40"/>
                    </a:lnTo>
                    <a:lnTo>
                      <a:pt x="125" y="39"/>
                    </a:lnTo>
                    <a:lnTo>
                      <a:pt x="116" y="38"/>
                    </a:lnTo>
                    <a:lnTo>
                      <a:pt x="106" y="36"/>
                    </a:lnTo>
                    <a:lnTo>
                      <a:pt x="86" y="30"/>
                    </a:lnTo>
                    <a:lnTo>
                      <a:pt x="64" y="24"/>
                    </a:lnTo>
                    <a:lnTo>
                      <a:pt x="44" y="16"/>
                    </a:lnTo>
                    <a:lnTo>
                      <a:pt x="26" y="11"/>
                    </a:lnTo>
                    <a:lnTo>
                      <a:pt x="17" y="9"/>
                    </a:lnTo>
                    <a:lnTo>
                      <a:pt x="11" y="7"/>
                    </a:lnTo>
                    <a:lnTo>
                      <a:pt x="4" y="7"/>
                    </a:lnTo>
                    <a:lnTo>
                      <a:pt x="0" y="8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78" name="Freeform 500">
                <a:extLst>
                  <a:ext uri="{FF2B5EF4-FFF2-40B4-BE49-F238E27FC236}">
                    <a16:creationId xmlns="" xmlns:a16="http://schemas.microsoft.com/office/drawing/2014/main" id="{4BE9D797-315C-462D-A6A5-D93DB7701B0B}"/>
                  </a:ext>
                </a:extLst>
              </p:cNvPr>
              <p:cNvSpPr>
                <a:spLocks/>
              </p:cNvSpPr>
              <p:nvPr>
                <p:custDataLst>
                  <p:tags r:id="rId338"/>
                </p:custDataLst>
              </p:nvPr>
            </p:nvSpPr>
            <p:spPr bwMode="auto">
              <a:xfrm>
                <a:off x="6403975" y="1333500"/>
                <a:ext cx="139700" cy="57150"/>
              </a:xfrm>
              <a:custGeom>
                <a:avLst/>
                <a:gdLst>
                  <a:gd name="T0" fmla="*/ 2147483646 w 325"/>
                  <a:gd name="T1" fmla="*/ 2147483646 h 71"/>
                  <a:gd name="T2" fmla="*/ 2147483646 w 325"/>
                  <a:gd name="T3" fmla="*/ 2147483646 h 71"/>
                  <a:gd name="T4" fmla="*/ 2147483646 w 325"/>
                  <a:gd name="T5" fmla="*/ 0 h 71"/>
                  <a:gd name="T6" fmla="*/ 2147483646 w 325"/>
                  <a:gd name="T7" fmla="*/ 2147483646 h 71"/>
                  <a:gd name="T8" fmla="*/ 2147483646 w 325"/>
                  <a:gd name="T9" fmla="*/ 2147483646 h 71"/>
                  <a:gd name="T10" fmla="*/ 2147483646 w 325"/>
                  <a:gd name="T11" fmla="*/ 2147483646 h 71"/>
                  <a:gd name="T12" fmla="*/ 2147483646 w 325"/>
                  <a:gd name="T13" fmla="*/ 2147483646 h 71"/>
                  <a:gd name="T14" fmla="*/ 2147483646 w 325"/>
                  <a:gd name="T15" fmla="*/ 2147483646 h 71"/>
                  <a:gd name="T16" fmla="*/ 2147483646 w 325"/>
                  <a:gd name="T17" fmla="*/ 2147483646 h 71"/>
                  <a:gd name="T18" fmla="*/ 2147483646 w 325"/>
                  <a:gd name="T19" fmla="*/ 2147483646 h 71"/>
                  <a:gd name="T20" fmla="*/ 2147483646 w 325"/>
                  <a:gd name="T21" fmla="*/ 2147483646 h 71"/>
                  <a:gd name="T22" fmla="*/ 2147483646 w 325"/>
                  <a:gd name="T23" fmla="*/ 2147483646 h 71"/>
                  <a:gd name="T24" fmla="*/ 2147483646 w 325"/>
                  <a:gd name="T25" fmla="*/ 2147483646 h 71"/>
                  <a:gd name="T26" fmla="*/ 2147483646 w 325"/>
                  <a:gd name="T27" fmla="*/ 2147483646 h 71"/>
                  <a:gd name="T28" fmla="*/ 2147483646 w 325"/>
                  <a:gd name="T29" fmla="*/ 2147483646 h 71"/>
                  <a:gd name="T30" fmla="*/ 2147483646 w 325"/>
                  <a:gd name="T31" fmla="*/ 2147483646 h 71"/>
                  <a:gd name="T32" fmla="*/ 2147483646 w 325"/>
                  <a:gd name="T33" fmla="*/ 2147483646 h 71"/>
                  <a:gd name="T34" fmla="*/ 2147483646 w 325"/>
                  <a:gd name="T35" fmla="*/ 2147483646 h 71"/>
                  <a:gd name="T36" fmla="*/ 2147483646 w 325"/>
                  <a:gd name="T37" fmla="*/ 2147483646 h 71"/>
                  <a:gd name="T38" fmla="*/ 2147483646 w 325"/>
                  <a:gd name="T39" fmla="*/ 2147483646 h 71"/>
                  <a:gd name="T40" fmla="*/ 2147483646 w 325"/>
                  <a:gd name="T41" fmla="*/ 2147483646 h 71"/>
                  <a:gd name="T42" fmla="*/ 2147483646 w 325"/>
                  <a:gd name="T43" fmla="*/ 2147483646 h 71"/>
                  <a:gd name="T44" fmla="*/ 2147483646 w 325"/>
                  <a:gd name="T45" fmla="*/ 2147483646 h 71"/>
                  <a:gd name="T46" fmla="*/ 2147483646 w 325"/>
                  <a:gd name="T47" fmla="*/ 2147483646 h 71"/>
                  <a:gd name="T48" fmla="*/ 2147483646 w 325"/>
                  <a:gd name="T49" fmla="*/ 2147483646 h 71"/>
                  <a:gd name="T50" fmla="*/ 2147483646 w 325"/>
                  <a:gd name="T51" fmla="*/ 2147483646 h 71"/>
                  <a:gd name="T52" fmla="*/ 2147483646 w 325"/>
                  <a:gd name="T53" fmla="*/ 2147483646 h 71"/>
                  <a:gd name="T54" fmla="*/ 2147483646 w 325"/>
                  <a:gd name="T55" fmla="*/ 2147483646 h 71"/>
                  <a:gd name="T56" fmla="*/ 2147483646 w 325"/>
                  <a:gd name="T57" fmla="*/ 2147483646 h 71"/>
                  <a:gd name="T58" fmla="*/ 2147483646 w 325"/>
                  <a:gd name="T59" fmla="*/ 2147483646 h 71"/>
                  <a:gd name="T60" fmla="*/ 2147483646 w 325"/>
                  <a:gd name="T61" fmla="*/ 2147483646 h 71"/>
                  <a:gd name="T62" fmla="*/ 0 w 325"/>
                  <a:gd name="T63" fmla="*/ 2147483646 h 71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325"/>
                  <a:gd name="T97" fmla="*/ 0 h 71"/>
                  <a:gd name="T98" fmla="*/ 325 w 325"/>
                  <a:gd name="T99" fmla="*/ 71 h 71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325" h="71">
                    <a:moveTo>
                      <a:pt x="0" y="12"/>
                    </a:moveTo>
                    <a:lnTo>
                      <a:pt x="10" y="7"/>
                    </a:lnTo>
                    <a:lnTo>
                      <a:pt x="20" y="3"/>
                    </a:lnTo>
                    <a:lnTo>
                      <a:pt x="31" y="1"/>
                    </a:lnTo>
                    <a:lnTo>
                      <a:pt x="42" y="0"/>
                    </a:lnTo>
                    <a:lnTo>
                      <a:pt x="53" y="0"/>
                    </a:lnTo>
                    <a:lnTo>
                      <a:pt x="62" y="2"/>
                    </a:lnTo>
                    <a:lnTo>
                      <a:pt x="73" y="4"/>
                    </a:lnTo>
                    <a:lnTo>
                      <a:pt x="83" y="6"/>
                    </a:lnTo>
                    <a:lnTo>
                      <a:pt x="92" y="10"/>
                    </a:lnTo>
                    <a:lnTo>
                      <a:pt x="101" y="14"/>
                    </a:lnTo>
                    <a:lnTo>
                      <a:pt x="110" y="18"/>
                    </a:lnTo>
                    <a:lnTo>
                      <a:pt x="116" y="23"/>
                    </a:lnTo>
                    <a:lnTo>
                      <a:pt x="122" y="29"/>
                    </a:lnTo>
                    <a:lnTo>
                      <a:pt x="127" y="33"/>
                    </a:lnTo>
                    <a:lnTo>
                      <a:pt x="130" y="38"/>
                    </a:lnTo>
                    <a:lnTo>
                      <a:pt x="133" y="43"/>
                    </a:lnTo>
                    <a:lnTo>
                      <a:pt x="136" y="34"/>
                    </a:lnTo>
                    <a:lnTo>
                      <a:pt x="138" y="25"/>
                    </a:lnTo>
                    <a:lnTo>
                      <a:pt x="139" y="15"/>
                    </a:lnTo>
                    <a:lnTo>
                      <a:pt x="139" y="6"/>
                    </a:lnTo>
                    <a:lnTo>
                      <a:pt x="161" y="7"/>
                    </a:lnTo>
                    <a:lnTo>
                      <a:pt x="188" y="9"/>
                    </a:lnTo>
                    <a:lnTo>
                      <a:pt x="216" y="13"/>
                    </a:lnTo>
                    <a:lnTo>
                      <a:pt x="245" y="19"/>
                    </a:lnTo>
                    <a:lnTo>
                      <a:pt x="258" y="23"/>
                    </a:lnTo>
                    <a:lnTo>
                      <a:pt x="271" y="28"/>
                    </a:lnTo>
                    <a:lnTo>
                      <a:pt x="283" y="32"/>
                    </a:lnTo>
                    <a:lnTo>
                      <a:pt x="295" y="37"/>
                    </a:lnTo>
                    <a:lnTo>
                      <a:pt x="305" y="43"/>
                    </a:lnTo>
                    <a:lnTo>
                      <a:pt x="314" y="48"/>
                    </a:lnTo>
                    <a:lnTo>
                      <a:pt x="320" y="55"/>
                    </a:lnTo>
                    <a:lnTo>
                      <a:pt x="325" y="61"/>
                    </a:lnTo>
                    <a:lnTo>
                      <a:pt x="316" y="64"/>
                    </a:lnTo>
                    <a:lnTo>
                      <a:pt x="305" y="67"/>
                    </a:lnTo>
                    <a:lnTo>
                      <a:pt x="294" y="68"/>
                    </a:lnTo>
                    <a:lnTo>
                      <a:pt x="283" y="70"/>
                    </a:lnTo>
                    <a:lnTo>
                      <a:pt x="259" y="71"/>
                    </a:lnTo>
                    <a:lnTo>
                      <a:pt x="234" y="71"/>
                    </a:lnTo>
                    <a:lnTo>
                      <a:pt x="210" y="70"/>
                    </a:lnTo>
                    <a:lnTo>
                      <a:pt x="186" y="69"/>
                    </a:lnTo>
                    <a:lnTo>
                      <a:pt x="167" y="68"/>
                    </a:lnTo>
                    <a:lnTo>
                      <a:pt x="152" y="67"/>
                    </a:lnTo>
                    <a:lnTo>
                      <a:pt x="133" y="69"/>
                    </a:lnTo>
                    <a:lnTo>
                      <a:pt x="104" y="71"/>
                    </a:lnTo>
                    <a:lnTo>
                      <a:pt x="90" y="71"/>
                    </a:lnTo>
                    <a:lnTo>
                      <a:pt x="78" y="70"/>
                    </a:lnTo>
                    <a:lnTo>
                      <a:pt x="72" y="68"/>
                    </a:lnTo>
                    <a:lnTo>
                      <a:pt x="69" y="67"/>
                    </a:lnTo>
                    <a:lnTo>
                      <a:pt x="67" y="64"/>
                    </a:lnTo>
                    <a:lnTo>
                      <a:pt x="66" y="61"/>
                    </a:lnTo>
                    <a:lnTo>
                      <a:pt x="58" y="61"/>
                    </a:lnTo>
                    <a:lnTo>
                      <a:pt x="51" y="60"/>
                    </a:lnTo>
                    <a:lnTo>
                      <a:pt x="46" y="59"/>
                    </a:lnTo>
                    <a:lnTo>
                      <a:pt x="42" y="57"/>
                    </a:lnTo>
                    <a:lnTo>
                      <a:pt x="35" y="53"/>
                    </a:lnTo>
                    <a:lnTo>
                      <a:pt x="31" y="49"/>
                    </a:lnTo>
                    <a:lnTo>
                      <a:pt x="25" y="45"/>
                    </a:lnTo>
                    <a:lnTo>
                      <a:pt x="20" y="41"/>
                    </a:lnTo>
                    <a:lnTo>
                      <a:pt x="16" y="39"/>
                    </a:lnTo>
                    <a:lnTo>
                      <a:pt x="12" y="38"/>
                    </a:lnTo>
                    <a:lnTo>
                      <a:pt x="6" y="37"/>
                    </a:lnTo>
                    <a:lnTo>
                      <a:pt x="0" y="37"/>
                    </a:lnTo>
                    <a:lnTo>
                      <a:pt x="0" y="22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79" name="Freeform 501">
                <a:extLst>
                  <a:ext uri="{FF2B5EF4-FFF2-40B4-BE49-F238E27FC236}">
                    <a16:creationId xmlns="" xmlns:a16="http://schemas.microsoft.com/office/drawing/2014/main" id="{1694DC48-64E7-41FE-9924-4F931B0758A7}"/>
                  </a:ext>
                </a:extLst>
              </p:cNvPr>
              <p:cNvSpPr>
                <a:spLocks/>
              </p:cNvSpPr>
              <p:nvPr>
                <p:custDataLst>
                  <p:tags r:id="rId339"/>
                </p:custDataLst>
              </p:nvPr>
            </p:nvSpPr>
            <p:spPr bwMode="auto">
              <a:xfrm>
                <a:off x="6564313" y="1341438"/>
                <a:ext cx="95250" cy="57150"/>
              </a:xfrm>
              <a:custGeom>
                <a:avLst/>
                <a:gdLst>
                  <a:gd name="T0" fmla="*/ 2147483646 w 220"/>
                  <a:gd name="T1" fmla="*/ 2147483646 h 72"/>
                  <a:gd name="T2" fmla="*/ 2147483646 w 220"/>
                  <a:gd name="T3" fmla="*/ 2147483646 h 72"/>
                  <a:gd name="T4" fmla="*/ 2147483646 w 220"/>
                  <a:gd name="T5" fmla="*/ 2147483646 h 72"/>
                  <a:gd name="T6" fmla="*/ 2147483646 w 220"/>
                  <a:gd name="T7" fmla="*/ 2147483646 h 72"/>
                  <a:gd name="T8" fmla="*/ 2147483646 w 220"/>
                  <a:gd name="T9" fmla="*/ 2147483646 h 72"/>
                  <a:gd name="T10" fmla="*/ 2147483646 w 220"/>
                  <a:gd name="T11" fmla="*/ 2147483646 h 72"/>
                  <a:gd name="T12" fmla="*/ 2147483646 w 220"/>
                  <a:gd name="T13" fmla="*/ 2147483646 h 72"/>
                  <a:gd name="T14" fmla="*/ 2147483646 w 220"/>
                  <a:gd name="T15" fmla="*/ 2147483646 h 72"/>
                  <a:gd name="T16" fmla="*/ 2147483646 w 220"/>
                  <a:gd name="T17" fmla="*/ 2147483646 h 72"/>
                  <a:gd name="T18" fmla="*/ 2147483646 w 220"/>
                  <a:gd name="T19" fmla="*/ 2147483646 h 72"/>
                  <a:gd name="T20" fmla="*/ 2147483646 w 220"/>
                  <a:gd name="T21" fmla="*/ 2147483646 h 72"/>
                  <a:gd name="T22" fmla="*/ 2147483646 w 220"/>
                  <a:gd name="T23" fmla="*/ 2147483646 h 72"/>
                  <a:gd name="T24" fmla="*/ 2147483646 w 220"/>
                  <a:gd name="T25" fmla="*/ 2147483646 h 72"/>
                  <a:gd name="T26" fmla="*/ 2147483646 w 220"/>
                  <a:gd name="T27" fmla="*/ 2147483646 h 72"/>
                  <a:gd name="T28" fmla="*/ 2147483646 w 220"/>
                  <a:gd name="T29" fmla="*/ 0 h 72"/>
                  <a:gd name="T30" fmla="*/ 2147483646 w 220"/>
                  <a:gd name="T31" fmla="*/ 2147483646 h 72"/>
                  <a:gd name="T32" fmla="*/ 2147483646 w 220"/>
                  <a:gd name="T33" fmla="*/ 2147483646 h 72"/>
                  <a:gd name="T34" fmla="*/ 2147483646 w 220"/>
                  <a:gd name="T35" fmla="*/ 2147483646 h 72"/>
                  <a:gd name="T36" fmla="*/ 2147483646 w 220"/>
                  <a:gd name="T37" fmla="*/ 2147483646 h 72"/>
                  <a:gd name="T38" fmla="*/ 2147483646 w 220"/>
                  <a:gd name="T39" fmla="*/ 2147483646 h 72"/>
                  <a:gd name="T40" fmla="*/ 2147483646 w 220"/>
                  <a:gd name="T41" fmla="*/ 2147483646 h 72"/>
                  <a:gd name="T42" fmla="*/ 2147483646 w 220"/>
                  <a:gd name="T43" fmla="*/ 2147483646 h 72"/>
                  <a:gd name="T44" fmla="*/ 2147483646 w 220"/>
                  <a:gd name="T45" fmla="*/ 2147483646 h 72"/>
                  <a:gd name="T46" fmla="*/ 2147483646 w 220"/>
                  <a:gd name="T47" fmla="*/ 2147483646 h 72"/>
                  <a:gd name="T48" fmla="*/ 2147483646 w 220"/>
                  <a:gd name="T49" fmla="*/ 2147483646 h 72"/>
                  <a:gd name="T50" fmla="*/ 2147483646 w 220"/>
                  <a:gd name="T51" fmla="*/ 2147483646 h 72"/>
                  <a:gd name="T52" fmla="*/ 2147483646 w 220"/>
                  <a:gd name="T53" fmla="*/ 2147483646 h 72"/>
                  <a:gd name="T54" fmla="*/ 2147483646 w 220"/>
                  <a:gd name="T55" fmla="*/ 2147483646 h 72"/>
                  <a:gd name="T56" fmla="*/ 2147483646 w 220"/>
                  <a:gd name="T57" fmla="*/ 2147483646 h 72"/>
                  <a:gd name="T58" fmla="*/ 2147483646 w 220"/>
                  <a:gd name="T59" fmla="*/ 2147483646 h 72"/>
                  <a:gd name="T60" fmla="*/ 2147483646 w 220"/>
                  <a:gd name="T61" fmla="*/ 2147483646 h 72"/>
                  <a:gd name="T62" fmla="*/ 2147483646 w 220"/>
                  <a:gd name="T63" fmla="*/ 2147483646 h 72"/>
                  <a:gd name="T64" fmla="*/ 2147483646 w 220"/>
                  <a:gd name="T65" fmla="*/ 2147483646 h 72"/>
                  <a:gd name="T66" fmla="*/ 2147483646 w 220"/>
                  <a:gd name="T67" fmla="*/ 2147483646 h 72"/>
                  <a:gd name="T68" fmla="*/ 2147483646 w 220"/>
                  <a:gd name="T69" fmla="*/ 2147483646 h 72"/>
                  <a:gd name="T70" fmla="*/ 2147483646 w 220"/>
                  <a:gd name="T71" fmla="*/ 2147483646 h 72"/>
                  <a:gd name="T72" fmla="*/ 2147483646 w 220"/>
                  <a:gd name="T73" fmla="*/ 2147483646 h 72"/>
                  <a:gd name="T74" fmla="*/ 2147483646 w 220"/>
                  <a:gd name="T75" fmla="*/ 2147483646 h 72"/>
                  <a:gd name="T76" fmla="*/ 2147483646 w 220"/>
                  <a:gd name="T77" fmla="*/ 2147483646 h 72"/>
                  <a:gd name="T78" fmla="*/ 2147483646 w 220"/>
                  <a:gd name="T79" fmla="*/ 2147483646 h 72"/>
                  <a:gd name="T80" fmla="*/ 2147483646 w 220"/>
                  <a:gd name="T81" fmla="*/ 2147483646 h 72"/>
                  <a:gd name="T82" fmla="*/ 2147483646 w 220"/>
                  <a:gd name="T83" fmla="*/ 2147483646 h 72"/>
                  <a:gd name="T84" fmla="*/ 2147483646 w 220"/>
                  <a:gd name="T85" fmla="*/ 2147483646 h 72"/>
                  <a:gd name="T86" fmla="*/ 2147483646 w 220"/>
                  <a:gd name="T87" fmla="*/ 2147483646 h 72"/>
                  <a:gd name="T88" fmla="*/ 2147483646 w 220"/>
                  <a:gd name="T89" fmla="*/ 2147483646 h 72"/>
                  <a:gd name="T90" fmla="*/ 2147483646 w 220"/>
                  <a:gd name="T91" fmla="*/ 2147483646 h 72"/>
                  <a:gd name="T92" fmla="*/ 2147483646 w 220"/>
                  <a:gd name="T93" fmla="*/ 2147483646 h 72"/>
                  <a:gd name="T94" fmla="*/ 2147483646 w 220"/>
                  <a:gd name="T95" fmla="*/ 2147483646 h 72"/>
                  <a:gd name="T96" fmla="*/ 2147483646 w 220"/>
                  <a:gd name="T97" fmla="*/ 2147483646 h 72"/>
                  <a:gd name="T98" fmla="*/ 2147483646 w 220"/>
                  <a:gd name="T99" fmla="*/ 2147483646 h 72"/>
                  <a:gd name="T100" fmla="*/ 2147483646 w 220"/>
                  <a:gd name="T101" fmla="*/ 2147483646 h 72"/>
                  <a:gd name="T102" fmla="*/ 2147483646 w 220"/>
                  <a:gd name="T103" fmla="*/ 2147483646 h 72"/>
                  <a:gd name="T104" fmla="*/ 0 w 220"/>
                  <a:gd name="T105" fmla="*/ 2147483646 h 72"/>
                  <a:gd name="T106" fmla="*/ 2147483646 w 220"/>
                  <a:gd name="T107" fmla="*/ 2147483646 h 72"/>
                  <a:gd name="T108" fmla="*/ 2147483646 w 220"/>
                  <a:gd name="T109" fmla="*/ 2147483646 h 72"/>
                  <a:gd name="T110" fmla="*/ 2147483646 w 220"/>
                  <a:gd name="T111" fmla="*/ 2147483646 h 72"/>
                  <a:gd name="T112" fmla="*/ 2147483646 w 220"/>
                  <a:gd name="T113" fmla="*/ 2147483646 h 7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20"/>
                  <a:gd name="T172" fmla="*/ 0 h 72"/>
                  <a:gd name="T173" fmla="*/ 220 w 220"/>
                  <a:gd name="T174" fmla="*/ 72 h 7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20" h="72">
                    <a:moveTo>
                      <a:pt x="87" y="25"/>
                    </a:moveTo>
                    <a:lnTo>
                      <a:pt x="92" y="26"/>
                    </a:lnTo>
                    <a:lnTo>
                      <a:pt x="98" y="27"/>
                    </a:lnTo>
                    <a:lnTo>
                      <a:pt x="101" y="28"/>
                    </a:lnTo>
                    <a:lnTo>
                      <a:pt x="104" y="27"/>
                    </a:lnTo>
                    <a:lnTo>
                      <a:pt x="109" y="27"/>
                    </a:lnTo>
                    <a:lnTo>
                      <a:pt x="113" y="25"/>
                    </a:lnTo>
                    <a:lnTo>
                      <a:pt x="114" y="26"/>
                    </a:lnTo>
                    <a:lnTo>
                      <a:pt x="115" y="26"/>
                    </a:lnTo>
                    <a:lnTo>
                      <a:pt x="116" y="25"/>
                    </a:lnTo>
                    <a:lnTo>
                      <a:pt x="117" y="25"/>
                    </a:lnTo>
                    <a:lnTo>
                      <a:pt x="119" y="22"/>
                    </a:lnTo>
                    <a:lnTo>
                      <a:pt x="120" y="17"/>
                    </a:lnTo>
                    <a:lnTo>
                      <a:pt x="120" y="7"/>
                    </a:lnTo>
                    <a:lnTo>
                      <a:pt x="120" y="0"/>
                    </a:lnTo>
                    <a:lnTo>
                      <a:pt x="125" y="5"/>
                    </a:lnTo>
                    <a:lnTo>
                      <a:pt x="131" y="10"/>
                    </a:lnTo>
                    <a:lnTo>
                      <a:pt x="137" y="15"/>
                    </a:lnTo>
                    <a:lnTo>
                      <a:pt x="143" y="19"/>
                    </a:lnTo>
                    <a:lnTo>
                      <a:pt x="156" y="25"/>
                    </a:lnTo>
                    <a:lnTo>
                      <a:pt x="170" y="30"/>
                    </a:lnTo>
                    <a:lnTo>
                      <a:pt x="183" y="35"/>
                    </a:lnTo>
                    <a:lnTo>
                      <a:pt x="196" y="41"/>
                    </a:lnTo>
                    <a:lnTo>
                      <a:pt x="203" y="44"/>
                    </a:lnTo>
                    <a:lnTo>
                      <a:pt x="209" y="47"/>
                    </a:lnTo>
                    <a:lnTo>
                      <a:pt x="214" y="51"/>
                    </a:lnTo>
                    <a:lnTo>
                      <a:pt x="220" y="55"/>
                    </a:lnTo>
                    <a:lnTo>
                      <a:pt x="206" y="56"/>
                    </a:lnTo>
                    <a:lnTo>
                      <a:pt x="194" y="57"/>
                    </a:lnTo>
                    <a:lnTo>
                      <a:pt x="182" y="58"/>
                    </a:lnTo>
                    <a:lnTo>
                      <a:pt x="171" y="60"/>
                    </a:lnTo>
                    <a:lnTo>
                      <a:pt x="151" y="65"/>
                    </a:lnTo>
                    <a:lnTo>
                      <a:pt x="134" y="70"/>
                    </a:lnTo>
                    <a:lnTo>
                      <a:pt x="126" y="71"/>
                    </a:lnTo>
                    <a:lnTo>
                      <a:pt x="117" y="72"/>
                    </a:lnTo>
                    <a:lnTo>
                      <a:pt x="110" y="72"/>
                    </a:lnTo>
                    <a:lnTo>
                      <a:pt x="103" y="72"/>
                    </a:lnTo>
                    <a:lnTo>
                      <a:pt x="95" y="70"/>
                    </a:lnTo>
                    <a:lnTo>
                      <a:pt x="88" y="66"/>
                    </a:lnTo>
                    <a:lnTo>
                      <a:pt x="81" y="61"/>
                    </a:lnTo>
                    <a:lnTo>
                      <a:pt x="74" y="55"/>
                    </a:lnTo>
                    <a:lnTo>
                      <a:pt x="59" y="53"/>
                    </a:lnTo>
                    <a:lnTo>
                      <a:pt x="45" y="50"/>
                    </a:lnTo>
                    <a:lnTo>
                      <a:pt x="33" y="47"/>
                    </a:lnTo>
                    <a:lnTo>
                      <a:pt x="22" y="43"/>
                    </a:lnTo>
                    <a:lnTo>
                      <a:pt x="18" y="41"/>
                    </a:lnTo>
                    <a:lnTo>
                      <a:pt x="13" y="38"/>
                    </a:lnTo>
                    <a:lnTo>
                      <a:pt x="9" y="35"/>
                    </a:lnTo>
                    <a:lnTo>
                      <a:pt x="7" y="31"/>
                    </a:lnTo>
                    <a:lnTo>
                      <a:pt x="3" y="27"/>
                    </a:lnTo>
                    <a:lnTo>
                      <a:pt x="2" y="23"/>
                    </a:lnTo>
                    <a:lnTo>
                      <a:pt x="1" y="18"/>
                    </a:lnTo>
                    <a:lnTo>
                      <a:pt x="0" y="13"/>
                    </a:lnTo>
                    <a:lnTo>
                      <a:pt x="23" y="17"/>
                    </a:lnTo>
                    <a:lnTo>
                      <a:pt x="44" y="21"/>
                    </a:lnTo>
                    <a:lnTo>
                      <a:pt x="64" y="24"/>
                    </a:lnTo>
                    <a:lnTo>
                      <a:pt x="87" y="25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80" name="Freeform 502">
                <a:extLst>
                  <a:ext uri="{FF2B5EF4-FFF2-40B4-BE49-F238E27FC236}">
                    <a16:creationId xmlns="" xmlns:a16="http://schemas.microsoft.com/office/drawing/2014/main" id="{A1A0BD32-D5ED-4A01-A5F8-C06DEF103CE0}"/>
                  </a:ext>
                </a:extLst>
              </p:cNvPr>
              <p:cNvSpPr>
                <a:spLocks/>
              </p:cNvSpPr>
              <p:nvPr>
                <p:custDataLst>
                  <p:tags r:id="rId340"/>
                </p:custDataLst>
              </p:nvPr>
            </p:nvSpPr>
            <p:spPr bwMode="auto">
              <a:xfrm>
                <a:off x="6524625" y="1389063"/>
                <a:ext cx="63500" cy="58737"/>
              </a:xfrm>
              <a:custGeom>
                <a:avLst/>
                <a:gdLst>
                  <a:gd name="T0" fmla="*/ 2147483646 w 146"/>
                  <a:gd name="T1" fmla="*/ 2147483646 h 30"/>
                  <a:gd name="T2" fmla="*/ 2147483646 w 146"/>
                  <a:gd name="T3" fmla="*/ 2147483646 h 30"/>
                  <a:gd name="T4" fmla="*/ 2147483646 w 146"/>
                  <a:gd name="T5" fmla="*/ 2147483646 h 30"/>
                  <a:gd name="T6" fmla="*/ 2147483646 w 146"/>
                  <a:gd name="T7" fmla="*/ 2147483646 h 30"/>
                  <a:gd name="T8" fmla="*/ 2147483646 w 146"/>
                  <a:gd name="T9" fmla="*/ 2147483646 h 30"/>
                  <a:gd name="T10" fmla="*/ 2147483646 w 146"/>
                  <a:gd name="T11" fmla="*/ 2147483646 h 30"/>
                  <a:gd name="T12" fmla="*/ 2147483646 w 146"/>
                  <a:gd name="T13" fmla="*/ 2147483646 h 30"/>
                  <a:gd name="T14" fmla="*/ 2147483646 w 146"/>
                  <a:gd name="T15" fmla="*/ 2147483646 h 30"/>
                  <a:gd name="T16" fmla="*/ 2147483646 w 146"/>
                  <a:gd name="T17" fmla="*/ 2147483646 h 30"/>
                  <a:gd name="T18" fmla="*/ 2147483646 w 146"/>
                  <a:gd name="T19" fmla="*/ 2147483646 h 30"/>
                  <a:gd name="T20" fmla="*/ 2147483646 w 146"/>
                  <a:gd name="T21" fmla="*/ 2147483646 h 30"/>
                  <a:gd name="T22" fmla="*/ 2147483646 w 146"/>
                  <a:gd name="T23" fmla="*/ 2147483646 h 30"/>
                  <a:gd name="T24" fmla="*/ 2147483646 w 146"/>
                  <a:gd name="T25" fmla="*/ 2147483646 h 30"/>
                  <a:gd name="T26" fmla="*/ 2147483646 w 146"/>
                  <a:gd name="T27" fmla="*/ 2147483646 h 30"/>
                  <a:gd name="T28" fmla="*/ 2147483646 w 146"/>
                  <a:gd name="T29" fmla="*/ 2147483646 h 30"/>
                  <a:gd name="T30" fmla="*/ 2147483646 w 146"/>
                  <a:gd name="T31" fmla="*/ 2147483646 h 30"/>
                  <a:gd name="T32" fmla="*/ 2147483646 w 146"/>
                  <a:gd name="T33" fmla="*/ 2147483646 h 30"/>
                  <a:gd name="T34" fmla="*/ 2147483646 w 146"/>
                  <a:gd name="T35" fmla="*/ 0 h 30"/>
                  <a:gd name="T36" fmla="*/ 2147483646 w 146"/>
                  <a:gd name="T37" fmla="*/ 2147483646 h 30"/>
                  <a:gd name="T38" fmla="*/ 2147483646 w 146"/>
                  <a:gd name="T39" fmla="*/ 2147483646 h 30"/>
                  <a:gd name="T40" fmla="*/ 2147483646 w 146"/>
                  <a:gd name="T41" fmla="*/ 2147483646 h 30"/>
                  <a:gd name="T42" fmla="*/ 0 w 146"/>
                  <a:gd name="T43" fmla="*/ 2147483646 h 30"/>
                  <a:gd name="T44" fmla="*/ 2147483646 w 146"/>
                  <a:gd name="T45" fmla="*/ 2147483646 h 30"/>
                  <a:gd name="T46" fmla="*/ 2147483646 w 146"/>
                  <a:gd name="T47" fmla="*/ 2147483646 h 30"/>
                  <a:gd name="T48" fmla="*/ 2147483646 w 146"/>
                  <a:gd name="T49" fmla="*/ 2147483646 h 30"/>
                  <a:gd name="T50" fmla="*/ 2147483646 w 146"/>
                  <a:gd name="T51" fmla="*/ 2147483646 h 30"/>
                  <a:gd name="T52" fmla="*/ 2147483646 w 146"/>
                  <a:gd name="T53" fmla="*/ 2147483646 h 30"/>
                  <a:gd name="T54" fmla="*/ 2147483646 w 146"/>
                  <a:gd name="T55" fmla="*/ 2147483646 h 30"/>
                  <a:gd name="T56" fmla="*/ 2147483646 w 146"/>
                  <a:gd name="T57" fmla="*/ 2147483646 h 30"/>
                  <a:gd name="T58" fmla="*/ 2147483646 w 146"/>
                  <a:gd name="T59" fmla="*/ 2147483646 h 30"/>
                  <a:gd name="T60" fmla="*/ 2147483646 w 146"/>
                  <a:gd name="T61" fmla="*/ 2147483646 h 30"/>
                  <a:gd name="T62" fmla="*/ 2147483646 w 146"/>
                  <a:gd name="T63" fmla="*/ 2147483646 h 30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46"/>
                  <a:gd name="T97" fmla="*/ 0 h 30"/>
                  <a:gd name="T98" fmla="*/ 146 w 146"/>
                  <a:gd name="T99" fmla="*/ 30 h 30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46" h="30">
                    <a:moveTo>
                      <a:pt x="146" y="25"/>
                    </a:moveTo>
                    <a:lnTo>
                      <a:pt x="140" y="16"/>
                    </a:lnTo>
                    <a:lnTo>
                      <a:pt x="137" y="9"/>
                    </a:lnTo>
                    <a:lnTo>
                      <a:pt x="133" y="4"/>
                    </a:lnTo>
                    <a:lnTo>
                      <a:pt x="128" y="1"/>
                    </a:lnTo>
                    <a:lnTo>
                      <a:pt x="126" y="1"/>
                    </a:lnTo>
                    <a:lnTo>
                      <a:pt x="124" y="1"/>
                    </a:lnTo>
                    <a:lnTo>
                      <a:pt x="120" y="2"/>
                    </a:lnTo>
                    <a:lnTo>
                      <a:pt x="118" y="3"/>
                    </a:lnTo>
                    <a:lnTo>
                      <a:pt x="113" y="9"/>
                    </a:lnTo>
                    <a:lnTo>
                      <a:pt x="105" y="19"/>
                    </a:lnTo>
                    <a:lnTo>
                      <a:pt x="72" y="19"/>
                    </a:lnTo>
                    <a:lnTo>
                      <a:pt x="63" y="18"/>
                    </a:lnTo>
                    <a:lnTo>
                      <a:pt x="55" y="17"/>
                    </a:lnTo>
                    <a:lnTo>
                      <a:pt x="47" y="14"/>
                    </a:lnTo>
                    <a:lnTo>
                      <a:pt x="40" y="12"/>
                    </a:lnTo>
                    <a:lnTo>
                      <a:pt x="29" y="6"/>
                    </a:lnTo>
                    <a:lnTo>
                      <a:pt x="19" y="0"/>
                    </a:lnTo>
                    <a:lnTo>
                      <a:pt x="14" y="9"/>
                    </a:lnTo>
                    <a:lnTo>
                      <a:pt x="10" y="15"/>
                    </a:lnTo>
                    <a:lnTo>
                      <a:pt x="4" y="20"/>
                    </a:lnTo>
                    <a:lnTo>
                      <a:pt x="0" y="25"/>
                    </a:lnTo>
                    <a:lnTo>
                      <a:pt x="33" y="25"/>
                    </a:lnTo>
                    <a:lnTo>
                      <a:pt x="57" y="25"/>
                    </a:lnTo>
                    <a:lnTo>
                      <a:pt x="77" y="25"/>
                    </a:lnTo>
                    <a:lnTo>
                      <a:pt x="99" y="25"/>
                    </a:lnTo>
                    <a:lnTo>
                      <a:pt x="110" y="26"/>
                    </a:lnTo>
                    <a:lnTo>
                      <a:pt x="123" y="29"/>
                    </a:lnTo>
                    <a:lnTo>
                      <a:pt x="128" y="30"/>
                    </a:lnTo>
                    <a:lnTo>
                      <a:pt x="135" y="30"/>
                    </a:lnTo>
                    <a:lnTo>
                      <a:pt x="140" y="28"/>
                    </a:lnTo>
                    <a:lnTo>
                      <a:pt x="146" y="25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81" name="Freeform 503">
                <a:extLst>
                  <a:ext uri="{FF2B5EF4-FFF2-40B4-BE49-F238E27FC236}">
                    <a16:creationId xmlns="" xmlns:a16="http://schemas.microsoft.com/office/drawing/2014/main" id="{68732079-148B-4E04-B51C-49495ACCB514}"/>
                  </a:ext>
                </a:extLst>
              </p:cNvPr>
              <p:cNvSpPr>
                <a:spLocks/>
              </p:cNvSpPr>
              <p:nvPr>
                <p:custDataLst>
                  <p:tags r:id="rId341"/>
                </p:custDataLst>
              </p:nvPr>
            </p:nvSpPr>
            <p:spPr bwMode="auto">
              <a:xfrm>
                <a:off x="6503988" y="1385888"/>
                <a:ext cx="20637" cy="58737"/>
              </a:xfrm>
              <a:custGeom>
                <a:avLst/>
                <a:gdLst>
                  <a:gd name="T0" fmla="*/ 0 w 53"/>
                  <a:gd name="T1" fmla="*/ 2147483646 h 9"/>
                  <a:gd name="T2" fmla="*/ 2147483646 w 53"/>
                  <a:gd name="T3" fmla="*/ 2147483646 h 9"/>
                  <a:gd name="T4" fmla="*/ 2147483646 w 53"/>
                  <a:gd name="T5" fmla="*/ 2147483646 h 9"/>
                  <a:gd name="T6" fmla="*/ 2147483646 w 53"/>
                  <a:gd name="T7" fmla="*/ 2147483646 h 9"/>
                  <a:gd name="T8" fmla="*/ 2147483646 w 53"/>
                  <a:gd name="T9" fmla="*/ 2147483646 h 9"/>
                  <a:gd name="T10" fmla="*/ 2147483646 w 53"/>
                  <a:gd name="T11" fmla="*/ 2147483646 h 9"/>
                  <a:gd name="T12" fmla="*/ 2147483646 w 53"/>
                  <a:gd name="T13" fmla="*/ 2147483646 h 9"/>
                  <a:gd name="T14" fmla="*/ 2147483646 w 53"/>
                  <a:gd name="T15" fmla="*/ 2147483646 h 9"/>
                  <a:gd name="T16" fmla="*/ 2147483646 w 53"/>
                  <a:gd name="T17" fmla="*/ 0 h 9"/>
                  <a:gd name="T18" fmla="*/ 2147483646 w 53"/>
                  <a:gd name="T19" fmla="*/ 0 h 9"/>
                  <a:gd name="T20" fmla="*/ 2147483646 w 53"/>
                  <a:gd name="T21" fmla="*/ 0 h 9"/>
                  <a:gd name="T22" fmla="*/ 2147483646 w 53"/>
                  <a:gd name="T23" fmla="*/ 2147483646 h 9"/>
                  <a:gd name="T24" fmla="*/ 2147483646 w 53"/>
                  <a:gd name="T25" fmla="*/ 2147483646 h 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3"/>
                  <a:gd name="T40" fmla="*/ 0 h 9"/>
                  <a:gd name="T41" fmla="*/ 53 w 53"/>
                  <a:gd name="T42" fmla="*/ 9 h 9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3" h="9">
                    <a:moveTo>
                      <a:pt x="0" y="9"/>
                    </a:moveTo>
                    <a:lnTo>
                      <a:pt x="17" y="9"/>
                    </a:lnTo>
                    <a:lnTo>
                      <a:pt x="29" y="9"/>
                    </a:lnTo>
                    <a:lnTo>
                      <a:pt x="40" y="9"/>
                    </a:lnTo>
                    <a:lnTo>
                      <a:pt x="53" y="9"/>
                    </a:lnTo>
                    <a:lnTo>
                      <a:pt x="46" y="6"/>
                    </a:lnTo>
                    <a:lnTo>
                      <a:pt x="38" y="3"/>
                    </a:lnTo>
                    <a:lnTo>
                      <a:pt x="31" y="1"/>
                    </a:lnTo>
                    <a:lnTo>
                      <a:pt x="25" y="0"/>
                    </a:lnTo>
                    <a:lnTo>
                      <a:pt x="19" y="0"/>
                    </a:lnTo>
                    <a:lnTo>
                      <a:pt x="14" y="0"/>
                    </a:lnTo>
                    <a:lnTo>
                      <a:pt x="9" y="1"/>
                    </a:lnTo>
                    <a:lnTo>
                      <a:pt x="6" y="3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82" name="Line 504">
                <a:extLst>
                  <a:ext uri="{FF2B5EF4-FFF2-40B4-BE49-F238E27FC236}">
                    <a16:creationId xmlns="" xmlns:a16="http://schemas.microsoft.com/office/drawing/2014/main" id="{59A86388-4232-4C47-A8B2-0804697E9DDB}"/>
                  </a:ext>
                </a:extLst>
              </p:cNvPr>
              <p:cNvSpPr>
                <a:spLocks noChangeShapeType="1"/>
              </p:cNvSpPr>
              <p:nvPr>
                <p:custDataLst>
                  <p:tags r:id="rId342"/>
                </p:custDataLst>
              </p:nvPr>
            </p:nvSpPr>
            <p:spPr bwMode="auto">
              <a:xfrm flipV="1">
                <a:off x="6505575" y="1384300"/>
                <a:ext cx="0" cy="1588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s-ES" sz="1800" kern="1200"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83" name="Freeform 505">
                <a:extLst>
                  <a:ext uri="{FF2B5EF4-FFF2-40B4-BE49-F238E27FC236}">
                    <a16:creationId xmlns="" xmlns:a16="http://schemas.microsoft.com/office/drawing/2014/main" id="{55E17B74-BA76-4A65-8D88-9AC8ADB51532}"/>
                  </a:ext>
                </a:extLst>
              </p:cNvPr>
              <p:cNvSpPr>
                <a:spLocks/>
              </p:cNvSpPr>
              <p:nvPr>
                <p:custDataLst>
                  <p:tags r:id="rId343"/>
                </p:custDataLst>
              </p:nvPr>
            </p:nvSpPr>
            <p:spPr bwMode="auto">
              <a:xfrm>
                <a:off x="5675313" y="1312863"/>
                <a:ext cx="11112" cy="55562"/>
              </a:xfrm>
              <a:custGeom>
                <a:avLst/>
                <a:gdLst>
                  <a:gd name="T0" fmla="*/ 0 w 26"/>
                  <a:gd name="T1" fmla="*/ 2147483646 h 25"/>
                  <a:gd name="T2" fmla="*/ 2147483646 w 26"/>
                  <a:gd name="T3" fmla="*/ 2147483646 h 25"/>
                  <a:gd name="T4" fmla="*/ 2147483646 w 26"/>
                  <a:gd name="T5" fmla="*/ 2147483646 h 25"/>
                  <a:gd name="T6" fmla="*/ 2147483646 w 26"/>
                  <a:gd name="T7" fmla="*/ 2147483646 h 25"/>
                  <a:gd name="T8" fmla="*/ 2147483646 w 26"/>
                  <a:gd name="T9" fmla="*/ 2147483646 h 25"/>
                  <a:gd name="T10" fmla="*/ 2147483646 w 26"/>
                  <a:gd name="T11" fmla="*/ 2147483646 h 25"/>
                  <a:gd name="T12" fmla="*/ 2147483646 w 26"/>
                  <a:gd name="T13" fmla="*/ 0 h 25"/>
                  <a:gd name="T14" fmla="*/ 2147483646 w 26"/>
                  <a:gd name="T15" fmla="*/ 2147483646 h 25"/>
                  <a:gd name="T16" fmla="*/ 2147483646 w 26"/>
                  <a:gd name="T17" fmla="*/ 2147483646 h 25"/>
                  <a:gd name="T18" fmla="*/ 2147483646 w 26"/>
                  <a:gd name="T19" fmla="*/ 2147483646 h 25"/>
                  <a:gd name="T20" fmla="*/ 0 w 26"/>
                  <a:gd name="T21" fmla="*/ 2147483646 h 2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6"/>
                  <a:gd name="T34" fmla="*/ 0 h 25"/>
                  <a:gd name="T35" fmla="*/ 26 w 26"/>
                  <a:gd name="T36" fmla="*/ 25 h 2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6" h="25">
                    <a:moveTo>
                      <a:pt x="0" y="25"/>
                    </a:moveTo>
                    <a:lnTo>
                      <a:pt x="5" y="17"/>
                    </a:lnTo>
                    <a:lnTo>
                      <a:pt x="13" y="8"/>
                    </a:lnTo>
                    <a:lnTo>
                      <a:pt x="16" y="5"/>
                    </a:lnTo>
                    <a:lnTo>
                      <a:pt x="20" y="2"/>
                    </a:lnTo>
                    <a:lnTo>
                      <a:pt x="23" y="1"/>
                    </a:lnTo>
                    <a:lnTo>
                      <a:pt x="26" y="0"/>
                    </a:lnTo>
                    <a:lnTo>
                      <a:pt x="26" y="25"/>
                    </a:lnTo>
                    <a:lnTo>
                      <a:pt x="20" y="25"/>
                    </a:lnTo>
                    <a:lnTo>
                      <a:pt x="13" y="25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84" name="Freeform 506">
                <a:extLst>
                  <a:ext uri="{FF2B5EF4-FFF2-40B4-BE49-F238E27FC236}">
                    <a16:creationId xmlns="" xmlns:a16="http://schemas.microsoft.com/office/drawing/2014/main" id="{460A88B8-57B6-41B8-A7DF-EA2021DCA93A}"/>
                  </a:ext>
                </a:extLst>
              </p:cNvPr>
              <p:cNvSpPr>
                <a:spLocks/>
              </p:cNvSpPr>
              <p:nvPr>
                <p:custDataLst>
                  <p:tags r:id="rId344"/>
                </p:custDataLst>
              </p:nvPr>
            </p:nvSpPr>
            <p:spPr bwMode="auto">
              <a:xfrm>
                <a:off x="6424613" y="1384300"/>
                <a:ext cx="9525" cy="57150"/>
              </a:xfrm>
              <a:custGeom>
                <a:avLst/>
                <a:gdLst>
                  <a:gd name="T0" fmla="*/ 2147483646 w 33"/>
                  <a:gd name="T1" fmla="*/ 2147483646 h 25"/>
                  <a:gd name="T2" fmla="*/ 2147483646 w 33"/>
                  <a:gd name="T3" fmla="*/ 2147483646 h 25"/>
                  <a:gd name="T4" fmla="*/ 2147483646 w 33"/>
                  <a:gd name="T5" fmla="*/ 0 h 25"/>
                  <a:gd name="T6" fmla="*/ 0 w 33"/>
                  <a:gd name="T7" fmla="*/ 0 h 25"/>
                  <a:gd name="T8" fmla="*/ 2147483646 w 33"/>
                  <a:gd name="T9" fmla="*/ 2147483646 h 25"/>
                  <a:gd name="T10" fmla="*/ 2147483646 w 33"/>
                  <a:gd name="T11" fmla="*/ 2147483646 h 25"/>
                  <a:gd name="T12" fmla="*/ 2147483646 w 33"/>
                  <a:gd name="T13" fmla="*/ 2147483646 h 25"/>
                  <a:gd name="T14" fmla="*/ 2147483646 w 33"/>
                  <a:gd name="T15" fmla="*/ 2147483646 h 25"/>
                  <a:gd name="T16" fmla="*/ 2147483646 w 33"/>
                  <a:gd name="T17" fmla="*/ 2147483646 h 25"/>
                  <a:gd name="T18" fmla="*/ 2147483646 w 33"/>
                  <a:gd name="T19" fmla="*/ 2147483646 h 2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3"/>
                  <a:gd name="T31" fmla="*/ 0 h 25"/>
                  <a:gd name="T32" fmla="*/ 33 w 33"/>
                  <a:gd name="T33" fmla="*/ 25 h 25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3" h="25">
                    <a:moveTo>
                      <a:pt x="33" y="25"/>
                    </a:moveTo>
                    <a:lnTo>
                      <a:pt x="33" y="12"/>
                    </a:lnTo>
                    <a:lnTo>
                      <a:pt x="33" y="0"/>
                    </a:lnTo>
                    <a:lnTo>
                      <a:pt x="0" y="0"/>
                    </a:lnTo>
                    <a:lnTo>
                      <a:pt x="9" y="9"/>
                    </a:lnTo>
                    <a:lnTo>
                      <a:pt x="16" y="17"/>
                    </a:lnTo>
                    <a:lnTo>
                      <a:pt x="20" y="20"/>
                    </a:lnTo>
                    <a:lnTo>
                      <a:pt x="24" y="23"/>
                    </a:lnTo>
                    <a:lnTo>
                      <a:pt x="28" y="24"/>
                    </a:lnTo>
                    <a:lnTo>
                      <a:pt x="33" y="25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85" name="Freeform 507">
                <a:extLst>
                  <a:ext uri="{FF2B5EF4-FFF2-40B4-BE49-F238E27FC236}">
                    <a16:creationId xmlns="" xmlns:a16="http://schemas.microsoft.com/office/drawing/2014/main" id="{FBBDA2D1-E68A-43B1-B2DB-CC8ABCB4DDCB}"/>
                  </a:ext>
                </a:extLst>
              </p:cNvPr>
              <p:cNvSpPr>
                <a:spLocks/>
              </p:cNvSpPr>
              <p:nvPr>
                <p:custDataLst>
                  <p:tags r:id="rId345"/>
                </p:custDataLst>
              </p:nvPr>
            </p:nvSpPr>
            <p:spPr bwMode="auto">
              <a:xfrm>
                <a:off x="6378575" y="1347788"/>
                <a:ext cx="9525" cy="57150"/>
              </a:xfrm>
              <a:custGeom>
                <a:avLst/>
                <a:gdLst>
                  <a:gd name="T0" fmla="*/ 0 w 20"/>
                  <a:gd name="T1" fmla="*/ 0 h 18"/>
                  <a:gd name="T2" fmla="*/ 2147483646 w 20"/>
                  <a:gd name="T3" fmla="*/ 2147483646 h 18"/>
                  <a:gd name="T4" fmla="*/ 2147483646 w 20"/>
                  <a:gd name="T5" fmla="*/ 2147483646 h 18"/>
                  <a:gd name="T6" fmla="*/ 2147483646 w 20"/>
                  <a:gd name="T7" fmla="*/ 0 h 18"/>
                  <a:gd name="T8" fmla="*/ 0 w 20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0"/>
                  <a:gd name="T16" fmla="*/ 0 h 18"/>
                  <a:gd name="T17" fmla="*/ 20 w 20"/>
                  <a:gd name="T18" fmla="*/ 18 h 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0" h="18">
                    <a:moveTo>
                      <a:pt x="0" y="0"/>
                    </a:moveTo>
                    <a:lnTo>
                      <a:pt x="13" y="18"/>
                    </a:lnTo>
                    <a:lnTo>
                      <a:pt x="16" y="11"/>
                    </a:lnTo>
                    <a:lnTo>
                      <a:pt x="2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86" name="Freeform 508">
                <a:extLst>
                  <a:ext uri="{FF2B5EF4-FFF2-40B4-BE49-F238E27FC236}">
                    <a16:creationId xmlns="" xmlns:a16="http://schemas.microsoft.com/office/drawing/2014/main" id="{F156EF70-FA62-428B-95F3-854BA550D361}"/>
                  </a:ext>
                </a:extLst>
              </p:cNvPr>
              <p:cNvSpPr>
                <a:spLocks/>
              </p:cNvSpPr>
              <p:nvPr>
                <p:custDataLst>
                  <p:tags r:id="rId346"/>
                </p:custDataLst>
              </p:nvPr>
            </p:nvSpPr>
            <p:spPr bwMode="auto">
              <a:xfrm>
                <a:off x="6878638" y="1917700"/>
                <a:ext cx="12700" cy="58738"/>
              </a:xfrm>
              <a:custGeom>
                <a:avLst/>
                <a:gdLst>
                  <a:gd name="T0" fmla="*/ 0 w 33"/>
                  <a:gd name="T1" fmla="*/ 2147483646 h 31"/>
                  <a:gd name="T2" fmla="*/ 0 w 33"/>
                  <a:gd name="T3" fmla="*/ 0 h 31"/>
                  <a:gd name="T4" fmla="*/ 2147483646 w 33"/>
                  <a:gd name="T5" fmla="*/ 0 h 31"/>
                  <a:gd name="T6" fmla="*/ 2147483646 w 33"/>
                  <a:gd name="T7" fmla="*/ 0 h 31"/>
                  <a:gd name="T8" fmla="*/ 2147483646 w 33"/>
                  <a:gd name="T9" fmla="*/ 0 h 31"/>
                  <a:gd name="T10" fmla="*/ 2147483646 w 33"/>
                  <a:gd name="T11" fmla="*/ 0 h 31"/>
                  <a:gd name="T12" fmla="*/ 2147483646 w 33"/>
                  <a:gd name="T13" fmla="*/ 2147483646 h 31"/>
                  <a:gd name="T14" fmla="*/ 2147483646 w 33"/>
                  <a:gd name="T15" fmla="*/ 2147483646 h 31"/>
                  <a:gd name="T16" fmla="*/ 2147483646 w 33"/>
                  <a:gd name="T17" fmla="*/ 2147483646 h 31"/>
                  <a:gd name="T18" fmla="*/ 2147483646 w 33"/>
                  <a:gd name="T19" fmla="*/ 2147483646 h 31"/>
                  <a:gd name="T20" fmla="*/ 2147483646 w 33"/>
                  <a:gd name="T21" fmla="*/ 2147483646 h 31"/>
                  <a:gd name="T22" fmla="*/ 2147483646 w 33"/>
                  <a:gd name="T23" fmla="*/ 2147483646 h 31"/>
                  <a:gd name="T24" fmla="*/ 2147483646 w 33"/>
                  <a:gd name="T25" fmla="*/ 2147483646 h 31"/>
                  <a:gd name="T26" fmla="*/ 2147483646 w 33"/>
                  <a:gd name="T27" fmla="*/ 2147483646 h 31"/>
                  <a:gd name="T28" fmla="*/ 0 w 33"/>
                  <a:gd name="T29" fmla="*/ 2147483646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3"/>
                  <a:gd name="T46" fmla="*/ 0 h 31"/>
                  <a:gd name="T47" fmla="*/ 33 w 33"/>
                  <a:gd name="T48" fmla="*/ 31 h 31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3" h="31">
                    <a:moveTo>
                      <a:pt x="0" y="31"/>
                    </a:moveTo>
                    <a:lnTo>
                      <a:pt x="0" y="0"/>
                    </a:lnTo>
                    <a:lnTo>
                      <a:pt x="9" y="0"/>
                    </a:lnTo>
                    <a:lnTo>
                      <a:pt x="16" y="0"/>
                    </a:lnTo>
                    <a:lnTo>
                      <a:pt x="24" y="0"/>
                    </a:lnTo>
                    <a:lnTo>
                      <a:pt x="33" y="0"/>
                    </a:lnTo>
                    <a:lnTo>
                      <a:pt x="30" y="2"/>
                    </a:lnTo>
                    <a:lnTo>
                      <a:pt x="29" y="5"/>
                    </a:lnTo>
                    <a:lnTo>
                      <a:pt x="28" y="9"/>
                    </a:lnTo>
                    <a:lnTo>
                      <a:pt x="28" y="13"/>
                    </a:lnTo>
                    <a:lnTo>
                      <a:pt x="28" y="17"/>
                    </a:lnTo>
                    <a:lnTo>
                      <a:pt x="29" y="21"/>
                    </a:lnTo>
                    <a:lnTo>
                      <a:pt x="30" y="26"/>
                    </a:lnTo>
                    <a:lnTo>
                      <a:pt x="33" y="31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87" name="Freeform 509">
                <a:extLst>
                  <a:ext uri="{FF2B5EF4-FFF2-40B4-BE49-F238E27FC236}">
                    <a16:creationId xmlns="" xmlns:a16="http://schemas.microsoft.com/office/drawing/2014/main" id="{A4AAEC2A-FC48-4E1A-8DB3-8DA3FA45F591}"/>
                  </a:ext>
                </a:extLst>
              </p:cNvPr>
              <p:cNvSpPr>
                <a:spLocks/>
              </p:cNvSpPr>
              <p:nvPr>
                <p:custDataLst>
                  <p:tags r:id="rId347"/>
                </p:custDataLst>
              </p:nvPr>
            </p:nvSpPr>
            <p:spPr bwMode="auto">
              <a:xfrm>
                <a:off x="7172325" y="1439863"/>
                <a:ext cx="55563" cy="58737"/>
              </a:xfrm>
              <a:custGeom>
                <a:avLst/>
                <a:gdLst>
                  <a:gd name="T0" fmla="*/ 2147483646 w 129"/>
                  <a:gd name="T1" fmla="*/ 2147483646 h 56"/>
                  <a:gd name="T2" fmla="*/ 2147483646 w 129"/>
                  <a:gd name="T3" fmla="*/ 2147483646 h 56"/>
                  <a:gd name="T4" fmla="*/ 2147483646 w 129"/>
                  <a:gd name="T5" fmla="*/ 2147483646 h 56"/>
                  <a:gd name="T6" fmla="*/ 0 w 129"/>
                  <a:gd name="T7" fmla="*/ 2147483646 h 56"/>
                  <a:gd name="T8" fmla="*/ 2147483646 w 129"/>
                  <a:gd name="T9" fmla="*/ 2147483646 h 56"/>
                  <a:gd name="T10" fmla="*/ 2147483646 w 129"/>
                  <a:gd name="T11" fmla="*/ 2147483646 h 56"/>
                  <a:gd name="T12" fmla="*/ 2147483646 w 129"/>
                  <a:gd name="T13" fmla="*/ 2147483646 h 56"/>
                  <a:gd name="T14" fmla="*/ 2147483646 w 129"/>
                  <a:gd name="T15" fmla="*/ 2147483646 h 56"/>
                  <a:gd name="T16" fmla="*/ 2147483646 w 129"/>
                  <a:gd name="T17" fmla="*/ 2147483646 h 56"/>
                  <a:gd name="T18" fmla="*/ 2147483646 w 129"/>
                  <a:gd name="T19" fmla="*/ 2147483646 h 56"/>
                  <a:gd name="T20" fmla="*/ 2147483646 w 129"/>
                  <a:gd name="T21" fmla="*/ 2147483646 h 56"/>
                  <a:gd name="T22" fmla="*/ 2147483646 w 129"/>
                  <a:gd name="T23" fmla="*/ 2147483646 h 56"/>
                  <a:gd name="T24" fmla="*/ 2147483646 w 129"/>
                  <a:gd name="T25" fmla="*/ 0 h 56"/>
                  <a:gd name="T26" fmla="*/ 2147483646 w 129"/>
                  <a:gd name="T27" fmla="*/ 2147483646 h 56"/>
                  <a:gd name="T28" fmla="*/ 2147483646 w 129"/>
                  <a:gd name="T29" fmla="*/ 2147483646 h 56"/>
                  <a:gd name="T30" fmla="*/ 2147483646 w 129"/>
                  <a:gd name="T31" fmla="*/ 2147483646 h 56"/>
                  <a:gd name="T32" fmla="*/ 2147483646 w 129"/>
                  <a:gd name="T33" fmla="*/ 2147483646 h 56"/>
                  <a:gd name="T34" fmla="*/ 2147483646 w 129"/>
                  <a:gd name="T35" fmla="*/ 2147483646 h 56"/>
                  <a:gd name="T36" fmla="*/ 2147483646 w 129"/>
                  <a:gd name="T37" fmla="*/ 2147483646 h 56"/>
                  <a:gd name="T38" fmla="*/ 2147483646 w 129"/>
                  <a:gd name="T39" fmla="*/ 2147483646 h 56"/>
                  <a:gd name="T40" fmla="*/ 2147483646 w 129"/>
                  <a:gd name="T41" fmla="*/ 2147483646 h 56"/>
                  <a:gd name="T42" fmla="*/ 2147483646 w 129"/>
                  <a:gd name="T43" fmla="*/ 2147483646 h 56"/>
                  <a:gd name="T44" fmla="*/ 2147483646 w 129"/>
                  <a:gd name="T45" fmla="*/ 2147483646 h 56"/>
                  <a:gd name="T46" fmla="*/ 2147483646 w 129"/>
                  <a:gd name="T47" fmla="*/ 2147483646 h 56"/>
                  <a:gd name="T48" fmla="*/ 2147483646 w 129"/>
                  <a:gd name="T49" fmla="*/ 2147483646 h 56"/>
                  <a:gd name="T50" fmla="*/ 2147483646 w 129"/>
                  <a:gd name="T51" fmla="*/ 2147483646 h 56"/>
                  <a:gd name="T52" fmla="*/ 2147483646 w 129"/>
                  <a:gd name="T53" fmla="*/ 2147483646 h 56"/>
                  <a:gd name="T54" fmla="*/ 2147483646 w 129"/>
                  <a:gd name="T55" fmla="*/ 2147483646 h 56"/>
                  <a:gd name="T56" fmla="*/ 2147483646 w 129"/>
                  <a:gd name="T57" fmla="*/ 2147483646 h 56"/>
                  <a:gd name="T58" fmla="*/ 2147483646 w 129"/>
                  <a:gd name="T59" fmla="*/ 2147483646 h 56"/>
                  <a:gd name="T60" fmla="*/ 2147483646 w 129"/>
                  <a:gd name="T61" fmla="*/ 2147483646 h 56"/>
                  <a:gd name="T62" fmla="*/ 2147483646 w 129"/>
                  <a:gd name="T63" fmla="*/ 2147483646 h 56"/>
                  <a:gd name="T64" fmla="*/ 2147483646 w 129"/>
                  <a:gd name="T65" fmla="*/ 2147483646 h 56"/>
                  <a:gd name="T66" fmla="*/ 2147483646 w 129"/>
                  <a:gd name="T67" fmla="*/ 2147483646 h 56"/>
                  <a:gd name="T68" fmla="*/ 2147483646 w 129"/>
                  <a:gd name="T69" fmla="*/ 2147483646 h 56"/>
                  <a:gd name="T70" fmla="*/ 2147483646 w 129"/>
                  <a:gd name="T71" fmla="*/ 2147483646 h 56"/>
                  <a:gd name="T72" fmla="*/ 2147483646 w 129"/>
                  <a:gd name="T73" fmla="*/ 2147483646 h 5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29"/>
                  <a:gd name="T112" fmla="*/ 0 h 56"/>
                  <a:gd name="T113" fmla="*/ 129 w 129"/>
                  <a:gd name="T114" fmla="*/ 56 h 5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29" h="56">
                    <a:moveTo>
                      <a:pt x="3" y="44"/>
                    </a:moveTo>
                    <a:lnTo>
                      <a:pt x="1" y="42"/>
                    </a:lnTo>
                    <a:lnTo>
                      <a:pt x="1" y="40"/>
                    </a:lnTo>
                    <a:lnTo>
                      <a:pt x="0" y="37"/>
                    </a:lnTo>
                    <a:lnTo>
                      <a:pt x="1" y="33"/>
                    </a:lnTo>
                    <a:lnTo>
                      <a:pt x="2" y="25"/>
                    </a:lnTo>
                    <a:lnTo>
                      <a:pt x="3" y="18"/>
                    </a:lnTo>
                    <a:lnTo>
                      <a:pt x="9" y="13"/>
                    </a:lnTo>
                    <a:lnTo>
                      <a:pt x="16" y="9"/>
                    </a:lnTo>
                    <a:lnTo>
                      <a:pt x="21" y="6"/>
                    </a:lnTo>
                    <a:lnTo>
                      <a:pt x="27" y="5"/>
                    </a:lnTo>
                    <a:lnTo>
                      <a:pt x="39" y="3"/>
                    </a:lnTo>
                    <a:lnTo>
                      <a:pt x="57" y="0"/>
                    </a:lnTo>
                    <a:lnTo>
                      <a:pt x="60" y="5"/>
                    </a:lnTo>
                    <a:lnTo>
                      <a:pt x="64" y="8"/>
                    </a:lnTo>
                    <a:lnTo>
                      <a:pt x="69" y="11"/>
                    </a:lnTo>
                    <a:lnTo>
                      <a:pt x="73" y="14"/>
                    </a:lnTo>
                    <a:lnTo>
                      <a:pt x="83" y="18"/>
                    </a:lnTo>
                    <a:lnTo>
                      <a:pt x="93" y="21"/>
                    </a:lnTo>
                    <a:lnTo>
                      <a:pt x="103" y="25"/>
                    </a:lnTo>
                    <a:lnTo>
                      <a:pt x="113" y="29"/>
                    </a:lnTo>
                    <a:lnTo>
                      <a:pt x="117" y="32"/>
                    </a:lnTo>
                    <a:lnTo>
                      <a:pt x="121" y="35"/>
                    </a:lnTo>
                    <a:lnTo>
                      <a:pt x="126" y="38"/>
                    </a:lnTo>
                    <a:lnTo>
                      <a:pt x="129" y="44"/>
                    </a:lnTo>
                    <a:lnTo>
                      <a:pt x="119" y="48"/>
                    </a:lnTo>
                    <a:lnTo>
                      <a:pt x="109" y="51"/>
                    </a:lnTo>
                    <a:lnTo>
                      <a:pt x="99" y="53"/>
                    </a:lnTo>
                    <a:lnTo>
                      <a:pt x="90" y="54"/>
                    </a:lnTo>
                    <a:lnTo>
                      <a:pt x="70" y="56"/>
                    </a:lnTo>
                    <a:lnTo>
                      <a:pt x="49" y="56"/>
                    </a:lnTo>
                    <a:lnTo>
                      <a:pt x="40" y="55"/>
                    </a:lnTo>
                    <a:lnTo>
                      <a:pt x="31" y="54"/>
                    </a:lnTo>
                    <a:lnTo>
                      <a:pt x="23" y="52"/>
                    </a:lnTo>
                    <a:lnTo>
                      <a:pt x="16" y="50"/>
                    </a:lnTo>
                    <a:lnTo>
                      <a:pt x="6" y="46"/>
                    </a:lnTo>
                    <a:lnTo>
                      <a:pt x="3" y="44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88" name="Freeform 510">
                <a:extLst>
                  <a:ext uri="{FF2B5EF4-FFF2-40B4-BE49-F238E27FC236}">
                    <a16:creationId xmlns="" xmlns:a16="http://schemas.microsoft.com/office/drawing/2014/main" id="{F7075C4C-A162-4D09-A084-AB69C6112903}"/>
                  </a:ext>
                </a:extLst>
              </p:cNvPr>
              <p:cNvSpPr>
                <a:spLocks/>
              </p:cNvSpPr>
              <p:nvPr>
                <p:custDataLst>
                  <p:tags r:id="rId348"/>
                </p:custDataLst>
              </p:nvPr>
            </p:nvSpPr>
            <p:spPr bwMode="auto">
              <a:xfrm>
                <a:off x="7308850" y="1792288"/>
                <a:ext cx="14288" cy="57150"/>
              </a:xfrm>
              <a:custGeom>
                <a:avLst/>
                <a:gdLst>
                  <a:gd name="T0" fmla="*/ 2147483646 w 41"/>
                  <a:gd name="T1" fmla="*/ 2147483646 h 42"/>
                  <a:gd name="T2" fmla="*/ 0 w 41"/>
                  <a:gd name="T3" fmla="*/ 2147483646 h 42"/>
                  <a:gd name="T4" fmla="*/ 0 w 41"/>
                  <a:gd name="T5" fmla="*/ 2147483646 h 42"/>
                  <a:gd name="T6" fmla="*/ 2147483646 w 41"/>
                  <a:gd name="T7" fmla="*/ 2147483646 h 42"/>
                  <a:gd name="T8" fmla="*/ 2147483646 w 41"/>
                  <a:gd name="T9" fmla="*/ 2147483646 h 42"/>
                  <a:gd name="T10" fmla="*/ 2147483646 w 41"/>
                  <a:gd name="T11" fmla="*/ 2147483646 h 42"/>
                  <a:gd name="T12" fmla="*/ 2147483646 w 41"/>
                  <a:gd name="T13" fmla="*/ 0 h 42"/>
                  <a:gd name="T14" fmla="*/ 2147483646 w 41"/>
                  <a:gd name="T15" fmla="*/ 2147483646 h 42"/>
                  <a:gd name="T16" fmla="*/ 2147483646 w 41"/>
                  <a:gd name="T17" fmla="*/ 2147483646 h 42"/>
                  <a:gd name="T18" fmla="*/ 2147483646 w 41"/>
                  <a:gd name="T19" fmla="*/ 2147483646 h 4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41"/>
                  <a:gd name="T31" fmla="*/ 0 h 42"/>
                  <a:gd name="T32" fmla="*/ 41 w 41"/>
                  <a:gd name="T33" fmla="*/ 42 h 42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41" h="42">
                    <a:moveTo>
                      <a:pt x="21" y="42"/>
                    </a:moveTo>
                    <a:lnTo>
                      <a:pt x="0" y="30"/>
                    </a:lnTo>
                    <a:lnTo>
                      <a:pt x="0" y="6"/>
                    </a:lnTo>
                    <a:lnTo>
                      <a:pt x="7" y="5"/>
                    </a:lnTo>
                    <a:lnTo>
                      <a:pt x="14" y="3"/>
                    </a:lnTo>
                    <a:lnTo>
                      <a:pt x="24" y="1"/>
                    </a:lnTo>
                    <a:lnTo>
                      <a:pt x="34" y="0"/>
                    </a:lnTo>
                    <a:lnTo>
                      <a:pt x="34" y="18"/>
                    </a:lnTo>
                    <a:lnTo>
                      <a:pt x="41" y="18"/>
                    </a:lnTo>
                    <a:lnTo>
                      <a:pt x="21" y="42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89" name="Freeform 511">
                <a:extLst>
                  <a:ext uri="{FF2B5EF4-FFF2-40B4-BE49-F238E27FC236}">
                    <a16:creationId xmlns="" xmlns:a16="http://schemas.microsoft.com/office/drawing/2014/main" id="{55CF888D-0699-41A5-BBA1-8A1CE32DEC94}"/>
                  </a:ext>
                </a:extLst>
              </p:cNvPr>
              <p:cNvSpPr>
                <a:spLocks/>
              </p:cNvSpPr>
              <p:nvPr>
                <p:custDataLst>
                  <p:tags r:id="rId349"/>
                </p:custDataLst>
              </p:nvPr>
            </p:nvSpPr>
            <p:spPr bwMode="auto">
              <a:xfrm>
                <a:off x="7458075" y="1905000"/>
                <a:ext cx="42863" cy="60325"/>
              </a:xfrm>
              <a:custGeom>
                <a:avLst/>
                <a:gdLst>
                  <a:gd name="T0" fmla="*/ 2147483646 w 93"/>
                  <a:gd name="T1" fmla="*/ 2147483646 h 39"/>
                  <a:gd name="T2" fmla="*/ 2147483646 w 93"/>
                  <a:gd name="T3" fmla="*/ 2147483646 h 39"/>
                  <a:gd name="T4" fmla="*/ 2147483646 w 93"/>
                  <a:gd name="T5" fmla="*/ 2147483646 h 39"/>
                  <a:gd name="T6" fmla="*/ 2147483646 w 93"/>
                  <a:gd name="T7" fmla="*/ 2147483646 h 39"/>
                  <a:gd name="T8" fmla="*/ 2147483646 w 93"/>
                  <a:gd name="T9" fmla="*/ 2147483646 h 39"/>
                  <a:gd name="T10" fmla="*/ 2147483646 w 93"/>
                  <a:gd name="T11" fmla="*/ 2147483646 h 39"/>
                  <a:gd name="T12" fmla="*/ 2147483646 w 93"/>
                  <a:gd name="T13" fmla="*/ 2147483646 h 39"/>
                  <a:gd name="T14" fmla="*/ 2147483646 w 93"/>
                  <a:gd name="T15" fmla="*/ 2147483646 h 39"/>
                  <a:gd name="T16" fmla="*/ 2147483646 w 93"/>
                  <a:gd name="T17" fmla="*/ 2147483646 h 39"/>
                  <a:gd name="T18" fmla="*/ 2147483646 w 93"/>
                  <a:gd name="T19" fmla="*/ 2147483646 h 39"/>
                  <a:gd name="T20" fmla="*/ 2147483646 w 93"/>
                  <a:gd name="T21" fmla="*/ 2147483646 h 39"/>
                  <a:gd name="T22" fmla="*/ 2147483646 w 93"/>
                  <a:gd name="T23" fmla="*/ 2147483646 h 39"/>
                  <a:gd name="T24" fmla="*/ 2147483646 w 93"/>
                  <a:gd name="T25" fmla="*/ 2147483646 h 39"/>
                  <a:gd name="T26" fmla="*/ 2147483646 w 93"/>
                  <a:gd name="T27" fmla="*/ 2147483646 h 39"/>
                  <a:gd name="T28" fmla="*/ 2147483646 w 93"/>
                  <a:gd name="T29" fmla="*/ 2147483646 h 39"/>
                  <a:gd name="T30" fmla="*/ 0 w 93"/>
                  <a:gd name="T31" fmla="*/ 2147483646 h 39"/>
                  <a:gd name="T32" fmla="*/ 2147483646 w 93"/>
                  <a:gd name="T33" fmla="*/ 2147483646 h 39"/>
                  <a:gd name="T34" fmla="*/ 2147483646 w 93"/>
                  <a:gd name="T35" fmla="*/ 0 h 39"/>
                  <a:gd name="T36" fmla="*/ 2147483646 w 93"/>
                  <a:gd name="T37" fmla="*/ 0 h 39"/>
                  <a:gd name="T38" fmla="*/ 2147483646 w 93"/>
                  <a:gd name="T39" fmla="*/ 2147483646 h 39"/>
                  <a:gd name="T40" fmla="*/ 2147483646 w 93"/>
                  <a:gd name="T41" fmla="*/ 2147483646 h 39"/>
                  <a:gd name="T42" fmla="*/ 2147483646 w 93"/>
                  <a:gd name="T43" fmla="*/ 2147483646 h 39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93"/>
                  <a:gd name="T67" fmla="*/ 0 h 39"/>
                  <a:gd name="T68" fmla="*/ 93 w 93"/>
                  <a:gd name="T69" fmla="*/ 39 h 39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93" h="39">
                    <a:moveTo>
                      <a:pt x="60" y="9"/>
                    </a:moveTo>
                    <a:lnTo>
                      <a:pt x="67" y="18"/>
                    </a:lnTo>
                    <a:lnTo>
                      <a:pt x="77" y="28"/>
                    </a:lnTo>
                    <a:lnTo>
                      <a:pt x="81" y="33"/>
                    </a:lnTo>
                    <a:lnTo>
                      <a:pt x="86" y="36"/>
                    </a:lnTo>
                    <a:lnTo>
                      <a:pt x="90" y="38"/>
                    </a:lnTo>
                    <a:lnTo>
                      <a:pt x="93" y="39"/>
                    </a:lnTo>
                    <a:lnTo>
                      <a:pt x="60" y="39"/>
                    </a:lnTo>
                    <a:lnTo>
                      <a:pt x="50" y="36"/>
                    </a:lnTo>
                    <a:lnTo>
                      <a:pt x="43" y="32"/>
                    </a:lnTo>
                    <a:lnTo>
                      <a:pt x="36" y="28"/>
                    </a:lnTo>
                    <a:lnTo>
                      <a:pt x="30" y="23"/>
                    </a:lnTo>
                    <a:lnTo>
                      <a:pt x="24" y="18"/>
                    </a:lnTo>
                    <a:lnTo>
                      <a:pt x="16" y="13"/>
                    </a:lnTo>
                    <a:lnTo>
                      <a:pt x="9" y="7"/>
                    </a:lnTo>
                    <a:lnTo>
                      <a:pt x="0" y="3"/>
                    </a:lnTo>
                    <a:lnTo>
                      <a:pt x="11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3" y="1"/>
                    </a:lnTo>
                    <a:lnTo>
                      <a:pt x="44" y="4"/>
                    </a:lnTo>
                    <a:lnTo>
                      <a:pt x="60" y="9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90" name="Freeform 512">
                <a:extLst>
                  <a:ext uri="{FF2B5EF4-FFF2-40B4-BE49-F238E27FC236}">
                    <a16:creationId xmlns="" xmlns:a16="http://schemas.microsoft.com/office/drawing/2014/main" id="{4EFDBEA4-3614-4472-8D01-E0924243929A}"/>
                  </a:ext>
                </a:extLst>
              </p:cNvPr>
              <p:cNvSpPr>
                <a:spLocks/>
              </p:cNvSpPr>
              <p:nvPr>
                <p:custDataLst>
                  <p:tags r:id="rId350"/>
                </p:custDataLst>
              </p:nvPr>
            </p:nvSpPr>
            <p:spPr bwMode="auto">
              <a:xfrm>
                <a:off x="7508875" y="1920875"/>
                <a:ext cx="19050" cy="58738"/>
              </a:xfrm>
              <a:custGeom>
                <a:avLst/>
                <a:gdLst>
                  <a:gd name="T0" fmla="*/ 2147483646 w 39"/>
                  <a:gd name="T1" fmla="*/ 2147483646 h 19"/>
                  <a:gd name="T2" fmla="*/ 2147483646 w 39"/>
                  <a:gd name="T3" fmla="*/ 2147483646 h 19"/>
                  <a:gd name="T4" fmla="*/ 2147483646 w 39"/>
                  <a:gd name="T5" fmla="*/ 2147483646 h 19"/>
                  <a:gd name="T6" fmla="*/ 2147483646 w 39"/>
                  <a:gd name="T7" fmla="*/ 2147483646 h 19"/>
                  <a:gd name="T8" fmla="*/ 2147483646 w 39"/>
                  <a:gd name="T9" fmla="*/ 2147483646 h 19"/>
                  <a:gd name="T10" fmla="*/ 2147483646 w 39"/>
                  <a:gd name="T11" fmla="*/ 2147483646 h 19"/>
                  <a:gd name="T12" fmla="*/ 0 w 39"/>
                  <a:gd name="T13" fmla="*/ 2147483646 h 19"/>
                  <a:gd name="T14" fmla="*/ 0 w 39"/>
                  <a:gd name="T15" fmla="*/ 0 h 19"/>
                  <a:gd name="T16" fmla="*/ 2147483646 w 39"/>
                  <a:gd name="T17" fmla="*/ 2147483646 h 19"/>
                  <a:gd name="T18" fmla="*/ 2147483646 w 39"/>
                  <a:gd name="T19" fmla="*/ 2147483646 h 19"/>
                  <a:gd name="T20" fmla="*/ 2147483646 w 39"/>
                  <a:gd name="T21" fmla="*/ 2147483646 h 19"/>
                  <a:gd name="T22" fmla="*/ 2147483646 w 39"/>
                  <a:gd name="T23" fmla="*/ 2147483646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9"/>
                  <a:gd name="T37" fmla="*/ 0 h 19"/>
                  <a:gd name="T38" fmla="*/ 39 w 39"/>
                  <a:gd name="T39" fmla="*/ 19 h 1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9" h="19">
                    <a:moveTo>
                      <a:pt x="39" y="19"/>
                    </a:moveTo>
                    <a:lnTo>
                      <a:pt x="13" y="19"/>
                    </a:lnTo>
                    <a:lnTo>
                      <a:pt x="8" y="19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2" y="11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13" y="4"/>
                    </a:lnTo>
                    <a:lnTo>
                      <a:pt x="22" y="9"/>
                    </a:lnTo>
                    <a:lnTo>
                      <a:pt x="30" y="14"/>
                    </a:lnTo>
                    <a:lnTo>
                      <a:pt x="39" y="19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91" name="Freeform 513">
                <a:extLst>
                  <a:ext uri="{FF2B5EF4-FFF2-40B4-BE49-F238E27FC236}">
                    <a16:creationId xmlns="" xmlns:a16="http://schemas.microsoft.com/office/drawing/2014/main" id="{E899E62B-E4AC-4573-B4DF-B8507B99DA0B}"/>
                  </a:ext>
                </a:extLst>
              </p:cNvPr>
              <p:cNvSpPr>
                <a:spLocks/>
              </p:cNvSpPr>
              <p:nvPr>
                <p:custDataLst>
                  <p:tags r:id="rId351"/>
                </p:custDataLst>
              </p:nvPr>
            </p:nvSpPr>
            <p:spPr bwMode="auto">
              <a:xfrm>
                <a:off x="7373938" y="2047875"/>
                <a:ext cx="14287" cy="57150"/>
              </a:xfrm>
              <a:custGeom>
                <a:avLst/>
                <a:gdLst>
                  <a:gd name="T0" fmla="*/ 0 w 26"/>
                  <a:gd name="T1" fmla="*/ 2147483646 h 36"/>
                  <a:gd name="T2" fmla="*/ 2147483646 w 26"/>
                  <a:gd name="T3" fmla="*/ 2147483646 h 36"/>
                  <a:gd name="T4" fmla="*/ 2147483646 w 26"/>
                  <a:gd name="T5" fmla="*/ 2147483646 h 36"/>
                  <a:gd name="T6" fmla="*/ 2147483646 w 26"/>
                  <a:gd name="T7" fmla="*/ 2147483646 h 36"/>
                  <a:gd name="T8" fmla="*/ 2147483646 w 26"/>
                  <a:gd name="T9" fmla="*/ 0 h 36"/>
                  <a:gd name="T10" fmla="*/ 2147483646 w 26"/>
                  <a:gd name="T11" fmla="*/ 2147483646 h 36"/>
                  <a:gd name="T12" fmla="*/ 2147483646 w 26"/>
                  <a:gd name="T13" fmla="*/ 2147483646 h 36"/>
                  <a:gd name="T14" fmla="*/ 2147483646 w 26"/>
                  <a:gd name="T15" fmla="*/ 2147483646 h 36"/>
                  <a:gd name="T16" fmla="*/ 2147483646 w 26"/>
                  <a:gd name="T17" fmla="*/ 2147483646 h 36"/>
                  <a:gd name="T18" fmla="*/ 2147483646 w 26"/>
                  <a:gd name="T19" fmla="*/ 2147483646 h 36"/>
                  <a:gd name="T20" fmla="*/ 2147483646 w 26"/>
                  <a:gd name="T21" fmla="*/ 2147483646 h 36"/>
                  <a:gd name="T22" fmla="*/ 2147483646 w 26"/>
                  <a:gd name="T23" fmla="*/ 2147483646 h 36"/>
                  <a:gd name="T24" fmla="*/ 2147483646 w 26"/>
                  <a:gd name="T25" fmla="*/ 2147483646 h 36"/>
                  <a:gd name="T26" fmla="*/ 2147483646 w 26"/>
                  <a:gd name="T27" fmla="*/ 2147483646 h 36"/>
                  <a:gd name="T28" fmla="*/ 0 w 26"/>
                  <a:gd name="T29" fmla="*/ 2147483646 h 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6"/>
                  <a:gd name="T46" fmla="*/ 0 h 36"/>
                  <a:gd name="T47" fmla="*/ 26 w 26"/>
                  <a:gd name="T48" fmla="*/ 36 h 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6" h="36">
                    <a:moveTo>
                      <a:pt x="0" y="36"/>
                    </a:moveTo>
                    <a:lnTo>
                      <a:pt x="3" y="31"/>
                    </a:lnTo>
                    <a:lnTo>
                      <a:pt x="10" y="20"/>
                    </a:lnTo>
                    <a:lnTo>
                      <a:pt x="18" y="8"/>
                    </a:lnTo>
                    <a:lnTo>
                      <a:pt x="26" y="0"/>
                    </a:lnTo>
                    <a:lnTo>
                      <a:pt x="26" y="9"/>
                    </a:lnTo>
                    <a:lnTo>
                      <a:pt x="26" y="18"/>
                    </a:lnTo>
                    <a:lnTo>
                      <a:pt x="25" y="22"/>
                    </a:lnTo>
                    <a:lnTo>
                      <a:pt x="24" y="26"/>
                    </a:lnTo>
                    <a:lnTo>
                      <a:pt x="21" y="29"/>
                    </a:lnTo>
                    <a:lnTo>
                      <a:pt x="17" y="32"/>
                    </a:lnTo>
                    <a:lnTo>
                      <a:pt x="14" y="34"/>
                    </a:lnTo>
                    <a:lnTo>
                      <a:pt x="10" y="35"/>
                    </a:lnTo>
                    <a:lnTo>
                      <a:pt x="4" y="36"/>
                    </a:lnTo>
                    <a:lnTo>
                      <a:pt x="0" y="36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92" name="Freeform 514">
                <a:extLst>
                  <a:ext uri="{FF2B5EF4-FFF2-40B4-BE49-F238E27FC236}">
                    <a16:creationId xmlns="" xmlns:a16="http://schemas.microsoft.com/office/drawing/2014/main" id="{4DD1EBA6-65DA-4FCC-9F40-7F4F762E765F}"/>
                  </a:ext>
                </a:extLst>
              </p:cNvPr>
              <p:cNvSpPr>
                <a:spLocks/>
              </p:cNvSpPr>
              <p:nvPr>
                <p:custDataLst>
                  <p:tags r:id="rId352"/>
                </p:custDataLst>
              </p:nvPr>
            </p:nvSpPr>
            <p:spPr bwMode="auto">
              <a:xfrm>
                <a:off x="7385050" y="2076450"/>
                <a:ext cx="3175" cy="60325"/>
              </a:xfrm>
              <a:custGeom>
                <a:avLst/>
                <a:gdLst>
                  <a:gd name="T0" fmla="*/ 0 w 6"/>
                  <a:gd name="T1" fmla="*/ 2147483646 h 37"/>
                  <a:gd name="T2" fmla="*/ 0 w 6"/>
                  <a:gd name="T3" fmla="*/ 0 h 37"/>
                  <a:gd name="T4" fmla="*/ 2147483646 w 6"/>
                  <a:gd name="T5" fmla="*/ 0 h 37"/>
                  <a:gd name="T6" fmla="*/ 2147483646 w 6"/>
                  <a:gd name="T7" fmla="*/ 2147483646 h 37"/>
                  <a:gd name="T8" fmla="*/ 0 w 6"/>
                  <a:gd name="T9" fmla="*/ 2147483646 h 3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37"/>
                  <a:gd name="T17" fmla="*/ 6 w 6"/>
                  <a:gd name="T18" fmla="*/ 37 h 3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37">
                    <a:moveTo>
                      <a:pt x="0" y="37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6" y="31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93" name="Freeform 515">
                <a:extLst>
                  <a:ext uri="{FF2B5EF4-FFF2-40B4-BE49-F238E27FC236}">
                    <a16:creationId xmlns="" xmlns:a16="http://schemas.microsoft.com/office/drawing/2014/main" id="{41BD2B6F-1581-457E-99B0-D2B9A822116F}"/>
                  </a:ext>
                </a:extLst>
              </p:cNvPr>
              <p:cNvSpPr>
                <a:spLocks/>
              </p:cNvSpPr>
              <p:nvPr>
                <p:custDataLst>
                  <p:tags r:id="rId353"/>
                </p:custDataLst>
              </p:nvPr>
            </p:nvSpPr>
            <p:spPr bwMode="auto">
              <a:xfrm>
                <a:off x="7372350" y="2159000"/>
                <a:ext cx="9525" cy="55563"/>
              </a:xfrm>
              <a:custGeom>
                <a:avLst/>
                <a:gdLst>
                  <a:gd name="T0" fmla="*/ 0 w 20"/>
                  <a:gd name="T1" fmla="*/ 2147483646 h 43"/>
                  <a:gd name="T2" fmla="*/ 0 w 20"/>
                  <a:gd name="T3" fmla="*/ 2147483646 h 43"/>
                  <a:gd name="T4" fmla="*/ 0 w 20"/>
                  <a:gd name="T5" fmla="*/ 2147483646 h 43"/>
                  <a:gd name="T6" fmla="*/ 2147483646 w 20"/>
                  <a:gd name="T7" fmla="*/ 2147483646 h 43"/>
                  <a:gd name="T8" fmla="*/ 2147483646 w 20"/>
                  <a:gd name="T9" fmla="*/ 0 h 43"/>
                  <a:gd name="T10" fmla="*/ 2147483646 w 20"/>
                  <a:gd name="T11" fmla="*/ 2147483646 h 43"/>
                  <a:gd name="T12" fmla="*/ 2147483646 w 20"/>
                  <a:gd name="T13" fmla="*/ 2147483646 h 43"/>
                  <a:gd name="T14" fmla="*/ 2147483646 w 20"/>
                  <a:gd name="T15" fmla="*/ 2147483646 h 43"/>
                  <a:gd name="T16" fmla="*/ 2147483646 w 20"/>
                  <a:gd name="T17" fmla="*/ 2147483646 h 43"/>
                  <a:gd name="T18" fmla="*/ 2147483646 w 20"/>
                  <a:gd name="T19" fmla="*/ 2147483646 h 43"/>
                  <a:gd name="T20" fmla="*/ 2147483646 w 20"/>
                  <a:gd name="T21" fmla="*/ 2147483646 h 43"/>
                  <a:gd name="T22" fmla="*/ 2147483646 w 20"/>
                  <a:gd name="T23" fmla="*/ 2147483646 h 43"/>
                  <a:gd name="T24" fmla="*/ 2147483646 w 20"/>
                  <a:gd name="T25" fmla="*/ 2147483646 h 43"/>
                  <a:gd name="T26" fmla="*/ 2147483646 w 20"/>
                  <a:gd name="T27" fmla="*/ 2147483646 h 43"/>
                  <a:gd name="T28" fmla="*/ 2147483646 w 20"/>
                  <a:gd name="T29" fmla="*/ 2147483646 h 43"/>
                  <a:gd name="T30" fmla="*/ 2147483646 w 20"/>
                  <a:gd name="T31" fmla="*/ 2147483646 h 43"/>
                  <a:gd name="T32" fmla="*/ 2147483646 w 20"/>
                  <a:gd name="T33" fmla="*/ 2147483646 h 43"/>
                  <a:gd name="T34" fmla="*/ 2147483646 w 20"/>
                  <a:gd name="T35" fmla="*/ 2147483646 h 43"/>
                  <a:gd name="T36" fmla="*/ 0 w 20"/>
                  <a:gd name="T37" fmla="*/ 2147483646 h 43"/>
                  <a:gd name="T38" fmla="*/ 0 w 20"/>
                  <a:gd name="T39" fmla="*/ 2147483646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0"/>
                  <a:gd name="T61" fmla="*/ 0 h 43"/>
                  <a:gd name="T62" fmla="*/ 20 w 20"/>
                  <a:gd name="T63" fmla="*/ 43 h 43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0" h="43">
                    <a:moveTo>
                      <a:pt x="0" y="31"/>
                    </a:moveTo>
                    <a:lnTo>
                      <a:pt x="0" y="25"/>
                    </a:lnTo>
                    <a:lnTo>
                      <a:pt x="0" y="18"/>
                    </a:lnTo>
                    <a:lnTo>
                      <a:pt x="2" y="9"/>
                    </a:lnTo>
                    <a:lnTo>
                      <a:pt x="7" y="0"/>
                    </a:lnTo>
                    <a:lnTo>
                      <a:pt x="11" y="7"/>
                    </a:lnTo>
                    <a:lnTo>
                      <a:pt x="16" y="12"/>
                    </a:lnTo>
                    <a:lnTo>
                      <a:pt x="17" y="14"/>
                    </a:lnTo>
                    <a:lnTo>
                      <a:pt x="19" y="18"/>
                    </a:lnTo>
                    <a:lnTo>
                      <a:pt x="19" y="21"/>
                    </a:lnTo>
                    <a:lnTo>
                      <a:pt x="20" y="25"/>
                    </a:lnTo>
                    <a:lnTo>
                      <a:pt x="19" y="27"/>
                    </a:lnTo>
                    <a:lnTo>
                      <a:pt x="18" y="30"/>
                    </a:lnTo>
                    <a:lnTo>
                      <a:pt x="16" y="33"/>
                    </a:lnTo>
                    <a:lnTo>
                      <a:pt x="12" y="36"/>
                    </a:lnTo>
                    <a:lnTo>
                      <a:pt x="9" y="39"/>
                    </a:lnTo>
                    <a:lnTo>
                      <a:pt x="6" y="41"/>
                    </a:lnTo>
                    <a:lnTo>
                      <a:pt x="2" y="42"/>
                    </a:lnTo>
                    <a:lnTo>
                      <a:pt x="0" y="4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94" name="Freeform 516">
                <a:extLst>
                  <a:ext uri="{FF2B5EF4-FFF2-40B4-BE49-F238E27FC236}">
                    <a16:creationId xmlns="" xmlns:a16="http://schemas.microsoft.com/office/drawing/2014/main" id="{658E85AF-91BB-48C5-A546-49C693525FAA}"/>
                  </a:ext>
                </a:extLst>
              </p:cNvPr>
              <p:cNvSpPr>
                <a:spLocks/>
              </p:cNvSpPr>
              <p:nvPr>
                <p:custDataLst>
                  <p:tags r:id="rId354"/>
                </p:custDataLst>
              </p:nvPr>
            </p:nvSpPr>
            <p:spPr bwMode="auto">
              <a:xfrm>
                <a:off x="7350125" y="2193925"/>
                <a:ext cx="0" cy="58738"/>
              </a:xfrm>
              <a:custGeom>
                <a:avLst/>
                <a:gdLst>
                  <a:gd name="T0" fmla="*/ 2147483646 h 30"/>
                  <a:gd name="T1" fmla="*/ 2147483646 h 30"/>
                  <a:gd name="T2" fmla="*/ 2147483646 h 30"/>
                  <a:gd name="T3" fmla="*/ 2147483646 h 30"/>
                  <a:gd name="T4" fmla="*/ 0 h 30"/>
                  <a:gd name="T5" fmla="*/ 0 60000 65536"/>
                  <a:gd name="T6" fmla="*/ 0 60000 65536"/>
                  <a:gd name="T7" fmla="*/ 0 60000 65536"/>
                  <a:gd name="T8" fmla="*/ 0 60000 65536"/>
                  <a:gd name="T9" fmla="*/ 0 60000 65536"/>
                  <a:gd name="T10" fmla="*/ 0 h 30"/>
                  <a:gd name="T11" fmla="*/ 30 h 30"/>
                </a:gdLst>
                <a:ahLst/>
                <a:cxnLst>
                  <a:cxn ang="T5">
                    <a:pos x="0" y="T0"/>
                  </a:cxn>
                  <a:cxn ang="T6">
                    <a:pos x="0" y="T1"/>
                  </a:cxn>
                  <a:cxn ang="T7">
                    <a:pos x="0" y="T2"/>
                  </a:cxn>
                  <a:cxn ang="T8">
                    <a:pos x="0" y="T3"/>
                  </a:cxn>
                  <a:cxn ang="T9">
                    <a:pos x="0" y="T4"/>
                  </a:cxn>
                </a:cxnLst>
                <a:rect l="0" t="T10" r="0" b="T11"/>
                <a:pathLst>
                  <a:path h="30">
                    <a:moveTo>
                      <a:pt x="0" y="30"/>
                    </a:moveTo>
                    <a:lnTo>
                      <a:pt x="0" y="25"/>
                    </a:lnTo>
                    <a:lnTo>
                      <a:pt x="0" y="18"/>
                    </a:ln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95" name="Freeform 517">
                <a:extLst>
                  <a:ext uri="{FF2B5EF4-FFF2-40B4-BE49-F238E27FC236}">
                    <a16:creationId xmlns="" xmlns:a16="http://schemas.microsoft.com/office/drawing/2014/main" id="{09646718-9EF2-4BE5-B97B-BBC0261BBAF2}"/>
                  </a:ext>
                </a:extLst>
              </p:cNvPr>
              <p:cNvSpPr>
                <a:spLocks/>
              </p:cNvSpPr>
              <p:nvPr>
                <p:custDataLst>
                  <p:tags r:id="rId355"/>
                </p:custDataLst>
              </p:nvPr>
            </p:nvSpPr>
            <p:spPr bwMode="auto">
              <a:xfrm>
                <a:off x="7350125" y="2193925"/>
                <a:ext cx="7938" cy="58738"/>
              </a:xfrm>
              <a:custGeom>
                <a:avLst/>
                <a:gdLst>
                  <a:gd name="T0" fmla="*/ 0 w 20"/>
                  <a:gd name="T1" fmla="*/ 0 h 24"/>
                  <a:gd name="T2" fmla="*/ 2147483646 w 20"/>
                  <a:gd name="T3" fmla="*/ 0 h 24"/>
                  <a:gd name="T4" fmla="*/ 0 w 20"/>
                  <a:gd name="T5" fmla="*/ 2147483646 h 24"/>
                  <a:gd name="T6" fmla="*/ 0 60000 65536"/>
                  <a:gd name="T7" fmla="*/ 0 60000 65536"/>
                  <a:gd name="T8" fmla="*/ 0 60000 65536"/>
                  <a:gd name="T9" fmla="*/ 0 w 20"/>
                  <a:gd name="T10" fmla="*/ 0 h 24"/>
                  <a:gd name="T11" fmla="*/ 20 w 20"/>
                  <a:gd name="T12" fmla="*/ 24 h 2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0" h="24">
                    <a:moveTo>
                      <a:pt x="0" y="0"/>
                    </a:moveTo>
                    <a:lnTo>
                      <a:pt x="20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96" name="Freeform 518">
                <a:extLst>
                  <a:ext uri="{FF2B5EF4-FFF2-40B4-BE49-F238E27FC236}">
                    <a16:creationId xmlns="" xmlns:a16="http://schemas.microsoft.com/office/drawing/2014/main" id="{CCCBDF4F-E3ED-49AE-A662-63F1C1F79D66}"/>
                  </a:ext>
                </a:extLst>
              </p:cNvPr>
              <p:cNvSpPr>
                <a:spLocks/>
              </p:cNvSpPr>
              <p:nvPr>
                <p:custDataLst>
                  <p:tags r:id="rId356"/>
                </p:custDataLst>
              </p:nvPr>
            </p:nvSpPr>
            <p:spPr bwMode="auto">
              <a:xfrm>
                <a:off x="7104063" y="1781175"/>
                <a:ext cx="17462" cy="60325"/>
              </a:xfrm>
              <a:custGeom>
                <a:avLst/>
                <a:gdLst>
                  <a:gd name="T0" fmla="*/ 0 w 46"/>
                  <a:gd name="T1" fmla="*/ 0 h 19"/>
                  <a:gd name="T2" fmla="*/ 2147483646 w 46"/>
                  <a:gd name="T3" fmla="*/ 2147483646 h 19"/>
                  <a:gd name="T4" fmla="*/ 2147483646 w 46"/>
                  <a:gd name="T5" fmla="*/ 2147483646 h 19"/>
                  <a:gd name="T6" fmla="*/ 2147483646 w 46"/>
                  <a:gd name="T7" fmla="*/ 2147483646 h 19"/>
                  <a:gd name="T8" fmla="*/ 2147483646 w 46"/>
                  <a:gd name="T9" fmla="*/ 2147483646 h 19"/>
                  <a:gd name="T10" fmla="*/ 2147483646 w 46"/>
                  <a:gd name="T11" fmla="*/ 2147483646 h 19"/>
                  <a:gd name="T12" fmla="*/ 2147483646 w 46"/>
                  <a:gd name="T13" fmla="*/ 2147483646 h 19"/>
                  <a:gd name="T14" fmla="*/ 2147483646 w 46"/>
                  <a:gd name="T15" fmla="*/ 2147483646 h 19"/>
                  <a:gd name="T16" fmla="*/ 2147483646 w 46"/>
                  <a:gd name="T17" fmla="*/ 2147483646 h 19"/>
                  <a:gd name="T18" fmla="*/ 2147483646 w 46"/>
                  <a:gd name="T19" fmla="*/ 2147483646 h 19"/>
                  <a:gd name="T20" fmla="*/ 2147483646 w 46"/>
                  <a:gd name="T21" fmla="*/ 2147483646 h 19"/>
                  <a:gd name="T22" fmla="*/ 2147483646 w 46"/>
                  <a:gd name="T23" fmla="*/ 2147483646 h 19"/>
                  <a:gd name="T24" fmla="*/ 2147483646 w 46"/>
                  <a:gd name="T25" fmla="*/ 2147483646 h 19"/>
                  <a:gd name="T26" fmla="*/ 2147483646 w 46"/>
                  <a:gd name="T27" fmla="*/ 2147483646 h 19"/>
                  <a:gd name="T28" fmla="*/ 2147483646 w 46"/>
                  <a:gd name="T29" fmla="*/ 2147483646 h 19"/>
                  <a:gd name="T30" fmla="*/ 2147483646 w 46"/>
                  <a:gd name="T31" fmla="*/ 2147483646 h 19"/>
                  <a:gd name="T32" fmla="*/ 0 w 46"/>
                  <a:gd name="T33" fmla="*/ 0 h 1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6"/>
                  <a:gd name="T52" fmla="*/ 0 h 19"/>
                  <a:gd name="T53" fmla="*/ 46 w 46"/>
                  <a:gd name="T54" fmla="*/ 19 h 1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6" h="19">
                    <a:moveTo>
                      <a:pt x="0" y="0"/>
                    </a:moveTo>
                    <a:lnTo>
                      <a:pt x="9" y="3"/>
                    </a:lnTo>
                    <a:lnTo>
                      <a:pt x="14" y="5"/>
                    </a:lnTo>
                    <a:lnTo>
                      <a:pt x="19" y="8"/>
                    </a:lnTo>
                    <a:lnTo>
                      <a:pt x="23" y="10"/>
                    </a:lnTo>
                    <a:lnTo>
                      <a:pt x="26" y="12"/>
                    </a:lnTo>
                    <a:lnTo>
                      <a:pt x="32" y="14"/>
                    </a:lnTo>
                    <a:lnTo>
                      <a:pt x="37" y="17"/>
                    </a:lnTo>
                    <a:lnTo>
                      <a:pt x="46" y="19"/>
                    </a:lnTo>
                    <a:lnTo>
                      <a:pt x="33" y="19"/>
                    </a:lnTo>
                    <a:lnTo>
                      <a:pt x="24" y="19"/>
                    </a:lnTo>
                    <a:lnTo>
                      <a:pt x="18" y="18"/>
                    </a:lnTo>
                    <a:lnTo>
                      <a:pt x="13" y="17"/>
                    </a:lnTo>
                    <a:lnTo>
                      <a:pt x="10" y="14"/>
                    </a:lnTo>
                    <a:lnTo>
                      <a:pt x="7" y="11"/>
                    </a:lnTo>
                    <a:lnTo>
                      <a:pt x="4" y="7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97" name="Freeform 519">
                <a:extLst>
                  <a:ext uri="{FF2B5EF4-FFF2-40B4-BE49-F238E27FC236}">
                    <a16:creationId xmlns="" xmlns:a16="http://schemas.microsoft.com/office/drawing/2014/main" id="{39DA481A-B012-4891-A261-A172FBEDC754}"/>
                  </a:ext>
                </a:extLst>
              </p:cNvPr>
              <p:cNvSpPr>
                <a:spLocks/>
              </p:cNvSpPr>
              <p:nvPr>
                <p:custDataLst>
                  <p:tags r:id="rId357"/>
                </p:custDataLst>
              </p:nvPr>
            </p:nvSpPr>
            <p:spPr bwMode="auto">
              <a:xfrm>
                <a:off x="4419600" y="1920875"/>
                <a:ext cx="47625" cy="58738"/>
              </a:xfrm>
              <a:custGeom>
                <a:avLst/>
                <a:gdLst>
                  <a:gd name="T0" fmla="*/ 2147483646 w 100"/>
                  <a:gd name="T1" fmla="*/ 0 h 55"/>
                  <a:gd name="T2" fmla="*/ 2147483646 w 100"/>
                  <a:gd name="T3" fmla="*/ 2147483646 h 55"/>
                  <a:gd name="T4" fmla="*/ 2147483646 w 100"/>
                  <a:gd name="T5" fmla="*/ 2147483646 h 55"/>
                  <a:gd name="T6" fmla="*/ 2147483646 w 100"/>
                  <a:gd name="T7" fmla="*/ 2147483646 h 55"/>
                  <a:gd name="T8" fmla="*/ 0 w 100"/>
                  <a:gd name="T9" fmla="*/ 2147483646 h 55"/>
                  <a:gd name="T10" fmla="*/ 2147483646 w 100"/>
                  <a:gd name="T11" fmla="*/ 2147483646 h 55"/>
                  <a:gd name="T12" fmla="*/ 2147483646 w 100"/>
                  <a:gd name="T13" fmla="*/ 2147483646 h 55"/>
                  <a:gd name="T14" fmla="*/ 2147483646 w 100"/>
                  <a:gd name="T15" fmla="*/ 2147483646 h 55"/>
                  <a:gd name="T16" fmla="*/ 2147483646 w 100"/>
                  <a:gd name="T17" fmla="*/ 2147483646 h 55"/>
                  <a:gd name="T18" fmla="*/ 2147483646 w 100"/>
                  <a:gd name="T19" fmla="*/ 2147483646 h 55"/>
                  <a:gd name="T20" fmla="*/ 2147483646 w 100"/>
                  <a:gd name="T21" fmla="*/ 0 h 5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00"/>
                  <a:gd name="T34" fmla="*/ 0 h 55"/>
                  <a:gd name="T35" fmla="*/ 100 w 100"/>
                  <a:gd name="T36" fmla="*/ 55 h 5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00" h="55">
                    <a:moveTo>
                      <a:pt x="33" y="0"/>
                    </a:moveTo>
                    <a:lnTo>
                      <a:pt x="100" y="12"/>
                    </a:lnTo>
                    <a:lnTo>
                      <a:pt x="100" y="55"/>
                    </a:lnTo>
                    <a:lnTo>
                      <a:pt x="13" y="55"/>
                    </a:lnTo>
                    <a:lnTo>
                      <a:pt x="0" y="43"/>
                    </a:lnTo>
                    <a:lnTo>
                      <a:pt x="1" y="38"/>
                    </a:lnTo>
                    <a:lnTo>
                      <a:pt x="4" y="32"/>
                    </a:lnTo>
                    <a:lnTo>
                      <a:pt x="10" y="25"/>
                    </a:lnTo>
                    <a:lnTo>
                      <a:pt x="16" y="18"/>
                    </a:lnTo>
                    <a:lnTo>
                      <a:pt x="27" y="5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98" name="Freeform 520">
                <a:extLst>
                  <a:ext uri="{FF2B5EF4-FFF2-40B4-BE49-F238E27FC236}">
                    <a16:creationId xmlns="" xmlns:a16="http://schemas.microsoft.com/office/drawing/2014/main" id="{D2D360A0-1D56-41DD-9C0B-6042AEE3B6EC}"/>
                  </a:ext>
                </a:extLst>
              </p:cNvPr>
              <p:cNvSpPr>
                <a:spLocks/>
              </p:cNvSpPr>
              <p:nvPr>
                <p:custDataLst>
                  <p:tags r:id="rId358"/>
                </p:custDataLst>
              </p:nvPr>
            </p:nvSpPr>
            <p:spPr bwMode="auto">
              <a:xfrm>
                <a:off x="4868863" y="1512888"/>
                <a:ext cx="42862" cy="58737"/>
              </a:xfrm>
              <a:custGeom>
                <a:avLst/>
                <a:gdLst>
                  <a:gd name="T0" fmla="*/ 2147483646 w 99"/>
                  <a:gd name="T1" fmla="*/ 2147483646 h 51"/>
                  <a:gd name="T2" fmla="*/ 2147483646 w 99"/>
                  <a:gd name="T3" fmla="*/ 2147483646 h 51"/>
                  <a:gd name="T4" fmla="*/ 2147483646 w 99"/>
                  <a:gd name="T5" fmla="*/ 0 h 51"/>
                  <a:gd name="T6" fmla="*/ 2147483646 w 99"/>
                  <a:gd name="T7" fmla="*/ 0 h 51"/>
                  <a:gd name="T8" fmla="*/ 2147483646 w 99"/>
                  <a:gd name="T9" fmla="*/ 2147483646 h 51"/>
                  <a:gd name="T10" fmla="*/ 2147483646 w 99"/>
                  <a:gd name="T11" fmla="*/ 2147483646 h 51"/>
                  <a:gd name="T12" fmla="*/ 2147483646 w 99"/>
                  <a:gd name="T13" fmla="*/ 2147483646 h 51"/>
                  <a:gd name="T14" fmla="*/ 2147483646 w 99"/>
                  <a:gd name="T15" fmla="*/ 2147483646 h 51"/>
                  <a:gd name="T16" fmla="*/ 2147483646 w 99"/>
                  <a:gd name="T17" fmla="*/ 2147483646 h 51"/>
                  <a:gd name="T18" fmla="*/ 2147483646 w 99"/>
                  <a:gd name="T19" fmla="*/ 2147483646 h 51"/>
                  <a:gd name="T20" fmla="*/ 2147483646 w 99"/>
                  <a:gd name="T21" fmla="*/ 2147483646 h 51"/>
                  <a:gd name="T22" fmla="*/ 2147483646 w 99"/>
                  <a:gd name="T23" fmla="*/ 2147483646 h 51"/>
                  <a:gd name="T24" fmla="*/ 2147483646 w 99"/>
                  <a:gd name="T25" fmla="*/ 2147483646 h 51"/>
                  <a:gd name="T26" fmla="*/ 2147483646 w 99"/>
                  <a:gd name="T27" fmla="*/ 2147483646 h 51"/>
                  <a:gd name="T28" fmla="*/ 2147483646 w 99"/>
                  <a:gd name="T29" fmla="*/ 2147483646 h 51"/>
                  <a:gd name="T30" fmla="*/ 2147483646 w 99"/>
                  <a:gd name="T31" fmla="*/ 2147483646 h 51"/>
                  <a:gd name="T32" fmla="*/ 2147483646 w 99"/>
                  <a:gd name="T33" fmla="*/ 2147483646 h 51"/>
                  <a:gd name="T34" fmla="*/ 2147483646 w 99"/>
                  <a:gd name="T35" fmla="*/ 2147483646 h 51"/>
                  <a:gd name="T36" fmla="*/ 2147483646 w 99"/>
                  <a:gd name="T37" fmla="*/ 2147483646 h 51"/>
                  <a:gd name="T38" fmla="*/ 2147483646 w 99"/>
                  <a:gd name="T39" fmla="*/ 2147483646 h 51"/>
                  <a:gd name="T40" fmla="*/ 2147483646 w 99"/>
                  <a:gd name="T41" fmla="*/ 2147483646 h 51"/>
                  <a:gd name="T42" fmla="*/ 2147483646 w 99"/>
                  <a:gd name="T43" fmla="*/ 2147483646 h 51"/>
                  <a:gd name="T44" fmla="*/ 2147483646 w 99"/>
                  <a:gd name="T45" fmla="*/ 2147483646 h 51"/>
                  <a:gd name="T46" fmla="*/ 2147483646 w 99"/>
                  <a:gd name="T47" fmla="*/ 2147483646 h 51"/>
                  <a:gd name="T48" fmla="*/ 2147483646 w 99"/>
                  <a:gd name="T49" fmla="*/ 2147483646 h 51"/>
                  <a:gd name="T50" fmla="*/ 2147483646 w 99"/>
                  <a:gd name="T51" fmla="*/ 2147483646 h 51"/>
                  <a:gd name="T52" fmla="*/ 2147483646 w 99"/>
                  <a:gd name="T53" fmla="*/ 2147483646 h 51"/>
                  <a:gd name="T54" fmla="*/ 0 w 99"/>
                  <a:gd name="T55" fmla="*/ 2147483646 h 51"/>
                  <a:gd name="T56" fmla="*/ 2147483646 w 99"/>
                  <a:gd name="T57" fmla="*/ 2147483646 h 51"/>
                  <a:gd name="T58" fmla="*/ 2147483646 w 99"/>
                  <a:gd name="T59" fmla="*/ 2147483646 h 51"/>
                  <a:gd name="T60" fmla="*/ 2147483646 w 99"/>
                  <a:gd name="T61" fmla="*/ 2147483646 h 51"/>
                  <a:gd name="T62" fmla="*/ 2147483646 w 99"/>
                  <a:gd name="T63" fmla="*/ 2147483646 h 51"/>
                  <a:gd name="T64" fmla="*/ 2147483646 w 99"/>
                  <a:gd name="T65" fmla="*/ 2147483646 h 51"/>
                  <a:gd name="T66" fmla="*/ 2147483646 w 99"/>
                  <a:gd name="T67" fmla="*/ 2147483646 h 51"/>
                  <a:gd name="T68" fmla="*/ 2147483646 w 99"/>
                  <a:gd name="T69" fmla="*/ 2147483646 h 51"/>
                  <a:gd name="T70" fmla="*/ 2147483646 w 99"/>
                  <a:gd name="T71" fmla="*/ 2147483646 h 51"/>
                  <a:gd name="T72" fmla="*/ 2147483646 w 99"/>
                  <a:gd name="T73" fmla="*/ 2147483646 h 51"/>
                  <a:gd name="T74" fmla="*/ 2147483646 w 99"/>
                  <a:gd name="T75" fmla="*/ 2147483646 h 51"/>
                  <a:gd name="T76" fmla="*/ 2147483646 w 99"/>
                  <a:gd name="T77" fmla="*/ 2147483646 h 51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99"/>
                  <a:gd name="T118" fmla="*/ 0 h 51"/>
                  <a:gd name="T119" fmla="*/ 99 w 99"/>
                  <a:gd name="T120" fmla="*/ 51 h 51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99" h="51">
                    <a:moveTo>
                      <a:pt x="53" y="2"/>
                    </a:moveTo>
                    <a:lnTo>
                      <a:pt x="58" y="1"/>
                    </a:lnTo>
                    <a:lnTo>
                      <a:pt x="62" y="0"/>
                    </a:lnTo>
                    <a:lnTo>
                      <a:pt x="65" y="0"/>
                    </a:lnTo>
                    <a:lnTo>
                      <a:pt x="69" y="1"/>
                    </a:lnTo>
                    <a:lnTo>
                      <a:pt x="74" y="5"/>
                    </a:lnTo>
                    <a:lnTo>
                      <a:pt x="79" y="11"/>
                    </a:lnTo>
                    <a:lnTo>
                      <a:pt x="83" y="18"/>
                    </a:lnTo>
                    <a:lnTo>
                      <a:pt x="87" y="25"/>
                    </a:lnTo>
                    <a:lnTo>
                      <a:pt x="91" y="28"/>
                    </a:lnTo>
                    <a:lnTo>
                      <a:pt x="93" y="30"/>
                    </a:lnTo>
                    <a:lnTo>
                      <a:pt x="96" y="32"/>
                    </a:lnTo>
                    <a:lnTo>
                      <a:pt x="99" y="34"/>
                    </a:lnTo>
                    <a:lnTo>
                      <a:pt x="99" y="37"/>
                    </a:lnTo>
                    <a:lnTo>
                      <a:pt x="97" y="40"/>
                    </a:lnTo>
                    <a:lnTo>
                      <a:pt x="95" y="43"/>
                    </a:lnTo>
                    <a:lnTo>
                      <a:pt x="91" y="45"/>
                    </a:lnTo>
                    <a:lnTo>
                      <a:pt x="86" y="47"/>
                    </a:lnTo>
                    <a:lnTo>
                      <a:pt x="81" y="48"/>
                    </a:lnTo>
                    <a:lnTo>
                      <a:pt x="74" y="50"/>
                    </a:lnTo>
                    <a:lnTo>
                      <a:pt x="68" y="50"/>
                    </a:lnTo>
                    <a:lnTo>
                      <a:pt x="52" y="51"/>
                    </a:lnTo>
                    <a:lnTo>
                      <a:pt x="36" y="49"/>
                    </a:lnTo>
                    <a:lnTo>
                      <a:pt x="27" y="48"/>
                    </a:lnTo>
                    <a:lnTo>
                      <a:pt x="18" y="45"/>
                    </a:lnTo>
                    <a:lnTo>
                      <a:pt x="9" y="43"/>
                    </a:lnTo>
                    <a:lnTo>
                      <a:pt x="1" y="40"/>
                    </a:lnTo>
                    <a:lnTo>
                      <a:pt x="0" y="39"/>
                    </a:lnTo>
                    <a:lnTo>
                      <a:pt x="1" y="37"/>
                    </a:lnTo>
                    <a:lnTo>
                      <a:pt x="3" y="35"/>
                    </a:lnTo>
                    <a:lnTo>
                      <a:pt x="6" y="33"/>
                    </a:lnTo>
                    <a:lnTo>
                      <a:pt x="14" y="29"/>
                    </a:lnTo>
                    <a:lnTo>
                      <a:pt x="25" y="24"/>
                    </a:lnTo>
                    <a:lnTo>
                      <a:pt x="35" y="19"/>
                    </a:lnTo>
                    <a:lnTo>
                      <a:pt x="45" y="12"/>
                    </a:lnTo>
                    <a:lnTo>
                      <a:pt x="48" y="10"/>
                    </a:lnTo>
                    <a:lnTo>
                      <a:pt x="51" y="7"/>
                    </a:lnTo>
                    <a:lnTo>
                      <a:pt x="52" y="5"/>
                    </a:lnTo>
                    <a:lnTo>
                      <a:pt x="53" y="2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99" name="Freeform 521">
                <a:extLst>
                  <a:ext uri="{FF2B5EF4-FFF2-40B4-BE49-F238E27FC236}">
                    <a16:creationId xmlns="" xmlns:a16="http://schemas.microsoft.com/office/drawing/2014/main" id="{B654D119-89BB-4F4B-B04A-1C6A20CD0CE5}"/>
                  </a:ext>
                </a:extLst>
              </p:cNvPr>
              <p:cNvSpPr>
                <a:spLocks/>
              </p:cNvSpPr>
              <p:nvPr>
                <p:custDataLst>
                  <p:tags r:id="rId359"/>
                </p:custDataLst>
              </p:nvPr>
            </p:nvSpPr>
            <p:spPr bwMode="auto">
              <a:xfrm>
                <a:off x="4903788" y="1325563"/>
                <a:ext cx="228600" cy="163512"/>
              </a:xfrm>
              <a:custGeom>
                <a:avLst/>
                <a:gdLst>
                  <a:gd name="T0" fmla="*/ 2147483646 w 525"/>
                  <a:gd name="T1" fmla="*/ 2147483646 h 311"/>
                  <a:gd name="T2" fmla="*/ 2147483646 w 525"/>
                  <a:gd name="T3" fmla="*/ 2147483646 h 311"/>
                  <a:gd name="T4" fmla="*/ 2147483646 w 525"/>
                  <a:gd name="T5" fmla="*/ 2147483646 h 311"/>
                  <a:gd name="T6" fmla="*/ 2147483646 w 525"/>
                  <a:gd name="T7" fmla="*/ 2147483646 h 311"/>
                  <a:gd name="T8" fmla="*/ 2147483646 w 525"/>
                  <a:gd name="T9" fmla="*/ 2147483646 h 311"/>
                  <a:gd name="T10" fmla="*/ 2147483646 w 525"/>
                  <a:gd name="T11" fmla="*/ 2147483646 h 311"/>
                  <a:gd name="T12" fmla="*/ 2147483646 w 525"/>
                  <a:gd name="T13" fmla="*/ 2147483646 h 311"/>
                  <a:gd name="T14" fmla="*/ 2147483646 w 525"/>
                  <a:gd name="T15" fmla="*/ 2147483646 h 311"/>
                  <a:gd name="T16" fmla="*/ 2147483646 w 525"/>
                  <a:gd name="T17" fmla="*/ 2147483646 h 311"/>
                  <a:gd name="T18" fmla="*/ 2147483646 w 525"/>
                  <a:gd name="T19" fmla="*/ 2147483646 h 311"/>
                  <a:gd name="T20" fmla="*/ 2147483646 w 525"/>
                  <a:gd name="T21" fmla="*/ 2147483646 h 311"/>
                  <a:gd name="T22" fmla="*/ 2147483646 w 525"/>
                  <a:gd name="T23" fmla="*/ 2147483646 h 311"/>
                  <a:gd name="T24" fmla="*/ 2147483646 w 525"/>
                  <a:gd name="T25" fmla="*/ 2147483646 h 311"/>
                  <a:gd name="T26" fmla="*/ 2147483646 w 525"/>
                  <a:gd name="T27" fmla="*/ 2147483646 h 311"/>
                  <a:gd name="T28" fmla="*/ 2147483646 w 525"/>
                  <a:gd name="T29" fmla="*/ 2147483646 h 311"/>
                  <a:gd name="T30" fmla="*/ 2147483646 w 525"/>
                  <a:gd name="T31" fmla="*/ 2147483646 h 311"/>
                  <a:gd name="T32" fmla="*/ 2147483646 w 525"/>
                  <a:gd name="T33" fmla="*/ 2147483646 h 311"/>
                  <a:gd name="T34" fmla="*/ 2147483646 w 525"/>
                  <a:gd name="T35" fmla="*/ 2147483646 h 311"/>
                  <a:gd name="T36" fmla="*/ 2147483646 w 525"/>
                  <a:gd name="T37" fmla="*/ 2147483646 h 311"/>
                  <a:gd name="T38" fmla="*/ 2147483646 w 525"/>
                  <a:gd name="T39" fmla="*/ 2147483646 h 311"/>
                  <a:gd name="T40" fmla="*/ 2147483646 w 525"/>
                  <a:gd name="T41" fmla="*/ 2147483646 h 311"/>
                  <a:gd name="T42" fmla="*/ 2147483646 w 525"/>
                  <a:gd name="T43" fmla="*/ 2147483646 h 311"/>
                  <a:gd name="T44" fmla="*/ 2147483646 w 525"/>
                  <a:gd name="T45" fmla="*/ 2147483646 h 311"/>
                  <a:gd name="T46" fmla="*/ 2147483646 w 525"/>
                  <a:gd name="T47" fmla="*/ 2147483646 h 311"/>
                  <a:gd name="T48" fmla="*/ 2147483646 w 525"/>
                  <a:gd name="T49" fmla="*/ 2147483646 h 311"/>
                  <a:gd name="T50" fmla="*/ 2147483646 w 525"/>
                  <a:gd name="T51" fmla="*/ 2147483646 h 311"/>
                  <a:gd name="T52" fmla="*/ 2147483646 w 525"/>
                  <a:gd name="T53" fmla="*/ 2147483646 h 311"/>
                  <a:gd name="T54" fmla="*/ 2147483646 w 525"/>
                  <a:gd name="T55" fmla="*/ 2147483646 h 311"/>
                  <a:gd name="T56" fmla="*/ 2147483646 w 525"/>
                  <a:gd name="T57" fmla="*/ 2147483646 h 311"/>
                  <a:gd name="T58" fmla="*/ 2147483646 w 525"/>
                  <a:gd name="T59" fmla="*/ 2147483646 h 311"/>
                  <a:gd name="T60" fmla="*/ 2147483646 w 525"/>
                  <a:gd name="T61" fmla="*/ 2147483646 h 311"/>
                  <a:gd name="T62" fmla="*/ 2147483646 w 525"/>
                  <a:gd name="T63" fmla="*/ 2147483646 h 311"/>
                  <a:gd name="T64" fmla="*/ 2147483646 w 525"/>
                  <a:gd name="T65" fmla="*/ 2147483646 h 311"/>
                  <a:gd name="T66" fmla="*/ 2147483646 w 525"/>
                  <a:gd name="T67" fmla="*/ 2147483646 h 311"/>
                  <a:gd name="T68" fmla="*/ 2147483646 w 525"/>
                  <a:gd name="T69" fmla="*/ 2147483646 h 311"/>
                  <a:gd name="T70" fmla="*/ 2147483646 w 525"/>
                  <a:gd name="T71" fmla="*/ 2147483646 h 311"/>
                  <a:gd name="T72" fmla="*/ 2147483646 w 525"/>
                  <a:gd name="T73" fmla="*/ 2147483646 h 311"/>
                  <a:gd name="T74" fmla="*/ 2147483646 w 525"/>
                  <a:gd name="T75" fmla="*/ 2147483646 h 311"/>
                  <a:gd name="T76" fmla="*/ 0 w 525"/>
                  <a:gd name="T77" fmla="*/ 2147483646 h 311"/>
                  <a:gd name="T78" fmla="*/ 2147483646 w 525"/>
                  <a:gd name="T79" fmla="*/ 2147483646 h 311"/>
                  <a:gd name="T80" fmla="*/ 2147483646 w 525"/>
                  <a:gd name="T81" fmla="*/ 2147483646 h 311"/>
                  <a:gd name="T82" fmla="*/ 2147483646 w 525"/>
                  <a:gd name="T83" fmla="*/ 2147483646 h 311"/>
                  <a:gd name="T84" fmla="*/ 2147483646 w 525"/>
                  <a:gd name="T85" fmla="*/ 2147483646 h 311"/>
                  <a:gd name="T86" fmla="*/ 2147483646 w 525"/>
                  <a:gd name="T87" fmla="*/ 2147483646 h 311"/>
                  <a:gd name="T88" fmla="*/ 2147483646 w 525"/>
                  <a:gd name="T89" fmla="*/ 2147483646 h 311"/>
                  <a:gd name="T90" fmla="*/ 2147483646 w 525"/>
                  <a:gd name="T91" fmla="*/ 2147483646 h 311"/>
                  <a:gd name="T92" fmla="*/ 2147483646 w 525"/>
                  <a:gd name="T93" fmla="*/ 2147483646 h 311"/>
                  <a:gd name="T94" fmla="*/ 2147483646 w 525"/>
                  <a:gd name="T95" fmla="*/ 2147483646 h 311"/>
                  <a:gd name="T96" fmla="*/ 2147483646 w 525"/>
                  <a:gd name="T97" fmla="*/ 2147483646 h 311"/>
                  <a:gd name="T98" fmla="*/ 2147483646 w 525"/>
                  <a:gd name="T99" fmla="*/ 2147483646 h 311"/>
                  <a:gd name="T100" fmla="*/ 2147483646 w 525"/>
                  <a:gd name="T101" fmla="*/ 2147483646 h 311"/>
                  <a:gd name="T102" fmla="*/ 2147483646 w 525"/>
                  <a:gd name="T103" fmla="*/ 2147483646 h 311"/>
                  <a:gd name="T104" fmla="*/ 2147483646 w 525"/>
                  <a:gd name="T105" fmla="*/ 2147483646 h 311"/>
                  <a:gd name="T106" fmla="*/ 2147483646 w 525"/>
                  <a:gd name="T107" fmla="*/ 2147483646 h 311"/>
                  <a:gd name="T108" fmla="*/ 2147483646 w 525"/>
                  <a:gd name="T109" fmla="*/ 2147483646 h 311"/>
                  <a:gd name="T110" fmla="*/ 2147483646 w 525"/>
                  <a:gd name="T111" fmla="*/ 2147483646 h 311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525"/>
                  <a:gd name="T169" fmla="*/ 0 h 311"/>
                  <a:gd name="T170" fmla="*/ 525 w 525"/>
                  <a:gd name="T171" fmla="*/ 311 h 311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525" h="311">
                    <a:moveTo>
                      <a:pt x="273" y="31"/>
                    </a:moveTo>
                    <a:lnTo>
                      <a:pt x="307" y="31"/>
                    </a:lnTo>
                    <a:lnTo>
                      <a:pt x="315" y="27"/>
                    </a:lnTo>
                    <a:lnTo>
                      <a:pt x="324" y="24"/>
                    </a:lnTo>
                    <a:lnTo>
                      <a:pt x="333" y="22"/>
                    </a:lnTo>
                    <a:lnTo>
                      <a:pt x="342" y="21"/>
                    </a:lnTo>
                    <a:lnTo>
                      <a:pt x="359" y="20"/>
                    </a:lnTo>
                    <a:lnTo>
                      <a:pt x="377" y="20"/>
                    </a:lnTo>
                    <a:lnTo>
                      <a:pt x="385" y="20"/>
                    </a:lnTo>
                    <a:lnTo>
                      <a:pt x="393" y="20"/>
                    </a:lnTo>
                    <a:lnTo>
                      <a:pt x="401" y="19"/>
                    </a:lnTo>
                    <a:lnTo>
                      <a:pt x="408" y="17"/>
                    </a:lnTo>
                    <a:lnTo>
                      <a:pt x="415" y="15"/>
                    </a:lnTo>
                    <a:lnTo>
                      <a:pt x="421" y="11"/>
                    </a:lnTo>
                    <a:lnTo>
                      <a:pt x="427" y="7"/>
                    </a:lnTo>
                    <a:lnTo>
                      <a:pt x="433" y="0"/>
                    </a:lnTo>
                    <a:lnTo>
                      <a:pt x="512" y="0"/>
                    </a:lnTo>
                    <a:lnTo>
                      <a:pt x="514" y="6"/>
                    </a:lnTo>
                    <a:lnTo>
                      <a:pt x="519" y="12"/>
                    </a:lnTo>
                    <a:lnTo>
                      <a:pt x="523" y="17"/>
                    </a:lnTo>
                    <a:lnTo>
                      <a:pt x="525" y="19"/>
                    </a:lnTo>
                    <a:lnTo>
                      <a:pt x="511" y="26"/>
                    </a:lnTo>
                    <a:lnTo>
                      <a:pt x="491" y="36"/>
                    </a:lnTo>
                    <a:lnTo>
                      <a:pt x="468" y="47"/>
                    </a:lnTo>
                    <a:lnTo>
                      <a:pt x="443" y="57"/>
                    </a:lnTo>
                    <a:lnTo>
                      <a:pt x="418" y="66"/>
                    </a:lnTo>
                    <a:lnTo>
                      <a:pt x="392" y="73"/>
                    </a:lnTo>
                    <a:lnTo>
                      <a:pt x="379" y="76"/>
                    </a:lnTo>
                    <a:lnTo>
                      <a:pt x="368" y="78"/>
                    </a:lnTo>
                    <a:lnTo>
                      <a:pt x="356" y="80"/>
                    </a:lnTo>
                    <a:lnTo>
                      <a:pt x="346" y="80"/>
                    </a:lnTo>
                    <a:lnTo>
                      <a:pt x="333" y="81"/>
                    </a:lnTo>
                    <a:lnTo>
                      <a:pt x="321" y="83"/>
                    </a:lnTo>
                    <a:lnTo>
                      <a:pt x="309" y="86"/>
                    </a:lnTo>
                    <a:lnTo>
                      <a:pt x="299" y="90"/>
                    </a:lnTo>
                    <a:lnTo>
                      <a:pt x="279" y="101"/>
                    </a:lnTo>
                    <a:lnTo>
                      <a:pt x="262" y="111"/>
                    </a:lnTo>
                    <a:lnTo>
                      <a:pt x="253" y="116"/>
                    </a:lnTo>
                    <a:lnTo>
                      <a:pt x="244" y="121"/>
                    </a:lnTo>
                    <a:lnTo>
                      <a:pt x="235" y="124"/>
                    </a:lnTo>
                    <a:lnTo>
                      <a:pt x="226" y="127"/>
                    </a:lnTo>
                    <a:lnTo>
                      <a:pt x="218" y="129"/>
                    </a:lnTo>
                    <a:lnTo>
                      <a:pt x="208" y="129"/>
                    </a:lnTo>
                    <a:lnTo>
                      <a:pt x="198" y="127"/>
                    </a:lnTo>
                    <a:lnTo>
                      <a:pt x="187" y="123"/>
                    </a:lnTo>
                    <a:lnTo>
                      <a:pt x="186" y="128"/>
                    </a:lnTo>
                    <a:lnTo>
                      <a:pt x="183" y="133"/>
                    </a:lnTo>
                    <a:lnTo>
                      <a:pt x="178" y="137"/>
                    </a:lnTo>
                    <a:lnTo>
                      <a:pt x="174" y="142"/>
                    </a:lnTo>
                    <a:lnTo>
                      <a:pt x="174" y="144"/>
                    </a:lnTo>
                    <a:lnTo>
                      <a:pt x="175" y="145"/>
                    </a:lnTo>
                    <a:lnTo>
                      <a:pt x="177" y="146"/>
                    </a:lnTo>
                    <a:lnTo>
                      <a:pt x="180" y="147"/>
                    </a:lnTo>
                    <a:lnTo>
                      <a:pt x="185" y="148"/>
                    </a:lnTo>
                    <a:lnTo>
                      <a:pt x="187" y="148"/>
                    </a:lnTo>
                    <a:lnTo>
                      <a:pt x="186" y="152"/>
                    </a:lnTo>
                    <a:lnTo>
                      <a:pt x="184" y="157"/>
                    </a:lnTo>
                    <a:lnTo>
                      <a:pt x="181" y="160"/>
                    </a:lnTo>
                    <a:lnTo>
                      <a:pt x="178" y="164"/>
                    </a:lnTo>
                    <a:lnTo>
                      <a:pt x="176" y="167"/>
                    </a:lnTo>
                    <a:lnTo>
                      <a:pt x="175" y="171"/>
                    </a:lnTo>
                    <a:lnTo>
                      <a:pt x="176" y="175"/>
                    </a:lnTo>
                    <a:lnTo>
                      <a:pt x="180" y="179"/>
                    </a:lnTo>
                    <a:lnTo>
                      <a:pt x="175" y="185"/>
                    </a:lnTo>
                    <a:lnTo>
                      <a:pt x="168" y="190"/>
                    </a:lnTo>
                    <a:lnTo>
                      <a:pt x="162" y="194"/>
                    </a:lnTo>
                    <a:lnTo>
                      <a:pt x="155" y="197"/>
                    </a:lnTo>
                    <a:lnTo>
                      <a:pt x="150" y="201"/>
                    </a:lnTo>
                    <a:lnTo>
                      <a:pt x="144" y="204"/>
                    </a:lnTo>
                    <a:lnTo>
                      <a:pt x="143" y="207"/>
                    </a:lnTo>
                    <a:lnTo>
                      <a:pt x="141" y="209"/>
                    </a:lnTo>
                    <a:lnTo>
                      <a:pt x="141" y="213"/>
                    </a:lnTo>
                    <a:lnTo>
                      <a:pt x="140" y="216"/>
                    </a:lnTo>
                    <a:lnTo>
                      <a:pt x="141" y="222"/>
                    </a:lnTo>
                    <a:lnTo>
                      <a:pt x="144" y="228"/>
                    </a:lnTo>
                    <a:lnTo>
                      <a:pt x="149" y="234"/>
                    </a:lnTo>
                    <a:lnTo>
                      <a:pt x="155" y="241"/>
                    </a:lnTo>
                    <a:lnTo>
                      <a:pt x="163" y="247"/>
                    </a:lnTo>
                    <a:lnTo>
                      <a:pt x="172" y="254"/>
                    </a:lnTo>
                    <a:lnTo>
                      <a:pt x="181" y="260"/>
                    </a:lnTo>
                    <a:lnTo>
                      <a:pt x="191" y="267"/>
                    </a:lnTo>
                    <a:lnTo>
                      <a:pt x="213" y="279"/>
                    </a:lnTo>
                    <a:lnTo>
                      <a:pt x="235" y="290"/>
                    </a:lnTo>
                    <a:lnTo>
                      <a:pt x="256" y="300"/>
                    </a:lnTo>
                    <a:lnTo>
                      <a:pt x="273" y="308"/>
                    </a:lnTo>
                    <a:lnTo>
                      <a:pt x="258" y="310"/>
                    </a:lnTo>
                    <a:lnTo>
                      <a:pt x="243" y="311"/>
                    </a:lnTo>
                    <a:lnTo>
                      <a:pt x="229" y="311"/>
                    </a:lnTo>
                    <a:lnTo>
                      <a:pt x="214" y="310"/>
                    </a:lnTo>
                    <a:lnTo>
                      <a:pt x="189" y="309"/>
                    </a:lnTo>
                    <a:lnTo>
                      <a:pt x="167" y="308"/>
                    </a:lnTo>
                    <a:lnTo>
                      <a:pt x="155" y="308"/>
                    </a:lnTo>
                    <a:lnTo>
                      <a:pt x="145" y="308"/>
                    </a:lnTo>
                    <a:lnTo>
                      <a:pt x="138" y="307"/>
                    </a:lnTo>
                    <a:lnTo>
                      <a:pt x="131" y="305"/>
                    </a:lnTo>
                    <a:lnTo>
                      <a:pt x="129" y="304"/>
                    </a:lnTo>
                    <a:lnTo>
                      <a:pt x="127" y="302"/>
                    </a:lnTo>
                    <a:lnTo>
                      <a:pt x="124" y="300"/>
                    </a:lnTo>
                    <a:lnTo>
                      <a:pt x="123" y="298"/>
                    </a:lnTo>
                    <a:lnTo>
                      <a:pt x="121" y="292"/>
                    </a:lnTo>
                    <a:lnTo>
                      <a:pt x="120" y="284"/>
                    </a:lnTo>
                    <a:lnTo>
                      <a:pt x="120" y="282"/>
                    </a:lnTo>
                    <a:lnTo>
                      <a:pt x="119" y="280"/>
                    </a:lnTo>
                    <a:lnTo>
                      <a:pt x="118" y="279"/>
                    </a:lnTo>
                    <a:lnTo>
                      <a:pt x="116" y="278"/>
                    </a:lnTo>
                    <a:lnTo>
                      <a:pt x="111" y="277"/>
                    </a:lnTo>
                    <a:lnTo>
                      <a:pt x="106" y="276"/>
                    </a:lnTo>
                    <a:lnTo>
                      <a:pt x="95" y="277"/>
                    </a:lnTo>
                    <a:lnTo>
                      <a:pt x="87" y="278"/>
                    </a:lnTo>
                    <a:lnTo>
                      <a:pt x="84" y="287"/>
                    </a:lnTo>
                    <a:lnTo>
                      <a:pt x="80" y="296"/>
                    </a:lnTo>
                    <a:lnTo>
                      <a:pt x="66" y="291"/>
                    </a:lnTo>
                    <a:lnTo>
                      <a:pt x="55" y="287"/>
                    </a:lnTo>
                    <a:lnTo>
                      <a:pt x="44" y="282"/>
                    </a:lnTo>
                    <a:lnTo>
                      <a:pt x="35" y="276"/>
                    </a:lnTo>
                    <a:lnTo>
                      <a:pt x="19" y="263"/>
                    </a:lnTo>
                    <a:lnTo>
                      <a:pt x="0" y="246"/>
                    </a:lnTo>
                    <a:lnTo>
                      <a:pt x="8" y="244"/>
                    </a:lnTo>
                    <a:lnTo>
                      <a:pt x="13" y="242"/>
                    </a:lnTo>
                    <a:lnTo>
                      <a:pt x="18" y="239"/>
                    </a:lnTo>
                    <a:lnTo>
                      <a:pt x="22" y="237"/>
                    </a:lnTo>
                    <a:lnTo>
                      <a:pt x="29" y="230"/>
                    </a:lnTo>
                    <a:lnTo>
                      <a:pt x="34" y="222"/>
                    </a:lnTo>
                    <a:lnTo>
                      <a:pt x="31" y="219"/>
                    </a:lnTo>
                    <a:lnTo>
                      <a:pt x="29" y="216"/>
                    </a:lnTo>
                    <a:lnTo>
                      <a:pt x="28" y="213"/>
                    </a:lnTo>
                    <a:lnTo>
                      <a:pt x="28" y="211"/>
                    </a:lnTo>
                    <a:lnTo>
                      <a:pt x="30" y="205"/>
                    </a:lnTo>
                    <a:lnTo>
                      <a:pt x="34" y="200"/>
                    </a:lnTo>
                    <a:lnTo>
                      <a:pt x="38" y="196"/>
                    </a:lnTo>
                    <a:lnTo>
                      <a:pt x="40" y="191"/>
                    </a:lnTo>
                    <a:lnTo>
                      <a:pt x="40" y="188"/>
                    </a:lnTo>
                    <a:lnTo>
                      <a:pt x="39" y="185"/>
                    </a:lnTo>
                    <a:lnTo>
                      <a:pt x="37" y="182"/>
                    </a:lnTo>
                    <a:lnTo>
                      <a:pt x="34" y="179"/>
                    </a:lnTo>
                    <a:lnTo>
                      <a:pt x="73" y="179"/>
                    </a:lnTo>
                    <a:lnTo>
                      <a:pt x="106" y="179"/>
                    </a:lnTo>
                    <a:lnTo>
                      <a:pt x="134" y="179"/>
                    </a:lnTo>
                    <a:lnTo>
                      <a:pt x="167" y="179"/>
                    </a:lnTo>
                    <a:lnTo>
                      <a:pt x="147" y="178"/>
                    </a:lnTo>
                    <a:lnTo>
                      <a:pt x="131" y="177"/>
                    </a:lnTo>
                    <a:lnTo>
                      <a:pt x="117" y="174"/>
                    </a:lnTo>
                    <a:lnTo>
                      <a:pt x="102" y="171"/>
                    </a:lnTo>
                    <a:lnTo>
                      <a:pt x="90" y="166"/>
                    </a:lnTo>
                    <a:lnTo>
                      <a:pt x="78" y="161"/>
                    </a:lnTo>
                    <a:lnTo>
                      <a:pt x="66" y="155"/>
                    </a:lnTo>
                    <a:lnTo>
                      <a:pt x="54" y="148"/>
                    </a:lnTo>
                    <a:lnTo>
                      <a:pt x="65" y="143"/>
                    </a:lnTo>
                    <a:lnTo>
                      <a:pt x="75" y="139"/>
                    </a:lnTo>
                    <a:lnTo>
                      <a:pt x="84" y="134"/>
                    </a:lnTo>
                    <a:lnTo>
                      <a:pt x="91" y="130"/>
                    </a:lnTo>
                    <a:lnTo>
                      <a:pt x="106" y="120"/>
                    </a:lnTo>
                    <a:lnTo>
                      <a:pt x="120" y="111"/>
                    </a:lnTo>
                    <a:lnTo>
                      <a:pt x="118" y="110"/>
                    </a:lnTo>
                    <a:lnTo>
                      <a:pt x="115" y="108"/>
                    </a:lnTo>
                    <a:lnTo>
                      <a:pt x="111" y="103"/>
                    </a:lnTo>
                    <a:lnTo>
                      <a:pt x="108" y="99"/>
                    </a:lnTo>
                    <a:lnTo>
                      <a:pt x="102" y="87"/>
                    </a:lnTo>
                    <a:lnTo>
                      <a:pt x="100" y="80"/>
                    </a:lnTo>
                    <a:lnTo>
                      <a:pt x="108" y="80"/>
                    </a:lnTo>
                    <a:lnTo>
                      <a:pt x="117" y="78"/>
                    </a:lnTo>
                    <a:lnTo>
                      <a:pt x="127" y="76"/>
                    </a:lnTo>
                    <a:lnTo>
                      <a:pt x="138" y="73"/>
                    </a:lnTo>
                    <a:lnTo>
                      <a:pt x="161" y="66"/>
                    </a:lnTo>
                    <a:lnTo>
                      <a:pt x="184" y="58"/>
                    </a:lnTo>
                    <a:lnTo>
                      <a:pt x="209" y="50"/>
                    </a:lnTo>
                    <a:lnTo>
                      <a:pt x="232" y="41"/>
                    </a:lnTo>
                    <a:lnTo>
                      <a:pt x="254" y="35"/>
                    </a:lnTo>
                    <a:lnTo>
                      <a:pt x="273" y="31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00" name="Freeform 522">
                <a:extLst>
                  <a:ext uri="{FF2B5EF4-FFF2-40B4-BE49-F238E27FC236}">
                    <a16:creationId xmlns="" xmlns:a16="http://schemas.microsoft.com/office/drawing/2014/main" id="{9BB17C4B-4EE4-42F1-9649-A28782149AF5}"/>
                  </a:ext>
                </a:extLst>
              </p:cNvPr>
              <p:cNvSpPr>
                <a:spLocks/>
              </p:cNvSpPr>
              <p:nvPr>
                <p:custDataLst>
                  <p:tags r:id="rId360"/>
                </p:custDataLst>
              </p:nvPr>
            </p:nvSpPr>
            <p:spPr bwMode="auto">
              <a:xfrm>
                <a:off x="4695825" y="1636713"/>
                <a:ext cx="31750" cy="55562"/>
              </a:xfrm>
              <a:custGeom>
                <a:avLst/>
                <a:gdLst>
                  <a:gd name="T0" fmla="*/ 2147483646 w 79"/>
                  <a:gd name="T1" fmla="*/ 0 h 38"/>
                  <a:gd name="T2" fmla="*/ 2147483646 w 79"/>
                  <a:gd name="T3" fmla="*/ 2147483646 h 38"/>
                  <a:gd name="T4" fmla="*/ 2147483646 w 79"/>
                  <a:gd name="T5" fmla="*/ 2147483646 h 38"/>
                  <a:gd name="T6" fmla="*/ 2147483646 w 79"/>
                  <a:gd name="T7" fmla="*/ 2147483646 h 38"/>
                  <a:gd name="T8" fmla="*/ 2147483646 w 79"/>
                  <a:gd name="T9" fmla="*/ 2147483646 h 38"/>
                  <a:gd name="T10" fmla="*/ 2147483646 w 79"/>
                  <a:gd name="T11" fmla="*/ 2147483646 h 38"/>
                  <a:gd name="T12" fmla="*/ 2147483646 w 79"/>
                  <a:gd name="T13" fmla="*/ 2147483646 h 38"/>
                  <a:gd name="T14" fmla="*/ 2147483646 w 79"/>
                  <a:gd name="T15" fmla="*/ 2147483646 h 38"/>
                  <a:gd name="T16" fmla="*/ 2147483646 w 79"/>
                  <a:gd name="T17" fmla="*/ 2147483646 h 38"/>
                  <a:gd name="T18" fmla="*/ 2147483646 w 79"/>
                  <a:gd name="T19" fmla="*/ 2147483646 h 38"/>
                  <a:gd name="T20" fmla="*/ 2147483646 w 79"/>
                  <a:gd name="T21" fmla="*/ 2147483646 h 38"/>
                  <a:gd name="T22" fmla="*/ 2147483646 w 79"/>
                  <a:gd name="T23" fmla="*/ 2147483646 h 38"/>
                  <a:gd name="T24" fmla="*/ 2147483646 w 79"/>
                  <a:gd name="T25" fmla="*/ 2147483646 h 38"/>
                  <a:gd name="T26" fmla="*/ 2147483646 w 79"/>
                  <a:gd name="T27" fmla="*/ 2147483646 h 38"/>
                  <a:gd name="T28" fmla="*/ 2147483646 w 79"/>
                  <a:gd name="T29" fmla="*/ 2147483646 h 38"/>
                  <a:gd name="T30" fmla="*/ 2147483646 w 79"/>
                  <a:gd name="T31" fmla="*/ 2147483646 h 38"/>
                  <a:gd name="T32" fmla="*/ 2147483646 w 79"/>
                  <a:gd name="T33" fmla="*/ 2147483646 h 38"/>
                  <a:gd name="T34" fmla="*/ 2147483646 w 79"/>
                  <a:gd name="T35" fmla="*/ 2147483646 h 38"/>
                  <a:gd name="T36" fmla="*/ 2147483646 w 79"/>
                  <a:gd name="T37" fmla="*/ 2147483646 h 38"/>
                  <a:gd name="T38" fmla="*/ 2147483646 w 79"/>
                  <a:gd name="T39" fmla="*/ 2147483646 h 38"/>
                  <a:gd name="T40" fmla="*/ 2147483646 w 79"/>
                  <a:gd name="T41" fmla="*/ 2147483646 h 38"/>
                  <a:gd name="T42" fmla="*/ 2147483646 w 79"/>
                  <a:gd name="T43" fmla="*/ 2147483646 h 38"/>
                  <a:gd name="T44" fmla="*/ 2147483646 w 79"/>
                  <a:gd name="T45" fmla="*/ 2147483646 h 38"/>
                  <a:gd name="T46" fmla="*/ 0 w 79"/>
                  <a:gd name="T47" fmla="*/ 2147483646 h 38"/>
                  <a:gd name="T48" fmla="*/ 0 w 79"/>
                  <a:gd name="T49" fmla="*/ 2147483646 h 38"/>
                  <a:gd name="T50" fmla="*/ 2147483646 w 79"/>
                  <a:gd name="T51" fmla="*/ 2147483646 h 38"/>
                  <a:gd name="T52" fmla="*/ 2147483646 w 79"/>
                  <a:gd name="T53" fmla="*/ 2147483646 h 38"/>
                  <a:gd name="T54" fmla="*/ 2147483646 w 79"/>
                  <a:gd name="T55" fmla="*/ 2147483646 h 38"/>
                  <a:gd name="T56" fmla="*/ 2147483646 w 79"/>
                  <a:gd name="T57" fmla="*/ 2147483646 h 38"/>
                  <a:gd name="T58" fmla="*/ 2147483646 w 79"/>
                  <a:gd name="T59" fmla="*/ 2147483646 h 38"/>
                  <a:gd name="T60" fmla="*/ 2147483646 w 79"/>
                  <a:gd name="T61" fmla="*/ 0 h 38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79"/>
                  <a:gd name="T94" fmla="*/ 0 h 38"/>
                  <a:gd name="T95" fmla="*/ 79 w 79"/>
                  <a:gd name="T96" fmla="*/ 38 h 38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79" h="38">
                    <a:moveTo>
                      <a:pt x="46" y="0"/>
                    </a:moveTo>
                    <a:lnTo>
                      <a:pt x="54" y="1"/>
                    </a:lnTo>
                    <a:lnTo>
                      <a:pt x="62" y="3"/>
                    </a:lnTo>
                    <a:lnTo>
                      <a:pt x="68" y="7"/>
                    </a:lnTo>
                    <a:lnTo>
                      <a:pt x="72" y="12"/>
                    </a:lnTo>
                    <a:lnTo>
                      <a:pt x="75" y="17"/>
                    </a:lnTo>
                    <a:lnTo>
                      <a:pt x="77" y="22"/>
                    </a:lnTo>
                    <a:lnTo>
                      <a:pt x="79" y="27"/>
                    </a:lnTo>
                    <a:lnTo>
                      <a:pt x="79" y="32"/>
                    </a:lnTo>
                    <a:lnTo>
                      <a:pt x="77" y="34"/>
                    </a:lnTo>
                    <a:lnTo>
                      <a:pt x="75" y="35"/>
                    </a:lnTo>
                    <a:lnTo>
                      <a:pt x="72" y="36"/>
                    </a:lnTo>
                    <a:lnTo>
                      <a:pt x="68" y="37"/>
                    </a:lnTo>
                    <a:lnTo>
                      <a:pt x="57" y="38"/>
                    </a:lnTo>
                    <a:lnTo>
                      <a:pt x="46" y="38"/>
                    </a:lnTo>
                    <a:lnTo>
                      <a:pt x="38" y="37"/>
                    </a:lnTo>
                    <a:lnTo>
                      <a:pt x="30" y="36"/>
                    </a:lnTo>
                    <a:lnTo>
                      <a:pt x="21" y="35"/>
                    </a:lnTo>
                    <a:lnTo>
                      <a:pt x="15" y="32"/>
                    </a:lnTo>
                    <a:lnTo>
                      <a:pt x="8" y="29"/>
                    </a:lnTo>
                    <a:lnTo>
                      <a:pt x="4" y="25"/>
                    </a:lnTo>
                    <a:lnTo>
                      <a:pt x="2" y="22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1" y="11"/>
                    </a:lnTo>
                    <a:lnTo>
                      <a:pt x="4" y="9"/>
                    </a:lnTo>
                    <a:lnTo>
                      <a:pt x="10" y="6"/>
                    </a:lnTo>
                    <a:lnTo>
                      <a:pt x="17" y="4"/>
                    </a:lnTo>
                    <a:lnTo>
                      <a:pt x="32" y="1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01" name="Freeform 523">
                <a:extLst>
                  <a:ext uri="{FF2B5EF4-FFF2-40B4-BE49-F238E27FC236}">
                    <a16:creationId xmlns="" xmlns:a16="http://schemas.microsoft.com/office/drawing/2014/main" id="{2D3C0B5B-DBB8-413F-AFAF-14EA66248CA8}"/>
                  </a:ext>
                </a:extLst>
              </p:cNvPr>
              <p:cNvSpPr>
                <a:spLocks/>
              </p:cNvSpPr>
              <p:nvPr>
                <p:custDataLst>
                  <p:tags r:id="rId361"/>
                </p:custDataLst>
              </p:nvPr>
            </p:nvSpPr>
            <p:spPr bwMode="auto">
              <a:xfrm>
                <a:off x="7000875" y="1933575"/>
                <a:ext cx="196850" cy="268288"/>
              </a:xfrm>
              <a:custGeom>
                <a:avLst/>
                <a:gdLst>
                  <a:gd name="T0" fmla="*/ 2147483646 w 459"/>
                  <a:gd name="T1" fmla="*/ 2147483646 h 511"/>
                  <a:gd name="T2" fmla="*/ 2147483646 w 459"/>
                  <a:gd name="T3" fmla="*/ 2147483646 h 511"/>
                  <a:gd name="T4" fmla="*/ 0 w 459"/>
                  <a:gd name="T5" fmla="*/ 0 h 511"/>
                  <a:gd name="T6" fmla="*/ 2147483646 w 459"/>
                  <a:gd name="T7" fmla="*/ 2147483646 h 511"/>
                  <a:gd name="T8" fmla="*/ 2147483646 w 459"/>
                  <a:gd name="T9" fmla="*/ 2147483646 h 511"/>
                  <a:gd name="T10" fmla="*/ 2147483646 w 459"/>
                  <a:gd name="T11" fmla="*/ 2147483646 h 511"/>
                  <a:gd name="T12" fmla="*/ 2147483646 w 459"/>
                  <a:gd name="T13" fmla="*/ 2147483646 h 511"/>
                  <a:gd name="T14" fmla="*/ 2147483646 w 459"/>
                  <a:gd name="T15" fmla="*/ 2147483646 h 511"/>
                  <a:gd name="T16" fmla="*/ 2147483646 w 459"/>
                  <a:gd name="T17" fmla="*/ 2147483646 h 511"/>
                  <a:gd name="T18" fmla="*/ 2147483646 w 459"/>
                  <a:gd name="T19" fmla="*/ 2147483646 h 511"/>
                  <a:gd name="T20" fmla="*/ 2147483646 w 459"/>
                  <a:gd name="T21" fmla="*/ 2147483646 h 511"/>
                  <a:gd name="T22" fmla="*/ 2147483646 w 459"/>
                  <a:gd name="T23" fmla="*/ 2147483646 h 511"/>
                  <a:gd name="T24" fmla="*/ 2147483646 w 459"/>
                  <a:gd name="T25" fmla="*/ 2147483646 h 511"/>
                  <a:gd name="T26" fmla="*/ 2147483646 w 459"/>
                  <a:gd name="T27" fmla="*/ 2147483646 h 511"/>
                  <a:gd name="T28" fmla="*/ 2147483646 w 459"/>
                  <a:gd name="T29" fmla="*/ 2147483646 h 511"/>
                  <a:gd name="T30" fmla="*/ 2147483646 w 459"/>
                  <a:gd name="T31" fmla="*/ 2147483646 h 511"/>
                  <a:gd name="T32" fmla="*/ 2147483646 w 459"/>
                  <a:gd name="T33" fmla="*/ 2147483646 h 511"/>
                  <a:gd name="T34" fmla="*/ 2147483646 w 459"/>
                  <a:gd name="T35" fmla="*/ 2147483646 h 511"/>
                  <a:gd name="T36" fmla="*/ 2147483646 w 459"/>
                  <a:gd name="T37" fmla="*/ 2147483646 h 511"/>
                  <a:gd name="T38" fmla="*/ 2147483646 w 459"/>
                  <a:gd name="T39" fmla="*/ 2147483646 h 511"/>
                  <a:gd name="T40" fmla="*/ 2147483646 w 459"/>
                  <a:gd name="T41" fmla="*/ 2147483646 h 511"/>
                  <a:gd name="T42" fmla="*/ 2147483646 w 459"/>
                  <a:gd name="T43" fmla="*/ 2147483646 h 511"/>
                  <a:gd name="T44" fmla="*/ 2147483646 w 459"/>
                  <a:gd name="T45" fmla="*/ 2147483646 h 511"/>
                  <a:gd name="T46" fmla="*/ 2147483646 w 459"/>
                  <a:gd name="T47" fmla="*/ 2147483646 h 511"/>
                  <a:gd name="T48" fmla="*/ 2147483646 w 459"/>
                  <a:gd name="T49" fmla="*/ 2147483646 h 511"/>
                  <a:gd name="T50" fmla="*/ 2147483646 w 459"/>
                  <a:gd name="T51" fmla="*/ 2147483646 h 511"/>
                  <a:gd name="T52" fmla="*/ 2147483646 w 459"/>
                  <a:gd name="T53" fmla="*/ 2147483646 h 511"/>
                  <a:gd name="T54" fmla="*/ 2147483646 w 459"/>
                  <a:gd name="T55" fmla="*/ 2147483646 h 511"/>
                  <a:gd name="T56" fmla="*/ 2147483646 w 459"/>
                  <a:gd name="T57" fmla="*/ 2147483646 h 511"/>
                  <a:gd name="T58" fmla="*/ 2147483646 w 459"/>
                  <a:gd name="T59" fmla="*/ 2147483646 h 511"/>
                  <a:gd name="T60" fmla="*/ 2147483646 w 459"/>
                  <a:gd name="T61" fmla="*/ 2147483646 h 511"/>
                  <a:gd name="T62" fmla="*/ 2147483646 w 459"/>
                  <a:gd name="T63" fmla="*/ 2147483646 h 511"/>
                  <a:gd name="T64" fmla="*/ 2147483646 w 459"/>
                  <a:gd name="T65" fmla="*/ 2147483646 h 511"/>
                  <a:gd name="T66" fmla="*/ 2147483646 w 459"/>
                  <a:gd name="T67" fmla="*/ 2147483646 h 511"/>
                  <a:gd name="T68" fmla="*/ 2147483646 w 459"/>
                  <a:gd name="T69" fmla="*/ 2147483646 h 511"/>
                  <a:gd name="T70" fmla="*/ 2147483646 w 459"/>
                  <a:gd name="T71" fmla="*/ 2147483646 h 511"/>
                  <a:gd name="T72" fmla="*/ 2147483646 w 459"/>
                  <a:gd name="T73" fmla="*/ 2147483646 h 511"/>
                  <a:gd name="T74" fmla="*/ 2147483646 w 459"/>
                  <a:gd name="T75" fmla="*/ 2147483646 h 511"/>
                  <a:gd name="T76" fmla="*/ 2147483646 w 459"/>
                  <a:gd name="T77" fmla="*/ 2147483646 h 511"/>
                  <a:gd name="T78" fmla="*/ 2147483646 w 459"/>
                  <a:gd name="T79" fmla="*/ 2147483646 h 511"/>
                  <a:gd name="T80" fmla="*/ 2147483646 w 459"/>
                  <a:gd name="T81" fmla="*/ 2147483646 h 511"/>
                  <a:gd name="T82" fmla="*/ 2147483646 w 459"/>
                  <a:gd name="T83" fmla="*/ 2147483646 h 511"/>
                  <a:gd name="T84" fmla="*/ 2147483646 w 459"/>
                  <a:gd name="T85" fmla="*/ 2147483646 h 511"/>
                  <a:gd name="T86" fmla="*/ 2147483646 w 459"/>
                  <a:gd name="T87" fmla="*/ 2147483646 h 511"/>
                  <a:gd name="T88" fmla="*/ 2147483646 w 459"/>
                  <a:gd name="T89" fmla="*/ 2147483646 h 511"/>
                  <a:gd name="T90" fmla="*/ 2147483646 w 459"/>
                  <a:gd name="T91" fmla="*/ 2147483646 h 511"/>
                  <a:gd name="T92" fmla="*/ 2147483646 w 459"/>
                  <a:gd name="T93" fmla="*/ 2147483646 h 511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459"/>
                  <a:gd name="T142" fmla="*/ 0 h 511"/>
                  <a:gd name="T143" fmla="*/ 459 w 459"/>
                  <a:gd name="T144" fmla="*/ 511 h 511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459" h="511">
                    <a:moveTo>
                      <a:pt x="33" y="68"/>
                    </a:moveTo>
                    <a:lnTo>
                      <a:pt x="29" y="56"/>
                    </a:lnTo>
                    <a:lnTo>
                      <a:pt x="26" y="45"/>
                    </a:lnTo>
                    <a:lnTo>
                      <a:pt x="22" y="38"/>
                    </a:lnTo>
                    <a:lnTo>
                      <a:pt x="16" y="31"/>
                    </a:lnTo>
                    <a:lnTo>
                      <a:pt x="12" y="25"/>
                    </a:lnTo>
                    <a:lnTo>
                      <a:pt x="6" y="18"/>
                    </a:lnTo>
                    <a:lnTo>
                      <a:pt x="3" y="10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6" y="5"/>
                    </a:lnTo>
                    <a:lnTo>
                      <a:pt x="22" y="7"/>
                    </a:lnTo>
                    <a:lnTo>
                      <a:pt x="26" y="8"/>
                    </a:lnTo>
                    <a:lnTo>
                      <a:pt x="29" y="8"/>
                    </a:lnTo>
                    <a:lnTo>
                      <a:pt x="33" y="6"/>
                    </a:lnTo>
                    <a:lnTo>
                      <a:pt x="59" y="31"/>
                    </a:lnTo>
                    <a:lnTo>
                      <a:pt x="80" y="50"/>
                    </a:lnTo>
                    <a:lnTo>
                      <a:pt x="95" y="67"/>
                    </a:lnTo>
                    <a:lnTo>
                      <a:pt x="107" y="80"/>
                    </a:lnTo>
                    <a:lnTo>
                      <a:pt x="125" y="102"/>
                    </a:lnTo>
                    <a:lnTo>
                      <a:pt x="146" y="123"/>
                    </a:lnTo>
                    <a:lnTo>
                      <a:pt x="172" y="149"/>
                    </a:lnTo>
                    <a:lnTo>
                      <a:pt x="195" y="175"/>
                    </a:lnTo>
                    <a:lnTo>
                      <a:pt x="216" y="198"/>
                    </a:lnTo>
                    <a:lnTo>
                      <a:pt x="239" y="222"/>
                    </a:lnTo>
                    <a:lnTo>
                      <a:pt x="248" y="230"/>
                    </a:lnTo>
                    <a:lnTo>
                      <a:pt x="258" y="237"/>
                    </a:lnTo>
                    <a:lnTo>
                      <a:pt x="269" y="245"/>
                    </a:lnTo>
                    <a:lnTo>
                      <a:pt x="280" y="252"/>
                    </a:lnTo>
                    <a:lnTo>
                      <a:pt x="303" y="266"/>
                    </a:lnTo>
                    <a:lnTo>
                      <a:pt x="327" y="281"/>
                    </a:lnTo>
                    <a:lnTo>
                      <a:pt x="350" y="295"/>
                    </a:lnTo>
                    <a:lnTo>
                      <a:pt x="372" y="311"/>
                    </a:lnTo>
                    <a:lnTo>
                      <a:pt x="382" y="318"/>
                    </a:lnTo>
                    <a:lnTo>
                      <a:pt x="391" y="327"/>
                    </a:lnTo>
                    <a:lnTo>
                      <a:pt x="398" y="336"/>
                    </a:lnTo>
                    <a:lnTo>
                      <a:pt x="405" y="345"/>
                    </a:lnTo>
                    <a:lnTo>
                      <a:pt x="387" y="334"/>
                    </a:lnTo>
                    <a:lnTo>
                      <a:pt x="365" y="320"/>
                    </a:lnTo>
                    <a:lnTo>
                      <a:pt x="343" y="306"/>
                    </a:lnTo>
                    <a:lnTo>
                      <a:pt x="326" y="295"/>
                    </a:lnTo>
                    <a:lnTo>
                      <a:pt x="324" y="296"/>
                    </a:lnTo>
                    <a:lnTo>
                      <a:pt x="318" y="296"/>
                    </a:lnTo>
                    <a:lnTo>
                      <a:pt x="316" y="297"/>
                    </a:lnTo>
                    <a:lnTo>
                      <a:pt x="314" y="298"/>
                    </a:lnTo>
                    <a:lnTo>
                      <a:pt x="313" y="300"/>
                    </a:lnTo>
                    <a:lnTo>
                      <a:pt x="311" y="301"/>
                    </a:lnTo>
                    <a:lnTo>
                      <a:pt x="313" y="311"/>
                    </a:lnTo>
                    <a:lnTo>
                      <a:pt x="313" y="320"/>
                    </a:lnTo>
                    <a:lnTo>
                      <a:pt x="315" y="328"/>
                    </a:lnTo>
                    <a:lnTo>
                      <a:pt x="317" y="337"/>
                    </a:lnTo>
                    <a:lnTo>
                      <a:pt x="319" y="344"/>
                    </a:lnTo>
                    <a:lnTo>
                      <a:pt x="322" y="351"/>
                    </a:lnTo>
                    <a:lnTo>
                      <a:pt x="326" y="358"/>
                    </a:lnTo>
                    <a:lnTo>
                      <a:pt x="329" y="364"/>
                    </a:lnTo>
                    <a:lnTo>
                      <a:pt x="338" y="375"/>
                    </a:lnTo>
                    <a:lnTo>
                      <a:pt x="348" y="387"/>
                    </a:lnTo>
                    <a:lnTo>
                      <a:pt x="359" y="396"/>
                    </a:lnTo>
                    <a:lnTo>
                      <a:pt x="370" y="405"/>
                    </a:lnTo>
                    <a:lnTo>
                      <a:pt x="394" y="421"/>
                    </a:lnTo>
                    <a:lnTo>
                      <a:pt x="418" y="438"/>
                    </a:lnTo>
                    <a:lnTo>
                      <a:pt x="430" y="448"/>
                    </a:lnTo>
                    <a:lnTo>
                      <a:pt x="440" y="458"/>
                    </a:lnTo>
                    <a:lnTo>
                      <a:pt x="450" y="468"/>
                    </a:lnTo>
                    <a:lnTo>
                      <a:pt x="459" y="480"/>
                    </a:lnTo>
                    <a:lnTo>
                      <a:pt x="448" y="476"/>
                    </a:lnTo>
                    <a:lnTo>
                      <a:pt x="437" y="473"/>
                    </a:lnTo>
                    <a:lnTo>
                      <a:pt x="432" y="471"/>
                    </a:lnTo>
                    <a:lnTo>
                      <a:pt x="428" y="469"/>
                    </a:lnTo>
                    <a:lnTo>
                      <a:pt x="426" y="466"/>
                    </a:lnTo>
                    <a:lnTo>
                      <a:pt x="425" y="462"/>
                    </a:lnTo>
                    <a:lnTo>
                      <a:pt x="392" y="462"/>
                    </a:lnTo>
                    <a:lnTo>
                      <a:pt x="392" y="475"/>
                    </a:lnTo>
                    <a:lnTo>
                      <a:pt x="393" y="488"/>
                    </a:lnTo>
                    <a:lnTo>
                      <a:pt x="393" y="494"/>
                    </a:lnTo>
                    <a:lnTo>
                      <a:pt x="395" y="501"/>
                    </a:lnTo>
                    <a:lnTo>
                      <a:pt x="396" y="506"/>
                    </a:lnTo>
                    <a:lnTo>
                      <a:pt x="398" y="511"/>
                    </a:lnTo>
                    <a:lnTo>
                      <a:pt x="395" y="505"/>
                    </a:lnTo>
                    <a:lnTo>
                      <a:pt x="392" y="498"/>
                    </a:lnTo>
                    <a:lnTo>
                      <a:pt x="388" y="492"/>
                    </a:lnTo>
                    <a:lnTo>
                      <a:pt x="383" y="486"/>
                    </a:lnTo>
                    <a:lnTo>
                      <a:pt x="374" y="476"/>
                    </a:lnTo>
                    <a:lnTo>
                      <a:pt x="363" y="466"/>
                    </a:lnTo>
                    <a:lnTo>
                      <a:pt x="354" y="458"/>
                    </a:lnTo>
                    <a:lnTo>
                      <a:pt x="346" y="449"/>
                    </a:lnTo>
                    <a:lnTo>
                      <a:pt x="343" y="445"/>
                    </a:lnTo>
                    <a:lnTo>
                      <a:pt x="340" y="439"/>
                    </a:lnTo>
                    <a:lnTo>
                      <a:pt x="339" y="435"/>
                    </a:lnTo>
                    <a:lnTo>
                      <a:pt x="339" y="431"/>
                    </a:lnTo>
                    <a:lnTo>
                      <a:pt x="337" y="425"/>
                    </a:lnTo>
                    <a:lnTo>
                      <a:pt x="333" y="419"/>
                    </a:lnTo>
                    <a:lnTo>
                      <a:pt x="328" y="411"/>
                    </a:lnTo>
                    <a:lnTo>
                      <a:pt x="321" y="403"/>
                    </a:lnTo>
                    <a:lnTo>
                      <a:pt x="316" y="394"/>
                    </a:lnTo>
                    <a:lnTo>
                      <a:pt x="310" y="384"/>
                    </a:lnTo>
                    <a:lnTo>
                      <a:pt x="307" y="376"/>
                    </a:lnTo>
                    <a:lnTo>
                      <a:pt x="305" y="369"/>
                    </a:lnTo>
                    <a:lnTo>
                      <a:pt x="298" y="367"/>
                    </a:lnTo>
                    <a:lnTo>
                      <a:pt x="292" y="365"/>
                    </a:lnTo>
                    <a:lnTo>
                      <a:pt x="285" y="362"/>
                    </a:lnTo>
                    <a:lnTo>
                      <a:pt x="280" y="358"/>
                    </a:lnTo>
                    <a:lnTo>
                      <a:pt x="274" y="353"/>
                    </a:lnTo>
                    <a:lnTo>
                      <a:pt x="269" y="348"/>
                    </a:lnTo>
                    <a:lnTo>
                      <a:pt x="264" y="343"/>
                    </a:lnTo>
                    <a:lnTo>
                      <a:pt x="261" y="337"/>
                    </a:lnTo>
                    <a:lnTo>
                      <a:pt x="254" y="325"/>
                    </a:lnTo>
                    <a:lnTo>
                      <a:pt x="249" y="314"/>
                    </a:lnTo>
                    <a:lnTo>
                      <a:pt x="247" y="304"/>
                    </a:lnTo>
                    <a:lnTo>
                      <a:pt x="246" y="295"/>
                    </a:lnTo>
                    <a:lnTo>
                      <a:pt x="245" y="293"/>
                    </a:lnTo>
                    <a:lnTo>
                      <a:pt x="242" y="289"/>
                    </a:lnTo>
                    <a:lnTo>
                      <a:pt x="239" y="285"/>
                    </a:lnTo>
                    <a:lnTo>
                      <a:pt x="234" y="281"/>
                    </a:lnTo>
                    <a:lnTo>
                      <a:pt x="221" y="269"/>
                    </a:lnTo>
                    <a:lnTo>
                      <a:pt x="208" y="257"/>
                    </a:lnTo>
                    <a:lnTo>
                      <a:pt x="194" y="244"/>
                    </a:lnTo>
                    <a:lnTo>
                      <a:pt x="181" y="232"/>
                    </a:lnTo>
                    <a:lnTo>
                      <a:pt x="175" y="226"/>
                    </a:lnTo>
                    <a:lnTo>
                      <a:pt x="171" y="220"/>
                    </a:lnTo>
                    <a:lnTo>
                      <a:pt x="168" y="214"/>
                    </a:lnTo>
                    <a:lnTo>
                      <a:pt x="165" y="209"/>
                    </a:lnTo>
                    <a:lnTo>
                      <a:pt x="163" y="203"/>
                    </a:lnTo>
                    <a:lnTo>
                      <a:pt x="161" y="197"/>
                    </a:lnTo>
                    <a:lnTo>
                      <a:pt x="158" y="192"/>
                    </a:lnTo>
                    <a:lnTo>
                      <a:pt x="154" y="187"/>
                    </a:lnTo>
                    <a:lnTo>
                      <a:pt x="146" y="178"/>
                    </a:lnTo>
                    <a:lnTo>
                      <a:pt x="137" y="170"/>
                    </a:lnTo>
                    <a:lnTo>
                      <a:pt x="115" y="155"/>
                    </a:lnTo>
                    <a:lnTo>
                      <a:pt x="92" y="143"/>
                    </a:lnTo>
                    <a:lnTo>
                      <a:pt x="81" y="136"/>
                    </a:lnTo>
                    <a:lnTo>
                      <a:pt x="70" y="130"/>
                    </a:lnTo>
                    <a:lnTo>
                      <a:pt x="60" y="122"/>
                    </a:lnTo>
                    <a:lnTo>
                      <a:pt x="51" y="114"/>
                    </a:lnTo>
                    <a:lnTo>
                      <a:pt x="47" y="110"/>
                    </a:lnTo>
                    <a:lnTo>
                      <a:pt x="44" y="104"/>
                    </a:lnTo>
                    <a:lnTo>
                      <a:pt x="40" y="99"/>
                    </a:lnTo>
                    <a:lnTo>
                      <a:pt x="38" y="93"/>
                    </a:lnTo>
                    <a:lnTo>
                      <a:pt x="36" y="88"/>
                    </a:lnTo>
                    <a:lnTo>
                      <a:pt x="34" y="81"/>
                    </a:lnTo>
                    <a:lnTo>
                      <a:pt x="34" y="75"/>
                    </a:lnTo>
                    <a:lnTo>
                      <a:pt x="33" y="68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2202" name="Group 524">
                <a:extLst>
                  <a:ext uri="{FF2B5EF4-FFF2-40B4-BE49-F238E27FC236}">
                    <a16:creationId xmlns="" xmlns:a16="http://schemas.microsoft.com/office/drawing/2014/main" id="{7B1EC12D-C19E-4413-A5E5-98A73875100A}"/>
                  </a:ext>
                </a:extLst>
              </p:cNvPr>
              <p:cNvGrpSpPr>
                <a:grpSpLocks/>
              </p:cNvGrpSpPr>
              <p:nvPr>
                <p:custDataLst>
                  <p:tags r:id="rId362"/>
                </p:custDataLst>
              </p:nvPr>
            </p:nvGrpSpPr>
            <p:grpSpPr bwMode="auto">
              <a:xfrm>
                <a:off x="5791200" y="1889125"/>
                <a:ext cx="671513" cy="384175"/>
                <a:chOff x="4115" y="1551"/>
                <a:chExt cx="504" cy="244"/>
              </a:xfrm>
              <a:solidFill>
                <a:srgbClr val="FFFFFF">
                  <a:lumMod val="75000"/>
                </a:srgbClr>
              </a:solidFill>
            </p:grpSpPr>
            <p:sp>
              <p:nvSpPr>
                <p:cNvPr id="2203" name="Freeform 525">
                  <a:extLst>
                    <a:ext uri="{FF2B5EF4-FFF2-40B4-BE49-F238E27FC236}">
                      <a16:creationId xmlns="" xmlns:a16="http://schemas.microsoft.com/office/drawing/2014/main" id="{ADCA2972-351F-4BB3-872B-CFBBD86164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40" y="1551"/>
                  <a:ext cx="79" cy="86"/>
                </a:xfrm>
                <a:custGeom>
                  <a:avLst/>
                  <a:gdLst>
                    <a:gd name="T0" fmla="*/ 0 w 240"/>
                    <a:gd name="T1" fmla="*/ 1 h 259"/>
                    <a:gd name="T2" fmla="*/ 0 w 240"/>
                    <a:gd name="T3" fmla="*/ 1 h 259"/>
                    <a:gd name="T4" fmla="*/ 0 w 240"/>
                    <a:gd name="T5" fmla="*/ 1 h 259"/>
                    <a:gd name="T6" fmla="*/ 1 w 240"/>
                    <a:gd name="T7" fmla="*/ 1 h 259"/>
                    <a:gd name="T8" fmla="*/ 1 w 240"/>
                    <a:gd name="T9" fmla="*/ 1 h 259"/>
                    <a:gd name="T10" fmla="*/ 1 w 240"/>
                    <a:gd name="T11" fmla="*/ 0 h 259"/>
                    <a:gd name="T12" fmla="*/ 1 w 240"/>
                    <a:gd name="T13" fmla="*/ 0 h 259"/>
                    <a:gd name="T14" fmla="*/ 1 w 240"/>
                    <a:gd name="T15" fmla="*/ 0 h 259"/>
                    <a:gd name="T16" fmla="*/ 1 w 240"/>
                    <a:gd name="T17" fmla="*/ 0 h 259"/>
                    <a:gd name="T18" fmla="*/ 1 w 240"/>
                    <a:gd name="T19" fmla="*/ 0 h 259"/>
                    <a:gd name="T20" fmla="*/ 1 w 240"/>
                    <a:gd name="T21" fmla="*/ 0 h 259"/>
                    <a:gd name="T22" fmla="*/ 1 w 240"/>
                    <a:gd name="T23" fmla="*/ 1 h 259"/>
                    <a:gd name="T24" fmla="*/ 0 w 240"/>
                    <a:gd name="T25" fmla="*/ 1 h 259"/>
                    <a:gd name="T26" fmla="*/ 0 w 240"/>
                    <a:gd name="T27" fmla="*/ 1 h 259"/>
                    <a:gd name="T28" fmla="*/ 0 w 240"/>
                    <a:gd name="T29" fmla="*/ 1 h 259"/>
                    <a:gd name="T30" fmla="*/ 0 w 240"/>
                    <a:gd name="T31" fmla="*/ 1 h 259"/>
                    <a:gd name="T32" fmla="*/ 0 w 240"/>
                    <a:gd name="T33" fmla="*/ 1 h 259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40"/>
                    <a:gd name="T52" fmla="*/ 0 h 259"/>
                    <a:gd name="T53" fmla="*/ 240 w 240"/>
                    <a:gd name="T54" fmla="*/ 259 h 259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40" h="259">
                      <a:moveTo>
                        <a:pt x="13" y="247"/>
                      </a:moveTo>
                      <a:lnTo>
                        <a:pt x="79" y="259"/>
                      </a:lnTo>
                      <a:lnTo>
                        <a:pt x="120" y="240"/>
                      </a:lnTo>
                      <a:lnTo>
                        <a:pt x="133" y="210"/>
                      </a:lnTo>
                      <a:lnTo>
                        <a:pt x="192" y="161"/>
                      </a:lnTo>
                      <a:lnTo>
                        <a:pt x="212" y="111"/>
                      </a:lnTo>
                      <a:lnTo>
                        <a:pt x="240" y="26"/>
                      </a:lnTo>
                      <a:lnTo>
                        <a:pt x="212" y="0"/>
                      </a:lnTo>
                      <a:lnTo>
                        <a:pt x="206" y="32"/>
                      </a:lnTo>
                      <a:lnTo>
                        <a:pt x="199" y="74"/>
                      </a:lnTo>
                      <a:lnTo>
                        <a:pt x="166" y="105"/>
                      </a:lnTo>
                      <a:lnTo>
                        <a:pt x="133" y="149"/>
                      </a:lnTo>
                      <a:lnTo>
                        <a:pt x="113" y="179"/>
                      </a:lnTo>
                      <a:lnTo>
                        <a:pt x="93" y="216"/>
                      </a:lnTo>
                      <a:lnTo>
                        <a:pt x="20" y="222"/>
                      </a:lnTo>
                      <a:lnTo>
                        <a:pt x="0" y="222"/>
                      </a:lnTo>
                      <a:lnTo>
                        <a:pt x="13" y="247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04" name="Freeform 526">
                  <a:extLst>
                    <a:ext uri="{FF2B5EF4-FFF2-40B4-BE49-F238E27FC236}">
                      <a16:creationId xmlns="" xmlns:a16="http://schemas.microsoft.com/office/drawing/2014/main" id="{A853B9B2-35DF-4E65-B0F3-CD22E3B60B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15" y="1761"/>
                  <a:ext cx="84" cy="34"/>
                </a:xfrm>
                <a:custGeom>
                  <a:avLst/>
                  <a:gdLst>
                    <a:gd name="T0" fmla="*/ 0 w 259"/>
                    <a:gd name="T1" fmla="*/ 0 h 104"/>
                    <a:gd name="T2" fmla="*/ 0 w 259"/>
                    <a:gd name="T3" fmla="*/ 0 h 104"/>
                    <a:gd name="T4" fmla="*/ 0 w 259"/>
                    <a:gd name="T5" fmla="*/ 0 h 104"/>
                    <a:gd name="T6" fmla="*/ 0 w 259"/>
                    <a:gd name="T7" fmla="*/ 0 h 104"/>
                    <a:gd name="T8" fmla="*/ 0 w 259"/>
                    <a:gd name="T9" fmla="*/ 0 h 104"/>
                    <a:gd name="T10" fmla="*/ 1 w 259"/>
                    <a:gd name="T11" fmla="*/ 0 h 104"/>
                    <a:gd name="T12" fmla="*/ 1 w 259"/>
                    <a:gd name="T13" fmla="*/ 0 h 104"/>
                    <a:gd name="T14" fmla="*/ 1 w 259"/>
                    <a:gd name="T15" fmla="*/ 0 h 104"/>
                    <a:gd name="T16" fmla="*/ 1 w 259"/>
                    <a:gd name="T17" fmla="*/ 0 h 104"/>
                    <a:gd name="T18" fmla="*/ 1 w 259"/>
                    <a:gd name="T19" fmla="*/ 0 h 104"/>
                    <a:gd name="T20" fmla="*/ 1 w 259"/>
                    <a:gd name="T21" fmla="*/ 0 h 104"/>
                    <a:gd name="T22" fmla="*/ 0 w 259"/>
                    <a:gd name="T23" fmla="*/ 0 h 104"/>
                    <a:gd name="T24" fmla="*/ 0 w 259"/>
                    <a:gd name="T25" fmla="*/ 0 h 104"/>
                    <a:gd name="T26" fmla="*/ 0 w 259"/>
                    <a:gd name="T27" fmla="*/ 0 h 104"/>
                    <a:gd name="T28" fmla="*/ 0 w 259"/>
                    <a:gd name="T29" fmla="*/ 0 h 104"/>
                    <a:gd name="T30" fmla="*/ 0 w 259"/>
                    <a:gd name="T31" fmla="*/ 0 h 104"/>
                    <a:gd name="T32" fmla="*/ 0 w 259"/>
                    <a:gd name="T33" fmla="*/ 0 h 104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59"/>
                    <a:gd name="T52" fmla="*/ 0 h 104"/>
                    <a:gd name="T53" fmla="*/ 259 w 259"/>
                    <a:gd name="T54" fmla="*/ 104 h 104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59" h="104">
                      <a:moveTo>
                        <a:pt x="33" y="104"/>
                      </a:moveTo>
                      <a:lnTo>
                        <a:pt x="26" y="86"/>
                      </a:lnTo>
                      <a:lnTo>
                        <a:pt x="52" y="62"/>
                      </a:lnTo>
                      <a:lnTo>
                        <a:pt x="72" y="49"/>
                      </a:lnTo>
                      <a:lnTo>
                        <a:pt x="126" y="43"/>
                      </a:lnTo>
                      <a:lnTo>
                        <a:pt x="172" y="43"/>
                      </a:lnTo>
                      <a:lnTo>
                        <a:pt x="246" y="31"/>
                      </a:lnTo>
                      <a:lnTo>
                        <a:pt x="259" y="7"/>
                      </a:lnTo>
                      <a:lnTo>
                        <a:pt x="246" y="0"/>
                      </a:lnTo>
                      <a:lnTo>
                        <a:pt x="205" y="13"/>
                      </a:lnTo>
                      <a:lnTo>
                        <a:pt x="152" y="7"/>
                      </a:lnTo>
                      <a:lnTo>
                        <a:pt x="106" y="13"/>
                      </a:lnTo>
                      <a:lnTo>
                        <a:pt x="52" y="19"/>
                      </a:lnTo>
                      <a:lnTo>
                        <a:pt x="26" y="43"/>
                      </a:lnTo>
                      <a:lnTo>
                        <a:pt x="0" y="68"/>
                      </a:lnTo>
                      <a:lnTo>
                        <a:pt x="0" y="104"/>
                      </a:lnTo>
                      <a:lnTo>
                        <a:pt x="33" y="104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205" name="Freeform 527">
                <a:extLst>
                  <a:ext uri="{FF2B5EF4-FFF2-40B4-BE49-F238E27FC236}">
                    <a16:creationId xmlns="" xmlns:a16="http://schemas.microsoft.com/office/drawing/2014/main" id="{3A80FF29-98A2-4F6C-AF3B-0F8719EEF4D3}"/>
                  </a:ext>
                </a:extLst>
              </p:cNvPr>
              <p:cNvSpPr>
                <a:spLocks/>
              </p:cNvSpPr>
              <p:nvPr>
                <p:custDataLst>
                  <p:tags r:id="rId363"/>
                </p:custDataLst>
              </p:nvPr>
            </p:nvSpPr>
            <p:spPr bwMode="auto">
              <a:xfrm>
                <a:off x="4848225" y="2638425"/>
                <a:ext cx="530225" cy="511175"/>
              </a:xfrm>
              <a:custGeom>
                <a:avLst/>
                <a:gdLst>
                  <a:gd name="T0" fmla="*/ 2147483646 w 1227"/>
                  <a:gd name="T1" fmla="*/ 2147483646 h 979"/>
                  <a:gd name="T2" fmla="*/ 2147483646 w 1227"/>
                  <a:gd name="T3" fmla="*/ 2147483646 h 979"/>
                  <a:gd name="T4" fmla="*/ 2147483646 w 1227"/>
                  <a:gd name="T5" fmla="*/ 2147483646 h 979"/>
                  <a:gd name="T6" fmla="*/ 2147483646 w 1227"/>
                  <a:gd name="T7" fmla="*/ 2147483646 h 979"/>
                  <a:gd name="T8" fmla="*/ 2147483646 w 1227"/>
                  <a:gd name="T9" fmla="*/ 2147483646 h 979"/>
                  <a:gd name="T10" fmla="*/ 2147483646 w 1227"/>
                  <a:gd name="T11" fmla="*/ 2147483646 h 979"/>
                  <a:gd name="T12" fmla="*/ 2147483646 w 1227"/>
                  <a:gd name="T13" fmla="*/ 2147483646 h 979"/>
                  <a:gd name="T14" fmla="*/ 2147483646 w 1227"/>
                  <a:gd name="T15" fmla="*/ 2147483646 h 979"/>
                  <a:gd name="T16" fmla="*/ 2147483646 w 1227"/>
                  <a:gd name="T17" fmla="*/ 2147483646 h 979"/>
                  <a:gd name="T18" fmla="*/ 2147483646 w 1227"/>
                  <a:gd name="T19" fmla="*/ 2147483646 h 979"/>
                  <a:gd name="T20" fmla="*/ 2147483646 w 1227"/>
                  <a:gd name="T21" fmla="*/ 2147483646 h 979"/>
                  <a:gd name="T22" fmla="*/ 2147483646 w 1227"/>
                  <a:gd name="T23" fmla="*/ 2147483646 h 979"/>
                  <a:gd name="T24" fmla="*/ 2147483646 w 1227"/>
                  <a:gd name="T25" fmla="*/ 2147483646 h 979"/>
                  <a:gd name="T26" fmla="*/ 2147483646 w 1227"/>
                  <a:gd name="T27" fmla="*/ 2147483646 h 979"/>
                  <a:gd name="T28" fmla="*/ 2147483646 w 1227"/>
                  <a:gd name="T29" fmla="*/ 2147483646 h 979"/>
                  <a:gd name="T30" fmla="*/ 2147483646 w 1227"/>
                  <a:gd name="T31" fmla="*/ 2147483646 h 979"/>
                  <a:gd name="T32" fmla="*/ 2147483646 w 1227"/>
                  <a:gd name="T33" fmla="*/ 2147483646 h 979"/>
                  <a:gd name="T34" fmla="*/ 2147483646 w 1227"/>
                  <a:gd name="T35" fmla="*/ 2147483646 h 979"/>
                  <a:gd name="T36" fmla="*/ 2147483646 w 1227"/>
                  <a:gd name="T37" fmla="*/ 2147483646 h 979"/>
                  <a:gd name="T38" fmla="*/ 2147483646 w 1227"/>
                  <a:gd name="T39" fmla="*/ 2147483646 h 979"/>
                  <a:gd name="T40" fmla="*/ 2147483646 w 1227"/>
                  <a:gd name="T41" fmla="*/ 2147483646 h 979"/>
                  <a:gd name="T42" fmla="*/ 2147483646 w 1227"/>
                  <a:gd name="T43" fmla="*/ 2147483646 h 979"/>
                  <a:gd name="T44" fmla="*/ 2147483646 w 1227"/>
                  <a:gd name="T45" fmla="*/ 2147483646 h 979"/>
                  <a:gd name="T46" fmla="*/ 2147483646 w 1227"/>
                  <a:gd name="T47" fmla="*/ 2147483646 h 979"/>
                  <a:gd name="T48" fmla="*/ 2147483646 w 1227"/>
                  <a:gd name="T49" fmla="*/ 2147483646 h 979"/>
                  <a:gd name="T50" fmla="*/ 2147483646 w 1227"/>
                  <a:gd name="T51" fmla="*/ 2147483646 h 979"/>
                  <a:gd name="T52" fmla="*/ 2147483646 w 1227"/>
                  <a:gd name="T53" fmla="*/ 2147483646 h 979"/>
                  <a:gd name="T54" fmla="*/ 2147483646 w 1227"/>
                  <a:gd name="T55" fmla="*/ 2147483646 h 979"/>
                  <a:gd name="T56" fmla="*/ 2147483646 w 1227"/>
                  <a:gd name="T57" fmla="*/ 2147483646 h 979"/>
                  <a:gd name="T58" fmla="*/ 0 w 1227"/>
                  <a:gd name="T59" fmla="*/ 2147483646 h 979"/>
                  <a:gd name="T60" fmla="*/ 2147483646 w 1227"/>
                  <a:gd name="T61" fmla="*/ 2147483646 h 979"/>
                  <a:gd name="T62" fmla="*/ 2147483646 w 1227"/>
                  <a:gd name="T63" fmla="*/ 2147483646 h 979"/>
                  <a:gd name="T64" fmla="*/ 2147483646 w 1227"/>
                  <a:gd name="T65" fmla="*/ 2147483646 h 979"/>
                  <a:gd name="T66" fmla="*/ 2147483646 w 1227"/>
                  <a:gd name="T67" fmla="*/ 2147483646 h 979"/>
                  <a:gd name="T68" fmla="*/ 2147483646 w 1227"/>
                  <a:gd name="T69" fmla="*/ 2147483646 h 979"/>
                  <a:gd name="T70" fmla="*/ 2147483646 w 1227"/>
                  <a:gd name="T71" fmla="*/ 2147483646 h 979"/>
                  <a:gd name="T72" fmla="*/ 2147483646 w 1227"/>
                  <a:gd name="T73" fmla="*/ 2147483646 h 979"/>
                  <a:gd name="T74" fmla="*/ 2147483646 w 1227"/>
                  <a:gd name="T75" fmla="*/ 2147483646 h 979"/>
                  <a:gd name="T76" fmla="*/ 2147483646 w 1227"/>
                  <a:gd name="T77" fmla="*/ 2147483646 h 979"/>
                  <a:gd name="T78" fmla="*/ 2147483646 w 1227"/>
                  <a:gd name="T79" fmla="*/ 2147483646 h 979"/>
                  <a:gd name="T80" fmla="*/ 2147483646 w 1227"/>
                  <a:gd name="T81" fmla="*/ 2147483646 h 979"/>
                  <a:gd name="T82" fmla="*/ 2147483646 w 1227"/>
                  <a:gd name="T83" fmla="*/ 2147483646 h 979"/>
                  <a:gd name="T84" fmla="*/ 2147483646 w 1227"/>
                  <a:gd name="T85" fmla="*/ 2147483646 h 979"/>
                  <a:gd name="T86" fmla="*/ 2147483646 w 1227"/>
                  <a:gd name="T87" fmla="*/ 2147483646 h 979"/>
                  <a:gd name="T88" fmla="*/ 2147483646 w 1227"/>
                  <a:gd name="T89" fmla="*/ 2147483646 h 979"/>
                  <a:gd name="T90" fmla="*/ 2147483646 w 1227"/>
                  <a:gd name="T91" fmla="*/ 2147483646 h 979"/>
                  <a:gd name="T92" fmla="*/ 2147483646 w 1227"/>
                  <a:gd name="T93" fmla="*/ 2147483646 h 979"/>
                  <a:gd name="T94" fmla="*/ 2147483646 w 1227"/>
                  <a:gd name="T95" fmla="*/ 2147483646 h 979"/>
                  <a:gd name="T96" fmla="*/ 2147483646 w 1227"/>
                  <a:gd name="T97" fmla="*/ 2147483646 h 979"/>
                  <a:gd name="T98" fmla="*/ 2147483646 w 1227"/>
                  <a:gd name="T99" fmla="*/ 2147483646 h 979"/>
                  <a:gd name="T100" fmla="*/ 2147483646 w 1227"/>
                  <a:gd name="T101" fmla="*/ 2147483646 h 979"/>
                  <a:gd name="T102" fmla="*/ 2147483646 w 1227"/>
                  <a:gd name="T103" fmla="*/ 2147483646 h 979"/>
                  <a:gd name="T104" fmla="*/ 2147483646 w 1227"/>
                  <a:gd name="T105" fmla="*/ 2147483646 h 979"/>
                  <a:gd name="T106" fmla="*/ 2147483646 w 1227"/>
                  <a:gd name="T107" fmla="*/ 2147483646 h 979"/>
                  <a:gd name="T108" fmla="*/ 2147483646 w 1227"/>
                  <a:gd name="T109" fmla="*/ 2147483646 h 979"/>
                  <a:gd name="T110" fmla="*/ 2147483646 w 1227"/>
                  <a:gd name="T111" fmla="*/ 2147483646 h 979"/>
                  <a:gd name="T112" fmla="*/ 2147483646 w 1227"/>
                  <a:gd name="T113" fmla="*/ 2147483646 h 97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227"/>
                  <a:gd name="T172" fmla="*/ 0 h 979"/>
                  <a:gd name="T173" fmla="*/ 1227 w 1227"/>
                  <a:gd name="T174" fmla="*/ 979 h 979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227" h="979">
                    <a:moveTo>
                      <a:pt x="940" y="468"/>
                    </a:moveTo>
                    <a:lnTo>
                      <a:pt x="937" y="468"/>
                    </a:lnTo>
                    <a:lnTo>
                      <a:pt x="935" y="467"/>
                    </a:lnTo>
                    <a:lnTo>
                      <a:pt x="932" y="466"/>
                    </a:lnTo>
                    <a:lnTo>
                      <a:pt x="931" y="465"/>
                    </a:lnTo>
                    <a:lnTo>
                      <a:pt x="930" y="461"/>
                    </a:lnTo>
                    <a:lnTo>
                      <a:pt x="930" y="456"/>
                    </a:lnTo>
                    <a:lnTo>
                      <a:pt x="932" y="442"/>
                    </a:lnTo>
                    <a:lnTo>
                      <a:pt x="933" y="425"/>
                    </a:lnTo>
                    <a:lnTo>
                      <a:pt x="933" y="420"/>
                    </a:lnTo>
                    <a:lnTo>
                      <a:pt x="932" y="416"/>
                    </a:lnTo>
                    <a:lnTo>
                      <a:pt x="930" y="412"/>
                    </a:lnTo>
                    <a:lnTo>
                      <a:pt x="928" y="407"/>
                    </a:lnTo>
                    <a:lnTo>
                      <a:pt x="921" y="400"/>
                    </a:lnTo>
                    <a:lnTo>
                      <a:pt x="915" y="392"/>
                    </a:lnTo>
                    <a:lnTo>
                      <a:pt x="908" y="385"/>
                    </a:lnTo>
                    <a:lnTo>
                      <a:pt x="903" y="378"/>
                    </a:lnTo>
                    <a:lnTo>
                      <a:pt x="902" y="373"/>
                    </a:lnTo>
                    <a:lnTo>
                      <a:pt x="901" y="370"/>
                    </a:lnTo>
                    <a:lnTo>
                      <a:pt x="899" y="367"/>
                    </a:lnTo>
                    <a:lnTo>
                      <a:pt x="901" y="363"/>
                    </a:lnTo>
                    <a:lnTo>
                      <a:pt x="865" y="344"/>
                    </a:lnTo>
                    <a:lnTo>
                      <a:pt x="838" y="328"/>
                    </a:lnTo>
                    <a:lnTo>
                      <a:pt x="817" y="312"/>
                    </a:lnTo>
                    <a:lnTo>
                      <a:pt x="801" y="300"/>
                    </a:lnTo>
                    <a:lnTo>
                      <a:pt x="779" y="280"/>
                    </a:lnTo>
                    <a:lnTo>
                      <a:pt x="761" y="264"/>
                    </a:lnTo>
                    <a:lnTo>
                      <a:pt x="759" y="263"/>
                    </a:lnTo>
                    <a:lnTo>
                      <a:pt x="757" y="258"/>
                    </a:lnTo>
                    <a:lnTo>
                      <a:pt x="756" y="252"/>
                    </a:lnTo>
                    <a:lnTo>
                      <a:pt x="754" y="245"/>
                    </a:lnTo>
                    <a:lnTo>
                      <a:pt x="752" y="229"/>
                    </a:lnTo>
                    <a:lnTo>
                      <a:pt x="748" y="216"/>
                    </a:lnTo>
                    <a:lnTo>
                      <a:pt x="740" y="218"/>
                    </a:lnTo>
                    <a:lnTo>
                      <a:pt x="733" y="218"/>
                    </a:lnTo>
                    <a:lnTo>
                      <a:pt x="726" y="218"/>
                    </a:lnTo>
                    <a:lnTo>
                      <a:pt x="718" y="217"/>
                    </a:lnTo>
                    <a:lnTo>
                      <a:pt x="711" y="215"/>
                    </a:lnTo>
                    <a:lnTo>
                      <a:pt x="703" y="212"/>
                    </a:lnTo>
                    <a:lnTo>
                      <a:pt x="695" y="207"/>
                    </a:lnTo>
                    <a:lnTo>
                      <a:pt x="688" y="203"/>
                    </a:lnTo>
                    <a:lnTo>
                      <a:pt x="667" y="199"/>
                    </a:lnTo>
                    <a:lnTo>
                      <a:pt x="650" y="197"/>
                    </a:lnTo>
                    <a:lnTo>
                      <a:pt x="638" y="196"/>
                    </a:lnTo>
                    <a:lnTo>
                      <a:pt x="630" y="196"/>
                    </a:lnTo>
                    <a:lnTo>
                      <a:pt x="617" y="199"/>
                    </a:lnTo>
                    <a:lnTo>
                      <a:pt x="602" y="203"/>
                    </a:lnTo>
                    <a:lnTo>
                      <a:pt x="596" y="201"/>
                    </a:lnTo>
                    <a:lnTo>
                      <a:pt x="591" y="201"/>
                    </a:lnTo>
                    <a:lnTo>
                      <a:pt x="584" y="202"/>
                    </a:lnTo>
                    <a:lnTo>
                      <a:pt x="578" y="203"/>
                    </a:lnTo>
                    <a:lnTo>
                      <a:pt x="570" y="204"/>
                    </a:lnTo>
                    <a:lnTo>
                      <a:pt x="563" y="205"/>
                    </a:lnTo>
                    <a:lnTo>
                      <a:pt x="556" y="204"/>
                    </a:lnTo>
                    <a:lnTo>
                      <a:pt x="548" y="203"/>
                    </a:lnTo>
                    <a:lnTo>
                      <a:pt x="530" y="195"/>
                    </a:lnTo>
                    <a:lnTo>
                      <a:pt x="517" y="190"/>
                    </a:lnTo>
                    <a:lnTo>
                      <a:pt x="513" y="187"/>
                    </a:lnTo>
                    <a:lnTo>
                      <a:pt x="509" y="183"/>
                    </a:lnTo>
                    <a:lnTo>
                      <a:pt x="505" y="179"/>
                    </a:lnTo>
                    <a:lnTo>
                      <a:pt x="502" y="173"/>
                    </a:lnTo>
                    <a:lnTo>
                      <a:pt x="493" y="152"/>
                    </a:lnTo>
                    <a:lnTo>
                      <a:pt x="487" y="136"/>
                    </a:lnTo>
                    <a:lnTo>
                      <a:pt x="483" y="128"/>
                    </a:lnTo>
                    <a:lnTo>
                      <a:pt x="479" y="121"/>
                    </a:lnTo>
                    <a:lnTo>
                      <a:pt x="476" y="115"/>
                    </a:lnTo>
                    <a:lnTo>
                      <a:pt x="470" y="109"/>
                    </a:lnTo>
                    <a:lnTo>
                      <a:pt x="465" y="103"/>
                    </a:lnTo>
                    <a:lnTo>
                      <a:pt x="459" y="96"/>
                    </a:lnTo>
                    <a:lnTo>
                      <a:pt x="451" y="91"/>
                    </a:lnTo>
                    <a:lnTo>
                      <a:pt x="443" y="86"/>
                    </a:lnTo>
                    <a:lnTo>
                      <a:pt x="432" y="81"/>
                    </a:lnTo>
                    <a:lnTo>
                      <a:pt x="420" y="77"/>
                    </a:lnTo>
                    <a:lnTo>
                      <a:pt x="405" y="72"/>
                    </a:lnTo>
                    <a:lnTo>
                      <a:pt x="389" y="68"/>
                    </a:lnTo>
                    <a:lnTo>
                      <a:pt x="365" y="61"/>
                    </a:lnTo>
                    <a:lnTo>
                      <a:pt x="346" y="55"/>
                    </a:lnTo>
                    <a:lnTo>
                      <a:pt x="332" y="48"/>
                    </a:lnTo>
                    <a:lnTo>
                      <a:pt x="317" y="40"/>
                    </a:lnTo>
                    <a:lnTo>
                      <a:pt x="303" y="32"/>
                    </a:lnTo>
                    <a:lnTo>
                      <a:pt x="287" y="23"/>
                    </a:lnTo>
                    <a:lnTo>
                      <a:pt x="265" y="13"/>
                    </a:lnTo>
                    <a:lnTo>
                      <a:pt x="236" y="0"/>
                    </a:lnTo>
                    <a:lnTo>
                      <a:pt x="214" y="10"/>
                    </a:lnTo>
                    <a:lnTo>
                      <a:pt x="186" y="24"/>
                    </a:lnTo>
                    <a:lnTo>
                      <a:pt x="178" y="28"/>
                    </a:lnTo>
                    <a:lnTo>
                      <a:pt x="171" y="33"/>
                    </a:lnTo>
                    <a:lnTo>
                      <a:pt x="166" y="38"/>
                    </a:lnTo>
                    <a:lnTo>
                      <a:pt x="160" y="44"/>
                    </a:lnTo>
                    <a:lnTo>
                      <a:pt x="156" y="49"/>
                    </a:lnTo>
                    <a:lnTo>
                      <a:pt x="153" y="55"/>
                    </a:lnTo>
                    <a:lnTo>
                      <a:pt x="151" y="61"/>
                    </a:lnTo>
                    <a:lnTo>
                      <a:pt x="149" y="68"/>
                    </a:lnTo>
                    <a:lnTo>
                      <a:pt x="151" y="75"/>
                    </a:lnTo>
                    <a:lnTo>
                      <a:pt x="152" y="82"/>
                    </a:lnTo>
                    <a:lnTo>
                      <a:pt x="153" y="90"/>
                    </a:lnTo>
                    <a:lnTo>
                      <a:pt x="156" y="97"/>
                    </a:lnTo>
                    <a:lnTo>
                      <a:pt x="159" y="105"/>
                    </a:lnTo>
                    <a:lnTo>
                      <a:pt x="164" y="112"/>
                    </a:lnTo>
                    <a:lnTo>
                      <a:pt x="169" y="118"/>
                    </a:lnTo>
                    <a:lnTo>
                      <a:pt x="177" y="123"/>
                    </a:lnTo>
                    <a:lnTo>
                      <a:pt x="171" y="129"/>
                    </a:lnTo>
                    <a:lnTo>
                      <a:pt x="163" y="139"/>
                    </a:lnTo>
                    <a:lnTo>
                      <a:pt x="151" y="150"/>
                    </a:lnTo>
                    <a:lnTo>
                      <a:pt x="136" y="162"/>
                    </a:lnTo>
                    <a:lnTo>
                      <a:pt x="120" y="173"/>
                    </a:lnTo>
                    <a:lnTo>
                      <a:pt x="102" y="182"/>
                    </a:lnTo>
                    <a:lnTo>
                      <a:pt x="95" y="186"/>
                    </a:lnTo>
                    <a:lnTo>
                      <a:pt x="86" y="188"/>
                    </a:lnTo>
                    <a:lnTo>
                      <a:pt x="78" y="190"/>
                    </a:lnTo>
                    <a:lnTo>
                      <a:pt x="70" y="191"/>
                    </a:lnTo>
                    <a:lnTo>
                      <a:pt x="54" y="190"/>
                    </a:lnTo>
                    <a:lnTo>
                      <a:pt x="37" y="187"/>
                    </a:lnTo>
                    <a:lnTo>
                      <a:pt x="22" y="183"/>
                    </a:lnTo>
                    <a:lnTo>
                      <a:pt x="10" y="179"/>
                    </a:lnTo>
                    <a:lnTo>
                      <a:pt x="9" y="183"/>
                    </a:lnTo>
                    <a:lnTo>
                      <a:pt x="6" y="193"/>
                    </a:lnTo>
                    <a:lnTo>
                      <a:pt x="2" y="208"/>
                    </a:lnTo>
                    <a:lnTo>
                      <a:pt x="0" y="226"/>
                    </a:lnTo>
                    <a:lnTo>
                      <a:pt x="0" y="236"/>
                    </a:lnTo>
                    <a:lnTo>
                      <a:pt x="0" y="245"/>
                    </a:lnTo>
                    <a:lnTo>
                      <a:pt x="2" y="253"/>
                    </a:lnTo>
                    <a:lnTo>
                      <a:pt x="5" y="261"/>
                    </a:lnTo>
                    <a:lnTo>
                      <a:pt x="9" y="269"/>
                    </a:lnTo>
                    <a:lnTo>
                      <a:pt x="14" y="276"/>
                    </a:lnTo>
                    <a:lnTo>
                      <a:pt x="18" y="278"/>
                    </a:lnTo>
                    <a:lnTo>
                      <a:pt x="21" y="280"/>
                    </a:lnTo>
                    <a:lnTo>
                      <a:pt x="25" y="282"/>
                    </a:lnTo>
                    <a:lnTo>
                      <a:pt x="30" y="283"/>
                    </a:lnTo>
                    <a:lnTo>
                      <a:pt x="32" y="291"/>
                    </a:lnTo>
                    <a:lnTo>
                      <a:pt x="35" y="299"/>
                    </a:lnTo>
                    <a:lnTo>
                      <a:pt x="40" y="307"/>
                    </a:lnTo>
                    <a:lnTo>
                      <a:pt x="44" y="315"/>
                    </a:lnTo>
                    <a:lnTo>
                      <a:pt x="56" y="331"/>
                    </a:lnTo>
                    <a:lnTo>
                      <a:pt x="69" y="347"/>
                    </a:lnTo>
                    <a:lnTo>
                      <a:pt x="83" y="364"/>
                    </a:lnTo>
                    <a:lnTo>
                      <a:pt x="92" y="383"/>
                    </a:lnTo>
                    <a:lnTo>
                      <a:pt x="97" y="393"/>
                    </a:lnTo>
                    <a:lnTo>
                      <a:pt x="100" y="403"/>
                    </a:lnTo>
                    <a:lnTo>
                      <a:pt x="102" y="414"/>
                    </a:lnTo>
                    <a:lnTo>
                      <a:pt x="103" y="425"/>
                    </a:lnTo>
                    <a:lnTo>
                      <a:pt x="110" y="425"/>
                    </a:lnTo>
                    <a:lnTo>
                      <a:pt x="117" y="426"/>
                    </a:lnTo>
                    <a:lnTo>
                      <a:pt x="121" y="427"/>
                    </a:lnTo>
                    <a:lnTo>
                      <a:pt x="124" y="429"/>
                    </a:lnTo>
                    <a:lnTo>
                      <a:pt x="128" y="431"/>
                    </a:lnTo>
                    <a:lnTo>
                      <a:pt x="131" y="435"/>
                    </a:lnTo>
                    <a:lnTo>
                      <a:pt x="133" y="438"/>
                    </a:lnTo>
                    <a:lnTo>
                      <a:pt x="135" y="441"/>
                    </a:lnTo>
                    <a:lnTo>
                      <a:pt x="139" y="450"/>
                    </a:lnTo>
                    <a:lnTo>
                      <a:pt x="143" y="459"/>
                    </a:lnTo>
                    <a:lnTo>
                      <a:pt x="148" y="469"/>
                    </a:lnTo>
                    <a:lnTo>
                      <a:pt x="156" y="480"/>
                    </a:lnTo>
                    <a:lnTo>
                      <a:pt x="184" y="504"/>
                    </a:lnTo>
                    <a:lnTo>
                      <a:pt x="216" y="536"/>
                    </a:lnTo>
                    <a:lnTo>
                      <a:pt x="224" y="546"/>
                    </a:lnTo>
                    <a:lnTo>
                      <a:pt x="232" y="556"/>
                    </a:lnTo>
                    <a:lnTo>
                      <a:pt x="238" y="565"/>
                    </a:lnTo>
                    <a:lnTo>
                      <a:pt x="244" y="575"/>
                    </a:lnTo>
                    <a:lnTo>
                      <a:pt x="249" y="585"/>
                    </a:lnTo>
                    <a:lnTo>
                      <a:pt x="253" y="595"/>
                    </a:lnTo>
                    <a:lnTo>
                      <a:pt x="255" y="606"/>
                    </a:lnTo>
                    <a:lnTo>
                      <a:pt x="256" y="616"/>
                    </a:lnTo>
                    <a:lnTo>
                      <a:pt x="256" y="624"/>
                    </a:lnTo>
                    <a:lnTo>
                      <a:pt x="257" y="631"/>
                    </a:lnTo>
                    <a:lnTo>
                      <a:pt x="258" y="638"/>
                    </a:lnTo>
                    <a:lnTo>
                      <a:pt x="260" y="645"/>
                    </a:lnTo>
                    <a:lnTo>
                      <a:pt x="266" y="659"/>
                    </a:lnTo>
                    <a:lnTo>
                      <a:pt x="272" y="670"/>
                    </a:lnTo>
                    <a:lnTo>
                      <a:pt x="280" y="681"/>
                    </a:lnTo>
                    <a:lnTo>
                      <a:pt x="289" y="691"/>
                    </a:lnTo>
                    <a:lnTo>
                      <a:pt x="299" y="701"/>
                    </a:lnTo>
                    <a:lnTo>
                      <a:pt x="310" y="710"/>
                    </a:lnTo>
                    <a:lnTo>
                      <a:pt x="331" y="730"/>
                    </a:lnTo>
                    <a:lnTo>
                      <a:pt x="352" y="750"/>
                    </a:lnTo>
                    <a:lnTo>
                      <a:pt x="361" y="761"/>
                    </a:lnTo>
                    <a:lnTo>
                      <a:pt x="369" y="774"/>
                    </a:lnTo>
                    <a:lnTo>
                      <a:pt x="377" y="787"/>
                    </a:lnTo>
                    <a:lnTo>
                      <a:pt x="382" y="801"/>
                    </a:lnTo>
                    <a:lnTo>
                      <a:pt x="388" y="814"/>
                    </a:lnTo>
                    <a:lnTo>
                      <a:pt x="394" y="827"/>
                    </a:lnTo>
                    <a:lnTo>
                      <a:pt x="401" y="838"/>
                    </a:lnTo>
                    <a:lnTo>
                      <a:pt x="409" y="848"/>
                    </a:lnTo>
                    <a:lnTo>
                      <a:pt x="425" y="867"/>
                    </a:lnTo>
                    <a:lnTo>
                      <a:pt x="443" y="886"/>
                    </a:lnTo>
                    <a:lnTo>
                      <a:pt x="459" y="905"/>
                    </a:lnTo>
                    <a:lnTo>
                      <a:pt x="476" y="925"/>
                    </a:lnTo>
                    <a:lnTo>
                      <a:pt x="483" y="938"/>
                    </a:lnTo>
                    <a:lnTo>
                      <a:pt x="490" y="950"/>
                    </a:lnTo>
                    <a:lnTo>
                      <a:pt x="496" y="964"/>
                    </a:lnTo>
                    <a:lnTo>
                      <a:pt x="502" y="979"/>
                    </a:lnTo>
                    <a:lnTo>
                      <a:pt x="528" y="979"/>
                    </a:lnTo>
                    <a:lnTo>
                      <a:pt x="535" y="973"/>
                    </a:lnTo>
                    <a:lnTo>
                      <a:pt x="539" y="966"/>
                    </a:lnTo>
                    <a:lnTo>
                      <a:pt x="541" y="960"/>
                    </a:lnTo>
                    <a:lnTo>
                      <a:pt x="543" y="953"/>
                    </a:lnTo>
                    <a:lnTo>
                      <a:pt x="543" y="938"/>
                    </a:lnTo>
                    <a:lnTo>
                      <a:pt x="541" y="918"/>
                    </a:lnTo>
                    <a:lnTo>
                      <a:pt x="543" y="913"/>
                    </a:lnTo>
                    <a:lnTo>
                      <a:pt x="546" y="909"/>
                    </a:lnTo>
                    <a:lnTo>
                      <a:pt x="551" y="905"/>
                    </a:lnTo>
                    <a:lnTo>
                      <a:pt x="557" y="901"/>
                    </a:lnTo>
                    <a:lnTo>
                      <a:pt x="563" y="898"/>
                    </a:lnTo>
                    <a:lnTo>
                      <a:pt x="570" y="896"/>
                    </a:lnTo>
                    <a:lnTo>
                      <a:pt x="577" y="894"/>
                    </a:lnTo>
                    <a:lnTo>
                      <a:pt x="582" y="893"/>
                    </a:lnTo>
                    <a:lnTo>
                      <a:pt x="594" y="894"/>
                    </a:lnTo>
                    <a:lnTo>
                      <a:pt x="605" y="895"/>
                    </a:lnTo>
                    <a:lnTo>
                      <a:pt x="616" y="896"/>
                    </a:lnTo>
                    <a:lnTo>
                      <a:pt x="626" y="898"/>
                    </a:lnTo>
                    <a:lnTo>
                      <a:pt x="644" y="902"/>
                    </a:lnTo>
                    <a:lnTo>
                      <a:pt x="660" y="909"/>
                    </a:lnTo>
                    <a:lnTo>
                      <a:pt x="674" y="916"/>
                    </a:lnTo>
                    <a:lnTo>
                      <a:pt x="686" y="924"/>
                    </a:lnTo>
                    <a:lnTo>
                      <a:pt x="697" y="934"/>
                    </a:lnTo>
                    <a:lnTo>
                      <a:pt x="708" y="943"/>
                    </a:lnTo>
                    <a:lnTo>
                      <a:pt x="729" y="916"/>
                    </a:lnTo>
                    <a:lnTo>
                      <a:pt x="756" y="881"/>
                    </a:lnTo>
                    <a:lnTo>
                      <a:pt x="778" y="851"/>
                    </a:lnTo>
                    <a:lnTo>
                      <a:pt x="787" y="838"/>
                    </a:lnTo>
                    <a:lnTo>
                      <a:pt x="1033" y="789"/>
                    </a:lnTo>
                    <a:lnTo>
                      <a:pt x="1146" y="763"/>
                    </a:lnTo>
                    <a:lnTo>
                      <a:pt x="1227" y="616"/>
                    </a:lnTo>
                    <a:lnTo>
                      <a:pt x="1199" y="567"/>
                    </a:lnTo>
                    <a:lnTo>
                      <a:pt x="1173" y="591"/>
                    </a:lnTo>
                    <a:lnTo>
                      <a:pt x="1000" y="573"/>
                    </a:lnTo>
                    <a:lnTo>
                      <a:pt x="940" y="480"/>
                    </a:lnTo>
                    <a:lnTo>
                      <a:pt x="940" y="468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06" name="Freeform 528">
                <a:extLst>
                  <a:ext uri="{FF2B5EF4-FFF2-40B4-BE49-F238E27FC236}">
                    <a16:creationId xmlns="" xmlns:a16="http://schemas.microsoft.com/office/drawing/2014/main" id="{9F69950D-E0AA-42AF-9B90-40B352F33F1E}"/>
                  </a:ext>
                </a:extLst>
              </p:cNvPr>
              <p:cNvSpPr>
                <a:spLocks/>
              </p:cNvSpPr>
              <p:nvPr>
                <p:custDataLst>
                  <p:tags r:id="rId364"/>
                </p:custDataLst>
              </p:nvPr>
            </p:nvSpPr>
            <p:spPr bwMode="auto">
              <a:xfrm>
                <a:off x="4322763" y="2182813"/>
                <a:ext cx="57150" cy="57150"/>
              </a:xfrm>
              <a:custGeom>
                <a:avLst/>
                <a:gdLst>
                  <a:gd name="T0" fmla="*/ 2147483646 w 146"/>
                  <a:gd name="T1" fmla="*/ 2147483646 h 81"/>
                  <a:gd name="T2" fmla="*/ 2147483646 w 146"/>
                  <a:gd name="T3" fmla="*/ 2147483646 h 81"/>
                  <a:gd name="T4" fmla="*/ 2147483646 w 146"/>
                  <a:gd name="T5" fmla="*/ 2147483646 h 81"/>
                  <a:gd name="T6" fmla="*/ 2147483646 w 146"/>
                  <a:gd name="T7" fmla="*/ 2147483646 h 81"/>
                  <a:gd name="T8" fmla="*/ 2147483646 w 146"/>
                  <a:gd name="T9" fmla="*/ 2147483646 h 81"/>
                  <a:gd name="T10" fmla="*/ 2147483646 w 146"/>
                  <a:gd name="T11" fmla="*/ 2147483646 h 81"/>
                  <a:gd name="T12" fmla="*/ 2147483646 w 146"/>
                  <a:gd name="T13" fmla="*/ 2147483646 h 81"/>
                  <a:gd name="T14" fmla="*/ 2147483646 w 146"/>
                  <a:gd name="T15" fmla="*/ 2147483646 h 81"/>
                  <a:gd name="T16" fmla="*/ 2147483646 w 146"/>
                  <a:gd name="T17" fmla="*/ 2147483646 h 81"/>
                  <a:gd name="T18" fmla="*/ 2147483646 w 146"/>
                  <a:gd name="T19" fmla="*/ 2147483646 h 81"/>
                  <a:gd name="T20" fmla="*/ 2147483646 w 146"/>
                  <a:gd name="T21" fmla="*/ 2147483646 h 81"/>
                  <a:gd name="T22" fmla="*/ 2147483646 w 146"/>
                  <a:gd name="T23" fmla="*/ 2147483646 h 81"/>
                  <a:gd name="T24" fmla="*/ 2147483646 w 146"/>
                  <a:gd name="T25" fmla="*/ 2147483646 h 81"/>
                  <a:gd name="T26" fmla="*/ 2147483646 w 146"/>
                  <a:gd name="T27" fmla="*/ 2147483646 h 81"/>
                  <a:gd name="T28" fmla="*/ 0 w 146"/>
                  <a:gd name="T29" fmla="*/ 2147483646 h 81"/>
                  <a:gd name="T30" fmla="*/ 0 w 146"/>
                  <a:gd name="T31" fmla="*/ 2147483646 h 81"/>
                  <a:gd name="T32" fmla="*/ 0 w 146"/>
                  <a:gd name="T33" fmla="*/ 2147483646 h 81"/>
                  <a:gd name="T34" fmla="*/ 0 w 146"/>
                  <a:gd name="T35" fmla="*/ 2147483646 h 81"/>
                  <a:gd name="T36" fmla="*/ 0 w 146"/>
                  <a:gd name="T37" fmla="*/ 2147483646 h 81"/>
                  <a:gd name="T38" fmla="*/ 2147483646 w 146"/>
                  <a:gd name="T39" fmla="*/ 2147483646 h 81"/>
                  <a:gd name="T40" fmla="*/ 2147483646 w 146"/>
                  <a:gd name="T41" fmla="*/ 2147483646 h 81"/>
                  <a:gd name="T42" fmla="*/ 2147483646 w 146"/>
                  <a:gd name="T43" fmla="*/ 2147483646 h 81"/>
                  <a:gd name="T44" fmla="*/ 2147483646 w 146"/>
                  <a:gd name="T45" fmla="*/ 2147483646 h 81"/>
                  <a:gd name="T46" fmla="*/ 2147483646 w 146"/>
                  <a:gd name="T47" fmla="*/ 2147483646 h 81"/>
                  <a:gd name="T48" fmla="*/ 2147483646 w 146"/>
                  <a:gd name="T49" fmla="*/ 2147483646 h 81"/>
                  <a:gd name="T50" fmla="*/ 2147483646 w 146"/>
                  <a:gd name="T51" fmla="*/ 2147483646 h 81"/>
                  <a:gd name="T52" fmla="*/ 2147483646 w 146"/>
                  <a:gd name="T53" fmla="*/ 2147483646 h 81"/>
                  <a:gd name="T54" fmla="*/ 2147483646 w 146"/>
                  <a:gd name="T55" fmla="*/ 2147483646 h 81"/>
                  <a:gd name="T56" fmla="*/ 2147483646 w 146"/>
                  <a:gd name="T57" fmla="*/ 0 h 81"/>
                  <a:gd name="T58" fmla="*/ 2147483646 w 146"/>
                  <a:gd name="T59" fmla="*/ 2147483646 h 81"/>
                  <a:gd name="T60" fmla="*/ 2147483646 w 146"/>
                  <a:gd name="T61" fmla="*/ 2147483646 h 81"/>
                  <a:gd name="T62" fmla="*/ 2147483646 w 146"/>
                  <a:gd name="T63" fmla="*/ 2147483646 h 81"/>
                  <a:gd name="T64" fmla="*/ 2147483646 w 146"/>
                  <a:gd name="T65" fmla="*/ 2147483646 h 8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46"/>
                  <a:gd name="T100" fmla="*/ 0 h 81"/>
                  <a:gd name="T101" fmla="*/ 146 w 146"/>
                  <a:gd name="T102" fmla="*/ 81 h 81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46" h="81">
                    <a:moveTo>
                      <a:pt x="146" y="18"/>
                    </a:moveTo>
                    <a:lnTo>
                      <a:pt x="138" y="24"/>
                    </a:lnTo>
                    <a:lnTo>
                      <a:pt x="130" y="29"/>
                    </a:lnTo>
                    <a:lnTo>
                      <a:pt x="123" y="35"/>
                    </a:lnTo>
                    <a:lnTo>
                      <a:pt x="118" y="41"/>
                    </a:lnTo>
                    <a:lnTo>
                      <a:pt x="108" y="53"/>
                    </a:lnTo>
                    <a:lnTo>
                      <a:pt x="98" y="64"/>
                    </a:lnTo>
                    <a:lnTo>
                      <a:pt x="93" y="69"/>
                    </a:lnTo>
                    <a:lnTo>
                      <a:pt x="85" y="73"/>
                    </a:lnTo>
                    <a:lnTo>
                      <a:pt x="76" y="77"/>
                    </a:lnTo>
                    <a:lnTo>
                      <a:pt x="66" y="80"/>
                    </a:lnTo>
                    <a:lnTo>
                      <a:pt x="53" y="81"/>
                    </a:lnTo>
                    <a:lnTo>
                      <a:pt x="39" y="80"/>
                    </a:lnTo>
                    <a:lnTo>
                      <a:pt x="21" y="77"/>
                    </a:lnTo>
                    <a:lnTo>
                      <a:pt x="0" y="74"/>
                    </a:lnTo>
                    <a:lnTo>
                      <a:pt x="0" y="62"/>
                    </a:lnTo>
                    <a:lnTo>
                      <a:pt x="0" y="49"/>
                    </a:lnTo>
                    <a:lnTo>
                      <a:pt x="0" y="34"/>
                    </a:lnTo>
                    <a:lnTo>
                      <a:pt x="0" y="18"/>
                    </a:lnTo>
                    <a:lnTo>
                      <a:pt x="14" y="18"/>
                    </a:lnTo>
                    <a:lnTo>
                      <a:pt x="22" y="18"/>
                    </a:lnTo>
                    <a:lnTo>
                      <a:pt x="31" y="18"/>
                    </a:lnTo>
                    <a:lnTo>
                      <a:pt x="40" y="18"/>
                    </a:lnTo>
                    <a:lnTo>
                      <a:pt x="52" y="18"/>
                    </a:lnTo>
                    <a:lnTo>
                      <a:pt x="63" y="16"/>
                    </a:lnTo>
                    <a:lnTo>
                      <a:pt x="73" y="14"/>
                    </a:lnTo>
                    <a:lnTo>
                      <a:pt x="83" y="11"/>
                    </a:lnTo>
                    <a:lnTo>
                      <a:pt x="101" y="5"/>
                    </a:lnTo>
                    <a:lnTo>
                      <a:pt x="120" y="0"/>
                    </a:lnTo>
                    <a:lnTo>
                      <a:pt x="129" y="4"/>
                    </a:lnTo>
                    <a:lnTo>
                      <a:pt x="135" y="9"/>
                    </a:lnTo>
                    <a:lnTo>
                      <a:pt x="141" y="14"/>
                    </a:lnTo>
                    <a:lnTo>
                      <a:pt x="146" y="18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07" name="Freeform 529">
                <a:extLst>
                  <a:ext uri="{FF2B5EF4-FFF2-40B4-BE49-F238E27FC236}">
                    <a16:creationId xmlns="" xmlns:a16="http://schemas.microsoft.com/office/drawing/2014/main" id="{DC64439A-E48D-47A5-8FF1-B7BD039827AD}"/>
                  </a:ext>
                </a:extLst>
              </p:cNvPr>
              <p:cNvSpPr>
                <a:spLocks/>
              </p:cNvSpPr>
              <p:nvPr>
                <p:custDataLst>
                  <p:tags r:id="rId365"/>
                </p:custDataLst>
              </p:nvPr>
            </p:nvSpPr>
            <p:spPr bwMode="auto">
              <a:xfrm>
                <a:off x="4062413" y="2395538"/>
                <a:ext cx="15875" cy="57150"/>
              </a:xfrm>
              <a:custGeom>
                <a:avLst/>
                <a:gdLst>
                  <a:gd name="T0" fmla="*/ 2147483646 w 34"/>
                  <a:gd name="T1" fmla="*/ 2147483646 h 49"/>
                  <a:gd name="T2" fmla="*/ 2147483646 w 34"/>
                  <a:gd name="T3" fmla="*/ 2147483646 h 49"/>
                  <a:gd name="T4" fmla="*/ 2147483646 w 34"/>
                  <a:gd name="T5" fmla="*/ 2147483646 h 49"/>
                  <a:gd name="T6" fmla="*/ 2147483646 w 34"/>
                  <a:gd name="T7" fmla="*/ 2147483646 h 49"/>
                  <a:gd name="T8" fmla="*/ 2147483646 w 34"/>
                  <a:gd name="T9" fmla="*/ 2147483646 h 49"/>
                  <a:gd name="T10" fmla="*/ 2147483646 w 34"/>
                  <a:gd name="T11" fmla="*/ 2147483646 h 49"/>
                  <a:gd name="T12" fmla="*/ 2147483646 w 34"/>
                  <a:gd name="T13" fmla="*/ 2147483646 h 49"/>
                  <a:gd name="T14" fmla="*/ 2147483646 w 34"/>
                  <a:gd name="T15" fmla="*/ 2147483646 h 49"/>
                  <a:gd name="T16" fmla="*/ 2147483646 w 34"/>
                  <a:gd name="T17" fmla="*/ 0 h 49"/>
                  <a:gd name="T18" fmla="*/ 2147483646 w 34"/>
                  <a:gd name="T19" fmla="*/ 0 h 49"/>
                  <a:gd name="T20" fmla="*/ 0 w 34"/>
                  <a:gd name="T21" fmla="*/ 0 h 49"/>
                  <a:gd name="T22" fmla="*/ 2147483646 w 34"/>
                  <a:gd name="T23" fmla="*/ 2147483646 h 49"/>
                  <a:gd name="T24" fmla="*/ 2147483646 w 34"/>
                  <a:gd name="T25" fmla="*/ 2147483646 h 49"/>
                  <a:gd name="T26" fmla="*/ 2147483646 w 34"/>
                  <a:gd name="T27" fmla="*/ 2147483646 h 49"/>
                  <a:gd name="T28" fmla="*/ 2147483646 w 34"/>
                  <a:gd name="T29" fmla="*/ 2147483646 h 49"/>
                  <a:gd name="T30" fmla="*/ 2147483646 w 34"/>
                  <a:gd name="T31" fmla="*/ 2147483646 h 49"/>
                  <a:gd name="T32" fmla="*/ 2147483646 w 34"/>
                  <a:gd name="T33" fmla="*/ 2147483646 h 49"/>
                  <a:gd name="T34" fmla="*/ 2147483646 w 34"/>
                  <a:gd name="T35" fmla="*/ 2147483646 h 49"/>
                  <a:gd name="T36" fmla="*/ 2147483646 w 34"/>
                  <a:gd name="T37" fmla="*/ 2147483646 h 49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34"/>
                  <a:gd name="T58" fmla="*/ 0 h 49"/>
                  <a:gd name="T59" fmla="*/ 34 w 34"/>
                  <a:gd name="T60" fmla="*/ 49 h 49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34" h="49">
                    <a:moveTo>
                      <a:pt x="34" y="49"/>
                    </a:moveTo>
                    <a:lnTo>
                      <a:pt x="34" y="34"/>
                    </a:lnTo>
                    <a:lnTo>
                      <a:pt x="34" y="25"/>
                    </a:lnTo>
                    <a:lnTo>
                      <a:pt x="33" y="21"/>
                    </a:lnTo>
                    <a:lnTo>
                      <a:pt x="33" y="17"/>
                    </a:lnTo>
                    <a:lnTo>
                      <a:pt x="31" y="15"/>
                    </a:lnTo>
                    <a:lnTo>
                      <a:pt x="30" y="12"/>
                    </a:lnTo>
                    <a:lnTo>
                      <a:pt x="25" y="8"/>
                    </a:lnTo>
                    <a:lnTo>
                      <a:pt x="21" y="0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3" y="11"/>
                    </a:lnTo>
                    <a:lnTo>
                      <a:pt x="7" y="20"/>
                    </a:lnTo>
                    <a:lnTo>
                      <a:pt x="10" y="27"/>
                    </a:lnTo>
                    <a:lnTo>
                      <a:pt x="14" y="34"/>
                    </a:lnTo>
                    <a:lnTo>
                      <a:pt x="19" y="39"/>
                    </a:lnTo>
                    <a:lnTo>
                      <a:pt x="24" y="43"/>
                    </a:lnTo>
                    <a:lnTo>
                      <a:pt x="29" y="46"/>
                    </a:lnTo>
                    <a:lnTo>
                      <a:pt x="34" y="49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08" name="Freeform 530">
                <a:extLst>
                  <a:ext uri="{FF2B5EF4-FFF2-40B4-BE49-F238E27FC236}">
                    <a16:creationId xmlns="" xmlns:a16="http://schemas.microsoft.com/office/drawing/2014/main" id="{52609933-26A6-452E-B24B-7F4BC3D6EE10}"/>
                  </a:ext>
                </a:extLst>
              </p:cNvPr>
              <p:cNvSpPr>
                <a:spLocks/>
              </p:cNvSpPr>
              <p:nvPr>
                <p:custDataLst>
                  <p:tags r:id="rId366"/>
                </p:custDataLst>
              </p:nvPr>
            </p:nvSpPr>
            <p:spPr bwMode="auto">
              <a:xfrm>
                <a:off x="3654425" y="2741613"/>
                <a:ext cx="28575" cy="57150"/>
              </a:xfrm>
              <a:custGeom>
                <a:avLst/>
                <a:gdLst>
                  <a:gd name="T0" fmla="*/ 2147483646 w 60"/>
                  <a:gd name="T1" fmla="*/ 0 h 74"/>
                  <a:gd name="T2" fmla="*/ 2147483646 w 60"/>
                  <a:gd name="T3" fmla="*/ 2147483646 h 74"/>
                  <a:gd name="T4" fmla="*/ 2147483646 w 60"/>
                  <a:gd name="T5" fmla="*/ 2147483646 h 74"/>
                  <a:gd name="T6" fmla="*/ 2147483646 w 60"/>
                  <a:gd name="T7" fmla="*/ 2147483646 h 74"/>
                  <a:gd name="T8" fmla="*/ 2147483646 w 60"/>
                  <a:gd name="T9" fmla="*/ 2147483646 h 74"/>
                  <a:gd name="T10" fmla="*/ 2147483646 w 60"/>
                  <a:gd name="T11" fmla="*/ 2147483646 h 74"/>
                  <a:gd name="T12" fmla="*/ 2147483646 w 60"/>
                  <a:gd name="T13" fmla="*/ 2147483646 h 74"/>
                  <a:gd name="T14" fmla="*/ 2147483646 w 60"/>
                  <a:gd name="T15" fmla="*/ 2147483646 h 74"/>
                  <a:gd name="T16" fmla="*/ 2147483646 w 60"/>
                  <a:gd name="T17" fmla="*/ 2147483646 h 74"/>
                  <a:gd name="T18" fmla="*/ 2147483646 w 60"/>
                  <a:gd name="T19" fmla="*/ 2147483646 h 74"/>
                  <a:gd name="T20" fmla="*/ 2147483646 w 60"/>
                  <a:gd name="T21" fmla="*/ 2147483646 h 74"/>
                  <a:gd name="T22" fmla="*/ 2147483646 w 60"/>
                  <a:gd name="T23" fmla="*/ 2147483646 h 74"/>
                  <a:gd name="T24" fmla="*/ 2147483646 w 60"/>
                  <a:gd name="T25" fmla="*/ 2147483646 h 74"/>
                  <a:gd name="T26" fmla="*/ 2147483646 w 60"/>
                  <a:gd name="T27" fmla="*/ 2147483646 h 74"/>
                  <a:gd name="T28" fmla="*/ 0 w 60"/>
                  <a:gd name="T29" fmla="*/ 2147483646 h 74"/>
                  <a:gd name="T30" fmla="*/ 2147483646 w 60"/>
                  <a:gd name="T31" fmla="*/ 2147483646 h 74"/>
                  <a:gd name="T32" fmla="*/ 2147483646 w 60"/>
                  <a:gd name="T33" fmla="*/ 2147483646 h 74"/>
                  <a:gd name="T34" fmla="*/ 2147483646 w 60"/>
                  <a:gd name="T35" fmla="*/ 2147483646 h 74"/>
                  <a:gd name="T36" fmla="*/ 2147483646 w 60"/>
                  <a:gd name="T37" fmla="*/ 2147483646 h 74"/>
                  <a:gd name="T38" fmla="*/ 2147483646 w 60"/>
                  <a:gd name="T39" fmla="*/ 2147483646 h 74"/>
                  <a:gd name="T40" fmla="*/ 2147483646 w 60"/>
                  <a:gd name="T41" fmla="*/ 2147483646 h 74"/>
                  <a:gd name="T42" fmla="*/ 2147483646 w 60"/>
                  <a:gd name="T43" fmla="*/ 2147483646 h 74"/>
                  <a:gd name="T44" fmla="*/ 2147483646 w 60"/>
                  <a:gd name="T45" fmla="*/ 2147483646 h 74"/>
                  <a:gd name="T46" fmla="*/ 2147483646 w 60"/>
                  <a:gd name="T47" fmla="*/ 0 h 74"/>
                  <a:gd name="T48" fmla="*/ 2147483646 w 60"/>
                  <a:gd name="T49" fmla="*/ 0 h 74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60"/>
                  <a:gd name="T76" fmla="*/ 0 h 74"/>
                  <a:gd name="T77" fmla="*/ 60 w 60"/>
                  <a:gd name="T78" fmla="*/ 74 h 74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60" h="74">
                    <a:moveTo>
                      <a:pt x="60" y="0"/>
                    </a:moveTo>
                    <a:lnTo>
                      <a:pt x="56" y="4"/>
                    </a:lnTo>
                    <a:lnTo>
                      <a:pt x="51" y="10"/>
                    </a:lnTo>
                    <a:lnTo>
                      <a:pt x="48" y="15"/>
                    </a:lnTo>
                    <a:lnTo>
                      <a:pt x="46" y="21"/>
                    </a:lnTo>
                    <a:lnTo>
                      <a:pt x="41" y="31"/>
                    </a:lnTo>
                    <a:lnTo>
                      <a:pt x="37" y="42"/>
                    </a:lnTo>
                    <a:lnTo>
                      <a:pt x="35" y="47"/>
                    </a:lnTo>
                    <a:lnTo>
                      <a:pt x="32" y="51"/>
                    </a:lnTo>
                    <a:lnTo>
                      <a:pt x="29" y="56"/>
                    </a:lnTo>
                    <a:lnTo>
                      <a:pt x="25" y="60"/>
                    </a:lnTo>
                    <a:lnTo>
                      <a:pt x="20" y="65"/>
                    </a:lnTo>
                    <a:lnTo>
                      <a:pt x="15" y="69"/>
                    </a:lnTo>
                    <a:lnTo>
                      <a:pt x="8" y="72"/>
                    </a:lnTo>
                    <a:lnTo>
                      <a:pt x="0" y="74"/>
                    </a:lnTo>
                    <a:lnTo>
                      <a:pt x="5" y="60"/>
                    </a:lnTo>
                    <a:lnTo>
                      <a:pt x="12" y="47"/>
                    </a:lnTo>
                    <a:lnTo>
                      <a:pt x="19" y="34"/>
                    </a:lnTo>
                    <a:lnTo>
                      <a:pt x="27" y="23"/>
                    </a:lnTo>
                    <a:lnTo>
                      <a:pt x="36" y="14"/>
                    </a:lnTo>
                    <a:lnTo>
                      <a:pt x="43" y="6"/>
                    </a:lnTo>
                    <a:lnTo>
                      <a:pt x="48" y="3"/>
                    </a:lnTo>
                    <a:lnTo>
                      <a:pt x="52" y="1"/>
                    </a:lnTo>
                    <a:lnTo>
                      <a:pt x="56" y="0"/>
                    </a:lnTo>
                    <a:lnTo>
                      <a:pt x="6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09" name="Freeform 531">
                <a:extLst>
                  <a:ext uri="{FF2B5EF4-FFF2-40B4-BE49-F238E27FC236}">
                    <a16:creationId xmlns="" xmlns:a16="http://schemas.microsoft.com/office/drawing/2014/main" id="{67502A4E-2DF9-4339-8CA0-07A0211A3601}"/>
                  </a:ext>
                </a:extLst>
              </p:cNvPr>
              <p:cNvSpPr>
                <a:spLocks/>
              </p:cNvSpPr>
              <p:nvPr>
                <p:custDataLst>
                  <p:tags r:id="rId367"/>
                </p:custDataLst>
              </p:nvPr>
            </p:nvSpPr>
            <p:spPr bwMode="auto">
              <a:xfrm>
                <a:off x="3595688" y="2757488"/>
                <a:ext cx="23812" cy="60325"/>
              </a:xfrm>
              <a:custGeom>
                <a:avLst/>
                <a:gdLst>
                  <a:gd name="T0" fmla="*/ 2147483646 w 47"/>
                  <a:gd name="T1" fmla="*/ 2147483646 h 45"/>
                  <a:gd name="T2" fmla="*/ 2147483646 w 47"/>
                  <a:gd name="T3" fmla="*/ 2147483646 h 45"/>
                  <a:gd name="T4" fmla="*/ 2147483646 w 47"/>
                  <a:gd name="T5" fmla="*/ 2147483646 h 45"/>
                  <a:gd name="T6" fmla="*/ 2147483646 w 47"/>
                  <a:gd name="T7" fmla="*/ 2147483646 h 45"/>
                  <a:gd name="T8" fmla="*/ 2147483646 w 47"/>
                  <a:gd name="T9" fmla="*/ 2147483646 h 45"/>
                  <a:gd name="T10" fmla="*/ 2147483646 w 47"/>
                  <a:gd name="T11" fmla="*/ 2147483646 h 45"/>
                  <a:gd name="T12" fmla="*/ 2147483646 w 47"/>
                  <a:gd name="T13" fmla="*/ 0 h 45"/>
                  <a:gd name="T14" fmla="*/ 2147483646 w 47"/>
                  <a:gd name="T15" fmla="*/ 2147483646 h 45"/>
                  <a:gd name="T16" fmla="*/ 2147483646 w 47"/>
                  <a:gd name="T17" fmla="*/ 2147483646 h 45"/>
                  <a:gd name="T18" fmla="*/ 2147483646 w 47"/>
                  <a:gd name="T19" fmla="*/ 2147483646 h 45"/>
                  <a:gd name="T20" fmla="*/ 2147483646 w 47"/>
                  <a:gd name="T21" fmla="*/ 2147483646 h 45"/>
                  <a:gd name="T22" fmla="*/ 2147483646 w 47"/>
                  <a:gd name="T23" fmla="*/ 2147483646 h 45"/>
                  <a:gd name="T24" fmla="*/ 2147483646 w 47"/>
                  <a:gd name="T25" fmla="*/ 2147483646 h 45"/>
                  <a:gd name="T26" fmla="*/ 2147483646 w 47"/>
                  <a:gd name="T27" fmla="*/ 2147483646 h 45"/>
                  <a:gd name="T28" fmla="*/ 2147483646 w 47"/>
                  <a:gd name="T29" fmla="*/ 2147483646 h 45"/>
                  <a:gd name="T30" fmla="*/ 2147483646 w 47"/>
                  <a:gd name="T31" fmla="*/ 2147483646 h 45"/>
                  <a:gd name="T32" fmla="*/ 2147483646 w 47"/>
                  <a:gd name="T33" fmla="*/ 2147483646 h 45"/>
                  <a:gd name="T34" fmla="*/ 2147483646 w 47"/>
                  <a:gd name="T35" fmla="*/ 2147483646 h 45"/>
                  <a:gd name="T36" fmla="*/ 0 w 47"/>
                  <a:gd name="T37" fmla="*/ 2147483646 h 45"/>
                  <a:gd name="T38" fmla="*/ 2147483646 w 47"/>
                  <a:gd name="T39" fmla="*/ 2147483646 h 45"/>
                  <a:gd name="T40" fmla="*/ 2147483646 w 47"/>
                  <a:gd name="T41" fmla="*/ 2147483646 h 45"/>
                  <a:gd name="T42" fmla="*/ 2147483646 w 47"/>
                  <a:gd name="T43" fmla="*/ 2147483646 h 45"/>
                  <a:gd name="T44" fmla="*/ 2147483646 w 47"/>
                  <a:gd name="T45" fmla="*/ 2147483646 h 45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47"/>
                  <a:gd name="T70" fmla="*/ 0 h 45"/>
                  <a:gd name="T71" fmla="*/ 47 w 47"/>
                  <a:gd name="T72" fmla="*/ 45 h 45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47" h="45">
                    <a:moveTo>
                      <a:pt x="13" y="8"/>
                    </a:moveTo>
                    <a:lnTo>
                      <a:pt x="22" y="8"/>
                    </a:lnTo>
                    <a:lnTo>
                      <a:pt x="28" y="6"/>
                    </a:lnTo>
                    <a:lnTo>
                      <a:pt x="32" y="5"/>
                    </a:lnTo>
                    <a:lnTo>
                      <a:pt x="35" y="3"/>
                    </a:lnTo>
                    <a:lnTo>
                      <a:pt x="37" y="1"/>
                    </a:lnTo>
                    <a:lnTo>
                      <a:pt x="39" y="0"/>
                    </a:lnTo>
                    <a:lnTo>
                      <a:pt x="43" y="1"/>
                    </a:lnTo>
                    <a:lnTo>
                      <a:pt x="47" y="2"/>
                    </a:lnTo>
                    <a:lnTo>
                      <a:pt x="46" y="7"/>
                    </a:lnTo>
                    <a:lnTo>
                      <a:pt x="46" y="11"/>
                    </a:lnTo>
                    <a:lnTo>
                      <a:pt x="44" y="15"/>
                    </a:lnTo>
                    <a:lnTo>
                      <a:pt x="43" y="19"/>
                    </a:lnTo>
                    <a:lnTo>
                      <a:pt x="37" y="26"/>
                    </a:lnTo>
                    <a:lnTo>
                      <a:pt x="30" y="32"/>
                    </a:lnTo>
                    <a:lnTo>
                      <a:pt x="24" y="38"/>
                    </a:lnTo>
                    <a:lnTo>
                      <a:pt x="16" y="42"/>
                    </a:lnTo>
                    <a:lnTo>
                      <a:pt x="7" y="45"/>
                    </a:lnTo>
                    <a:lnTo>
                      <a:pt x="0" y="45"/>
                    </a:lnTo>
                    <a:lnTo>
                      <a:pt x="2" y="38"/>
                    </a:lnTo>
                    <a:lnTo>
                      <a:pt x="6" y="26"/>
                    </a:lnTo>
                    <a:lnTo>
                      <a:pt x="11" y="15"/>
                    </a:lnTo>
                    <a:lnTo>
                      <a:pt x="13" y="8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10" name="Freeform 532">
                <a:extLst>
                  <a:ext uri="{FF2B5EF4-FFF2-40B4-BE49-F238E27FC236}">
                    <a16:creationId xmlns="" xmlns:a16="http://schemas.microsoft.com/office/drawing/2014/main" id="{D4C95507-A88D-492F-B36E-3D74FB46AF23}"/>
                  </a:ext>
                </a:extLst>
              </p:cNvPr>
              <p:cNvSpPr>
                <a:spLocks/>
              </p:cNvSpPr>
              <p:nvPr>
                <p:custDataLst>
                  <p:tags r:id="rId368"/>
                </p:custDataLst>
              </p:nvPr>
            </p:nvSpPr>
            <p:spPr bwMode="auto">
              <a:xfrm>
                <a:off x="3570288" y="2751138"/>
                <a:ext cx="6350" cy="57150"/>
              </a:xfrm>
              <a:custGeom>
                <a:avLst/>
                <a:gdLst>
                  <a:gd name="T0" fmla="*/ 2147483646 w 26"/>
                  <a:gd name="T1" fmla="*/ 2147483646 h 36"/>
                  <a:gd name="T2" fmla="*/ 2147483646 w 26"/>
                  <a:gd name="T3" fmla="*/ 2147483646 h 36"/>
                  <a:gd name="T4" fmla="*/ 2147483646 w 26"/>
                  <a:gd name="T5" fmla="*/ 2147483646 h 36"/>
                  <a:gd name="T6" fmla="*/ 2147483646 w 26"/>
                  <a:gd name="T7" fmla="*/ 2147483646 h 36"/>
                  <a:gd name="T8" fmla="*/ 0 w 26"/>
                  <a:gd name="T9" fmla="*/ 0 h 36"/>
                  <a:gd name="T10" fmla="*/ 2147483646 w 26"/>
                  <a:gd name="T11" fmla="*/ 0 h 36"/>
                  <a:gd name="T12" fmla="*/ 2147483646 w 26"/>
                  <a:gd name="T13" fmla="*/ 2147483646 h 36"/>
                  <a:gd name="T14" fmla="*/ 2147483646 w 26"/>
                  <a:gd name="T15" fmla="*/ 2147483646 h 36"/>
                  <a:gd name="T16" fmla="*/ 2147483646 w 26"/>
                  <a:gd name="T17" fmla="*/ 2147483646 h 36"/>
                  <a:gd name="T18" fmla="*/ 2147483646 w 26"/>
                  <a:gd name="T19" fmla="*/ 2147483646 h 36"/>
                  <a:gd name="T20" fmla="*/ 2147483646 w 26"/>
                  <a:gd name="T21" fmla="*/ 2147483646 h 36"/>
                  <a:gd name="T22" fmla="*/ 2147483646 w 26"/>
                  <a:gd name="T23" fmla="*/ 2147483646 h 36"/>
                  <a:gd name="T24" fmla="*/ 2147483646 w 26"/>
                  <a:gd name="T25" fmla="*/ 2147483646 h 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6"/>
                  <a:gd name="T40" fmla="*/ 0 h 36"/>
                  <a:gd name="T41" fmla="*/ 26 w 26"/>
                  <a:gd name="T42" fmla="*/ 36 h 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6" h="36">
                    <a:moveTo>
                      <a:pt x="6" y="36"/>
                    </a:moveTo>
                    <a:lnTo>
                      <a:pt x="5" y="30"/>
                    </a:lnTo>
                    <a:lnTo>
                      <a:pt x="3" y="20"/>
                    </a:lnTo>
                    <a:lnTo>
                      <a:pt x="1" y="10"/>
                    </a:lnTo>
                    <a:lnTo>
                      <a:pt x="0" y="0"/>
                    </a:lnTo>
                    <a:lnTo>
                      <a:pt x="26" y="0"/>
                    </a:lnTo>
                    <a:lnTo>
                      <a:pt x="25" y="12"/>
                    </a:lnTo>
                    <a:lnTo>
                      <a:pt x="24" y="23"/>
                    </a:lnTo>
                    <a:lnTo>
                      <a:pt x="23" y="27"/>
                    </a:lnTo>
                    <a:lnTo>
                      <a:pt x="23" y="31"/>
                    </a:lnTo>
                    <a:lnTo>
                      <a:pt x="24" y="34"/>
                    </a:lnTo>
                    <a:lnTo>
                      <a:pt x="26" y="36"/>
                    </a:lnTo>
                    <a:lnTo>
                      <a:pt x="6" y="36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11" name="Freeform 533">
                <a:extLst>
                  <a:ext uri="{FF2B5EF4-FFF2-40B4-BE49-F238E27FC236}">
                    <a16:creationId xmlns="" xmlns:a16="http://schemas.microsoft.com/office/drawing/2014/main" id="{D73F82BC-C635-4B24-948D-C32C097CBA62}"/>
                  </a:ext>
                </a:extLst>
              </p:cNvPr>
              <p:cNvSpPr>
                <a:spLocks/>
              </p:cNvSpPr>
              <p:nvPr>
                <p:custDataLst>
                  <p:tags r:id="rId369"/>
                </p:custDataLst>
              </p:nvPr>
            </p:nvSpPr>
            <p:spPr bwMode="auto">
              <a:xfrm>
                <a:off x="4841875" y="2479675"/>
                <a:ext cx="174625" cy="158750"/>
              </a:xfrm>
              <a:custGeom>
                <a:avLst/>
                <a:gdLst>
                  <a:gd name="T0" fmla="*/ 2147483646 w 405"/>
                  <a:gd name="T1" fmla="*/ 2147483646 h 302"/>
                  <a:gd name="T2" fmla="*/ 2147483646 w 405"/>
                  <a:gd name="T3" fmla="*/ 2147483646 h 302"/>
                  <a:gd name="T4" fmla="*/ 2147483646 w 405"/>
                  <a:gd name="T5" fmla="*/ 2147483646 h 302"/>
                  <a:gd name="T6" fmla="*/ 2147483646 w 405"/>
                  <a:gd name="T7" fmla="*/ 2147483646 h 302"/>
                  <a:gd name="T8" fmla="*/ 2147483646 w 405"/>
                  <a:gd name="T9" fmla="*/ 2147483646 h 302"/>
                  <a:gd name="T10" fmla="*/ 2147483646 w 405"/>
                  <a:gd name="T11" fmla="*/ 2147483646 h 302"/>
                  <a:gd name="T12" fmla="*/ 2147483646 w 405"/>
                  <a:gd name="T13" fmla="*/ 2147483646 h 302"/>
                  <a:gd name="T14" fmla="*/ 2147483646 w 405"/>
                  <a:gd name="T15" fmla="*/ 2147483646 h 302"/>
                  <a:gd name="T16" fmla="*/ 2147483646 w 405"/>
                  <a:gd name="T17" fmla="*/ 2147483646 h 302"/>
                  <a:gd name="T18" fmla="*/ 2147483646 w 405"/>
                  <a:gd name="T19" fmla="*/ 2147483646 h 302"/>
                  <a:gd name="T20" fmla="*/ 2147483646 w 405"/>
                  <a:gd name="T21" fmla="*/ 2147483646 h 302"/>
                  <a:gd name="T22" fmla="*/ 2147483646 w 405"/>
                  <a:gd name="T23" fmla="*/ 2147483646 h 302"/>
                  <a:gd name="T24" fmla="*/ 2147483646 w 405"/>
                  <a:gd name="T25" fmla="*/ 2147483646 h 302"/>
                  <a:gd name="T26" fmla="*/ 2147483646 w 405"/>
                  <a:gd name="T27" fmla="*/ 2147483646 h 302"/>
                  <a:gd name="T28" fmla="*/ 2147483646 w 405"/>
                  <a:gd name="T29" fmla="*/ 2147483646 h 302"/>
                  <a:gd name="T30" fmla="*/ 2147483646 w 405"/>
                  <a:gd name="T31" fmla="*/ 2147483646 h 302"/>
                  <a:gd name="T32" fmla="*/ 2147483646 w 405"/>
                  <a:gd name="T33" fmla="*/ 2147483646 h 302"/>
                  <a:gd name="T34" fmla="*/ 2147483646 w 405"/>
                  <a:gd name="T35" fmla="*/ 2147483646 h 302"/>
                  <a:gd name="T36" fmla="*/ 2147483646 w 405"/>
                  <a:gd name="T37" fmla="*/ 2147483646 h 302"/>
                  <a:gd name="T38" fmla="*/ 2147483646 w 405"/>
                  <a:gd name="T39" fmla="*/ 2147483646 h 302"/>
                  <a:gd name="T40" fmla="*/ 2147483646 w 405"/>
                  <a:gd name="T41" fmla="*/ 2147483646 h 302"/>
                  <a:gd name="T42" fmla="*/ 2147483646 w 405"/>
                  <a:gd name="T43" fmla="*/ 2147483646 h 302"/>
                  <a:gd name="T44" fmla="*/ 2147483646 w 405"/>
                  <a:gd name="T45" fmla="*/ 2147483646 h 302"/>
                  <a:gd name="T46" fmla="*/ 2147483646 w 405"/>
                  <a:gd name="T47" fmla="*/ 2147483646 h 302"/>
                  <a:gd name="T48" fmla="*/ 2147483646 w 405"/>
                  <a:gd name="T49" fmla="*/ 2147483646 h 302"/>
                  <a:gd name="T50" fmla="*/ 2147483646 w 405"/>
                  <a:gd name="T51" fmla="*/ 2147483646 h 302"/>
                  <a:gd name="T52" fmla="*/ 2147483646 w 405"/>
                  <a:gd name="T53" fmla="*/ 2147483646 h 302"/>
                  <a:gd name="T54" fmla="*/ 2147483646 w 405"/>
                  <a:gd name="T55" fmla="*/ 2147483646 h 302"/>
                  <a:gd name="T56" fmla="*/ 2147483646 w 405"/>
                  <a:gd name="T57" fmla="*/ 2147483646 h 302"/>
                  <a:gd name="T58" fmla="*/ 2147483646 w 405"/>
                  <a:gd name="T59" fmla="*/ 2147483646 h 302"/>
                  <a:gd name="T60" fmla="*/ 2147483646 w 405"/>
                  <a:gd name="T61" fmla="*/ 2147483646 h 302"/>
                  <a:gd name="T62" fmla="*/ 2147483646 w 405"/>
                  <a:gd name="T63" fmla="*/ 2147483646 h 302"/>
                  <a:gd name="T64" fmla="*/ 2147483646 w 405"/>
                  <a:gd name="T65" fmla="*/ 2147483646 h 302"/>
                  <a:gd name="T66" fmla="*/ 2147483646 w 405"/>
                  <a:gd name="T67" fmla="*/ 2147483646 h 302"/>
                  <a:gd name="T68" fmla="*/ 2147483646 w 405"/>
                  <a:gd name="T69" fmla="*/ 2147483646 h 302"/>
                  <a:gd name="T70" fmla="*/ 2147483646 w 405"/>
                  <a:gd name="T71" fmla="*/ 2147483646 h 302"/>
                  <a:gd name="T72" fmla="*/ 2147483646 w 405"/>
                  <a:gd name="T73" fmla="*/ 2147483646 h 302"/>
                  <a:gd name="T74" fmla="*/ 2147483646 w 405"/>
                  <a:gd name="T75" fmla="*/ 2147483646 h 302"/>
                  <a:gd name="T76" fmla="*/ 2147483646 w 405"/>
                  <a:gd name="T77" fmla="*/ 2147483646 h 302"/>
                  <a:gd name="T78" fmla="*/ 2147483646 w 405"/>
                  <a:gd name="T79" fmla="*/ 2147483646 h 302"/>
                  <a:gd name="T80" fmla="*/ 2147483646 w 405"/>
                  <a:gd name="T81" fmla="*/ 2147483646 h 302"/>
                  <a:gd name="T82" fmla="*/ 2147483646 w 405"/>
                  <a:gd name="T83" fmla="*/ 2147483646 h 302"/>
                  <a:gd name="T84" fmla="*/ 2147483646 w 405"/>
                  <a:gd name="T85" fmla="*/ 2147483646 h 302"/>
                  <a:gd name="T86" fmla="*/ 2147483646 w 405"/>
                  <a:gd name="T87" fmla="*/ 2147483646 h 302"/>
                  <a:gd name="T88" fmla="*/ 2147483646 w 405"/>
                  <a:gd name="T89" fmla="*/ 2147483646 h 302"/>
                  <a:gd name="T90" fmla="*/ 2147483646 w 405"/>
                  <a:gd name="T91" fmla="*/ 2147483646 h 30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405"/>
                  <a:gd name="T139" fmla="*/ 0 h 302"/>
                  <a:gd name="T140" fmla="*/ 405 w 405"/>
                  <a:gd name="T141" fmla="*/ 302 h 302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405" h="302">
                    <a:moveTo>
                      <a:pt x="26" y="166"/>
                    </a:moveTo>
                    <a:lnTo>
                      <a:pt x="26" y="162"/>
                    </a:lnTo>
                    <a:lnTo>
                      <a:pt x="27" y="158"/>
                    </a:lnTo>
                    <a:lnTo>
                      <a:pt x="28" y="156"/>
                    </a:lnTo>
                    <a:lnTo>
                      <a:pt x="29" y="155"/>
                    </a:lnTo>
                    <a:lnTo>
                      <a:pt x="30" y="154"/>
                    </a:lnTo>
                    <a:lnTo>
                      <a:pt x="33" y="154"/>
                    </a:lnTo>
                    <a:lnTo>
                      <a:pt x="28" y="151"/>
                    </a:lnTo>
                    <a:lnTo>
                      <a:pt x="23" y="147"/>
                    </a:lnTo>
                    <a:lnTo>
                      <a:pt x="18" y="143"/>
                    </a:lnTo>
                    <a:lnTo>
                      <a:pt x="14" y="138"/>
                    </a:lnTo>
                    <a:lnTo>
                      <a:pt x="6" y="127"/>
                    </a:lnTo>
                    <a:lnTo>
                      <a:pt x="0" y="117"/>
                    </a:lnTo>
                    <a:lnTo>
                      <a:pt x="2" y="116"/>
                    </a:lnTo>
                    <a:lnTo>
                      <a:pt x="4" y="115"/>
                    </a:lnTo>
                    <a:lnTo>
                      <a:pt x="5" y="112"/>
                    </a:lnTo>
                    <a:lnTo>
                      <a:pt x="5" y="110"/>
                    </a:lnTo>
                    <a:lnTo>
                      <a:pt x="6" y="104"/>
                    </a:lnTo>
                    <a:lnTo>
                      <a:pt x="6" y="98"/>
                    </a:lnTo>
                    <a:lnTo>
                      <a:pt x="17" y="97"/>
                    </a:lnTo>
                    <a:lnTo>
                      <a:pt x="26" y="95"/>
                    </a:lnTo>
                    <a:lnTo>
                      <a:pt x="34" y="93"/>
                    </a:lnTo>
                    <a:lnTo>
                      <a:pt x="41" y="91"/>
                    </a:lnTo>
                    <a:lnTo>
                      <a:pt x="47" y="88"/>
                    </a:lnTo>
                    <a:lnTo>
                      <a:pt x="52" y="85"/>
                    </a:lnTo>
                    <a:lnTo>
                      <a:pt x="57" y="82"/>
                    </a:lnTo>
                    <a:lnTo>
                      <a:pt x="60" y="78"/>
                    </a:lnTo>
                    <a:lnTo>
                      <a:pt x="67" y="70"/>
                    </a:lnTo>
                    <a:lnTo>
                      <a:pt x="71" y="61"/>
                    </a:lnTo>
                    <a:lnTo>
                      <a:pt x="75" y="52"/>
                    </a:lnTo>
                    <a:lnTo>
                      <a:pt x="80" y="43"/>
                    </a:lnTo>
                    <a:lnTo>
                      <a:pt x="84" y="47"/>
                    </a:lnTo>
                    <a:lnTo>
                      <a:pt x="89" y="50"/>
                    </a:lnTo>
                    <a:lnTo>
                      <a:pt x="95" y="52"/>
                    </a:lnTo>
                    <a:lnTo>
                      <a:pt x="102" y="53"/>
                    </a:lnTo>
                    <a:lnTo>
                      <a:pt x="117" y="54"/>
                    </a:lnTo>
                    <a:lnTo>
                      <a:pt x="135" y="52"/>
                    </a:lnTo>
                    <a:lnTo>
                      <a:pt x="169" y="46"/>
                    </a:lnTo>
                    <a:lnTo>
                      <a:pt x="200" y="43"/>
                    </a:lnTo>
                    <a:lnTo>
                      <a:pt x="212" y="43"/>
                    </a:lnTo>
                    <a:lnTo>
                      <a:pt x="223" y="42"/>
                    </a:lnTo>
                    <a:lnTo>
                      <a:pt x="234" y="41"/>
                    </a:lnTo>
                    <a:lnTo>
                      <a:pt x="245" y="39"/>
                    </a:lnTo>
                    <a:lnTo>
                      <a:pt x="264" y="35"/>
                    </a:lnTo>
                    <a:lnTo>
                      <a:pt x="283" y="29"/>
                    </a:lnTo>
                    <a:lnTo>
                      <a:pt x="318" y="17"/>
                    </a:lnTo>
                    <a:lnTo>
                      <a:pt x="352" y="6"/>
                    </a:lnTo>
                    <a:lnTo>
                      <a:pt x="359" y="4"/>
                    </a:lnTo>
                    <a:lnTo>
                      <a:pt x="365" y="3"/>
                    </a:lnTo>
                    <a:lnTo>
                      <a:pt x="372" y="3"/>
                    </a:lnTo>
                    <a:lnTo>
                      <a:pt x="378" y="3"/>
                    </a:lnTo>
                    <a:lnTo>
                      <a:pt x="385" y="3"/>
                    </a:lnTo>
                    <a:lnTo>
                      <a:pt x="392" y="2"/>
                    </a:lnTo>
                    <a:lnTo>
                      <a:pt x="398" y="1"/>
                    </a:lnTo>
                    <a:lnTo>
                      <a:pt x="405" y="0"/>
                    </a:lnTo>
                    <a:lnTo>
                      <a:pt x="395" y="8"/>
                    </a:lnTo>
                    <a:lnTo>
                      <a:pt x="372" y="29"/>
                    </a:lnTo>
                    <a:lnTo>
                      <a:pt x="360" y="41"/>
                    </a:lnTo>
                    <a:lnTo>
                      <a:pt x="349" y="52"/>
                    </a:lnTo>
                    <a:lnTo>
                      <a:pt x="344" y="57"/>
                    </a:lnTo>
                    <a:lnTo>
                      <a:pt x="341" y="61"/>
                    </a:lnTo>
                    <a:lnTo>
                      <a:pt x="339" y="64"/>
                    </a:lnTo>
                    <a:lnTo>
                      <a:pt x="339" y="68"/>
                    </a:lnTo>
                    <a:lnTo>
                      <a:pt x="339" y="96"/>
                    </a:lnTo>
                    <a:lnTo>
                      <a:pt x="338" y="132"/>
                    </a:lnTo>
                    <a:lnTo>
                      <a:pt x="337" y="149"/>
                    </a:lnTo>
                    <a:lnTo>
                      <a:pt x="336" y="165"/>
                    </a:lnTo>
                    <a:lnTo>
                      <a:pt x="335" y="180"/>
                    </a:lnTo>
                    <a:lnTo>
                      <a:pt x="332" y="191"/>
                    </a:lnTo>
                    <a:lnTo>
                      <a:pt x="326" y="198"/>
                    </a:lnTo>
                    <a:lnTo>
                      <a:pt x="317" y="204"/>
                    </a:lnTo>
                    <a:lnTo>
                      <a:pt x="305" y="210"/>
                    </a:lnTo>
                    <a:lnTo>
                      <a:pt x="293" y="215"/>
                    </a:lnTo>
                    <a:lnTo>
                      <a:pt x="265" y="227"/>
                    </a:lnTo>
                    <a:lnTo>
                      <a:pt x="239" y="241"/>
                    </a:lnTo>
                    <a:lnTo>
                      <a:pt x="106" y="302"/>
                    </a:lnTo>
                    <a:lnTo>
                      <a:pt x="53" y="271"/>
                    </a:lnTo>
                    <a:lnTo>
                      <a:pt x="57" y="260"/>
                    </a:lnTo>
                    <a:lnTo>
                      <a:pt x="64" y="240"/>
                    </a:lnTo>
                    <a:lnTo>
                      <a:pt x="70" y="228"/>
                    </a:lnTo>
                    <a:lnTo>
                      <a:pt x="75" y="218"/>
                    </a:lnTo>
                    <a:lnTo>
                      <a:pt x="81" y="209"/>
                    </a:lnTo>
                    <a:lnTo>
                      <a:pt x="86" y="203"/>
                    </a:lnTo>
                    <a:lnTo>
                      <a:pt x="86" y="172"/>
                    </a:lnTo>
                    <a:lnTo>
                      <a:pt x="79" y="173"/>
                    </a:lnTo>
                    <a:lnTo>
                      <a:pt x="71" y="173"/>
                    </a:lnTo>
                    <a:lnTo>
                      <a:pt x="63" y="171"/>
                    </a:lnTo>
                    <a:lnTo>
                      <a:pt x="57" y="169"/>
                    </a:lnTo>
                    <a:lnTo>
                      <a:pt x="49" y="167"/>
                    </a:lnTo>
                    <a:lnTo>
                      <a:pt x="41" y="165"/>
                    </a:lnTo>
                    <a:lnTo>
                      <a:pt x="34" y="165"/>
                    </a:lnTo>
                    <a:lnTo>
                      <a:pt x="26" y="166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12" name="Freeform 534">
                <a:extLst>
                  <a:ext uri="{FF2B5EF4-FFF2-40B4-BE49-F238E27FC236}">
                    <a16:creationId xmlns="" xmlns:a16="http://schemas.microsoft.com/office/drawing/2014/main" id="{744E025C-356C-4D81-B7C7-E91589DDF0FC}"/>
                  </a:ext>
                </a:extLst>
              </p:cNvPr>
              <p:cNvSpPr>
                <a:spLocks/>
              </p:cNvSpPr>
              <p:nvPr>
                <p:custDataLst>
                  <p:tags r:id="rId370"/>
                </p:custDataLst>
              </p:nvPr>
            </p:nvSpPr>
            <p:spPr bwMode="auto">
              <a:xfrm>
                <a:off x="6935788" y="2860675"/>
                <a:ext cx="42862" cy="79375"/>
              </a:xfrm>
              <a:custGeom>
                <a:avLst/>
                <a:gdLst>
                  <a:gd name="T0" fmla="*/ 2147483646 w 100"/>
                  <a:gd name="T1" fmla="*/ 2147483646 h 155"/>
                  <a:gd name="T2" fmla="*/ 2147483646 w 100"/>
                  <a:gd name="T3" fmla="*/ 2147483646 h 155"/>
                  <a:gd name="T4" fmla="*/ 2147483646 w 100"/>
                  <a:gd name="T5" fmla="*/ 2147483646 h 155"/>
                  <a:gd name="T6" fmla="*/ 2147483646 w 100"/>
                  <a:gd name="T7" fmla="*/ 2147483646 h 155"/>
                  <a:gd name="T8" fmla="*/ 2147483646 w 100"/>
                  <a:gd name="T9" fmla="*/ 2147483646 h 155"/>
                  <a:gd name="T10" fmla="*/ 2147483646 w 100"/>
                  <a:gd name="T11" fmla="*/ 2147483646 h 155"/>
                  <a:gd name="T12" fmla="*/ 2147483646 w 100"/>
                  <a:gd name="T13" fmla="*/ 2147483646 h 155"/>
                  <a:gd name="T14" fmla="*/ 2147483646 w 100"/>
                  <a:gd name="T15" fmla="*/ 2147483646 h 155"/>
                  <a:gd name="T16" fmla="*/ 2147483646 w 100"/>
                  <a:gd name="T17" fmla="*/ 2147483646 h 155"/>
                  <a:gd name="T18" fmla="*/ 2147483646 w 100"/>
                  <a:gd name="T19" fmla="*/ 2147483646 h 155"/>
                  <a:gd name="T20" fmla="*/ 2147483646 w 100"/>
                  <a:gd name="T21" fmla="*/ 2147483646 h 155"/>
                  <a:gd name="T22" fmla="*/ 2147483646 w 100"/>
                  <a:gd name="T23" fmla="*/ 2147483646 h 155"/>
                  <a:gd name="T24" fmla="*/ 2147483646 w 100"/>
                  <a:gd name="T25" fmla="*/ 2147483646 h 155"/>
                  <a:gd name="T26" fmla="*/ 2147483646 w 100"/>
                  <a:gd name="T27" fmla="*/ 2147483646 h 155"/>
                  <a:gd name="T28" fmla="*/ 2147483646 w 100"/>
                  <a:gd name="T29" fmla="*/ 2147483646 h 155"/>
                  <a:gd name="T30" fmla="*/ 2147483646 w 100"/>
                  <a:gd name="T31" fmla="*/ 2147483646 h 155"/>
                  <a:gd name="T32" fmla="*/ 2147483646 w 100"/>
                  <a:gd name="T33" fmla="*/ 2147483646 h 155"/>
                  <a:gd name="T34" fmla="*/ 2147483646 w 100"/>
                  <a:gd name="T35" fmla="*/ 2147483646 h 155"/>
                  <a:gd name="T36" fmla="*/ 2147483646 w 100"/>
                  <a:gd name="T37" fmla="*/ 2147483646 h 155"/>
                  <a:gd name="T38" fmla="*/ 2147483646 w 100"/>
                  <a:gd name="T39" fmla="*/ 2147483646 h 155"/>
                  <a:gd name="T40" fmla="*/ 2147483646 w 100"/>
                  <a:gd name="T41" fmla="*/ 2147483646 h 155"/>
                  <a:gd name="T42" fmla="*/ 2147483646 w 100"/>
                  <a:gd name="T43" fmla="*/ 2147483646 h 155"/>
                  <a:gd name="T44" fmla="*/ 2147483646 w 100"/>
                  <a:gd name="T45" fmla="*/ 2147483646 h 155"/>
                  <a:gd name="T46" fmla="*/ 0 w 100"/>
                  <a:gd name="T47" fmla="*/ 2147483646 h 155"/>
                  <a:gd name="T48" fmla="*/ 0 w 100"/>
                  <a:gd name="T49" fmla="*/ 2147483646 h 155"/>
                  <a:gd name="T50" fmla="*/ 0 w 100"/>
                  <a:gd name="T51" fmla="*/ 2147483646 h 155"/>
                  <a:gd name="T52" fmla="*/ 0 w 100"/>
                  <a:gd name="T53" fmla="*/ 2147483646 h 155"/>
                  <a:gd name="T54" fmla="*/ 0 w 100"/>
                  <a:gd name="T55" fmla="*/ 2147483646 h 155"/>
                  <a:gd name="T56" fmla="*/ 0 w 100"/>
                  <a:gd name="T57" fmla="*/ 2147483646 h 155"/>
                  <a:gd name="T58" fmla="*/ 2147483646 w 100"/>
                  <a:gd name="T59" fmla="*/ 2147483646 h 155"/>
                  <a:gd name="T60" fmla="*/ 2147483646 w 100"/>
                  <a:gd name="T61" fmla="*/ 2147483646 h 155"/>
                  <a:gd name="T62" fmla="*/ 2147483646 w 100"/>
                  <a:gd name="T63" fmla="*/ 2147483646 h 155"/>
                  <a:gd name="T64" fmla="*/ 2147483646 w 100"/>
                  <a:gd name="T65" fmla="*/ 2147483646 h 155"/>
                  <a:gd name="T66" fmla="*/ 2147483646 w 100"/>
                  <a:gd name="T67" fmla="*/ 2147483646 h 155"/>
                  <a:gd name="T68" fmla="*/ 2147483646 w 100"/>
                  <a:gd name="T69" fmla="*/ 2147483646 h 155"/>
                  <a:gd name="T70" fmla="*/ 2147483646 w 100"/>
                  <a:gd name="T71" fmla="*/ 2147483646 h 155"/>
                  <a:gd name="T72" fmla="*/ 2147483646 w 100"/>
                  <a:gd name="T73" fmla="*/ 2147483646 h 155"/>
                  <a:gd name="T74" fmla="*/ 2147483646 w 100"/>
                  <a:gd name="T75" fmla="*/ 2147483646 h 155"/>
                  <a:gd name="T76" fmla="*/ 2147483646 w 100"/>
                  <a:gd name="T77" fmla="*/ 2147483646 h 155"/>
                  <a:gd name="T78" fmla="*/ 2147483646 w 100"/>
                  <a:gd name="T79" fmla="*/ 0 h 155"/>
                  <a:gd name="T80" fmla="*/ 2147483646 w 100"/>
                  <a:gd name="T81" fmla="*/ 0 h 155"/>
                  <a:gd name="T82" fmla="*/ 2147483646 w 100"/>
                  <a:gd name="T83" fmla="*/ 0 h 155"/>
                  <a:gd name="T84" fmla="*/ 2147483646 w 100"/>
                  <a:gd name="T85" fmla="*/ 2147483646 h 15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00"/>
                  <a:gd name="T130" fmla="*/ 0 h 155"/>
                  <a:gd name="T131" fmla="*/ 100 w 100"/>
                  <a:gd name="T132" fmla="*/ 155 h 155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00" h="155">
                    <a:moveTo>
                      <a:pt x="100" y="1"/>
                    </a:moveTo>
                    <a:lnTo>
                      <a:pt x="100" y="30"/>
                    </a:lnTo>
                    <a:lnTo>
                      <a:pt x="100" y="55"/>
                    </a:lnTo>
                    <a:lnTo>
                      <a:pt x="100" y="78"/>
                    </a:lnTo>
                    <a:lnTo>
                      <a:pt x="100" y="99"/>
                    </a:lnTo>
                    <a:lnTo>
                      <a:pt x="98" y="109"/>
                    </a:lnTo>
                    <a:lnTo>
                      <a:pt x="94" y="118"/>
                    </a:lnTo>
                    <a:lnTo>
                      <a:pt x="89" y="128"/>
                    </a:lnTo>
                    <a:lnTo>
                      <a:pt x="82" y="137"/>
                    </a:lnTo>
                    <a:lnTo>
                      <a:pt x="73" y="144"/>
                    </a:lnTo>
                    <a:lnTo>
                      <a:pt x="62" y="150"/>
                    </a:lnTo>
                    <a:lnTo>
                      <a:pt x="57" y="152"/>
                    </a:lnTo>
                    <a:lnTo>
                      <a:pt x="51" y="154"/>
                    </a:lnTo>
                    <a:lnTo>
                      <a:pt x="46" y="155"/>
                    </a:lnTo>
                    <a:lnTo>
                      <a:pt x="39" y="155"/>
                    </a:lnTo>
                    <a:lnTo>
                      <a:pt x="35" y="154"/>
                    </a:lnTo>
                    <a:lnTo>
                      <a:pt x="30" y="153"/>
                    </a:lnTo>
                    <a:lnTo>
                      <a:pt x="26" y="151"/>
                    </a:lnTo>
                    <a:lnTo>
                      <a:pt x="22" y="149"/>
                    </a:lnTo>
                    <a:lnTo>
                      <a:pt x="15" y="142"/>
                    </a:lnTo>
                    <a:lnTo>
                      <a:pt x="9" y="134"/>
                    </a:lnTo>
                    <a:lnTo>
                      <a:pt x="5" y="124"/>
                    </a:lnTo>
                    <a:lnTo>
                      <a:pt x="2" y="113"/>
                    </a:lnTo>
                    <a:lnTo>
                      <a:pt x="0" y="103"/>
                    </a:lnTo>
                    <a:lnTo>
                      <a:pt x="0" y="93"/>
                    </a:lnTo>
                    <a:lnTo>
                      <a:pt x="0" y="77"/>
                    </a:lnTo>
                    <a:lnTo>
                      <a:pt x="0" y="65"/>
                    </a:lnTo>
                    <a:lnTo>
                      <a:pt x="0" y="56"/>
                    </a:lnTo>
                    <a:lnTo>
                      <a:pt x="0" y="50"/>
                    </a:lnTo>
                    <a:lnTo>
                      <a:pt x="15" y="50"/>
                    </a:lnTo>
                    <a:lnTo>
                      <a:pt x="26" y="50"/>
                    </a:lnTo>
                    <a:lnTo>
                      <a:pt x="26" y="40"/>
                    </a:lnTo>
                    <a:lnTo>
                      <a:pt x="27" y="31"/>
                    </a:lnTo>
                    <a:lnTo>
                      <a:pt x="29" y="23"/>
                    </a:lnTo>
                    <a:lnTo>
                      <a:pt x="31" y="17"/>
                    </a:lnTo>
                    <a:lnTo>
                      <a:pt x="35" y="12"/>
                    </a:lnTo>
                    <a:lnTo>
                      <a:pt x="39" y="7"/>
                    </a:lnTo>
                    <a:lnTo>
                      <a:pt x="42" y="4"/>
                    </a:lnTo>
                    <a:lnTo>
                      <a:pt x="48" y="2"/>
                    </a:lnTo>
                    <a:lnTo>
                      <a:pt x="59" y="0"/>
                    </a:lnTo>
                    <a:lnTo>
                      <a:pt x="71" y="0"/>
                    </a:lnTo>
                    <a:lnTo>
                      <a:pt x="84" y="0"/>
                    </a:lnTo>
                    <a:lnTo>
                      <a:pt x="100" y="1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2213" name="Group 535">
                <a:extLst>
                  <a:ext uri="{FF2B5EF4-FFF2-40B4-BE49-F238E27FC236}">
                    <a16:creationId xmlns="" xmlns:a16="http://schemas.microsoft.com/office/drawing/2014/main" id="{8E838F11-4B49-4484-8EFE-5001043D3831}"/>
                  </a:ext>
                </a:extLst>
              </p:cNvPr>
              <p:cNvGrpSpPr>
                <a:grpSpLocks/>
              </p:cNvGrpSpPr>
              <p:nvPr>
                <p:custDataLst>
                  <p:tags r:id="rId371"/>
                </p:custDataLst>
              </p:nvPr>
            </p:nvGrpSpPr>
            <p:grpSpPr bwMode="auto">
              <a:xfrm>
                <a:off x="4583113" y="2328863"/>
                <a:ext cx="482600" cy="201612"/>
                <a:chOff x="3289" y="1830"/>
                <a:chExt cx="363" cy="128"/>
              </a:xfrm>
              <a:solidFill>
                <a:srgbClr val="FFFFFF">
                  <a:lumMod val="75000"/>
                </a:srgbClr>
              </a:solidFill>
            </p:grpSpPr>
            <p:sp>
              <p:nvSpPr>
                <p:cNvPr id="2214" name="Freeform 536">
                  <a:extLst>
                    <a:ext uri="{FF2B5EF4-FFF2-40B4-BE49-F238E27FC236}">
                      <a16:creationId xmlns="" xmlns:a16="http://schemas.microsoft.com/office/drawing/2014/main" id="{AFF4B88C-7AB3-4649-AFC0-3C56C8D7AD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89" y="1871"/>
                  <a:ext cx="4" cy="3"/>
                </a:xfrm>
                <a:custGeom>
                  <a:avLst/>
                  <a:gdLst>
                    <a:gd name="T0" fmla="*/ 0 w 13"/>
                    <a:gd name="T1" fmla="*/ 0 h 7"/>
                    <a:gd name="T2" fmla="*/ 0 w 13"/>
                    <a:gd name="T3" fmla="*/ 0 h 7"/>
                    <a:gd name="T4" fmla="*/ 0 w 13"/>
                    <a:gd name="T5" fmla="*/ 0 h 7"/>
                    <a:gd name="T6" fmla="*/ 0 w 13"/>
                    <a:gd name="T7" fmla="*/ 0 h 7"/>
                    <a:gd name="T8" fmla="*/ 0 w 13"/>
                    <a:gd name="T9" fmla="*/ 0 h 7"/>
                    <a:gd name="T10" fmla="*/ 0 w 13"/>
                    <a:gd name="T11" fmla="*/ 0 h 7"/>
                    <a:gd name="T12" fmla="*/ 0 w 13"/>
                    <a:gd name="T13" fmla="*/ 0 h 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3"/>
                    <a:gd name="T22" fmla="*/ 0 h 7"/>
                    <a:gd name="T23" fmla="*/ 13 w 13"/>
                    <a:gd name="T24" fmla="*/ 7 h 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3" h="7">
                      <a:moveTo>
                        <a:pt x="13" y="0"/>
                      </a:moveTo>
                      <a:lnTo>
                        <a:pt x="12" y="1"/>
                      </a:lnTo>
                      <a:lnTo>
                        <a:pt x="9" y="3"/>
                      </a:lnTo>
                      <a:lnTo>
                        <a:pt x="4" y="5"/>
                      </a:lnTo>
                      <a:lnTo>
                        <a:pt x="0" y="7"/>
                      </a:lnTo>
                      <a:lnTo>
                        <a:pt x="7" y="3"/>
                      </a:lnTo>
                      <a:lnTo>
                        <a:pt x="13" y="0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15" name="Freeform 537">
                  <a:extLst>
                    <a:ext uri="{FF2B5EF4-FFF2-40B4-BE49-F238E27FC236}">
                      <a16:creationId xmlns="" xmlns:a16="http://schemas.microsoft.com/office/drawing/2014/main" id="{A212F0E3-3613-4BF2-AA66-3E834B1E61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24" y="1937"/>
                  <a:ext cx="10" cy="3"/>
                </a:xfrm>
                <a:custGeom>
                  <a:avLst/>
                  <a:gdLst>
                    <a:gd name="T0" fmla="*/ 0 w 34"/>
                    <a:gd name="T1" fmla="*/ 0 h 8"/>
                    <a:gd name="T2" fmla="*/ 0 w 34"/>
                    <a:gd name="T3" fmla="*/ 0 h 8"/>
                    <a:gd name="T4" fmla="*/ 0 w 34"/>
                    <a:gd name="T5" fmla="*/ 0 h 8"/>
                    <a:gd name="T6" fmla="*/ 0 w 34"/>
                    <a:gd name="T7" fmla="*/ 0 h 8"/>
                    <a:gd name="T8" fmla="*/ 0 w 34"/>
                    <a:gd name="T9" fmla="*/ 0 h 8"/>
                    <a:gd name="T10" fmla="*/ 0 w 34"/>
                    <a:gd name="T11" fmla="*/ 0 h 8"/>
                    <a:gd name="T12" fmla="*/ 0 w 34"/>
                    <a:gd name="T13" fmla="*/ 0 h 8"/>
                    <a:gd name="T14" fmla="*/ 0 w 34"/>
                    <a:gd name="T15" fmla="*/ 0 h 8"/>
                    <a:gd name="T16" fmla="*/ 0 w 34"/>
                    <a:gd name="T17" fmla="*/ 0 h 8"/>
                    <a:gd name="T18" fmla="*/ 0 w 34"/>
                    <a:gd name="T19" fmla="*/ 0 h 8"/>
                    <a:gd name="T20" fmla="*/ 0 w 34"/>
                    <a:gd name="T21" fmla="*/ 0 h 8"/>
                    <a:gd name="T22" fmla="*/ 0 w 34"/>
                    <a:gd name="T23" fmla="*/ 0 h 8"/>
                    <a:gd name="T24" fmla="*/ 0 w 34"/>
                    <a:gd name="T25" fmla="*/ 0 h 8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34"/>
                    <a:gd name="T40" fmla="*/ 0 h 8"/>
                    <a:gd name="T41" fmla="*/ 34 w 34"/>
                    <a:gd name="T42" fmla="*/ 8 h 8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34" h="8">
                      <a:moveTo>
                        <a:pt x="0" y="6"/>
                      </a:moveTo>
                      <a:lnTo>
                        <a:pt x="7" y="5"/>
                      </a:lnTo>
                      <a:lnTo>
                        <a:pt x="15" y="3"/>
                      </a:lnTo>
                      <a:lnTo>
                        <a:pt x="25" y="1"/>
                      </a:lnTo>
                      <a:lnTo>
                        <a:pt x="34" y="0"/>
                      </a:lnTo>
                      <a:lnTo>
                        <a:pt x="31" y="2"/>
                      </a:lnTo>
                      <a:lnTo>
                        <a:pt x="27" y="4"/>
                      </a:lnTo>
                      <a:lnTo>
                        <a:pt x="22" y="6"/>
                      </a:lnTo>
                      <a:lnTo>
                        <a:pt x="18" y="7"/>
                      </a:lnTo>
                      <a:lnTo>
                        <a:pt x="12" y="8"/>
                      </a:lnTo>
                      <a:lnTo>
                        <a:pt x="8" y="8"/>
                      </a:lnTo>
                      <a:lnTo>
                        <a:pt x="4" y="8"/>
                      </a:lnTo>
                      <a:lnTo>
                        <a:pt x="0" y="6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16" name="Freeform 538">
                  <a:extLst>
                    <a:ext uri="{FF2B5EF4-FFF2-40B4-BE49-F238E27FC236}">
                      <a16:creationId xmlns="" xmlns:a16="http://schemas.microsoft.com/office/drawing/2014/main" id="{7AED5AF5-50A1-498F-9477-9AFC0CB479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43" y="1948"/>
                  <a:ext cx="4" cy="8"/>
                </a:xfrm>
                <a:custGeom>
                  <a:avLst/>
                  <a:gdLst>
                    <a:gd name="T0" fmla="*/ 0 w 13"/>
                    <a:gd name="T1" fmla="*/ 0 h 24"/>
                    <a:gd name="T2" fmla="*/ 0 w 13"/>
                    <a:gd name="T3" fmla="*/ 0 h 24"/>
                    <a:gd name="T4" fmla="*/ 0 w 13"/>
                    <a:gd name="T5" fmla="*/ 0 h 24"/>
                    <a:gd name="T6" fmla="*/ 0 w 13"/>
                    <a:gd name="T7" fmla="*/ 0 h 2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3"/>
                    <a:gd name="T13" fmla="*/ 0 h 24"/>
                    <a:gd name="T14" fmla="*/ 13 w 13"/>
                    <a:gd name="T15" fmla="*/ 24 h 2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3" h="24">
                      <a:moveTo>
                        <a:pt x="0" y="24"/>
                      </a:moveTo>
                      <a:lnTo>
                        <a:pt x="0" y="0"/>
                      </a:lnTo>
                      <a:lnTo>
                        <a:pt x="13" y="12"/>
                      </a:lnTo>
                      <a:lnTo>
                        <a:pt x="0" y="24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17" name="Freeform 539">
                  <a:extLst>
                    <a:ext uri="{FF2B5EF4-FFF2-40B4-BE49-F238E27FC236}">
                      <a16:creationId xmlns="" xmlns:a16="http://schemas.microsoft.com/office/drawing/2014/main" id="{719547F4-9A75-4FB7-8F2D-1B4A412665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13" y="1834"/>
                  <a:ext cx="34" cy="23"/>
                </a:xfrm>
                <a:custGeom>
                  <a:avLst/>
                  <a:gdLst>
                    <a:gd name="T0" fmla="*/ 0 w 107"/>
                    <a:gd name="T1" fmla="*/ 0 h 69"/>
                    <a:gd name="T2" fmla="*/ 0 w 107"/>
                    <a:gd name="T3" fmla="*/ 0 h 69"/>
                    <a:gd name="T4" fmla="*/ 0 w 107"/>
                    <a:gd name="T5" fmla="*/ 0 h 69"/>
                    <a:gd name="T6" fmla="*/ 0 w 107"/>
                    <a:gd name="T7" fmla="*/ 0 h 69"/>
                    <a:gd name="T8" fmla="*/ 0 w 107"/>
                    <a:gd name="T9" fmla="*/ 0 h 69"/>
                    <a:gd name="T10" fmla="*/ 0 w 107"/>
                    <a:gd name="T11" fmla="*/ 0 h 69"/>
                    <a:gd name="T12" fmla="*/ 0 w 107"/>
                    <a:gd name="T13" fmla="*/ 0 h 69"/>
                    <a:gd name="T14" fmla="*/ 0 w 107"/>
                    <a:gd name="T15" fmla="*/ 0 h 69"/>
                    <a:gd name="T16" fmla="*/ 0 w 107"/>
                    <a:gd name="T17" fmla="*/ 0 h 69"/>
                    <a:gd name="T18" fmla="*/ 0 w 107"/>
                    <a:gd name="T19" fmla="*/ 0 h 69"/>
                    <a:gd name="T20" fmla="*/ 0 w 107"/>
                    <a:gd name="T21" fmla="*/ 0 h 69"/>
                    <a:gd name="T22" fmla="*/ 0 w 107"/>
                    <a:gd name="T23" fmla="*/ 0 h 69"/>
                    <a:gd name="T24" fmla="*/ 0 w 107"/>
                    <a:gd name="T25" fmla="*/ 0 h 69"/>
                    <a:gd name="T26" fmla="*/ 0 w 107"/>
                    <a:gd name="T27" fmla="*/ 0 h 69"/>
                    <a:gd name="T28" fmla="*/ 0 w 107"/>
                    <a:gd name="T29" fmla="*/ 0 h 69"/>
                    <a:gd name="T30" fmla="*/ 0 w 107"/>
                    <a:gd name="T31" fmla="*/ 0 h 69"/>
                    <a:gd name="T32" fmla="*/ 0 w 107"/>
                    <a:gd name="T33" fmla="*/ 0 h 69"/>
                    <a:gd name="T34" fmla="*/ 0 w 107"/>
                    <a:gd name="T35" fmla="*/ 0 h 69"/>
                    <a:gd name="T36" fmla="*/ 0 w 107"/>
                    <a:gd name="T37" fmla="*/ 0 h 69"/>
                    <a:gd name="T38" fmla="*/ 0 w 107"/>
                    <a:gd name="T39" fmla="*/ 0 h 69"/>
                    <a:gd name="T40" fmla="*/ 0 w 107"/>
                    <a:gd name="T41" fmla="*/ 0 h 69"/>
                    <a:gd name="T42" fmla="*/ 0 w 107"/>
                    <a:gd name="T43" fmla="*/ 0 h 69"/>
                    <a:gd name="T44" fmla="*/ 0 w 107"/>
                    <a:gd name="T45" fmla="*/ 0 h 69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07"/>
                    <a:gd name="T70" fmla="*/ 0 h 69"/>
                    <a:gd name="T71" fmla="*/ 107 w 107"/>
                    <a:gd name="T72" fmla="*/ 69 h 69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07" h="69">
                      <a:moveTo>
                        <a:pt x="0" y="13"/>
                      </a:moveTo>
                      <a:lnTo>
                        <a:pt x="0" y="27"/>
                      </a:lnTo>
                      <a:lnTo>
                        <a:pt x="0" y="45"/>
                      </a:lnTo>
                      <a:lnTo>
                        <a:pt x="0" y="62"/>
                      </a:lnTo>
                      <a:lnTo>
                        <a:pt x="0" y="69"/>
                      </a:lnTo>
                      <a:lnTo>
                        <a:pt x="16" y="66"/>
                      </a:lnTo>
                      <a:lnTo>
                        <a:pt x="49" y="58"/>
                      </a:lnTo>
                      <a:lnTo>
                        <a:pt x="85" y="50"/>
                      </a:lnTo>
                      <a:lnTo>
                        <a:pt x="107" y="44"/>
                      </a:lnTo>
                      <a:lnTo>
                        <a:pt x="101" y="38"/>
                      </a:lnTo>
                      <a:lnTo>
                        <a:pt x="94" y="34"/>
                      </a:lnTo>
                      <a:lnTo>
                        <a:pt x="86" y="30"/>
                      </a:lnTo>
                      <a:lnTo>
                        <a:pt x="78" y="27"/>
                      </a:lnTo>
                      <a:lnTo>
                        <a:pt x="72" y="23"/>
                      </a:lnTo>
                      <a:lnTo>
                        <a:pt x="65" y="18"/>
                      </a:lnTo>
                      <a:lnTo>
                        <a:pt x="63" y="15"/>
                      </a:lnTo>
                      <a:lnTo>
                        <a:pt x="62" y="11"/>
                      </a:lnTo>
                      <a:lnTo>
                        <a:pt x="61" y="7"/>
                      </a:lnTo>
                      <a:lnTo>
                        <a:pt x="61" y="0"/>
                      </a:lnTo>
                      <a:lnTo>
                        <a:pt x="54" y="1"/>
                      </a:lnTo>
                      <a:lnTo>
                        <a:pt x="38" y="4"/>
                      </a:lnTo>
                      <a:lnTo>
                        <a:pt x="18" y="9"/>
                      </a:lnTo>
                      <a:lnTo>
                        <a:pt x="0" y="13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218" name="Freeform 540">
                  <a:extLst>
                    <a:ext uri="{FF2B5EF4-FFF2-40B4-BE49-F238E27FC236}">
                      <a16:creationId xmlns="" xmlns:a16="http://schemas.microsoft.com/office/drawing/2014/main" id="{711C4B19-66BB-462D-8BF4-F0A4F31DEA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02" y="1830"/>
                  <a:ext cx="350" cy="128"/>
                </a:xfrm>
                <a:custGeom>
                  <a:avLst/>
                  <a:gdLst>
                    <a:gd name="T0" fmla="*/ 4 w 1070"/>
                    <a:gd name="T1" fmla="*/ 1 h 382"/>
                    <a:gd name="T2" fmla="*/ 4 w 1070"/>
                    <a:gd name="T3" fmla="*/ 0 h 382"/>
                    <a:gd name="T4" fmla="*/ 4 w 1070"/>
                    <a:gd name="T5" fmla="*/ 0 h 382"/>
                    <a:gd name="T6" fmla="*/ 4 w 1070"/>
                    <a:gd name="T7" fmla="*/ 0 h 382"/>
                    <a:gd name="T8" fmla="*/ 3 w 1070"/>
                    <a:gd name="T9" fmla="*/ 0 h 382"/>
                    <a:gd name="T10" fmla="*/ 3 w 1070"/>
                    <a:gd name="T11" fmla="*/ 0 h 382"/>
                    <a:gd name="T12" fmla="*/ 3 w 1070"/>
                    <a:gd name="T13" fmla="*/ 0 h 382"/>
                    <a:gd name="T14" fmla="*/ 2 w 1070"/>
                    <a:gd name="T15" fmla="*/ 0 h 382"/>
                    <a:gd name="T16" fmla="*/ 2 w 1070"/>
                    <a:gd name="T17" fmla="*/ 0 h 382"/>
                    <a:gd name="T18" fmla="*/ 2 w 1070"/>
                    <a:gd name="T19" fmla="*/ 0 h 382"/>
                    <a:gd name="T20" fmla="*/ 2 w 1070"/>
                    <a:gd name="T21" fmla="*/ 0 h 382"/>
                    <a:gd name="T22" fmla="*/ 2 w 1070"/>
                    <a:gd name="T23" fmla="*/ 0 h 382"/>
                    <a:gd name="T24" fmla="*/ 2 w 1070"/>
                    <a:gd name="T25" fmla="*/ 0 h 382"/>
                    <a:gd name="T26" fmla="*/ 2 w 1070"/>
                    <a:gd name="T27" fmla="*/ 0 h 382"/>
                    <a:gd name="T28" fmla="*/ 1 w 1070"/>
                    <a:gd name="T29" fmla="*/ 0 h 382"/>
                    <a:gd name="T30" fmla="*/ 1 w 1070"/>
                    <a:gd name="T31" fmla="*/ 0 h 382"/>
                    <a:gd name="T32" fmla="*/ 1 w 1070"/>
                    <a:gd name="T33" fmla="*/ 0 h 382"/>
                    <a:gd name="T34" fmla="*/ 1 w 1070"/>
                    <a:gd name="T35" fmla="*/ 0 h 382"/>
                    <a:gd name="T36" fmla="*/ 1 w 1070"/>
                    <a:gd name="T37" fmla="*/ 0 h 382"/>
                    <a:gd name="T38" fmla="*/ 0 w 1070"/>
                    <a:gd name="T39" fmla="*/ 0 h 382"/>
                    <a:gd name="T40" fmla="*/ 0 w 1070"/>
                    <a:gd name="T41" fmla="*/ 0 h 382"/>
                    <a:gd name="T42" fmla="*/ 0 w 1070"/>
                    <a:gd name="T43" fmla="*/ 0 h 382"/>
                    <a:gd name="T44" fmla="*/ 0 w 1070"/>
                    <a:gd name="T45" fmla="*/ 1 h 382"/>
                    <a:gd name="T46" fmla="*/ 0 w 1070"/>
                    <a:gd name="T47" fmla="*/ 1 h 382"/>
                    <a:gd name="T48" fmla="*/ 0 w 1070"/>
                    <a:gd name="T49" fmla="*/ 1 h 382"/>
                    <a:gd name="T50" fmla="*/ 0 w 1070"/>
                    <a:gd name="T51" fmla="*/ 1 h 382"/>
                    <a:gd name="T52" fmla="*/ 0 w 1070"/>
                    <a:gd name="T53" fmla="*/ 1 h 382"/>
                    <a:gd name="T54" fmla="*/ 0 w 1070"/>
                    <a:gd name="T55" fmla="*/ 1 h 382"/>
                    <a:gd name="T56" fmla="*/ 0 w 1070"/>
                    <a:gd name="T57" fmla="*/ 1 h 382"/>
                    <a:gd name="T58" fmla="*/ 0 w 1070"/>
                    <a:gd name="T59" fmla="*/ 1 h 382"/>
                    <a:gd name="T60" fmla="*/ 1 w 1070"/>
                    <a:gd name="T61" fmla="*/ 1 h 382"/>
                    <a:gd name="T62" fmla="*/ 1 w 1070"/>
                    <a:gd name="T63" fmla="*/ 2 h 382"/>
                    <a:gd name="T64" fmla="*/ 1 w 1070"/>
                    <a:gd name="T65" fmla="*/ 1 h 382"/>
                    <a:gd name="T66" fmla="*/ 1 w 1070"/>
                    <a:gd name="T67" fmla="*/ 1 h 382"/>
                    <a:gd name="T68" fmla="*/ 1 w 1070"/>
                    <a:gd name="T69" fmla="*/ 1 h 382"/>
                    <a:gd name="T70" fmla="*/ 1 w 1070"/>
                    <a:gd name="T71" fmla="*/ 1 h 382"/>
                    <a:gd name="T72" fmla="*/ 1 w 1070"/>
                    <a:gd name="T73" fmla="*/ 1 h 382"/>
                    <a:gd name="T74" fmla="*/ 2 w 1070"/>
                    <a:gd name="T75" fmla="*/ 2 h 382"/>
                    <a:gd name="T76" fmla="*/ 2 w 1070"/>
                    <a:gd name="T77" fmla="*/ 1 h 382"/>
                    <a:gd name="T78" fmla="*/ 2 w 1070"/>
                    <a:gd name="T79" fmla="*/ 1 h 382"/>
                    <a:gd name="T80" fmla="*/ 2 w 1070"/>
                    <a:gd name="T81" fmla="*/ 1 h 382"/>
                    <a:gd name="T82" fmla="*/ 2 w 1070"/>
                    <a:gd name="T83" fmla="*/ 1 h 382"/>
                    <a:gd name="T84" fmla="*/ 2 w 1070"/>
                    <a:gd name="T85" fmla="*/ 2 h 382"/>
                    <a:gd name="T86" fmla="*/ 2 w 1070"/>
                    <a:gd name="T87" fmla="*/ 2 h 382"/>
                    <a:gd name="T88" fmla="*/ 2 w 1070"/>
                    <a:gd name="T89" fmla="*/ 2 h 382"/>
                    <a:gd name="T90" fmla="*/ 3 w 1070"/>
                    <a:gd name="T91" fmla="*/ 1 h 382"/>
                    <a:gd name="T92" fmla="*/ 3 w 1070"/>
                    <a:gd name="T93" fmla="*/ 1 h 382"/>
                    <a:gd name="T94" fmla="*/ 3 w 1070"/>
                    <a:gd name="T95" fmla="*/ 1 h 382"/>
                    <a:gd name="T96" fmla="*/ 3 w 1070"/>
                    <a:gd name="T97" fmla="*/ 1 h 382"/>
                    <a:gd name="T98" fmla="*/ 4 w 1070"/>
                    <a:gd name="T99" fmla="*/ 1 h 382"/>
                    <a:gd name="T100" fmla="*/ 4 w 1070"/>
                    <a:gd name="T101" fmla="*/ 1 h 382"/>
                    <a:gd name="T102" fmla="*/ 4 w 1070"/>
                    <a:gd name="T103" fmla="*/ 1 h 382"/>
                    <a:gd name="T104" fmla="*/ 4 w 1070"/>
                    <a:gd name="T105" fmla="*/ 1 h 382"/>
                    <a:gd name="T106" fmla="*/ 4 w 1070"/>
                    <a:gd name="T107" fmla="*/ 1 h 382"/>
                    <a:gd name="T108" fmla="*/ 4 w 1070"/>
                    <a:gd name="T109" fmla="*/ 1 h 382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1070"/>
                    <a:gd name="T166" fmla="*/ 0 h 382"/>
                    <a:gd name="T167" fmla="*/ 1070 w 1070"/>
                    <a:gd name="T168" fmla="*/ 382 h 382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1070" h="382">
                      <a:moveTo>
                        <a:pt x="1011" y="142"/>
                      </a:moveTo>
                      <a:lnTo>
                        <a:pt x="1011" y="136"/>
                      </a:lnTo>
                      <a:lnTo>
                        <a:pt x="1011" y="123"/>
                      </a:lnTo>
                      <a:lnTo>
                        <a:pt x="1000" y="125"/>
                      </a:lnTo>
                      <a:lnTo>
                        <a:pt x="992" y="124"/>
                      </a:lnTo>
                      <a:lnTo>
                        <a:pt x="984" y="122"/>
                      </a:lnTo>
                      <a:lnTo>
                        <a:pt x="980" y="119"/>
                      </a:lnTo>
                      <a:lnTo>
                        <a:pt x="976" y="114"/>
                      </a:lnTo>
                      <a:lnTo>
                        <a:pt x="972" y="109"/>
                      </a:lnTo>
                      <a:lnTo>
                        <a:pt x="970" y="103"/>
                      </a:lnTo>
                      <a:lnTo>
                        <a:pt x="969" y="96"/>
                      </a:lnTo>
                      <a:lnTo>
                        <a:pt x="967" y="82"/>
                      </a:lnTo>
                      <a:lnTo>
                        <a:pt x="966" y="68"/>
                      </a:lnTo>
                      <a:lnTo>
                        <a:pt x="965" y="62"/>
                      </a:lnTo>
                      <a:lnTo>
                        <a:pt x="962" y="57"/>
                      </a:lnTo>
                      <a:lnTo>
                        <a:pt x="960" y="53"/>
                      </a:lnTo>
                      <a:lnTo>
                        <a:pt x="957" y="50"/>
                      </a:lnTo>
                      <a:lnTo>
                        <a:pt x="950" y="44"/>
                      </a:lnTo>
                      <a:lnTo>
                        <a:pt x="944" y="40"/>
                      </a:lnTo>
                      <a:lnTo>
                        <a:pt x="936" y="36"/>
                      </a:lnTo>
                      <a:lnTo>
                        <a:pt x="928" y="33"/>
                      </a:lnTo>
                      <a:lnTo>
                        <a:pt x="912" y="28"/>
                      </a:lnTo>
                      <a:lnTo>
                        <a:pt x="894" y="25"/>
                      </a:lnTo>
                      <a:lnTo>
                        <a:pt x="857" y="22"/>
                      </a:lnTo>
                      <a:lnTo>
                        <a:pt x="817" y="19"/>
                      </a:lnTo>
                      <a:lnTo>
                        <a:pt x="799" y="29"/>
                      </a:lnTo>
                      <a:lnTo>
                        <a:pt x="769" y="43"/>
                      </a:lnTo>
                      <a:lnTo>
                        <a:pt x="752" y="50"/>
                      </a:lnTo>
                      <a:lnTo>
                        <a:pt x="734" y="56"/>
                      </a:lnTo>
                      <a:lnTo>
                        <a:pt x="726" y="58"/>
                      </a:lnTo>
                      <a:lnTo>
                        <a:pt x="719" y="60"/>
                      </a:lnTo>
                      <a:lnTo>
                        <a:pt x="711" y="61"/>
                      </a:lnTo>
                      <a:lnTo>
                        <a:pt x="704" y="62"/>
                      </a:lnTo>
                      <a:lnTo>
                        <a:pt x="692" y="63"/>
                      </a:lnTo>
                      <a:lnTo>
                        <a:pt x="678" y="65"/>
                      </a:lnTo>
                      <a:lnTo>
                        <a:pt x="664" y="67"/>
                      </a:lnTo>
                      <a:lnTo>
                        <a:pt x="652" y="68"/>
                      </a:lnTo>
                      <a:lnTo>
                        <a:pt x="644" y="68"/>
                      </a:lnTo>
                      <a:lnTo>
                        <a:pt x="637" y="67"/>
                      </a:lnTo>
                      <a:lnTo>
                        <a:pt x="632" y="65"/>
                      </a:lnTo>
                      <a:lnTo>
                        <a:pt x="626" y="63"/>
                      </a:lnTo>
                      <a:lnTo>
                        <a:pt x="622" y="59"/>
                      </a:lnTo>
                      <a:lnTo>
                        <a:pt x="618" y="55"/>
                      </a:lnTo>
                      <a:lnTo>
                        <a:pt x="614" y="50"/>
                      </a:lnTo>
                      <a:lnTo>
                        <a:pt x="612" y="44"/>
                      </a:lnTo>
                      <a:lnTo>
                        <a:pt x="601" y="45"/>
                      </a:lnTo>
                      <a:lnTo>
                        <a:pt x="591" y="44"/>
                      </a:lnTo>
                      <a:lnTo>
                        <a:pt x="581" y="42"/>
                      </a:lnTo>
                      <a:lnTo>
                        <a:pt x="571" y="40"/>
                      </a:lnTo>
                      <a:lnTo>
                        <a:pt x="560" y="37"/>
                      </a:lnTo>
                      <a:lnTo>
                        <a:pt x="549" y="34"/>
                      </a:lnTo>
                      <a:lnTo>
                        <a:pt x="537" y="32"/>
                      </a:lnTo>
                      <a:lnTo>
                        <a:pt x="525" y="32"/>
                      </a:lnTo>
                      <a:lnTo>
                        <a:pt x="525" y="25"/>
                      </a:lnTo>
                      <a:lnTo>
                        <a:pt x="525" y="19"/>
                      </a:lnTo>
                      <a:lnTo>
                        <a:pt x="512" y="22"/>
                      </a:lnTo>
                      <a:lnTo>
                        <a:pt x="499" y="25"/>
                      </a:lnTo>
                      <a:lnTo>
                        <a:pt x="493" y="25"/>
                      </a:lnTo>
                      <a:lnTo>
                        <a:pt x="488" y="23"/>
                      </a:lnTo>
                      <a:lnTo>
                        <a:pt x="483" y="21"/>
                      </a:lnTo>
                      <a:lnTo>
                        <a:pt x="477" y="17"/>
                      </a:lnTo>
                      <a:lnTo>
                        <a:pt x="473" y="13"/>
                      </a:lnTo>
                      <a:lnTo>
                        <a:pt x="468" y="9"/>
                      </a:lnTo>
                      <a:lnTo>
                        <a:pt x="466" y="5"/>
                      </a:lnTo>
                      <a:lnTo>
                        <a:pt x="465" y="0"/>
                      </a:lnTo>
                      <a:lnTo>
                        <a:pt x="456" y="5"/>
                      </a:lnTo>
                      <a:lnTo>
                        <a:pt x="445" y="9"/>
                      </a:lnTo>
                      <a:lnTo>
                        <a:pt x="432" y="12"/>
                      </a:lnTo>
                      <a:lnTo>
                        <a:pt x="419" y="14"/>
                      </a:lnTo>
                      <a:lnTo>
                        <a:pt x="390" y="16"/>
                      </a:lnTo>
                      <a:lnTo>
                        <a:pt x="360" y="19"/>
                      </a:lnTo>
                      <a:lnTo>
                        <a:pt x="343" y="20"/>
                      </a:lnTo>
                      <a:lnTo>
                        <a:pt x="329" y="21"/>
                      </a:lnTo>
                      <a:lnTo>
                        <a:pt x="313" y="23"/>
                      </a:lnTo>
                      <a:lnTo>
                        <a:pt x="299" y="26"/>
                      </a:lnTo>
                      <a:lnTo>
                        <a:pt x="286" y="30"/>
                      </a:lnTo>
                      <a:lnTo>
                        <a:pt x="274" y="35"/>
                      </a:lnTo>
                      <a:lnTo>
                        <a:pt x="267" y="38"/>
                      </a:lnTo>
                      <a:lnTo>
                        <a:pt x="262" y="41"/>
                      </a:lnTo>
                      <a:lnTo>
                        <a:pt x="257" y="45"/>
                      </a:lnTo>
                      <a:lnTo>
                        <a:pt x="253" y="50"/>
                      </a:lnTo>
                      <a:lnTo>
                        <a:pt x="147" y="50"/>
                      </a:lnTo>
                      <a:lnTo>
                        <a:pt x="145" y="54"/>
                      </a:lnTo>
                      <a:lnTo>
                        <a:pt x="142" y="58"/>
                      </a:lnTo>
                      <a:lnTo>
                        <a:pt x="138" y="61"/>
                      </a:lnTo>
                      <a:lnTo>
                        <a:pt x="133" y="62"/>
                      </a:lnTo>
                      <a:lnTo>
                        <a:pt x="143" y="65"/>
                      </a:lnTo>
                      <a:lnTo>
                        <a:pt x="153" y="68"/>
                      </a:lnTo>
                      <a:lnTo>
                        <a:pt x="163" y="70"/>
                      </a:lnTo>
                      <a:lnTo>
                        <a:pt x="173" y="75"/>
                      </a:lnTo>
                      <a:lnTo>
                        <a:pt x="173" y="79"/>
                      </a:lnTo>
                      <a:lnTo>
                        <a:pt x="172" y="83"/>
                      </a:lnTo>
                      <a:lnTo>
                        <a:pt x="170" y="86"/>
                      </a:lnTo>
                      <a:lnTo>
                        <a:pt x="167" y="88"/>
                      </a:lnTo>
                      <a:lnTo>
                        <a:pt x="164" y="90"/>
                      </a:lnTo>
                      <a:lnTo>
                        <a:pt x="161" y="91"/>
                      </a:lnTo>
                      <a:lnTo>
                        <a:pt x="158" y="92"/>
                      </a:lnTo>
                      <a:lnTo>
                        <a:pt x="153" y="93"/>
                      </a:lnTo>
                      <a:lnTo>
                        <a:pt x="133" y="94"/>
                      </a:lnTo>
                      <a:lnTo>
                        <a:pt x="114" y="93"/>
                      </a:lnTo>
                      <a:lnTo>
                        <a:pt x="108" y="93"/>
                      </a:lnTo>
                      <a:lnTo>
                        <a:pt x="94" y="93"/>
                      </a:lnTo>
                      <a:lnTo>
                        <a:pt x="74" y="93"/>
                      </a:lnTo>
                      <a:lnTo>
                        <a:pt x="53" y="93"/>
                      </a:lnTo>
                      <a:lnTo>
                        <a:pt x="42" y="94"/>
                      </a:lnTo>
                      <a:lnTo>
                        <a:pt x="31" y="95"/>
                      </a:lnTo>
                      <a:lnTo>
                        <a:pt x="22" y="99"/>
                      </a:lnTo>
                      <a:lnTo>
                        <a:pt x="15" y="104"/>
                      </a:lnTo>
                      <a:lnTo>
                        <a:pt x="11" y="107"/>
                      </a:lnTo>
                      <a:lnTo>
                        <a:pt x="8" y="110"/>
                      </a:lnTo>
                      <a:lnTo>
                        <a:pt x="6" y="114"/>
                      </a:lnTo>
                      <a:lnTo>
                        <a:pt x="4" y="119"/>
                      </a:lnTo>
                      <a:lnTo>
                        <a:pt x="2" y="130"/>
                      </a:lnTo>
                      <a:lnTo>
                        <a:pt x="0" y="142"/>
                      </a:lnTo>
                      <a:lnTo>
                        <a:pt x="0" y="147"/>
                      </a:lnTo>
                      <a:lnTo>
                        <a:pt x="2" y="151"/>
                      </a:lnTo>
                      <a:lnTo>
                        <a:pt x="4" y="154"/>
                      </a:lnTo>
                      <a:lnTo>
                        <a:pt x="5" y="157"/>
                      </a:lnTo>
                      <a:lnTo>
                        <a:pt x="10" y="162"/>
                      </a:lnTo>
                      <a:lnTo>
                        <a:pt x="16" y="167"/>
                      </a:lnTo>
                      <a:lnTo>
                        <a:pt x="20" y="173"/>
                      </a:lnTo>
                      <a:lnTo>
                        <a:pt x="22" y="179"/>
                      </a:lnTo>
                      <a:lnTo>
                        <a:pt x="24" y="183"/>
                      </a:lnTo>
                      <a:lnTo>
                        <a:pt x="24" y="188"/>
                      </a:lnTo>
                      <a:lnTo>
                        <a:pt x="22" y="193"/>
                      </a:lnTo>
                      <a:lnTo>
                        <a:pt x="20" y="198"/>
                      </a:lnTo>
                      <a:lnTo>
                        <a:pt x="19" y="200"/>
                      </a:lnTo>
                      <a:lnTo>
                        <a:pt x="19" y="203"/>
                      </a:lnTo>
                      <a:lnTo>
                        <a:pt x="20" y="206"/>
                      </a:lnTo>
                      <a:lnTo>
                        <a:pt x="21" y="210"/>
                      </a:lnTo>
                      <a:lnTo>
                        <a:pt x="25" y="217"/>
                      </a:lnTo>
                      <a:lnTo>
                        <a:pt x="30" y="224"/>
                      </a:lnTo>
                      <a:lnTo>
                        <a:pt x="37" y="230"/>
                      </a:lnTo>
                      <a:lnTo>
                        <a:pt x="44" y="235"/>
                      </a:lnTo>
                      <a:lnTo>
                        <a:pt x="49" y="237"/>
                      </a:lnTo>
                      <a:lnTo>
                        <a:pt x="52" y="239"/>
                      </a:lnTo>
                      <a:lnTo>
                        <a:pt x="56" y="241"/>
                      </a:lnTo>
                      <a:lnTo>
                        <a:pt x="60" y="241"/>
                      </a:lnTo>
                      <a:lnTo>
                        <a:pt x="59" y="250"/>
                      </a:lnTo>
                      <a:lnTo>
                        <a:pt x="56" y="259"/>
                      </a:lnTo>
                      <a:lnTo>
                        <a:pt x="52" y="266"/>
                      </a:lnTo>
                      <a:lnTo>
                        <a:pt x="47" y="271"/>
                      </a:lnTo>
                      <a:lnTo>
                        <a:pt x="56" y="271"/>
                      </a:lnTo>
                      <a:lnTo>
                        <a:pt x="66" y="271"/>
                      </a:lnTo>
                      <a:lnTo>
                        <a:pt x="74" y="271"/>
                      </a:lnTo>
                      <a:lnTo>
                        <a:pt x="81" y="271"/>
                      </a:lnTo>
                      <a:lnTo>
                        <a:pt x="82" y="275"/>
                      </a:lnTo>
                      <a:lnTo>
                        <a:pt x="84" y="280"/>
                      </a:lnTo>
                      <a:lnTo>
                        <a:pt x="89" y="284"/>
                      </a:lnTo>
                      <a:lnTo>
                        <a:pt x="96" y="290"/>
                      </a:lnTo>
                      <a:lnTo>
                        <a:pt x="112" y="302"/>
                      </a:lnTo>
                      <a:lnTo>
                        <a:pt x="131" y="313"/>
                      </a:lnTo>
                      <a:lnTo>
                        <a:pt x="170" y="334"/>
                      </a:lnTo>
                      <a:lnTo>
                        <a:pt x="193" y="345"/>
                      </a:lnTo>
                      <a:lnTo>
                        <a:pt x="205" y="352"/>
                      </a:lnTo>
                      <a:lnTo>
                        <a:pt x="218" y="360"/>
                      </a:lnTo>
                      <a:lnTo>
                        <a:pt x="226" y="364"/>
                      </a:lnTo>
                      <a:lnTo>
                        <a:pt x="234" y="367"/>
                      </a:lnTo>
                      <a:lnTo>
                        <a:pt x="243" y="370"/>
                      </a:lnTo>
                      <a:lnTo>
                        <a:pt x="253" y="370"/>
                      </a:lnTo>
                      <a:lnTo>
                        <a:pt x="255" y="370"/>
                      </a:lnTo>
                      <a:lnTo>
                        <a:pt x="257" y="367"/>
                      </a:lnTo>
                      <a:lnTo>
                        <a:pt x="261" y="365"/>
                      </a:lnTo>
                      <a:lnTo>
                        <a:pt x="264" y="361"/>
                      </a:lnTo>
                      <a:lnTo>
                        <a:pt x="267" y="358"/>
                      </a:lnTo>
                      <a:lnTo>
                        <a:pt x="271" y="355"/>
                      </a:lnTo>
                      <a:lnTo>
                        <a:pt x="275" y="353"/>
                      </a:lnTo>
                      <a:lnTo>
                        <a:pt x="279" y="352"/>
                      </a:lnTo>
                      <a:lnTo>
                        <a:pt x="277" y="344"/>
                      </a:lnTo>
                      <a:lnTo>
                        <a:pt x="277" y="338"/>
                      </a:lnTo>
                      <a:lnTo>
                        <a:pt x="278" y="332"/>
                      </a:lnTo>
                      <a:lnTo>
                        <a:pt x="280" y="326"/>
                      </a:lnTo>
                      <a:lnTo>
                        <a:pt x="284" y="322"/>
                      </a:lnTo>
                      <a:lnTo>
                        <a:pt x="289" y="318"/>
                      </a:lnTo>
                      <a:lnTo>
                        <a:pt x="297" y="316"/>
                      </a:lnTo>
                      <a:lnTo>
                        <a:pt x="306" y="315"/>
                      </a:lnTo>
                      <a:lnTo>
                        <a:pt x="316" y="315"/>
                      </a:lnTo>
                      <a:lnTo>
                        <a:pt x="323" y="317"/>
                      </a:lnTo>
                      <a:lnTo>
                        <a:pt x="329" y="320"/>
                      </a:lnTo>
                      <a:lnTo>
                        <a:pt x="334" y="323"/>
                      </a:lnTo>
                      <a:lnTo>
                        <a:pt x="343" y="332"/>
                      </a:lnTo>
                      <a:lnTo>
                        <a:pt x="350" y="342"/>
                      </a:lnTo>
                      <a:lnTo>
                        <a:pt x="353" y="347"/>
                      </a:lnTo>
                      <a:lnTo>
                        <a:pt x="357" y="353"/>
                      </a:lnTo>
                      <a:lnTo>
                        <a:pt x="362" y="358"/>
                      </a:lnTo>
                      <a:lnTo>
                        <a:pt x="367" y="362"/>
                      </a:lnTo>
                      <a:lnTo>
                        <a:pt x="373" y="365"/>
                      </a:lnTo>
                      <a:lnTo>
                        <a:pt x="380" y="368"/>
                      </a:lnTo>
                      <a:lnTo>
                        <a:pt x="389" y="370"/>
                      </a:lnTo>
                      <a:lnTo>
                        <a:pt x="399" y="370"/>
                      </a:lnTo>
                      <a:lnTo>
                        <a:pt x="409" y="370"/>
                      </a:lnTo>
                      <a:lnTo>
                        <a:pt x="418" y="369"/>
                      </a:lnTo>
                      <a:lnTo>
                        <a:pt x="425" y="367"/>
                      </a:lnTo>
                      <a:lnTo>
                        <a:pt x="433" y="365"/>
                      </a:lnTo>
                      <a:lnTo>
                        <a:pt x="447" y="359"/>
                      </a:lnTo>
                      <a:lnTo>
                        <a:pt x="459" y="352"/>
                      </a:lnTo>
                      <a:lnTo>
                        <a:pt x="472" y="345"/>
                      </a:lnTo>
                      <a:lnTo>
                        <a:pt x="483" y="339"/>
                      </a:lnTo>
                      <a:lnTo>
                        <a:pt x="488" y="336"/>
                      </a:lnTo>
                      <a:lnTo>
                        <a:pt x="493" y="335"/>
                      </a:lnTo>
                      <a:lnTo>
                        <a:pt x="499" y="333"/>
                      </a:lnTo>
                      <a:lnTo>
                        <a:pt x="506" y="333"/>
                      </a:lnTo>
                      <a:lnTo>
                        <a:pt x="512" y="332"/>
                      </a:lnTo>
                      <a:lnTo>
                        <a:pt x="521" y="329"/>
                      </a:lnTo>
                      <a:lnTo>
                        <a:pt x="525" y="327"/>
                      </a:lnTo>
                      <a:lnTo>
                        <a:pt x="529" y="325"/>
                      </a:lnTo>
                      <a:lnTo>
                        <a:pt x="531" y="323"/>
                      </a:lnTo>
                      <a:lnTo>
                        <a:pt x="532" y="321"/>
                      </a:lnTo>
                      <a:lnTo>
                        <a:pt x="565" y="321"/>
                      </a:lnTo>
                      <a:lnTo>
                        <a:pt x="564" y="326"/>
                      </a:lnTo>
                      <a:lnTo>
                        <a:pt x="563" y="333"/>
                      </a:lnTo>
                      <a:lnTo>
                        <a:pt x="564" y="341"/>
                      </a:lnTo>
                      <a:lnTo>
                        <a:pt x="565" y="349"/>
                      </a:lnTo>
                      <a:lnTo>
                        <a:pt x="566" y="358"/>
                      </a:lnTo>
                      <a:lnTo>
                        <a:pt x="567" y="367"/>
                      </a:lnTo>
                      <a:lnTo>
                        <a:pt x="567" y="375"/>
                      </a:lnTo>
                      <a:lnTo>
                        <a:pt x="565" y="382"/>
                      </a:lnTo>
                      <a:lnTo>
                        <a:pt x="575" y="381"/>
                      </a:lnTo>
                      <a:lnTo>
                        <a:pt x="582" y="379"/>
                      </a:lnTo>
                      <a:lnTo>
                        <a:pt x="590" y="377"/>
                      </a:lnTo>
                      <a:lnTo>
                        <a:pt x="596" y="375"/>
                      </a:lnTo>
                      <a:lnTo>
                        <a:pt x="601" y="372"/>
                      </a:lnTo>
                      <a:lnTo>
                        <a:pt x="605" y="369"/>
                      </a:lnTo>
                      <a:lnTo>
                        <a:pt x="610" y="366"/>
                      </a:lnTo>
                      <a:lnTo>
                        <a:pt x="613" y="362"/>
                      </a:lnTo>
                      <a:lnTo>
                        <a:pt x="623" y="345"/>
                      </a:lnTo>
                      <a:lnTo>
                        <a:pt x="632" y="327"/>
                      </a:lnTo>
                      <a:lnTo>
                        <a:pt x="636" y="331"/>
                      </a:lnTo>
                      <a:lnTo>
                        <a:pt x="641" y="334"/>
                      </a:lnTo>
                      <a:lnTo>
                        <a:pt x="647" y="336"/>
                      </a:lnTo>
                      <a:lnTo>
                        <a:pt x="654" y="337"/>
                      </a:lnTo>
                      <a:lnTo>
                        <a:pt x="669" y="338"/>
                      </a:lnTo>
                      <a:lnTo>
                        <a:pt x="687" y="336"/>
                      </a:lnTo>
                      <a:lnTo>
                        <a:pt x="721" y="330"/>
                      </a:lnTo>
                      <a:lnTo>
                        <a:pt x="752" y="327"/>
                      </a:lnTo>
                      <a:lnTo>
                        <a:pt x="767" y="327"/>
                      </a:lnTo>
                      <a:lnTo>
                        <a:pt x="781" y="325"/>
                      </a:lnTo>
                      <a:lnTo>
                        <a:pt x="794" y="324"/>
                      </a:lnTo>
                      <a:lnTo>
                        <a:pt x="808" y="321"/>
                      </a:lnTo>
                      <a:lnTo>
                        <a:pt x="831" y="315"/>
                      </a:lnTo>
                      <a:lnTo>
                        <a:pt x="853" y="307"/>
                      </a:lnTo>
                      <a:lnTo>
                        <a:pt x="873" y="299"/>
                      </a:lnTo>
                      <a:lnTo>
                        <a:pt x="895" y="290"/>
                      </a:lnTo>
                      <a:lnTo>
                        <a:pt x="906" y="287"/>
                      </a:lnTo>
                      <a:lnTo>
                        <a:pt x="918" y="283"/>
                      </a:lnTo>
                      <a:lnTo>
                        <a:pt x="930" y="280"/>
                      </a:lnTo>
                      <a:lnTo>
                        <a:pt x="944" y="278"/>
                      </a:lnTo>
                      <a:lnTo>
                        <a:pt x="951" y="279"/>
                      </a:lnTo>
                      <a:lnTo>
                        <a:pt x="961" y="284"/>
                      </a:lnTo>
                      <a:lnTo>
                        <a:pt x="967" y="286"/>
                      </a:lnTo>
                      <a:lnTo>
                        <a:pt x="972" y="288"/>
                      </a:lnTo>
                      <a:lnTo>
                        <a:pt x="979" y="289"/>
                      </a:lnTo>
                      <a:lnTo>
                        <a:pt x="983" y="290"/>
                      </a:lnTo>
                      <a:lnTo>
                        <a:pt x="995" y="290"/>
                      </a:lnTo>
                      <a:lnTo>
                        <a:pt x="1005" y="293"/>
                      </a:lnTo>
                      <a:lnTo>
                        <a:pt x="1015" y="295"/>
                      </a:lnTo>
                      <a:lnTo>
                        <a:pt x="1024" y="300"/>
                      </a:lnTo>
                      <a:lnTo>
                        <a:pt x="1034" y="303"/>
                      </a:lnTo>
                      <a:lnTo>
                        <a:pt x="1045" y="306"/>
                      </a:lnTo>
                      <a:lnTo>
                        <a:pt x="1056" y="308"/>
                      </a:lnTo>
                      <a:lnTo>
                        <a:pt x="1070" y="309"/>
                      </a:lnTo>
                      <a:lnTo>
                        <a:pt x="1068" y="297"/>
                      </a:lnTo>
                      <a:lnTo>
                        <a:pt x="1063" y="286"/>
                      </a:lnTo>
                      <a:lnTo>
                        <a:pt x="1060" y="276"/>
                      </a:lnTo>
                      <a:lnTo>
                        <a:pt x="1056" y="268"/>
                      </a:lnTo>
                      <a:lnTo>
                        <a:pt x="1047" y="254"/>
                      </a:lnTo>
                      <a:lnTo>
                        <a:pt x="1038" y="241"/>
                      </a:lnTo>
                      <a:lnTo>
                        <a:pt x="1034" y="233"/>
                      </a:lnTo>
                      <a:lnTo>
                        <a:pt x="1030" y="226"/>
                      </a:lnTo>
                      <a:lnTo>
                        <a:pt x="1026" y="219"/>
                      </a:lnTo>
                      <a:lnTo>
                        <a:pt x="1024" y="211"/>
                      </a:lnTo>
                      <a:lnTo>
                        <a:pt x="1021" y="202"/>
                      </a:lnTo>
                      <a:lnTo>
                        <a:pt x="1018" y="192"/>
                      </a:lnTo>
                      <a:lnTo>
                        <a:pt x="1017" y="179"/>
                      </a:lnTo>
                      <a:lnTo>
                        <a:pt x="1017" y="167"/>
                      </a:lnTo>
                      <a:lnTo>
                        <a:pt x="1014" y="152"/>
                      </a:lnTo>
                      <a:lnTo>
                        <a:pt x="1011" y="142"/>
                      </a:lnTo>
                    </a:path>
                  </a:pathLst>
                </a:custGeom>
                <a:grpFill/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marL="0" marR="0" lvl="0" indent="0" defTabSz="91440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219" name="Freeform 541">
                <a:extLst>
                  <a:ext uri="{FF2B5EF4-FFF2-40B4-BE49-F238E27FC236}">
                    <a16:creationId xmlns="" xmlns:a16="http://schemas.microsoft.com/office/drawing/2014/main" id="{F1A32620-F48C-4779-B5A4-E080108093D3}"/>
                  </a:ext>
                </a:extLst>
              </p:cNvPr>
              <p:cNvSpPr>
                <a:spLocks/>
              </p:cNvSpPr>
              <p:nvPr>
                <p:custDataLst>
                  <p:tags r:id="rId372"/>
                </p:custDataLst>
              </p:nvPr>
            </p:nvSpPr>
            <p:spPr bwMode="auto">
              <a:xfrm>
                <a:off x="2571750" y="3481388"/>
                <a:ext cx="100013" cy="122237"/>
              </a:xfrm>
              <a:custGeom>
                <a:avLst/>
                <a:gdLst>
                  <a:gd name="T0" fmla="*/ 2147483646 w 226"/>
                  <a:gd name="T1" fmla="*/ 2147483646 h 237"/>
                  <a:gd name="T2" fmla="*/ 2147483646 w 226"/>
                  <a:gd name="T3" fmla="*/ 2147483646 h 237"/>
                  <a:gd name="T4" fmla="*/ 2147483646 w 226"/>
                  <a:gd name="T5" fmla="*/ 2147483646 h 237"/>
                  <a:gd name="T6" fmla="*/ 2147483646 w 226"/>
                  <a:gd name="T7" fmla="*/ 2147483646 h 237"/>
                  <a:gd name="T8" fmla="*/ 2147483646 w 226"/>
                  <a:gd name="T9" fmla="*/ 2147483646 h 237"/>
                  <a:gd name="T10" fmla="*/ 2147483646 w 226"/>
                  <a:gd name="T11" fmla="*/ 2147483646 h 237"/>
                  <a:gd name="T12" fmla="*/ 2147483646 w 226"/>
                  <a:gd name="T13" fmla="*/ 2147483646 h 237"/>
                  <a:gd name="T14" fmla="*/ 2147483646 w 226"/>
                  <a:gd name="T15" fmla="*/ 2147483646 h 237"/>
                  <a:gd name="T16" fmla="*/ 2147483646 w 226"/>
                  <a:gd name="T17" fmla="*/ 2147483646 h 237"/>
                  <a:gd name="T18" fmla="*/ 2147483646 w 226"/>
                  <a:gd name="T19" fmla="*/ 2147483646 h 237"/>
                  <a:gd name="T20" fmla="*/ 2147483646 w 226"/>
                  <a:gd name="T21" fmla="*/ 2147483646 h 237"/>
                  <a:gd name="T22" fmla="*/ 2147483646 w 226"/>
                  <a:gd name="T23" fmla="*/ 2147483646 h 237"/>
                  <a:gd name="T24" fmla="*/ 2147483646 w 226"/>
                  <a:gd name="T25" fmla="*/ 2147483646 h 237"/>
                  <a:gd name="T26" fmla="*/ 2147483646 w 226"/>
                  <a:gd name="T27" fmla="*/ 2147483646 h 237"/>
                  <a:gd name="T28" fmla="*/ 2147483646 w 226"/>
                  <a:gd name="T29" fmla="*/ 2147483646 h 237"/>
                  <a:gd name="T30" fmla="*/ 2147483646 w 226"/>
                  <a:gd name="T31" fmla="*/ 2147483646 h 237"/>
                  <a:gd name="T32" fmla="*/ 2147483646 w 226"/>
                  <a:gd name="T33" fmla="*/ 2147483646 h 237"/>
                  <a:gd name="T34" fmla="*/ 2147483646 w 226"/>
                  <a:gd name="T35" fmla="*/ 2147483646 h 237"/>
                  <a:gd name="T36" fmla="*/ 2147483646 w 226"/>
                  <a:gd name="T37" fmla="*/ 2147483646 h 237"/>
                  <a:gd name="T38" fmla="*/ 2147483646 w 226"/>
                  <a:gd name="T39" fmla="*/ 2147483646 h 237"/>
                  <a:gd name="T40" fmla="*/ 2147483646 w 226"/>
                  <a:gd name="T41" fmla="*/ 2147483646 h 237"/>
                  <a:gd name="T42" fmla="*/ 2147483646 w 226"/>
                  <a:gd name="T43" fmla="*/ 2147483646 h 237"/>
                  <a:gd name="T44" fmla="*/ 2147483646 w 226"/>
                  <a:gd name="T45" fmla="*/ 2147483646 h 237"/>
                  <a:gd name="T46" fmla="*/ 2147483646 w 226"/>
                  <a:gd name="T47" fmla="*/ 2147483646 h 237"/>
                  <a:gd name="T48" fmla="*/ 2147483646 w 226"/>
                  <a:gd name="T49" fmla="*/ 2147483646 h 237"/>
                  <a:gd name="T50" fmla="*/ 2147483646 w 226"/>
                  <a:gd name="T51" fmla="*/ 2147483646 h 237"/>
                  <a:gd name="T52" fmla="*/ 2147483646 w 226"/>
                  <a:gd name="T53" fmla="*/ 2147483646 h 237"/>
                  <a:gd name="T54" fmla="*/ 2147483646 w 226"/>
                  <a:gd name="T55" fmla="*/ 2147483646 h 237"/>
                  <a:gd name="T56" fmla="*/ 2147483646 w 226"/>
                  <a:gd name="T57" fmla="*/ 2147483646 h 237"/>
                  <a:gd name="T58" fmla="*/ 0 w 226"/>
                  <a:gd name="T59" fmla="*/ 2147483646 h 237"/>
                  <a:gd name="T60" fmla="*/ 2147483646 w 226"/>
                  <a:gd name="T61" fmla="*/ 2147483646 h 237"/>
                  <a:gd name="T62" fmla="*/ 2147483646 w 226"/>
                  <a:gd name="T63" fmla="*/ 2147483646 h 237"/>
                  <a:gd name="T64" fmla="*/ 2147483646 w 226"/>
                  <a:gd name="T65" fmla="*/ 2147483646 h 237"/>
                  <a:gd name="T66" fmla="*/ 2147483646 w 226"/>
                  <a:gd name="T67" fmla="*/ 2147483646 h 237"/>
                  <a:gd name="T68" fmla="*/ 2147483646 w 226"/>
                  <a:gd name="T69" fmla="*/ 2147483646 h 237"/>
                  <a:gd name="T70" fmla="*/ 2147483646 w 226"/>
                  <a:gd name="T71" fmla="*/ 2147483646 h 237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226"/>
                  <a:gd name="T109" fmla="*/ 0 h 237"/>
                  <a:gd name="T110" fmla="*/ 226 w 226"/>
                  <a:gd name="T111" fmla="*/ 237 h 237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226" h="237">
                    <a:moveTo>
                      <a:pt x="61" y="234"/>
                    </a:moveTo>
                    <a:lnTo>
                      <a:pt x="63" y="236"/>
                    </a:lnTo>
                    <a:lnTo>
                      <a:pt x="65" y="237"/>
                    </a:lnTo>
                    <a:lnTo>
                      <a:pt x="68" y="237"/>
                    </a:lnTo>
                    <a:lnTo>
                      <a:pt x="70" y="237"/>
                    </a:lnTo>
                    <a:lnTo>
                      <a:pt x="75" y="235"/>
                    </a:lnTo>
                    <a:lnTo>
                      <a:pt x="80" y="234"/>
                    </a:lnTo>
                    <a:lnTo>
                      <a:pt x="83" y="234"/>
                    </a:lnTo>
                    <a:lnTo>
                      <a:pt x="86" y="232"/>
                    </a:lnTo>
                    <a:lnTo>
                      <a:pt x="89" y="230"/>
                    </a:lnTo>
                    <a:lnTo>
                      <a:pt x="92" y="227"/>
                    </a:lnTo>
                    <a:lnTo>
                      <a:pt x="96" y="223"/>
                    </a:lnTo>
                    <a:lnTo>
                      <a:pt x="98" y="219"/>
                    </a:lnTo>
                    <a:lnTo>
                      <a:pt x="99" y="214"/>
                    </a:lnTo>
                    <a:lnTo>
                      <a:pt x="100" y="209"/>
                    </a:lnTo>
                    <a:lnTo>
                      <a:pt x="123" y="209"/>
                    </a:lnTo>
                    <a:lnTo>
                      <a:pt x="145" y="208"/>
                    </a:lnTo>
                    <a:lnTo>
                      <a:pt x="166" y="205"/>
                    </a:lnTo>
                    <a:lnTo>
                      <a:pt x="186" y="201"/>
                    </a:lnTo>
                    <a:lnTo>
                      <a:pt x="195" y="198"/>
                    </a:lnTo>
                    <a:lnTo>
                      <a:pt x="202" y="195"/>
                    </a:lnTo>
                    <a:lnTo>
                      <a:pt x="209" y="191"/>
                    </a:lnTo>
                    <a:lnTo>
                      <a:pt x="215" y="186"/>
                    </a:lnTo>
                    <a:lnTo>
                      <a:pt x="220" y="181"/>
                    </a:lnTo>
                    <a:lnTo>
                      <a:pt x="223" y="175"/>
                    </a:lnTo>
                    <a:lnTo>
                      <a:pt x="225" y="168"/>
                    </a:lnTo>
                    <a:lnTo>
                      <a:pt x="226" y="161"/>
                    </a:lnTo>
                    <a:lnTo>
                      <a:pt x="226" y="153"/>
                    </a:lnTo>
                    <a:lnTo>
                      <a:pt x="225" y="147"/>
                    </a:lnTo>
                    <a:lnTo>
                      <a:pt x="223" y="140"/>
                    </a:lnTo>
                    <a:lnTo>
                      <a:pt x="221" y="134"/>
                    </a:lnTo>
                    <a:lnTo>
                      <a:pt x="215" y="123"/>
                    </a:lnTo>
                    <a:lnTo>
                      <a:pt x="210" y="112"/>
                    </a:lnTo>
                    <a:lnTo>
                      <a:pt x="203" y="100"/>
                    </a:lnTo>
                    <a:lnTo>
                      <a:pt x="198" y="90"/>
                    </a:lnTo>
                    <a:lnTo>
                      <a:pt x="196" y="84"/>
                    </a:lnTo>
                    <a:lnTo>
                      <a:pt x="195" y="79"/>
                    </a:lnTo>
                    <a:lnTo>
                      <a:pt x="193" y="74"/>
                    </a:lnTo>
                    <a:lnTo>
                      <a:pt x="193" y="68"/>
                    </a:lnTo>
                    <a:lnTo>
                      <a:pt x="195" y="59"/>
                    </a:lnTo>
                    <a:lnTo>
                      <a:pt x="197" y="51"/>
                    </a:lnTo>
                    <a:lnTo>
                      <a:pt x="200" y="43"/>
                    </a:lnTo>
                    <a:lnTo>
                      <a:pt x="204" y="36"/>
                    </a:lnTo>
                    <a:lnTo>
                      <a:pt x="213" y="25"/>
                    </a:lnTo>
                    <a:lnTo>
                      <a:pt x="220" y="19"/>
                    </a:lnTo>
                    <a:lnTo>
                      <a:pt x="213" y="14"/>
                    </a:lnTo>
                    <a:lnTo>
                      <a:pt x="203" y="11"/>
                    </a:lnTo>
                    <a:lnTo>
                      <a:pt x="191" y="7"/>
                    </a:lnTo>
                    <a:lnTo>
                      <a:pt x="179" y="5"/>
                    </a:lnTo>
                    <a:lnTo>
                      <a:pt x="154" y="2"/>
                    </a:lnTo>
                    <a:lnTo>
                      <a:pt x="133" y="0"/>
                    </a:lnTo>
                    <a:lnTo>
                      <a:pt x="20" y="6"/>
                    </a:lnTo>
                    <a:lnTo>
                      <a:pt x="20" y="19"/>
                    </a:lnTo>
                    <a:lnTo>
                      <a:pt x="18" y="31"/>
                    </a:lnTo>
                    <a:lnTo>
                      <a:pt x="14" y="42"/>
                    </a:lnTo>
                    <a:lnTo>
                      <a:pt x="10" y="54"/>
                    </a:lnTo>
                    <a:lnTo>
                      <a:pt x="7" y="66"/>
                    </a:lnTo>
                    <a:lnTo>
                      <a:pt x="3" y="79"/>
                    </a:lnTo>
                    <a:lnTo>
                      <a:pt x="1" y="93"/>
                    </a:lnTo>
                    <a:lnTo>
                      <a:pt x="0" y="111"/>
                    </a:lnTo>
                    <a:lnTo>
                      <a:pt x="1" y="121"/>
                    </a:lnTo>
                    <a:lnTo>
                      <a:pt x="3" y="130"/>
                    </a:lnTo>
                    <a:lnTo>
                      <a:pt x="6" y="138"/>
                    </a:lnTo>
                    <a:lnTo>
                      <a:pt x="10" y="146"/>
                    </a:lnTo>
                    <a:lnTo>
                      <a:pt x="19" y="159"/>
                    </a:lnTo>
                    <a:lnTo>
                      <a:pt x="30" y="173"/>
                    </a:lnTo>
                    <a:lnTo>
                      <a:pt x="41" y="185"/>
                    </a:lnTo>
                    <a:lnTo>
                      <a:pt x="51" y="199"/>
                    </a:lnTo>
                    <a:lnTo>
                      <a:pt x="55" y="207"/>
                    </a:lnTo>
                    <a:lnTo>
                      <a:pt x="57" y="216"/>
                    </a:lnTo>
                    <a:lnTo>
                      <a:pt x="59" y="225"/>
                    </a:lnTo>
                    <a:lnTo>
                      <a:pt x="61" y="234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20" name="Freeform 542">
                <a:extLst>
                  <a:ext uri="{FF2B5EF4-FFF2-40B4-BE49-F238E27FC236}">
                    <a16:creationId xmlns="" xmlns:a16="http://schemas.microsoft.com/office/drawing/2014/main" id="{D2036F03-F86E-41CC-B8E0-E4B7F55B296B}"/>
                  </a:ext>
                </a:extLst>
              </p:cNvPr>
              <p:cNvSpPr>
                <a:spLocks/>
              </p:cNvSpPr>
              <p:nvPr>
                <p:custDataLst>
                  <p:tags r:id="rId373"/>
                </p:custDataLst>
              </p:nvPr>
            </p:nvSpPr>
            <p:spPr bwMode="auto">
              <a:xfrm>
                <a:off x="6516688" y="2917825"/>
                <a:ext cx="207962" cy="458788"/>
              </a:xfrm>
              <a:custGeom>
                <a:avLst/>
                <a:gdLst>
                  <a:gd name="T0" fmla="*/ 2147483646 w 478"/>
                  <a:gd name="T1" fmla="*/ 2147483646 h 875"/>
                  <a:gd name="T2" fmla="*/ 2147483646 w 478"/>
                  <a:gd name="T3" fmla="*/ 2147483646 h 875"/>
                  <a:gd name="T4" fmla="*/ 2147483646 w 478"/>
                  <a:gd name="T5" fmla="*/ 2147483646 h 875"/>
                  <a:gd name="T6" fmla="*/ 2147483646 w 478"/>
                  <a:gd name="T7" fmla="*/ 2147483646 h 875"/>
                  <a:gd name="T8" fmla="*/ 2147483646 w 478"/>
                  <a:gd name="T9" fmla="*/ 2147483646 h 875"/>
                  <a:gd name="T10" fmla="*/ 2147483646 w 478"/>
                  <a:gd name="T11" fmla="*/ 2147483646 h 875"/>
                  <a:gd name="T12" fmla="*/ 2147483646 w 478"/>
                  <a:gd name="T13" fmla="*/ 2147483646 h 875"/>
                  <a:gd name="T14" fmla="*/ 2147483646 w 478"/>
                  <a:gd name="T15" fmla="*/ 2147483646 h 875"/>
                  <a:gd name="T16" fmla="*/ 2147483646 w 478"/>
                  <a:gd name="T17" fmla="*/ 2147483646 h 875"/>
                  <a:gd name="T18" fmla="*/ 2147483646 w 478"/>
                  <a:gd name="T19" fmla="*/ 2147483646 h 875"/>
                  <a:gd name="T20" fmla="*/ 2147483646 w 478"/>
                  <a:gd name="T21" fmla="*/ 2147483646 h 875"/>
                  <a:gd name="T22" fmla="*/ 2147483646 w 478"/>
                  <a:gd name="T23" fmla="*/ 2147483646 h 875"/>
                  <a:gd name="T24" fmla="*/ 2147483646 w 478"/>
                  <a:gd name="T25" fmla="*/ 2147483646 h 875"/>
                  <a:gd name="T26" fmla="*/ 2147483646 w 478"/>
                  <a:gd name="T27" fmla="*/ 2147483646 h 875"/>
                  <a:gd name="T28" fmla="*/ 2147483646 w 478"/>
                  <a:gd name="T29" fmla="*/ 2147483646 h 875"/>
                  <a:gd name="T30" fmla="*/ 2147483646 w 478"/>
                  <a:gd name="T31" fmla="*/ 2147483646 h 875"/>
                  <a:gd name="T32" fmla="*/ 2147483646 w 478"/>
                  <a:gd name="T33" fmla="*/ 2147483646 h 875"/>
                  <a:gd name="T34" fmla="*/ 2147483646 w 478"/>
                  <a:gd name="T35" fmla="*/ 2147483646 h 875"/>
                  <a:gd name="T36" fmla="*/ 2147483646 w 478"/>
                  <a:gd name="T37" fmla="*/ 2147483646 h 875"/>
                  <a:gd name="T38" fmla="*/ 2147483646 w 478"/>
                  <a:gd name="T39" fmla="*/ 2147483646 h 875"/>
                  <a:gd name="T40" fmla="*/ 2147483646 w 478"/>
                  <a:gd name="T41" fmla="*/ 2147483646 h 875"/>
                  <a:gd name="T42" fmla="*/ 2147483646 w 478"/>
                  <a:gd name="T43" fmla="*/ 2147483646 h 875"/>
                  <a:gd name="T44" fmla="*/ 2147483646 w 478"/>
                  <a:gd name="T45" fmla="*/ 2147483646 h 875"/>
                  <a:gd name="T46" fmla="*/ 2147483646 w 478"/>
                  <a:gd name="T47" fmla="*/ 2147483646 h 875"/>
                  <a:gd name="T48" fmla="*/ 2147483646 w 478"/>
                  <a:gd name="T49" fmla="*/ 2147483646 h 875"/>
                  <a:gd name="T50" fmla="*/ 2147483646 w 478"/>
                  <a:gd name="T51" fmla="*/ 2147483646 h 875"/>
                  <a:gd name="T52" fmla="*/ 2147483646 w 478"/>
                  <a:gd name="T53" fmla="*/ 2147483646 h 875"/>
                  <a:gd name="T54" fmla="*/ 2147483646 w 478"/>
                  <a:gd name="T55" fmla="*/ 2147483646 h 875"/>
                  <a:gd name="T56" fmla="*/ 2147483646 w 478"/>
                  <a:gd name="T57" fmla="*/ 2147483646 h 875"/>
                  <a:gd name="T58" fmla="*/ 2147483646 w 478"/>
                  <a:gd name="T59" fmla="*/ 2147483646 h 875"/>
                  <a:gd name="T60" fmla="*/ 2147483646 w 478"/>
                  <a:gd name="T61" fmla="*/ 2147483646 h 875"/>
                  <a:gd name="T62" fmla="*/ 2147483646 w 478"/>
                  <a:gd name="T63" fmla="*/ 2147483646 h 875"/>
                  <a:gd name="T64" fmla="*/ 2147483646 w 478"/>
                  <a:gd name="T65" fmla="*/ 2147483646 h 875"/>
                  <a:gd name="T66" fmla="*/ 2147483646 w 478"/>
                  <a:gd name="T67" fmla="*/ 2147483646 h 875"/>
                  <a:gd name="T68" fmla="*/ 2147483646 w 478"/>
                  <a:gd name="T69" fmla="*/ 2147483646 h 875"/>
                  <a:gd name="T70" fmla="*/ 2147483646 w 478"/>
                  <a:gd name="T71" fmla="*/ 2147483646 h 875"/>
                  <a:gd name="T72" fmla="*/ 2147483646 w 478"/>
                  <a:gd name="T73" fmla="*/ 2147483646 h 875"/>
                  <a:gd name="T74" fmla="*/ 2147483646 w 478"/>
                  <a:gd name="T75" fmla="*/ 2147483646 h 875"/>
                  <a:gd name="T76" fmla="*/ 2147483646 w 478"/>
                  <a:gd name="T77" fmla="*/ 2147483646 h 875"/>
                  <a:gd name="T78" fmla="*/ 2147483646 w 478"/>
                  <a:gd name="T79" fmla="*/ 2147483646 h 875"/>
                  <a:gd name="T80" fmla="*/ 2147483646 w 478"/>
                  <a:gd name="T81" fmla="*/ 2147483646 h 875"/>
                  <a:gd name="T82" fmla="*/ 2147483646 w 478"/>
                  <a:gd name="T83" fmla="*/ 2147483646 h 875"/>
                  <a:gd name="T84" fmla="*/ 2147483646 w 478"/>
                  <a:gd name="T85" fmla="*/ 2147483646 h 875"/>
                  <a:gd name="T86" fmla="*/ 2147483646 w 478"/>
                  <a:gd name="T87" fmla="*/ 2147483646 h 875"/>
                  <a:gd name="T88" fmla="*/ 2147483646 w 478"/>
                  <a:gd name="T89" fmla="*/ 2147483646 h 875"/>
                  <a:gd name="T90" fmla="*/ 2147483646 w 478"/>
                  <a:gd name="T91" fmla="*/ 2147483646 h 875"/>
                  <a:gd name="T92" fmla="*/ 2147483646 w 478"/>
                  <a:gd name="T93" fmla="*/ 2147483646 h 875"/>
                  <a:gd name="T94" fmla="*/ 2147483646 w 478"/>
                  <a:gd name="T95" fmla="*/ 2147483646 h 875"/>
                  <a:gd name="T96" fmla="*/ 2147483646 w 478"/>
                  <a:gd name="T97" fmla="*/ 2147483646 h 875"/>
                  <a:gd name="T98" fmla="*/ 2147483646 w 478"/>
                  <a:gd name="T99" fmla="*/ 2147483646 h 875"/>
                  <a:gd name="T100" fmla="*/ 2147483646 w 478"/>
                  <a:gd name="T101" fmla="*/ 2147483646 h 875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478"/>
                  <a:gd name="T154" fmla="*/ 0 h 875"/>
                  <a:gd name="T155" fmla="*/ 478 w 478"/>
                  <a:gd name="T156" fmla="*/ 875 h 875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478" h="875">
                    <a:moveTo>
                      <a:pt x="299" y="104"/>
                    </a:moveTo>
                    <a:lnTo>
                      <a:pt x="295" y="106"/>
                    </a:lnTo>
                    <a:lnTo>
                      <a:pt x="287" y="109"/>
                    </a:lnTo>
                    <a:lnTo>
                      <a:pt x="277" y="116"/>
                    </a:lnTo>
                    <a:lnTo>
                      <a:pt x="264" y="126"/>
                    </a:lnTo>
                    <a:lnTo>
                      <a:pt x="250" y="138"/>
                    </a:lnTo>
                    <a:lnTo>
                      <a:pt x="233" y="154"/>
                    </a:lnTo>
                    <a:lnTo>
                      <a:pt x="217" y="173"/>
                    </a:lnTo>
                    <a:lnTo>
                      <a:pt x="199" y="197"/>
                    </a:lnTo>
                    <a:lnTo>
                      <a:pt x="197" y="201"/>
                    </a:lnTo>
                    <a:lnTo>
                      <a:pt x="197" y="207"/>
                    </a:lnTo>
                    <a:lnTo>
                      <a:pt x="198" y="213"/>
                    </a:lnTo>
                    <a:lnTo>
                      <a:pt x="199" y="221"/>
                    </a:lnTo>
                    <a:lnTo>
                      <a:pt x="202" y="229"/>
                    </a:lnTo>
                    <a:lnTo>
                      <a:pt x="206" y="239"/>
                    </a:lnTo>
                    <a:lnTo>
                      <a:pt x="210" y="248"/>
                    </a:lnTo>
                    <a:lnTo>
                      <a:pt x="214" y="256"/>
                    </a:lnTo>
                    <a:lnTo>
                      <a:pt x="221" y="265"/>
                    </a:lnTo>
                    <a:lnTo>
                      <a:pt x="226" y="273"/>
                    </a:lnTo>
                    <a:lnTo>
                      <a:pt x="233" y="281"/>
                    </a:lnTo>
                    <a:lnTo>
                      <a:pt x="240" y="288"/>
                    </a:lnTo>
                    <a:lnTo>
                      <a:pt x="246" y="294"/>
                    </a:lnTo>
                    <a:lnTo>
                      <a:pt x="253" y="298"/>
                    </a:lnTo>
                    <a:lnTo>
                      <a:pt x="259" y="301"/>
                    </a:lnTo>
                    <a:lnTo>
                      <a:pt x="266" y="302"/>
                    </a:lnTo>
                    <a:lnTo>
                      <a:pt x="271" y="314"/>
                    </a:lnTo>
                    <a:lnTo>
                      <a:pt x="279" y="329"/>
                    </a:lnTo>
                    <a:lnTo>
                      <a:pt x="286" y="346"/>
                    </a:lnTo>
                    <a:lnTo>
                      <a:pt x="292" y="357"/>
                    </a:lnTo>
                    <a:lnTo>
                      <a:pt x="295" y="361"/>
                    </a:lnTo>
                    <a:lnTo>
                      <a:pt x="298" y="365"/>
                    </a:lnTo>
                    <a:lnTo>
                      <a:pt x="302" y="367"/>
                    </a:lnTo>
                    <a:lnTo>
                      <a:pt x="305" y="369"/>
                    </a:lnTo>
                    <a:lnTo>
                      <a:pt x="313" y="372"/>
                    </a:lnTo>
                    <a:lnTo>
                      <a:pt x="319" y="376"/>
                    </a:lnTo>
                    <a:lnTo>
                      <a:pt x="438" y="499"/>
                    </a:lnTo>
                    <a:lnTo>
                      <a:pt x="453" y="535"/>
                    </a:lnTo>
                    <a:lnTo>
                      <a:pt x="466" y="571"/>
                    </a:lnTo>
                    <a:lnTo>
                      <a:pt x="471" y="589"/>
                    </a:lnTo>
                    <a:lnTo>
                      <a:pt x="475" y="607"/>
                    </a:lnTo>
                    <a:lnTo>
                      <a:pt x="477" y="627"/>
                    </a:lnTo>
                    <a:lnTo>
                      <a:pt x="478" y="647"/>
                    </a:lnTo>
                    <a:lnTo>
                      <a:pt x="477" y="666"/>
                    </a:lnTo>
                    <a:lnTo>
                      <a:pt x="476" y="680"/>
                    </a:lnTo>
                    <a:lnTo>
                      <a:pt x="476" y="687"/>
                    </a:lnTo>
                    <a:lnTo>
                      <a:pt x="476" y="693"/>
                    </a:lnTo>
                    <a:lnTo>
                      <a:pt x="476" y="700"/>
                    </a:lnTo>
                    <a:lnTo>
                      <a:pt x="478" y="708"/>
                    </a:lnTo>
                    <a:lnTo>
                      <a:pt x="467" y="711"/>
                    </a:lnTo>
                    <a:lnTo>
                      <a:pt x="457" y="714"/>
                    </a:lnTo>
                    <a:lnTo>
                      <a:pt x="447" y="718"/>
                    </a:lnTo>
                    <a:lnTo>
                      <a:pt x="437" y="722"/>
                    </a:lnTo>
                    <a:lnTo>
                      <a:pt x="428" y="727"/>
                    </a:lnTo>
                    <a:lnTo>
                      <a:pt x="420" y="733"/>
                    </a:lnTo>
                    <a:lnTo>
                      <a:pt x="412" y="739"/>
                    </a:lnTo>
                    <a:lnTo>
                      <a:pt x="404" y="744"/>
                    </a:lnTo>
                    <a:lnTo>
                      <a:pt x="391" y="756"/>
                    </a:lnTo>
                    <a:lnTo>
                      <a:pt x="380" y="767"/>
                    </a:lnTo>
                    <a:lnTo>
                      <a:pt x="371" y="778"/>
                    </a:lnTo>
                    <a:lnTo>
                      <a:pt x="365" y="789"/>
                    </a:lnTo>
                    <a:lnTo>
                      <a:pt x="360" y="786"/>
                    </a:lnTo>
                    <a:lnTo>
                      <a:pt x="354" y="785"/>
                    </a:lnTo>
                    <a:lnTo>
                      <a:pt x="348" y="785"/>
                    </a:lnTo>
                    <a:lnTo>
                      <a:pt x="342" y="786"/>
                    </a:lnTo>
                    <a:lnTo>
                      <a:pt x="330" y="788"/>
                    </a:lnTo>
                    <a:lnTo>
                      <a:pt x="319" y="789"/>
                    </a:lnTo>
                    <a:lnTo>
                      <a:pt x="318" y="793"/>
                    </a:lnTo>
                    <a:lnTo>
                      <a:pt x="316" y="798"/>
                    </a:lnTo>
                    <a:lnTo>
                      <a:pt x="313" y="804"/>
                    </a:lnTo>
                    <a:lnTo>
                      <a:pt x="310" y="810"/>
                    </a:lnTo>
                    <a:lnTo>
                      <a:pt x="300" y="824"/>
                    </a:lnTo>
                    <a:lnTo>
                      <a:pt x="289" y="838"/>
                    </a:lnTo>
                    <a:lnTo>
                      <a:pt x="276" y="853"/>
                    </a:lnTo>
                    <a:lnTo>
                      <a:pt x="263" y="864"/>
                    </a:lnTo>
                    <a:lnTo>
                      <a:pt x="256" y="868"/>
                    </a:lnTo>
                    <a:lnTo>
                      <a:pt x="250" y="872"/>
                    </a:lnTo>
                    <a:lnTo>
                      <a:pt x="244" y="874"/>
                    </a:lnTo>
                    <a:lnTo>
                      <a:pt x="239" y="875"/>
                    </a:lnTo>
                    <a:lnTo>
                      <a:pt x="236" y="874"/>
                    </a:lnTo>
                    <a:lnTo>
                      <a:pt x="234" y="872"/>
                    </a:lnTo>
                    <a:lnTo>
                      <a:pt x="232" y="868"/>
                    </a:lnTo>
                    <a:lnTo>
                      <a:pt x="230" y="864"/>
                    </a:lnTo>
                    <a:lnTo>
                      <a:pt x="226" y="854"/>
                    </a:lnTo>
                    <a:lnTo>
                      <a:pt x="225" y="844"/>
                    </a:lnTo>
                    <a:lnTo>
                      <a:pt x="226" y="830"/>
                    </a:lnTo>
                    <a:lnTo>
                      <a:pt x="229" y="816"/>
                    </a:lnTo>
                    <a:lnTo>
                      <a:pt x="231" y="800"/>
                    </a:lnTo>
                    <a:lnTo>
                      <a:pt x="232" y="782"/>
                    </a:lnTo>
                    <a:lnTo>
                      <a:pt x="244" y="779"/>
                    </a:lnTo>
                    <a:lnTo>
                      <a:pt x="253" y="775"/>
                    </a:lnTo>
                    <a:lnTo>
                      <a:pt x="262" y="770"/>
                    </a:lnTo>
                    <a:lnTo>
                      <a:pt x="269" y="765"/>
                    </a:lnTo>
                    <a:lnTo>
                      <a:pt x="277" y="760"/>
                    </a:lnTo>
                    <a:lnTo>
                      <a:pt x="285" y="756"/>
                    </a:lnTo>
                    <a:lnTo>
                      <a:pt x="289" y="754"/>
                    </a:lnTo>
                    <a:lnTo>
                      <a:pt x="295" y="753"/>
                    </a:lnTo>
                    <a:lnTo>
                      <a:pt x="300" y="752"/>
                    </a:lnTo>
                    <a:lnTo>
                      <a:pt x="305" y="752"/>
                    </a:lnTo>
                    <a:lnTo>
                      <a:pt x="305" y="743"/>
                    </a:lnTo>
                    <a:lnTo>
                      <a:pt x="308" y="733"/>
                    </a:lnTo>
                    <a:lnTo>
                      <a:pt x="311" y="723"/>
                    </a:lnTo>
                    <a:lnTo>
                      <a:pt x="314" y="714"/>
                    </a:lnTo>
                    <a:lnTo>
                      <a:pt x="319" y="705"/>
                    </a:lnTo>
                    <a:lnTo>
                      <a:pt x="324" y="695"/>
                    </a:lnTo>
                    <a:lnTo>
                      <a:pt x="330" y="686"/>
                    </a:lnTo>
                    <a:lnTo>
                      <a:pt x="336" y="677"/>
                    </a:lnTo>
                    <a:lnTo>
                      <a:pt x="349" y="659"/>
                    </a:lnTo>
                    <a:lnTo>
                      <a:pt x="365" y="643"/>
                    </a:lnTo>
                    <a:lnTo>
                      <a:pt x="378" y="629"/>
                    </a:lnTo>
                    <a:lnTo>
                      <a:pt x="392" y="616"/>
                    </a:lnTo>
                    <a:lnTo>
                      <a:pt x="371" y="536"/>
                    </a:lnTo>
                    <a:lnTo>
                      <a:pt x="371" y="514"/>
                    </a:lnTo>
                    <a:lnTo>
                      <a:pt x="368" y="493"/>
                    </a:lnTo>
                    <a:lnTo>
                      <a:pt x="364" y="475"/>
                    </a:lnTo>
                    <a:lnTo>
                      <a:pt x="357" y="458"/>
                    </a:lnTo>
                    <a:lnTo>
                      <a:pt x="349" y="442"/>
                    </a:lnTo>
                    <a:lnTo>
                      <a:pt x="341" y="427"/>
                    </a:lnTo>
                    <a:lnTo>
                      <a:pt x="331" y="414"/>
                    </a:lnTo>
                    <a:lnTo>
                      <a:pt x="321" y="402"/>
                    </a:lnTo>
                    <a:lnTo>
                      <a:pt x="297" y="377"/>
                    </a:lnTo>
                    <a:lnTo>
                      <a:pt x="271" y="355"/>
                    </a:lnTo>
                    <a:lnTo>
                      <a:pt x="245" y="332"/>
                    </a:lnTo>
                    <a:lnTo>
                      <a:pt x="219" y="308"/>
                    </a:lnTo>
                    <a:lnTo>
                      <a:pt x="199" y="292"/>
                    </a:lnTo>
                    <a:lnTo>
                      <a:pt x="179" y="273"/>
                    </a:lnTo>
                    <a:lnTo>
                      <a:pt x="161" y="255"/>
                    </a:lnTo>
                    <a:lnTo>
                      <a:pt x="142" y="237"/>
                    </a:lnTo>
                    <a:lnTo>
                      <a:pt x="124" y="217"/>
                    </a:lnTo>
                    <a:lnTo>
                      <a:pt x="108" y="198"/>
                    </a:lnTo>
                    <a:lnTo>
                      <a:pt x="92" y="179"/>
                    </a:lnTo>
                    <a:lnTo>
                      <a:pt x="79" y="160"/>
                    </a:lnTo>
                    <a:lnTo>
                      <a:pt x="72" y="146"/>
                    </a:lnTo>
                    <a:lnTo>
                      <a:pt x="63" y="133"/>
                    </a:lnTo>
                    <a:lnTo>
                      <a:pt x="53" y="118"/>
                    </a:lnTo>
                    <a:lnTo>
                      <a:pt x="42" y="104"/>
                    </a:lnTo>
                    <a:lnTo>
                      <a:pt x="21" y="77"/>
                    </a:lnTo>
                    <a:lnTo>
                      <a:pt x="0" y="49"/>
                    </a:lnTo>
                    <a:lnTo>
                      <a:pt x="46" y="41"/>
                    </a:lnTo>
                    <a:lnTo>
                      <a:pt x="91" y="32"/>
                    </a:lnTo>
                    <a:lnTo>
                      <a:pt x="111" y="26"/>
                    </a:lnTo>
                    <a:lnTo>
                      <a:pt x="129" y="19"/>
                    </a:lnTo>
                    <a:lnTo>
                      <a:pt x="136" y="15"/>
                    </a:lnTo>
                    <a:lnTo>
                      <a:pt x="143" y="11"/>
                    </a:lnTo>
                    <a:lnTo>
                      <a:pt x="148" y="5"/>
                    </a:lnTo>
                    <a:lnTo>
                      <a:pt x="153" y="0"/>
                    </a:lnTo>
                    <a:lnTo>
                      <a:pt x="163" y="9"/>
                    </a:lnTo>
                    <a:lnTo>
                      <a:pt x="175" y="16"/>
                    </a:lnTo>
                    <a:lnTo>
                      <a:pt x="186" y="21"/>
                    </a:lnTo>
                    <a:lnTo>
                      <a:pt x="198" y="26"/>
                    </a:lnTo>
                    <a:lnTo>
                      <a:pt x="221" y="35"/>
                    </a:lnTo>
                    <a:lnTo>
                      <a:pt x="239" y="43"/>
                    </a:lnTo>
                    <a:lnTo>
                      <a:pt x="256" y="55"/>
                    </a:lnTo>
                    <a:lnTo>
                      <a:pt x="269" y="67"/>
                    </a:lnTo>
                    <a:lnTo>
                      <a:pt x="282" y="82"/>
                    </a:lnTo>
                    <a:lnTo>
                      <a:pt x="299" y="104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21" name="Freeform 543">
                <a:extLst>
                  <a:ext uri="{FF2B5EF4-FFF2-40B4-BE49-F238E27FC236}">
                    <a16:creationId xmlns="" xmlns:a16="http://schemas.microsoft.com/office/drawing/2014/main" id="{BBC342FE-7F69-403F-8C69-7702CE545D69}"/>
                  </a:ext>
                </a:extLst>
              </p:cNvPr>
              <p:cNvSpPr>
                <a:spLocks/>
              </p:cNvSpPr>
              <p:nvPr>
                <p:custDataLst>
                  <p:tags r:id="rId374"/>
                </p:custDataLst>
              </p:nvPr>
            </p:nvSpPr>
            <p:spPr bwMode="auto">
              <a:xfrm>
                <a:off x="6604000" y="3603625"/>
                <a:ext cx="25400" cy="57150"/>
              </a:xfrm>
              <a:custGeom>
                <a:avLst/>
                <a:gdLst>
                  <a:gd name="T0" fmla="*/ 2147483646 w 59"/>
                  <a:gd name="T1" fmla="*/ 2147483646 h 31"/>
                  <a:gd name="T2" fmla="*/ 2147483646 w 59"/>
                  <a:gd name="T3" fmla="*/ 2147483646 h 31"/>
                  <a:gd name="T4" fmla="*/ 2147483646 w 59"/>
                  <a:gd name="T5" fmla="*/ 2147483646 h 31"/>
                  <a:gd name="T6" fmla="*/ 2147483646 w 59"/>
                  <a:gd name="T7" fmla="*/ 2147483646 h 31"/>
                  <a:gd name="T8" fmla="*/ 2147483646 w 59"/>
                  <a:gd name="T9" fmla="*/ 2147483646 h 31"/>
                  <a:gd name="T10" fmla="*/ 2147483646 w 59"/>
                  <a:gd name="T11" fmla="*/ 2147483646 h 31"/>
                  <a:gd name="T12" fmla="*/ 2147483646 w 59"/>
                  <a:gd name="T13" fmla="*/ 2147483646 h 31"/>
                  <a:gd name="T14" fmla="*/ 2147483646 w 59"/>
                  <a:gd name="T15" fmla="*/ 2147483646 h 31"/>
                  <a:gd name="T16" fmla="*/ 2147483646 w 59"/>
                  <a:gd name="T17" fmla="*/ 2147483646 h 31"/>
                  <a:gd name="T18" fmla="*/ 2147483646 w 59"/>
                  <a:gd name="T19" fmla="*/ 2147483646 h 31"/>
                  <a:gd name="T20" fmla="*/ 2147483646 w 59"/>
                  <a:gd name="T21" fmla="*/ 2147483646 h 31"/>
                  <a:gd name="T22" fmla="*/ 2147483646 w 59"/>
                  <a:gd name="T23" fmla="*/ 2147483646 h 31"/>
                  <a:gd name="T24" fmla="*/ 2147483646 w 59"/>
                  <a:gd name="T25" fmla="*/ 2147483646 h 31"/>
                  <a:gd name="T26" fmla="*/ 2147483646 w 59"/>
                  <a:gd name="T27" fmla="*/ 2147483646 h 31"/>
                  <a:gd name="T28" fmla="*/ 0 w 59"/>
                  <a:gd name="T29" fmla="*/ 2147483646 h 31"/>
                  <a:gd name="T30" fmla="*/ 2147483646 w 59"/>
                  <a:gd name="T31" fmla="*/ 2147483646 h 31"/>
                  <a:gd name="T32" fmla="*/ 2147483646 w 59"/>
                  <a:gd name="T33" fmla="*/ 2147483646 h 31"/>
                  <a:gd name="T34" fmla="*/ 2147483646 w 59"/>
                  <a:gd name="T35" fmla="*/ 2147483646 h 31"/>
                  <a:gd name="T36" fmla="*/ 2147483646 w 59"/>
                  <a:gd name="T37" fmla="*/ 2147483646 h 31"/>
                  <a:gd name="T38" fmla="*/ 2147483646 w 59"/>
                  <a:gd name="T39" fmla="*/ 2147483646 h 31"/>
                  <a:gd name="T40" fmla="*/ 2147483646 w 59"/>
                  <a:gd name="T41" fmla="*/ 0 h 31"/>
                  <a:gd name="T42" fmla="*/ 2147483646 w 59"/>
                  <a:gd name="T43" fmla="*/ 0 h 31"/>
                  <a:gd name="T44" fmla="*/ 2147483646 w 59"/>
                  <a:gd name="T45" fmla="*/ 2147483646 h 31"/>
                  <a:gd name="T46" fmla="*/ 2147483646 w 59"/>
                  <a:gd name="T47" fmla="*/ 2147483646 h 31"/>
                  <a:gd name="T48" fmla="*/ 2147483646 w 59"/>
                  <a:gd name="T49" fmla="*/ 2147483646 h 3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59"/>
                  <a:gd name="T76" fmla="*/ 0 h 31"/>
                  <a:gd name="T77" fmla="*/ 59 w 59"/>
                  <a:gd name="T78" fmla="*/ 31 h 31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59" h="31">
                    <a:moveTo>
                      <a:pt x="59" y="6"/>
                    </a:moveTo>
                    <a:lnTo>
                      <a:pt x="57" y="11"/>
                    </a:lnTo>
                    <a:lnTo>
                      <a:pt x="53" y="15"/>
                    </a:lnTo>
                    <a:lnTo>
                      <a:pt x="49" y="19"/>
                    </a:lnTo>
                    <a:lnTo>
                      <a:pt x="45" y="24"/>
                    </a:lnTo>
                    <a:lnTo>
                      <a:pt x="40" y="27"/>
                    </a:lnTo>
                    <a:lnTo>
                      <a:pt x="36" y="29"/>
                    </a:lnTo>
                    <a:lnTo>
                      <a:pt x="30" y="31"/>
                    </a:lnTo>
                    <a:lnTo>
                      <a:pt x="26" y="31"/>
                    </a:lnTo>
                    <a:lnTo>
                      <a:pt x="21" y="31"/>
                    </a:lnTo>
                    <a:lnTo>
                      <a:pt x="17" y="30"/>
                    </a:lnTo>
                    <a:lnTo>
                      <a:pt x="14" y="29"/>
                    </a:lnTo>
                    <a:lnTo>
                      <a:pt x="11" y="27"/>
                    </a:lnTo>
                    <a:lnTo>
                      <a:pt x="4" y="20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3" y="6"/>
                    </a:lnTo>
                    <a:lnTo>
                      <a:pt x="5" y="4"/>
                    </a:lnTo>
                    <a:lnTo>
                      <a:pt x="8" y="3"/>
                    </a:lnTo>
                    <a:lnTo>
                      <a:pt x="16" y="1"/>
                    </a:lnTo>
                    <a:lnTo>
                      <a:pt x="24" y="0"/>
                    </a:lnTo>
                    <a:lnTo>
                      <a:pt x="34" y="0"/>
                    </a:lnTo>
                    <a:lnTo>
                      <a:pt x="42" y="2"/>
                    </a:lnTo>
                    <a:lnTo>
                      <a:pt x="51" y="4"/>
                    </a:lnTo>
                    <a:lnTo>
                      <a:pt x="59" y="6"/>
                    </a:lnTo>
                  </a:path>
                </a:pathLst>
              </a:custGeom>
              <a:solidFill>
                <a:schemeClr val="bg2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22" name="Freeform 544">
                <a:extLst>
                  <a:ext uri="{FF2B5EF4-FFF2-40B4-BE49-F238E27FC236}">
                    <a16:creationId xmlns="" xmlns:a16="http://schemas.microsoft.com/office/drawing/2014/main" id="{2D61B7D4-D269-45F7-9956-E15A8605AA50}"/>
                  </a:ext>
                </a:extLst>
              </p:cNvPr>
              <p:cNvSpPr>
                <a:spLocks/>
              </p:cNvSpPr>
              <p:nvPr>
                <p:custDataLst>
                  <p:tags r:id="rId375"/>
                </p:custDataLst>
              </p:nvPr>
            </p:nvSpPr>
            <p:spPr bwMode="auto">
              <a:xfrm>
                <a:off x="5295900" y="2862263"/>
                <a:ext cx="174625" cy="271462"/>
              </a:xfrm>
              <a:custGeom>
                <a:avLst/>
                <a:gdLst>
                  <a:gd name="T0" fmla="*/ 2147483646 w 399"/>
                  <a:gd name="T1" fmla="*/ 2147483646 h 518"/>
                  <a:gd name="T2" fmla="*/ 2147483646 w 399"/>
                  <a:gd name="T3" fmla="*/ 2147483646 h 518"/>
                  <a:gd name="T4" fmla="*/ 2147483646 w 399"/>
                  <a:gd name="T5" fmla="*/ 2147483646 h 518"/>
                  <a:gd name="T6" fmla="*/ 2147483646 w 399"/>
                  <a:gd name="T7" fmla="*/ 2147483646 h 518"/>
                  <a:gd name="T8" fmla="*/ 2147483646 w 399"/>
                  <a:gd name="T9" fmla="*/ 2147483646 h 518"/>
                  <a:gd name="T10" fmla="*/ 2147483646 w 399"/>
                  <a:gd name="T11" fmla="*/ 2147483646 h 518"/>
                  <a:gd name="T12" fmla="*/ 2147483646 w 399"/>
                  <a:gd name="T13" fmla="*/ 2147483646 h 518"/>
                  <a:gd name="T14" fmla="*/ 2147483646 w 399"/>
                  <a:gd name="T15" fmla="*/ 2147483646 h 518"/>
                  <a:gd name="T16" fmla="*/ 2147483646 w 399"/>
                  <a:gd name="T17" fmla="*/ 2147483646 h 518"/>
                  <a:gd name="T18" fmla="*/ 2147483646 w 399"/>
                  <a:gd name="T19" fmla="*/ 2147483646 h 518"/>
                  <a:gd name="T20" fmla="*/ 2147483646 w 399"/>
                  <a:gd name="T21" fmla="*/ 2147483646 h 518"/>
                  <a:gd name="T22" fmla="*/ 2147483646 w 399"/>
                  <a:gd name="T23" fmla="*/ 2147483646 h 518"/>
                  <a:gd name="T24" fmla="*/ 2147483646 w 399"/>
                  <a:gd name="T25" fmla="*/ 2147483646 h 518"/>
                  <a:gd name="T26" fmla="*/ 2147483646 w 399"/>
                  <a:gd name="T27" fmla="*/ 2147483646 h 518"/>
                  <a:gd name="T28" fmla="*/ 2147483646 w 399"/>
                  <a:gd name="T29" fmla="*/ 2147483646 h 518"/>
                  <a:gd name="T30" fmla="*/ 2147483646 w 399"/>
                  <a:gd name="T31" fmla="*/ 2147483646 h 518"/>
                  <a:gd name="T32" fmla="*/ 2147483646 w 399"/>
                  <a:gd name="T33" fmla="*/ 2147483646 h 518"/>
                  <a:gd name="T34" fmla="*/ 2147483646 w 399"/>
                  <a:gd name="T35" fmla="*/ 2147483646 h 518"/>
                  <a:gd name="T36" fmla="*/ 2147483646 w 399"/>
                  <a:gd name="T37" fmla="*/ 2147483646 h 518"/>
                  <a:gd name="T38" fmla="*/ 2147483646 w 399"/>
                  <a:gd name="T39" fmla="*/ 2147483646 h 518"/>
                  <a:gd name="T40" fmla="*/ 2147483646 w 399"/>
                  <a:gd name="T41" fmla="*/ 2147483646 h 518"/>
                  <a:gd name="T42" fmla="*/ 2147483646 w 399"/>
                  <a:gd name="T43" fmla="*/ 2147483646 h 518"/>
                  <a:gd name="T44" fmla="*/ 2147483646 w 399"/>
                  <a:gd name="T45" fmla="*/ 2147483646 h 518"/>
                  <a:gd name="T46" fmla="*/ 2147483646 w 399"/>
                  <a:gd name="T47" fmla="*/ 2147483646 h 518"/>
                  <a:gd name="T48" fmla="*/ 2147483646 w 399"/>
                  <a:gd name="T49" fmla="*/ 2147483646 h 518"/>
                  <a:gd name="T50" fmla="*/ 2147483646 w 399"/>
                  <a:gd name="T51" fmla="*/ 2147483646 h 518"/>
                  <a:gd name="T52" fmla="*/ 2147483646 w 399"/>
                  <a:gd name="T53" fmla="*/ 2147483646 h 518"/>
                  <a:gd name="T54" fmla="*/ 2147483646 w 399"/>
                  <a:gd name="T55" fmla="*/ 2147483646 h 518"/>
                  <a:gd name="T56" fmla="*/ 2147483646 w 399"/>
                  <a:gd name="T57" fmla="*/ 2147483646 h 518"/>
                  <a:gd name="T58" fmla="*/ 2147483646 w 399"/>
                  <a:gd name="T59" fmla="*/ 2147483646 h 518"/>
                  <a:gd name="T60" fmla="*/ 2147483646 w 399"/>
                  <a:gd name="T61" fmla="*/ 2147483646 h 518"/>
                  <a:gd name="T62" fmla="*/ 2147483646 w 399"/>
                  <a:gd name="T63" fmla="*/ 2147483646 h 518"/>
                  <a:gd name="T64" fmla="*/ 2147483646 w 399"/>
                  <a:gd name="T65" fmla="*/ 2147483646 h 518"/>
                  <a:gd name="T66" fmla="*/ 2147483646 w 399"/>
                  <a:gd name="T67" fmla="*/ 2147483646 h 518"/>
                  <a:gd name="T68" fmla="*/ 2147483646 w 399"/>
                  <a:gd name="T69" fmla="*/ 2147483646 h 518"/>
                  <a:gd name="T70" fmla="*/ 2147483646 w 399"/>
                  <a:gd name="T71" fmla="*/ 2147483646 h 518"/>
                  <a:gd name="T72" fmla="*/ 2147483646 w 399"/>
                  <a:gd name="T73" fmla="*/ 2147483646 h 518"/>
                  <a:gd name="T74" fmla="*/ 2147483646 w 399"/>
                  <a:gd name="T75" fmla="*/ 2147483646 h 518"/>
                  <a:gd name="T76" fmla="*/ 2147483646 w 399"/>
                  <a:gd name="T77" fmla="*/ 2147483646 h 518"/>
                  <a:gd name="T78" fmla="*/ 2147483646 w 399"/>
                  <a:gd name="T79" fmla="*/ 2147483646 h 518"/>
                  <a:gd name="T80" fmla="*/ 2147483646 w 399"/>
                  <a:gd name="T81" fmla="*/ 2147483646 h 518"/>
                  <a:gd name="T82" fmla="*/ 2147483646 w 399"/>
                  <a:gd name="T83" fmla="*/ 2147483646 h 518"/>
                  <a:gd name="T84" fmla="*/ 2147483646 w 399"/>
                  <a:gd name="T85" fmla="*/ 2147483646 h 518"/>
                  <a:gd name="T86" fmla="*/ 0 w 399"/>
                  <a:gd name="T87" fmla="*/ 2147483646 h 518"/>
                  <a:gd name="T88" fmla="*/ 2147483646 w 399"/>
                  <a:gd name="T89" fmla="*/ 2147483646 h 518"/>
                  <a:gd name="T90" fmla="*/ 2147483646 w 399"/>
                  <a:gd name="T91" fmla="*/ 0 h 518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99"/>
                  <a:gd name="T139" fmla="*/ 0 h 518"/>
                  <a:gd name="T140" fmla="*/ 399 w 399"/>
                  <a:gd name="T141" fmla="*/ 518 h 518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99" h="518">
                    <a:moveTo>
                      <a:pt x="200" y="0"/>
                    </a:moveTo>
                    <a:lnTo>
                      <a:pt x="200" y="8"/>
                    </a:lnTo>
                    <a:lnTo>
                      <a:pt x="201" y="15"/>
                    </a:lnTo>
                    <a:lnTo>
                      <a:pt x="202" y="22"/>
                    </a:lnTo>
                    <a:lnTo>
                      <a:pt x="205" y="29"/>
                    </a:lnTo>
                    <a:lnTo>
                      <a:pt x="208" y="36"/>
                    </a:lnTo>
                    <a:lnTo>
                      <a:pt x="211" y="42"/>
                    </a:lnTo>
                    <a:lnTo>
                      <a:pt x="214" y="49"/>
                    </a:lnTo>
                    <a:lnTo>
                      <a:pt x="219" y="56"/>
                    </a:lnTo>
                    <a:lnTo>
                      <a:pt x="224" y="63"/>
                    </a:lnTo>
                    <a:lnTo>
                      <a:pt x="230" y="69"/>
                    </a:lnTo>
                    <a:lnTo>
                      <a:pt x="235" y="75"/>
                    </a:lnTo>
                    <a:lnTo>
                      <a:pt x="242" y="81"/>
                    </a:lnTo>
                    <a:lnTo>
                      <a:pt x="249" y="86"/>
                    </a:lnTo>
                    <a:lnTo>
                      <a:pt x="256" y="91"/>
                    </a:lnTo>
                    <a:lnTo>
                      <a:pt x="264" y="95"/>
                    </a:lnTo>
                    <a:lnTo>
                      <a:pt x="273" y="98"/>
                    </a:lnTo>
                    <a:lnTo>
                      <a:pt x="316" y="106"/>
                    </a:lnTo>
                    <a:lnTo>
                      <a:pt x="356" y="116"/>
                    </a:lnTo>
                    <a:lnTo>
                      <a:pt x="365" y="119"/>
                    </a:lnTo>
                    <a:lnTo>
                      <a:pt x="374" y="123"/>
                    </a:lnTo>
                    <a:lnTo>
                      <a:pt x="380" y="127"/>
                    </a:lnTo>
                    <a:lnTo>
                      <a:pt x="387" y="132"/>
                    </a:lnTo>
                    <a:lnTo>
                      <a:pt x="392" y="137"/>
                    </a:lnTo>
                    <a:lnTo>
                      <a:pt x="396" y="144"/>
                    </a:lnTo>
                    <a:lnTo>
                      <a:pt x="398" y="151"/>
                    </a:lnTo>
                    <a:lnTo>
                      <a:pt x="399" y="160"/>
                    </a:lnTo>
                    <a:lnTo>
                      <a:pt x="398" y="174"/>
                    </a:lnTo>
                    <a:lnTo>
                      <a:pt x="396" y="187"/>
                    </a:lnTo>
                    <a:lnTo>
                      <a:pt x="390" y="200"/>
                    </a:lnTo>
                    <a:lnTo>
                      <a:pt x="385" y="213"/>
                    </a:lnTo>
                    <a:lnTo>
                      <a:pt x="369" y="239"/>
                    </a:lnTo>
                    <a:lnTo>
                      <a:pt x="353" y="263"/>
                    </a:lnTo>
                    <a:lnTo>
                      <a:pt x="344" y="276"/>
                    </a:lnTo>
                    <a:lnTo>
                      <a:pt x="335" y="290"/>
                    </a:lnTo>
                    <a:lnTo>
                      <a:pt x="328" y="303"/>
                    </a:lnTo>
                    <a:lnTo>
                      <a:pt x="321" y="316"/>
                    </a:lnTo>
                    <a:lnTo>
                      <a:pt x="314" y="330"/>
                    </a:lnTo>
                    <a:lnTo>
                      <a:pt x="310" y="345"/>
                    </a:lnTo>
                    <a:lnTo>
                      <a:pt x="307" y="360"/>
                    </a:lnTo>
                    <a:lnTo>
                      <a:pt x="306" y="376"/>
                    </a:lnTo>
                    <a:lnTo>
                      <a:pt x="297" y="377"/>
                    </a:lnTo>
                    <a:lnTo>
                      <a:pt x="284" y="381"/>
                    </a:lnTo>
                    <a:lnTo>
                      <a:pt x="268" y="387"/>
                    </a:lnTo>
                    <a:lnTo>
                      <a:pt x="254" y="395"/>
                    </a:lnTo>
                    <a:lnTo>
                      <a:pt x="246" y="399"/>
                    </a:lnTo>
                    <a:lnTo>
                      <a:pt x="241" y="403"/>
                    </a:lnTo>
                    <a:lnTo>
                      <a:pt x="235" y="408"/>
                    </a:lnTo>
                    <a:lnTo>
                      <a:pt x="231" y="413"/>
                    </a:lnTo>
                    <a:lnTo>
                      <a:pt x="227" y="417"/>
                    </a:lnTo>
                    <a:lnTo>
                      <a:pt x="225" y="422"/>
                    </a:lnTo>
                    <a:lnTo>
                      <a:pt x="224" y="427"/>
                    </a:lnTo>
                    <a:lnTo>
                      <a:pt x="227" y="431"/>
                    </a:lnTo>
                    <a:lnTo>
                      <a:pt x="213" y="438"/>
                    </a:lnTo>
                    <a:lnTo>
                      <a:pt x="197" y="446"/>
                    </a:lnTo>
                    <a:lnTo>
                      <a:pt x="188" y="450"/>
                    </a:lnTo>
                    <a:lnTo>
                      <a:pt x="179" y="454"/>
                    </a:lnTo>
                    <a:lnTo>
                      <a:pt x="173" y="456"/>
                    </a:lnTo>
                    <a:lnTo>
                      <a:pt x="166" y="456"/>
                    </a:lnTo>
                    <a:lnTo>
                      <a:pt x="166" y="467"/>
                    </a:lnTo>
                    <a:lnTo>
                      <a:pt x="163" y="475"/>
                    </a:lnTo>
                    <a:lnTo>
                      <a:pt x="158" y="481"/>
                    </a:lnTo>
                    <a:lnTo>
                      <a:pt x="153" y="486"/>
                    </a:lnTo>
                    <a:lnTo>
                      <a:pt x="146" y="490"/>
                    </a:lnTo>
                    <a:lnTo>
                      <a:pt x="139" y="493"/>
                    </a:lnTo>
                    <a:lnTo>
                      <a:pt x="131" y="494"/>
                    </a:lnTo>
                    <a:lnTo>
                      <a:pt x="122" y="496"/>
                    </a:lnTo>
                    <a:lnTo>
                      <a:pt x="102" y="498"/>
                    </a:lnTo>
                    <a:lnTo>
                      <a:pt x="83" y="501"/>
                    </a:lnTo>
                    <a:lnTo>
                      <a:pt x="73" y="504"/>
                    </a:lnTo>
                    <a:lnTo>
                      <a:pt x="64" y="507"/>
                    </a:lnTo>
                    <a:lnTo>
                      <a:pt x="55" y="512"/>
                    </a:lnTo>
                    <a:lnTo>
                      <a:pt x="46" y="518"/>
                    </a:lnTo>
                    <a:lnTo>
                      <a:pt x="46" y="514"/>
                    </a:lnTo>
                    <a:lnTo>
                      <a:pt x="45" y="510"/>
                    </a:lnTo>
                    <a:lnTo>
                      <a:pt x="43" y="506"/>
                    </a:lnTo>
                    <a:lnTo>
                      <a:pt x="40" y="501"/>
                    </a:lnTo>
                    <a:lnTo>
                      <a:pt x="38" y="497"/>
                    </a:lnTo>
                    <a:lnTo>
                      <a:pt x="36" y="492"/>
                    </a:lnTo>
                    <a:lnTo>
                      <a:pt x="34" y="487"/>
                    </a:lnTo>
                    <a:lnTo>
                      <a:pt x="33" y="481"/>
                    </a:lnTo>
                    <a:lnTo>
                      <a:pt x="33" y="468"/>
                    </a:lnTo>
                    <a:lnTo>
                      <a:pt x="31" y="456"/>
                    </a:lnTo>
                    <a:lnTo>
                      <a:pt x="29" y="445"/>
                    </a:lnTo>
                    <a:lnTo>
                      <a:pt x="26" y="436"/>
                    </a:lnTo>
                    <a:lnTo>
                      <a:pt x="17" y="418"/>
                    </a:lnTo>
                    <a:lnTo>
                      <a:pt x="7" y="401"/>
                    </a:lnTo>
                    <a:lnTo>
                      <a:pt x="0" y="358"/>
                    </a:lnTo>
                    <a:lnTo>
                      <a:pt x="113" y="332"/>
                    </a:lnTo>
                    <a:lnTo>
                      <a:pt x="194" y="185"/>
                    </a:lnTo>
                    <a:lnTo>
                      <a:pt x="166" y="136"/>
                    </a:lnTo>
                    <a:lnTo>
                      <a:pt x="200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23" name="Freeform 545">
                <a:extLst>
                  <a:ext uri="{FF2B5EF4-FFF2-40B4-BE49-F238E27FC236}">
                    <a16:creationId xmlns="" xmlns:a16="http://schemas.microsoft.com/office/drawing/2014/main" id="{B842284B-163F-488D-A977-5D1F782AD003}"/>
                  </a:ext>
                </a:extLst>
              </p:cNvPr>
              <p:cNvSpPr>
                <a:spLocks/>
              </p:cNvSpPr>
              <p:nvPr>
                <p:custDataLst>
                  <p:tags r:id="rId376"/>
                </p:custDataLst>
              </p:nvPr>
            </p:nvSpPr>
            <p:spPr bwMode="auto">
              <a:xfrm>
                <a:off x="4022725" y="2916238"/>
                <a:ext cx="376238" cy="385762"/>
              </a:xfrm>
              <a:custGeom>
                <a:avLst/>
                <a:gdLst>
                  <a:gd name="T0" fmla="*/ 2147483646 w 866"/>
                  <a:gd name="T1" fmla="*/ 2147483646 h 740"/>
                  <a:gd name="T2" fmla="*/ 2147483646 w 866"/>
                  <a:gd name="T3" fmla="*/ 2147483646 h 740"/>
                  <a:gd name="T4" fmla="*/ 2147483646 w 866"/>
                  <a:gd name="T5" fmla="*/ 2147483646 h 740"/>
                  <a:gd name="T6" fmla="*/ 2147483646 w 866"/>
                  <a:gd name="T7" fmla="*/ 2147483646 h 740"/>
                  <a:gd name="T8" fmla="*/ 2147483646 w 866"/>
                  <a:gd name="T9" fmla="*/ 2147483646 h 740"/>
                  <a:gd name="T10" fmla="*/ 2147483646 w 866"/>
                  <a:gd name="T11" fmla="*/ 2147483646 h 740"/>
                  <a:gd name="T12" fmla="*/ 2147483646 w 866"/>
                  <a:gd name="T13" fmla="*/ 2147483646 h 740"/>
                  <a:gd name="T14" fmla="*/ 2147483646 w 866"/>
                  <a:gd name="T15" fmla="*/ 2147483646 h 740"/>
                  <a:gd name="T16" fmla="*/ 2147483646 w 866"/>
                  <a:gd name="T17" fmla="*/ 2147483646 h 740"/>
                  <a:gd name="T18" fmla="*/ 2147483646 w 866"/>
                  <a:gd name="T19" fmla="*/ 2147483646 h 740"/>
                  <a:gd name="T20" fmla="*/ 2147483646 w 866"/>
                  <a:gd name="T21" fmla="*/ 2147483646 h 740"/>
                  <a:gd name="T22" fmla="*/ 2147483646 w 866"/>
                  <a:gd name="T23" fmla="*/ 2147483646 h 740"/>
                  <a:gd name="T24" fmla="*/ 2147483646 w 866"/>
                  <a:gd name="T25" fmla="*/ 2147483646 h 740"/>
                  <a:gd name="T26" fmla="*/ 2147483646 w 866"/>
                  <a:gd name="T27" fmla="*/ 2147483646 h 740"/>
                  <a:gd name="T28" fmla="*/ 2147483646 w 866"/>
                  <a:gd name="T29" fmla="*/ 2147483646 h 740"/>
                  <a:gd name="T30" fmla="*/ 2147483646 w 866"/>
                  <a:gd name="T31" fmla="*/ 2147483646 h 740"/>
                  <a:gd name="T32" fmla="*/ 2147483646 w 866"/>
                  <a:gd name="T33" fmla="*/ 2147483646 h 740"/>
                  <a:gd name="T34" fmla="*/ 2147483646 w 866"/>
                  <a:gd name="T35" fmla="*/ 2147483646 h 740"/>
                  <a:gd name="T36" fmla="*/ 2147483646 w 866"/>
                  <a:gd name="T37" fmla="*/ 2147483646 h 740"/>
                  <a:gd name="T38" fmla="*/ 2147483646 w 866"/>
                  <a:gd name="T39" fmla="*/ 2147483646 h 740"/>
                  <a:gd name="T40" fmla="*/ 2147483646 w 866"/>
                  <a:gd name="T41" fmla="*/ 2147483646 h 740"/>
                  <a:gd name="T42" fmla="*/ 2147483646 w 866"/>
                  <a:gd name="T43" fmla="*/ 2147483646 h 740"/>
                  <a:gd name="T44" fmla="*/ 2147483646 w 866"/>
                  <a:gd name="T45" fmla="*/ 2147483646 h 740"/>
                  <a:gd name="T46" fmla="*/ 2147483646 w 866"/>
                  <a:gd name="T47" fmla="*/ 2147483646 h 740"/>
                  <a:gd name="T48" fmla="*/ 2147483646 w 866"/>
                  <a:gd name="T49" fmla="*/ 2147483646 h 740"/>
                  <a:gd name="T50" fmla="*/ 2147483646 w 866"/>
                  <a:gd name="T51" fmla="*/ 2147483646 h 740"/>
                  <a:gd name="T52" fmla="*/ 2147483646 w 866"/>
                  <a:gd name="T53" fmla="*/ 2147483646 h 740"/>
                  <a:gd name="T54" fmla="*/ 2147483646 w 866"/>
                  <a:gd name="T55" fmla="*/ 2147483646 h 740"/>
                  <a:gd name="T56" fmla="*/ 2147483646 w 866"/>
                  <a:gd name="T57" fmla="*/ 2147483646 h 740"/>
                  <a:gd name="T58" fmla="*/ 2147483646 w 866"/>
                  <a:gd name="T59" fmla="*/ 2147483646 h 740"/>
                  <a:gd name="T60" fmla="*/ 2147483646 w 866"/>
                  <a:gd name="T61" fmla="*/ 2147483646 h 740"/>
                  <a:gd name="T62" fmla="*/ 2147483646 w 866"/>
                  <a:gd name="T63" fmla="*/ 2147483646 h 740"/>
                  <a:gd name="T64" fmla="*/ 2147483646 w 866"/>
                  <a:gd name="T65" fmla="*/ 2147483646 h 740"/>
                  <a:gd name="T66" fmla="*/ 2147483646 w 866"/>
                  <a:gd name="T67" fmla="*/ 2147483646 h 740"/>
                  <a:gd name="T68" fmla="*/ 2147483646 w 866"/>
                  <a:gd name="T69" fmla="*/ 2147483646 h 740"/>
                  <a:gd name="T70" fmla="*/ 2147483646 w 866"/>
                  <a:gd name="T71" fmla="*/ 2147483646 h 740"/>
                  <a:gd name="T72" fmla="*/ 2147483646 w 866"/>
                  <a:gd name="T73" fmla="*/ 2147483646 h 740"/>
                  <a:gd name="T74" fmla="*/ 2147483646 w 866"/>
                  <a:gd name="T75" fmla="*/ 2147483646 h 740"/>
                  <a:gd name="T76" fmla="*/ 2147483646 w 866"/>
                  <a:gd name="T77" fmla="*/ 2147483646 h 740"/>
                  <a:gd name="T78" fmla="*/ 2147483646 w 866"/>
                  <a:gd name="T79" fmla="*/ 2147483646 h 740"/>
                  <a:gd name="T80" fmla="*/ 2147483646 w 866"/>
                  <a:gd name="T81" fmla="*/ 2147483646 h 740"/>
                  <a:gd name="T82" fmla="*/ 2147483646 w 866"/>
                  <a:gd name="T83" fmla="*/ 2147483646 h 740"/>
                  <a:gd name="T84" fmla="*/ 2147483646 w 866"/>
                  <a:gd name="T85" fmla="*/ 2147483646 h 740"/>
                  <a:gd name="T86" fmla="*/ 2147483646 w 866"/>
                  <a:gd name="T87" fmla="*/ 2147483646 h 740"/>
                  <a:gd name="T88" fmla="*/ 2147483646 w 866"/>
                  <a:gd name="T89" fmla="*/ 2147483646 h 740"/>
                  <a:gd name="T90" fmla="*/ 2147483646 w 866"/>
                  <a:gd name="T91" fmla="*/ 2147483646 h 740"/>
                  <a:gd name="T92" fmla="*/ 2147483646 w 866"/>
                  <a:gd name="T93" fmla="*/ 2147483646 h 740"/>
                  <a:gd name="T94" fmla="*/ 2147483646 w 866"/>
                  <a:gd name="T95" fmla="*/ 2147483646 h 740"/>
                  <a:gd name="T96" fmla="*/ 2147483646 w 866"/>
                  <a:gd name="T97" fmla="*/ 2147483646 h 740"/>
                  <a:gd name="T98" fmla="*/ 2147483646 w 866"/>
                  <a:gd name="T99" fmla="*/ 2147483646 h 740"/>
                  <a:gd name="T100" fmla="*/ 2147483646 w 866"/>
                  <a:gd name="T101" fmla="*/ 2147483646 h 740"/>
                  <a:gd name="T102" fmla="*/ 2147483646 w 866"/>
                  <a:gd name="T103" fmla="*/ 2147483646 h 740"/>
                  <a:gd name="T104" fmla="*/ 2147483646 w 866"/>
                  <a:gd name="T105" fmla="*/ 2147483646 h 74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866"/>
                  <a:gd name="T160" fmla="*/ 0 h 740"/>
                  <a:gd name="T161" fmla="*/ 866 w 866"/>
                  <a:gd name="T162" fmla="*/ 740 h 740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866" h="740">
                    <a:moveTo>
                      <a:pt x="219" y="283"/>
                    </a:moveTo>
                    <a:lnTo>
                      <a:pt x="223" y="278"/>
                    </a:lnTo>
                    <a:lnTo>
                      <a:pt x="227" y="273"/>
                    </a:lnTo>
                    <a:lnTo>
                      <a:pt x="231" y="270"/>
                    </a:lnTo>
                    <a:lnTo>
                      <a:pt x="234" y="267"/>
                    </a:lnTo>
                    <a:lnTo>
                      <a:pt x="238" y="266"/>
                    </a:lnTo>
                    <a:lnTo>
                      <a:pt x="242" y="264"/>
                    </a:lnTo>
                    <a:lnTo>
                      <a:pt x="245" y="264"/>
                    </a:lnTo>
                    <a:lnTo>
                      <a:pt x="250" y="264"/>
                    </a:lnTo>
                    <a:lnTo>
                      <a:pt x="256" y="265"/>
                    </a:lnTo>
                    <a:lnTo>
                      <a:pt x="264" y="268"/>
                    </a:lnTo>
                    <a:lnTo>
                      <a:pt x="272" y="272"/>
                    </a:lnTo>
                    <a:lnTo>
                      <a:pt x="279" y="277"/>
                    </a:lnTo>
                    <a:lnTo>
                      <a:pt x="645" y="6"/>
                    </a:lnTo>
                    <a:lnTo>
                      <a:pt x="649" y="3"/>
                    </a:lnTo>
                    <a:lnTo>
                      <a:pt x="654" y="1"/>
                    </a:lnTo>
                    <a:lnTo>
                      <a:pt x="658" y="0"/>
                    </a:lnTo>
                    <a:lnTo>
                      <a:pt x="663" y="0"/>
                    </a:lnTo>
                    <a:lnTo>
                      <a:pt x="671" y="2"/>
                    </a:lnTo>
                    <a:lnTo>
                      <a:pt x="679" y="6"/>
                    </a:lnTo>
                    <a:lnTo>
                      <a:pt x="689" y="11"/>
                    </a:lnTo>
                    <a:lnTo>
                      <a:pt x="699" y="17"/>
                    </a:lnTo>
                    <a:lnTo>
                      <a:pt x="704" y="19"/>
                    </a:lnTo>
                    <a:lnTo>
                      <a:pt x="711" y="21"/>
                    </a:lnTo>
                    <a:lnTo>
                      <a:pt x="717" y="23"/>
                    </a:lnTo>
                    <a:lnTo>
                      <a:pt x="724" y="25"/>
                    </a:lnTo>
                    <a:lnTo>
                      <a:pt x="726" y="30"/>
                    </a:lnTo>
                    <a:lnTo>
                      <a:pt x="730" y="35"/>
                    </a:lnTo>
                    <a:lnTo>
                      <a:pt x="736" y="42"/>
                    </a:lnTo>
                    <a:lnTo>
                      <a:pt x="744" y="47"/>
                    </a:lnTo>
                    <a:lnTo>
                      <a:pt x="752" y="53"/>
                    </a:lnTo>
                    <a:lnTo>
                      <a:pt x="760" y="57"/>
                    </a:lnTo>
                    <a:lnTo>
                      <a:pt x="769" y="60"/>
                    </a:lnTo>
                    <a:lnTo>
                      <a:pt x="778" y="61"/>
                    </a:lnTo>
                    <a:lnTo>
                      <a:pt x="784" y="60"/>
                    </a:lnTo>
                    <a:lnTo>
                      <a:pt x="791" y="59"/>
                    </a:lnTo>
                    <a:lnTo>
                      <a:pt x="798" y="57"/>
                    </a:lnTo>
                    <a:lnTo>
                      <a:pt x="804" y="54"/>
                    </a:lnTo>
                    <a:lnTo>
                      <a:pt x="816" y="48"/>
                    </a:lnTo>
                    <a:lnTo>
                      <a:pt x="831" y="43"/>
                    </a:lnTo>
                    <a:lnTo>
                      <a:pt x="824" y="122"/>
                    </a:lnTo>
                    <a:lnTo>
                      <a:pt x="836" y="140"/>
                    </a:lnTo>
                    <a:lnTo>
                      <a:pt x="846" y="154"/>
                    </a:lnTo>
                    <a:lnTo>
                      <a:pt x="854" y="166"/>
                    </a:lnTo>
                    <a:lnTo>
                      <a:pt x="859" y="177"/>
                    </a:lnTo>
                    <a:lnTo>
                      <a:pt x="862" y="188"/>
                    </a:lnTo>
                    <a:lnTo>
                      <a:pt x="865" y="197"/>
                    </a:lnTo>
                    <a:lnTo>
                      <a:pt x="866" y="205"/>
                    </a:lnTo>
                    <a:lnTo>
                      <a:pt x="865" y="211"/>
                    </a:lnTo>
                    <a:lnTo>
                      <a:pt x="857" y="234"/>
                    </a:lnTo>
                    <a:lnTo>
                      <a:pt x="850" y="259"/>
                    </a:lnTo>
                    <a:lnTo>
                      <a:pt x="850" y="301"/>
                    </a:lnTo>
                    <a:lnTo>
                      <a:pt x="850" y="334"/>
                    </a:lnTo>
                    <a:lnTo>
                      <a:pt x="850" y="350"/>
                    </a:lnTo>
                    <a:lnTo>
                      <a:pt x="849" y="364"/>
                    </a:lnTo>
                    <a:lnTo>
                      <a:pt x="848" y="376"/>
                    </a:lnTo>
                    <a:lnTo>
                      <a:pt x="846" y="388"/>
                    </a:lnTo>
                    <a:lnTo>
                      <a:pt x="843" y="399"/>
                    </a:lnTo>
                    <a:lnTo>
                      <a:pt x="839" y="411"/>
                    </a:lnTo>
                    <a:lnTo>
                      <a:pt x="834" y="421"/>
                    </a:lnTo>
                    <a:lnTo>
                      <a:pt x="828" y="432"/>
                    </a:lnTo>
                    <a:lnTo>
                      <a:pt x="821" y="443"/>
                    </a:lnTo>
                    <a:lnTo>
                      <a:pt x="813" y="454"/>
                    </a:lnTo>
                    <a:lnTo>
                      <a:pt x="802" y="467"/>
                    </a:lnTo>
                    <a:lnTo>
                      <a:pt x="791" y="480"/>
                    </a:lnTo>
                    <a:lnTo>
                      <a:pt x="786" y="486"/>
                    </a:lnTo>
                    <a:lnTo>
                      <a:pt x="781" y="493"/>
                    </a:lnTo>
                    <a:lnTo>
                      <a:pt x="777" y="499"/>
                    </a:lnTo>
                    <a:lnTo>
                      <a:pt x="773" y="506"/>
                    </a:lnTo>
                    <a:lnTo>
                      <a:pt x="768" y="522"/>
                    </a:lnTo>
                    <a:lnTo>
                      <a:pt x="764" y="537"/>
                    </a:lnTo>
                    <a:lnTo>
                      <a:pt x="758" y="567"/>
                    </a:lnTo>
                    <a:lnTo>
                      <a:pt x="755" y="593"/>
                    </a:lnTo>
                    <a:lnTo>
                      <a:pt x="731" y="585"/>
                    </a:lnTo>
                    <a:lnTo>
                      <a:pt x="698" y="591"/>
                    </a:lnTo>
                    <a:lnTo>
                      <a:pt x="711" y="629"/>
                    </a:lnTo>
                    <a:lnTo>
                      <a:pt x="719" y="636"/>
                    </a:lnTo>
                    <a:lnTo>
                      <a:pt x="704" y="641"/>
                    </a:lnTo>
                    <a:lnTo>
                      <a:pt x="692" y="645"/>
                    </a:lnTo>
                    <a:lnTo>
                      <a:pt x="680" y="646"/>
                    </a:lnTo>
                    <a:lnTo>
                      <a:pt x="670" y="646"/>
                    </a:lnTo>
                    <a:lnTo>
                      <a:pt x="661" y="644"/>
                    </a:lnTo>
                    <a:lnTo>
                      <a:pt x="653" y="641"/>
                    </a:lnTo>
                    <a:lnTo>
                      <a:pt x="644" y="638"/>
                    </a:lnTo>
                    <a:lnTo>
                      <a:pt x="636" y="634"/>
                    </a:lnTo>
                    <a:lnTo>
                      <a:pt x="629" y="631"/>
                    </a:lnTo>
                    <a:lnTo>
                      <a:pt x="620" y="628"/>
                    </a:lnTo>
                    <a:lnTo>
                      <a:pt x="611" y="625"/>
                    </a:lnTo>
                    <a:lnTo>
                      <a:pt x="601" y="624"/>
                    </a:lnTo>
                    <a:lnTo>
                      <a:pt x="591" y="625"/>
                    </a:lnTo>
                    <a:lnTo>
                      <a:pt x="579" y="628"/>
                    </a:lnTo>
                    <a:lnTo>
                      <a:pt x="566" y="633"/>
                    </a:lnTo>
                    <a:lnTo>
                      <a:pt x="552" y="641"/>
                    </a:lnTo>
                    <a:lnTo>
                      <a:pt x="543" y="646"/>
                    </a:lnTo>
                    <a:lnTo>
                      <a:pt x="536" y="652"/>
                    </a:lnTo>
                    <a:lnTo>
                      <a:pt x="530" y="659"/>
                    </a:lnTo>
                    <a:lnTo>
                      <a:pt x="525" y="666"/>
                    </a:lnTo>
                    <a:lnTo>
                      <a:pt x="520" y="673"/>
                    </a:lnTo>
                    <a:lnTo>
                      <a:pt x="514" y="678"/>
                    </a:lnTo>
                    <a:lnTo>
                      <a:pt x="511" y="680"/>
                    </a:lnTo>
                    <a:lnTo>
                      <a:pt x="508" y="683"/>
                    </a:lnTo>
                    <a:lnTo>
                      <a:pt x="503" y="684"/>
                    </a:lnTo>
                    <a:lnTo>
                      <a:pt x="499" y="684"/>
                    </a:lnTo>
                    <a:lnTo>
                      <a:pt x="491" y="684"/>
                    </a:lnTo>
                    <a:lnTo>
                      <a:pt x="486" y="682"/>
                    </a:lnTo>
                    <a:lnTo>
                      <a:pt x="481" y="679"/>
                    </a:lnTo>
                    <a:lnTo>
                      <a:pt x="477" y="676"/>
                    </a:lnTo>
                    <a:lnTo>
                      <a:pt x="470" y="668"/>
                    </a:lnTo>
                    <a:lnTo>
                      <a:pt x="465" y="659"/>
                    </a:lnTo>
                    <a:lnTo>
                      <a:pt x="458" y="650"/>
                    </a:lnTo>
                    <a:lnTo>
                      <a:pt x="451" y="642"/>
                    </a:lnTo>
                    <a:lnTo>
                      <a:pt x="446" y="639"/>
                    </a:lnTo>
                    <a:lnTo>
                      <a:pt x="441" y="637"/>
                    </a:lnTo>
                    <a:lnTo>
                      <a:pt x="433" y="635"/>
                    </a:lnTo>
                    <a:lnTo>
                      <a:pt x="425" y="635"/>
                    </a:lnTo>
                    <a:lnTo>
                      <a:pt x="421" y="635"/>
                    </a:lnTo>
                    <a:lnTo>
                      <a:pt x="417" y="638"/>
                    </a:lnTo>
                    <a:lnTo>
                      <a:pt x="412" y="640"/>
                    </a:lnTo>
                    <a:lnTo>
                      <a:pt x="409" y="644"/>
                    </a:lnTo>
                    <a:lnTo>
                      <a:pt x="405" y="647"/>
                    </a:lnTo>
                    <a:lnTo>
                      <a:pt x="401" y="650"/>
                    </a:lnTo>
                    <a:lnTo>
                      <a:pt x="397" y="652"/>
                    </a:lnTo>
                    <a:lnTo>
                      <a:pt x="392" y="653"/>
                    </a:lnTo>
                    <a:lnTo>
                      <a:pt x="384" y="652"/>
                    </a:lnTo>
                    <a:lnTo>
                      <a:pt x="376" y="651"/>
                    </a:lnTo>
                    <a:lnTo>
                      <a:pt x="369" y="648"/>
                    </a:lnTo>
                    <a:lnTo>
                      <a:pt x="363" y="645"/>
                    </a:lnTo>
                    <a:lnTo>
                      <a:pt x="350" y="638"/>
                    </a:lnTo>
                    <a:lnTo>
                      <a:pt x="339" y="629"/>
                    </a:lnTo>
                    <a:lnTo>
                      <a:pt x="327" y="619"/>
                    </a:lnTo>
                    <a:lnTo>
                      <a:pt x="312" y="611"/>
                    </a:lnTo>
                    <a:lnTo>
                      <a:pt x="306" y="608"/>
                    </a:lnTo>
                    <a:lnTo>
                      <a:pt x="297" y="606"/>
                    </a:lnTo>
                    <a:lnTo>
                      <a:pt x="289" y="604"/>
                    </a:lnTo>
                    <a:lnTo>
                      <a:pt x="279" y="603"/>
                    </a:lnTo>
                    <a:lnTo>
                      <a:pt x="271" y="604"/>
                    </a:lnTo>
                    <a:lnTo>
                      <a:pt x="262" y="606"/>
                    </a:lnTo>
                    <a:lnTo>
                      <a:pt x="253" y="610"/>
                    </a:lnTo>
                    <a:lnTo>
                      <a:pt x="245" y="615"/>
                    </a:lnTo>
                    <a:lnTo>
                      <a:pt x="237" y="620"/>
                    </a:lnTo>
                    <a:lnTo>
                      <a:pt x="229" y="628"/>
                    </a:lnTo>
                    <a:lnTo>
                      <a:pt x="222" y="636"/>
                    </a:lnTo>
                    <a:lnTo>
                      <a:pt x="216" y="644"/>
                    </a:lnTo>
                    <a:lnTo>
                      <a:pt x="209" y="653"/>
                    </a:lnTo>
                    <a:lnTo>
                      <a:pt x="204" y="662"/>
                    </a:lnTo>
                    <a:lnTo>
                      <a:pt x="198" y="671"/>
                    </a:lnTo>
                    <a:lnTo>
                      <a:pt x="194" y="682"/>
                    </a:lnTo>
                    <a:lnTo>
                      <a:pt x="190" y="692"/>
                    </a:lnTo>
                    <a:lnTo>
                      <a:pt x="188" y="702"/>
                    </a:lnTo>
                    <a:lnTo>
                      <a:pt x="187" y="711"/>
                    </a:lnTo>
                    <a:lnTo>
                      <a:pt x="186" y="720"/>
                    </a:lnTo>
                    <a:lnTo>
                      <a:pt x="178" y="719"/>
                    </a:lnTo>
                    <a:lnTo>
                      <a:pt x="172" y="717"/>
                    </a:lnTo>
                    <a:lnTo>
                      <a:pt x="164" y="712"/>
                    </a:lnTo>
                    <a:lnTo>
                      <a:pt x="156" y="708"/>
                    </a:lnTo>
                    <a:lnTo>
                      <a:pt x="149" y="702"/>
                    </a:lnTo>
                    <a:lnTo>
                      <a:pt x="141" y="697"/>
                    </a:lnTo>
                    <a:lnTo>
                      <a:pt x="134" y="693"/>
                    </a:lnTo>
                    <a:lnTo>
                      <a:pt x="127" y="690"/>
                    </a:lnTo>
                    <a:lnTo>
                      <a:pt x="100" y="740"/>
                    </a:lnTo>
                    <a:lnTo>
                      <a:pt x="73" y="740"/>
                    </a:lnTo>
                    <a:lnTo>
                      <a:pt x="70" y="725"/>
                    </a:lnTo>
                    <a:lnTo>
                      <a:pt x="67" y="712"/>
                    </a:lnTo>
                    <a:lnTo>
                      <a:pt x="66" y="699"/>
                    </a:lnTo>
                    <a:lnTo>
                      <a:pt x="66" y="686"/>
                    </a:lnTo>
                    <a:lnTo>
                      <a:pt x="66" y="672"/>
                    </a:lnTo>
                    <a:lnTo>
                      <a:pt x="66" y="658"/>
                    </a:lnTo>
                    <a:lnTo>
                      <a:pt x="64" y="644"/>
                    </a:lnTo>
                    <a:lnTo>
                      <a:pt x="60" y="629"/>
                    </a:lnTo>
                    <a:lnTo>
                      <a:pt x="58" y="622"/>
                    </a:lnTo>
                    <a:lnTo>
                      <a:pt x="53" y="618"/>
                    </a:lnTo>
                    <a:lnTo>
                      <a:pt x="50" y="613"/>
                    </a:lnTo>
                    <a:lnTo>
                      <a:pt x="46" y="609"/>
                    </a:lnTo>
                    <a:lnTo>
                      <a:pt x="36" y="601"/>
                    </a:lnTo>
                    <a:lnTo>
                      <a:pt x="25" y="592"/>
                    </a:lnTo>
                    <a:lnTo>
                      <a:pt x="20" y="587"/>
                    </a:lnTo>
                    <a:lnTo>
                      <a:pt x="16" y="581"/>
                    </a:lnTo>
                    <a:lnTo>
                      <a:pt x="11" y="575"/>
                    </a:lnTo>
                    <a:lnTo>
                      <a:pt x="8" y="566"/>
                    </a:lnTo>
                    <a:lnTo>
                      <a:pt x="5" y="558"/>
                    </a:lnTo>
                    <a:lnTo>
                      <a:pt x="3" y="548"/>
                    </a:lnTo>
                    <a:lnTo>
                      <a:pt x="0" y="537"/>
                    </a:lnTo>
                    <a:lnTo>
                      <a:pt x="0" y="524"/>
                    </a:lnTo>
                    <a:lnTo>
                      <a:pt x="53" y="530"/>
                    </a:lnTo>
                    <a:lnTo>
                      <a:pt x="59" y="526"/>
                    </a:lnTo>
                    <a:lnTo>
                      <a:pt x="64" y="522"/>
                    </a:lnTo>
                    <a:lnTo>
                      <a:pt x="71" y="520"/>
                    </a:lnTo>
                    <a:lnTo>
                      <a:pt x="76" y="518"/>
                    </a:lnTo>
                    <a:lnTo>
                      <a:pt x="91" y="514"/>
                    </a:lnTo>
                    <a:lnTo>
                      <a:pt x="106" y="512"/>
                    </a:lnTo>
                    <a:lnTo>
                      <a:pt x="121" y="511"/>
                    </a:lnTo>
                    <a:lnTo>
                      <a:pt x="139" y="510"/>
                    </a:lnTo>
                    <a:lnTo>
                      <a:pt x="155" y="508"/>
                    </a:lnTo>
                    <a:lnTo>
                      <a:pt x="173" y="505"/>
                    </a:lnTo>
                    <a:lnTo>
                      <a:pt x="177" y="503"/>
                    </a:lnTo>
                    <a:lnTo>
                      <a:pt x="182" y="500"/>
                    </a:lnTo>
                    <a:lnTo>
                      <a:pt x="185" y="497"/>
                    </a:lnTo>
                    <a:lnTo>
                      <a:pt x="189" y="494"/>
                    </a:lnTo>
                    <a:lnTo>
                      <a:pt x="196" y="485"/>
                    </a:lnTo>
                    <a:lnTo>
                      <a:pt x="201" y="475"/>
                    </a:lnTo>
                    <a:lnTo>
                      <a:pt x="207" y="464"/>
                    </a:lnTo>
                    <a:lnTo>
                      <a:pt x="211" y="451"/>
                    </a:lnTo>
                    <a:lnTo>
                      <a:pt x="216" y="438"/>
                    </a:lnTo>
                    <a:lnTo>
                      <a:pt x="219" y="424"/>
                    </a:lnTo>
                    <a:lnTo>
                      <a:pt x="221" y="410"/>
                    </a:lnTo>
                    <a:lnTo>
                      <a:pt x="223" y="395"/>
                    </a:lnTo>
                    <a:lnTo>
                      <a:pt x="224" y="381"/>
                    </a:lnTo>
                    <a:lnTo>
                      <a:pt x="224" y="367"/>
                    </a:lnTo>
                    <a:lnTo>
                      <a:pt x="224" y="354"/>
                    </a:lnTo>
                    <a:lnTo>
                      <a:pt x="223" y="341"/>
                    </a:lnTo>
                    <a:lnTo>
                      <a:pt x="221" y="330"/>
                    </a:lnTo>
                    <a:lnTo>
                      <a:pt x="219" y="320"/>
                    </a:lnTo>
                    <a:lnTo>
                      <a:pt x="219" y="283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24" name="Freeform 546">
                <a:extLst>
                  <a:ext uri="{FF2B5EF4-FFF2-40B4-BE49-F238E27FC236}">
                    <a16:creationId xmlns="" xmlns:a16="http://schemas.microsoft.com/office/drawing/2014/main" id="{E0E3D2AB-7C9E-4F87-BB13-5F371B94861B}"/>
                  </a:ext>
                </a:extLst>
              </p:cNvPr>
              <p:cNvSpPr>
                <a:spLocks/>
              </p:cNvSpPr>
              <p:nvPr>
                <p:custDataLst>
                  <p:tags r:id="rId377"/>
                </p:custDataLst>
              </p:nvPr>
            </p:nvSpPr>
            <p:spPr bwMode="auto">
              <a:xfrm>
                <a:off x="3692525" y="2533650"/>
                <a:ext cx="300038" cy="260350"/>
              </a:xfrm>
              <a:custGeom>
                <a:avLst/>
                <a:gdLst>
                  <a:gd name="T0" fmla="*/ 2147483646 w 697"/>
                  <a:gd name="T1" fmla="*/ 2147483646 h 500"/>
                  <a:gd name="T2" fmla="*/ 2147483646 w 697"/>
                  <a:gd name="T3" fmla="*/ 2147483646 h 500"/>
                  <a:gd name="T4" fmla="*/ 2147483646 w 697"/>
                  <a:gd name="T5" fmla="*/ 2147483646 h 500"/>
                  <a:gd name="T6" fmla="*/ 2147483646 w 697"/>
                  <a:gd name="T7" fmla="*/ 2147483646 h 500"/>
                  <a:gd name="T8" fmla="*/ 2147483646 w 697"/>
                  <a:gd name="T9" fmla="*/ 2147483646 h 500"/>
                  <a:gd name="T10" fmla="*/ 2147483646 w 697"/>
                  <a:gd name="T11" fmla="*/ 2147483646 h 500"/>
                  <a:gd name="T12" fmla="*/ 2147483646 w 697"/>
                  <a:gd name="T13" fmla="*/ 2147483646 h 500"/>
                  <a:gd name="T14" fmla="*/ 2147483646 w 697"/>
                  <a:gd name="T15" fmla="*/ 2147483646 h 500"/>
                  <a:gd name="T16" fmla="*/ 2147483646 w 697"/>
                  <a:gd name="T17" fmla="*/ 2147483646 h 500"/>
                  <a:gd name="T18" fmla="*/ 2147483646 w 697"/>
                  <a:gd name="T19" fmla="*/ 2147483646 h 500"/>
                  <a:gd name="T20" fmla="*/ 2147483646 w 697"/>
                  <a:gd name="T21" fmla="*/ 2147483646 h 500"/>
                  <a:gd name="T22" fmla="*/ 2147483646 w 697"/>
                  <a:gd name="T23" fmla="*/ 2147483646 h 500"/>
                  <a:gd name="T24" fmla="*/ 2147483646 w 697"/>
                  <a:gd name="T25" fmla="*/ 2147483646 h 500"/>
                  <a:gd name="T26" fmla="*/ 2147483646 w 697"/>
                  <a:gd name="T27" fmla="*/ 2147483646 h 500"/>
                  <a:gd name="T28" fmla="*/ 2147483646 w 697"/>
                  <a:gd name="T29" fmla="*/ 2147483646 h 500"/>
                  <a:gd name="T30" fmla="*/ 2147483646 w 697"/>
                  <a:gd name="T31" fmla="*/ 2147483646 h 500"/>
                  <a:gd name="T32" fmla="*/ 2147483646 w 697"/>
                  <a:gd name="T33" fmla="*/ 2147483646 h 500"/>
                  <a:gd name="T34" fmla="*/ 2147483646 w 697"/>
                  <a:gd name="T35" fmla="*/ 2147483646 h 500"/>
                  <a:gd name="T36" fmla="*/ 2147483646 w 697"/>
                  <a:gd name="T37" fmla="*/ 2147483646 h 500"/>
                  <a:gd name="T38" fmla="*/ 2147483646 w 697"/>
                  <a:gd name="T39" fmla="*/ 2147483646 h 500"/>
                  <a:gd name="T40" fmla="*/ 2147483646 w 697"/>
                  <a:gd name="T41" fmla="*/ 2147483646 h 500"/>
                  <a:gd name="T42" fmla="*/ 2147483646 w 697"/>
                  <a:gd name="T43" fmla="*/ 2147483646 h 500"/>
                  <a:gd name="T44" fmla="*/ 2147483646 w 697"/>
                  <a:gd name="T45" fmla="*/ 2147483646 h 500"/>
                  <a:gd name="T46" fmla="*/ 2147483646 w 697"/>
                  <a:gd name="T47" fmla="*/ 2147483646 h 500"/>
                  <a:gd name="T48" fmla="*/ 2147483646 w 697"/>
                  <a:gd name="T49" fmla="*/ 2147483646 h 500"/>
                  <a:gd name="T50" fmla="*/ 2147483646 w 697"/>
                  <a:gd name="T51" fmla="*/ 2147483646 h 500"/>
                  <a:gd name="T52" fmla="*/ 2147483646 w 697"/>
                  <a:gd name="T53" fmla="*/ 2147483646 h 500"/>
                  <a:gd name="T54" fmla="*/ 2147483646 w 697"/>
                  <a:gd name="T55" fmla="*/ 2147483646 h 500"/>
                  <a:gd name="T56" fmla="*/ 2147483646 w 697"/>
                  <a:gd name="T57" fmla="*/ 2147483646 h 500"/>
                  <a:gd name="T58" fmla="*/ 2147483646 w 697"/>
                  <a:gd name="T59" fmla="*/ 2147483646 h 500"/>
                  <a:gd name="T60" fmla="*/ 2147483646 w 697"/>
                  <a:gd name="T61" fmla="*/ 2147483646 h 500"/>
                  <a:gd name="T62" fmla="*/ 2147483646 w 697"/>
                  <a:gd name="T63" fmla="*/ 2147483646 h 500"/>
                  <a:gd name="T64" fmla="*/ 2147483646 w 697"/>
                  <a:gd name="T65" fmla="*/ 2147483646 h 500"/>
                  <a:gd name="T66" fmla="*/ 2147483646 w 697"/>
                  <a:gd name="T67" fmla="*/ 2147483646 h 500"/>
                  <a:gd name="T68" fmla="*/ 2147483646 w 697"/>
                  <a:gd name="T69" fmla="*/ 2147483646 h 500"/>
                  <a:gd name="T70" fmla="*/ 2147483646 w 697"/>
                  <a:gd name="T71" fmla="*/ 2147483646 h 500"/>
                  <a:gd name="T72" fmla="*/ 2147483646 w 697"/>
                  <a:gd name="T73" fmla="*/ 2147483646 h 500"/>
                  <a:gd name="T74" fmla="*/ 2147483646 w 697"/>
                  <a:gd name="T75" fmla="*/ 2147483646 h 500"/>
                  <a:gd name="T76" fmla="*/ 2147483646 w 697"/>
                  <a:gd name="T77" fmla="*/ 2147483646 h 500"/>
                  <a:gd name="T78" fmla="*/ 2147483646 w 697"/>
                  <a:gd name="T79" fmla="*/ 2147483646 h 500"/>
                  <a:gd name="T80" fmla="*/ 2147483646 w 697"/>
                  <a:gd name="T81" fmla="*/ 2147483646 h 500"/>
                  <a:gd name="T82" fmla="*/ 2147483646 w 697"/>
                  <a:gd name="T83" fmla="*/ 2147483646 h 500"/>
                  <a:gd name="T84" fmla="*/ 2147483646 w 697"/>
                  <a:gd name="T85" fmla="*/ 2147483646 h 500"/>
                  <a:gd name="T86" fmla="*/ 2147483646 w 697"/>
                  <a:gd name="T87" fmla="*/ 2147483646 h 500"/>
                  <a:gd name="T88" fmla="*/ 2147483646 w 697"/>
                  <a:gd name="T89" fmla="*/ 2147483646 h 500"/>
                  <a:gd name="T90" fmla="*/ 2147483646 w 697"/>
                  <a:gd name="T91" fmla="*/ 2147483646 h 500"/>
                  <a:gd name="T92" fmla="*/ 2147483646 w 697"/>
                  <a:gd name="T93" fmla="*/ 2147483646 h 500"/>
                  <a:gd name="T94" fmla="*/ 2147483646 w 697"/>
                  <a:gd name="T95" fmla="*/ 2147483646 h 500"/>
                  <a:gd name="T96" fmla="*/ 2147483646 w 697"/>
                  <a:gd name="T97" fmla="*/ 2147483646 h 500"/>
                  <a:gd name="T98" fmla="*/ 2147483646 w 697"/>
                  <a:gd name="T99" fmla="*/ 2147483646 h 500"/>
                  <a:gd name="T100" fmla="*/ 2147483646 w 697"/>
                  <a:gd name="T101" fmla="*/ 2147483646 h 500"/>
                  <a:gd name="T102" fmla="*/ 2147483646 w 697"/>
                  <a:gd name="T103" fmla="*/ 2147483646 h 500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697"/>
                  <a:gd name="T157" fmla="*/ 0 h 500"/>
                  <a:gd name="T158" fmla="*/ 697 w 697"/>
                  <a:gd name="T159" fmla="*/ 500 h 500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697" h="500">
                    <a:moveTo>
                      <a:pt x="631" y="50"/>
                    </a:moveTo>
                    <a:lnTo>
                      <a:pt x="635" y="51"/>
                    </a:lnTo>
                    <a:lnTo>
                      <a:pt x="648" y="53"/>
                    </a:lnTo>
                    <a:lnTo>
                      <a:pt x="659" y="55"/>
                    </a:lnTo>
                    <a:lnTo>
                      <a:pt x="664" y="56"/>
                    </a:lnTo>
                    <a:lnTo>
                      <a:pt x="657" y="161"/>
                    </a:lnTo>
                    <a:lnTo>
                      <a:pt x="657" y="163"/>
                    </a:lnTo>
                    <a:lnTo>
                      <a:pt x="659" y="165"/>
                    </a:lnTo>
                    <a:lnTo>
                      <a:pt x="661" y="167"/>
                    </a:lnTo>
                    <a:lnTo>
                      <a:pt x="664" y="169"/>
                    </a:lnTo>
                    <a:lnTo>
                      <a:pt x="669" y="173"/>
                    </a:lnTo>
                    <a:lnTo>
                      <a:pt x="677" y="177"/>
                    </a:lnTo>
                    <a:lnTo>
                      <a:pt x="685" y="181"/>
                    </a:lnTo>
                    <a:lnTo>
                      <a:pt x="691" y="185"/>
                    </a:lnTo>
                    <a:lnTo>
                      <a:pt x="694" y="189"/>
                    </a:lnTo>
                    <a:lnTo>
                      <a:pt x="696" y="192"/>
                    </a:lnTo>
                    <a:lnTo>
                      <a:pt x="697" y="195"/>
                    </a:lnTo>
                    <a:lnTo>
                      <a:pt x="697" y="198"/>
                    </a:lnTo>
                    <a:lnTo>
                      <a:pt x="697" y="203"/>
                    </a:lnTo>
                    <a:lnTo>
                      <a:pt x="696" y="208"/>
                    </a:lnTo>
                    <a:lnTo>
                      <a:pt x="694" y="211"/>
                    </a:lnTo>
                    <a:lnTo>
                      <a:pt x="691" y="214"/>
                    </a:lnTo>
                    <a:lnTo>
                      <a:pt x="688" y="216"/>
                    </a:lnTo>
                    <a:lnTo>
                      <a:pt x="685" y="217"/>
                    </a:lnTo>
                    <a:lnTo>
                      <a:pt x="680" y="218"/>
                    </a:lnTo>
                    <a:lnTo>
                      <a:pt x="676" y="219"/>
                    </a:lnTo>
                    <a:lnTo>
                      <a:pt x="655" y="218"/>
                    </a:lnTo>
                    <a:lnTo>
                      <a:pt x="631" y="216"/>
                    </a:lnTo>
                    <a:lnTo>
                      <a:pt x="619" y="221"/>
                    </a:lnTo>
                    <a:lnTo>
                      <a:pt x="605" y="228"/>
                    </a:lnTo>
                    <a:lnTo>
                      <a:pt x="589" y="235"/>
                    </a:lnTo>
                    <a:lnTo>
                      <a:pt x="574" y="245"/>
                    </a:lnTo>
                    <a:lnTo>
                      <a:pt x="567" y="250"/>
                    </a:lnTo>
                    <a:lnTo>
                      <a:pt x="560" y="256"/>
                    </a:lnTo>
                    <a:lnTo>
                      <a:pt x="554" y="261"/>
                    </a:lnTo>
                    <a:lnTo>
                      <a:pt x="549" y="267"/>
                    </a:lnTo>
                    <a:lnTo>
                      <a:pt x="544" y="274"/>
                    </a:lnTo>
                    <a:lnTo>
                      <a:pt x="541" y="281"/>
                    </a:lnTo>
                    <a:lnTo>
                      <a:pt x="539" y="288"/>
                    </a:lnTo>
                    <a:lnTo>
                      <a:pt x="538" y="296"/>
                    </a:lnTo>
                    <a:lnTo>
                      <a:pt x="529" y="299"/>
                    </a:lnTo>
                    <a:lnTo>
                      <a:pt x="521" y="302"/>
                    </a:lnTo>
                    <a:lnTo>
                      <a:pt x="514" y="306"/>
                    </a:lnTo>
                    <a:lnTo>
                      <a:pt x="506" y="312"/>
                    </a:lnTo>
                    <a:lnTo>
                      <a:pt x="491" y="324"/>
                    </a:lnTo>
                    <a:lnTo>
                      <a:pt x="475" y="339"/>
                    </a:lnTo>
                    <a:lnTo>
                      <a:pt x="465" y="346"/>
                    </a:lnTo>
                    <a:lnTo>
                      <a:pt x="455" y="352"/>
                    </a:lnTo>
                    <a:lnTo>
                      <a:pt x="445" y="360"/>
                    </a:lnTo>
                    <a:lnTo>
                      <a:pt x="433" y="365"/>
                    </a:lnTo>
                    <a:lnTo>
                      <a:pt x="420" y="370"/>
                    </a:lnTo>
                    <a:lnTo>
                      <a:pt x="406" y="373"/>
                    </a:lnTo>
                    <a:lnTo>
                      <a:pt x="389" y="376"/>
                    </a:lnTo>
                    <a:lnTo>
                      <a:pt x="372" y="377"/>
                    </a:lnTo>
                    <a:lnTo>
                      <a:pt x="361" y="377"/>
                    </a:lnTo>
                    <a:lnTo>
                      <a:pt x="352" y="378"/>
                    </a:lnTo>
                    <a:lnTo>
                      <a:pt x="344" y="380"/>
                    </a:lnTo>
                    <a:lnTo>
                      <a:pt x="337" y="382"/>
                    </a:lnTo>
                    <a:lnTo>
                      <a:pt x="326" y="389"/>
                    </a:lnTo>
                    <a:lnTo>
                      <a:pt x="316" y="396"/>
                    </a:lnTo>
                    <a:lnTo>
                      <a:pt x="306" y="404"/>
                    </a:lnTo>
                    <a:lnTo>
                      <a:pt x="296" y="413"/>
                    </a:lnTo>
                    <a:lnTo>
                      <a:pt x="290" y="417"/>
                    </a:lnTo>
                    <a:lnTo>
                      <a:pt x="283" y="420"/>
                    </a:lnTo>
                    <a:lnTo>
                      <a:pt x="274" y="423"/>
                    </a:lnTo>
                    <a:lnTo>
                      <a:pt x="265" y="426"/>
                    </a:lnTo>
                    <a:lnTo>
                      <a:pt x="272" y="494"/>
                    </a:lnTo>
                    <a:lnTo>
                      <a:pt x="0" y="500"/>
                    </a:lnTo>
                    <a:lnTo>
                      <a:pt x="5" y="496"/>
                    </a:lnTo>
                    <a:lnTo>
                      <a:pt x="13" y="492"/>
                    </a:lnTo>
                    <a:lnTo>
                      <a:pt x="22" y="490"/>
                    </a:lnTo>
                    <a:lnTo>
                      <a:pt x="32" y="487"/>
                    </a:lnTo>
                    <a:lnTo>
                      <a:pt x="55" y="483"/>
                    </a:lnTo>
                    <a:lnTo>
                      <a:pt x="80" y="475"/>
                    </a:lnTo>
                    <a:lnTo>
                      <a:pt x="85" y="473"/>
                    </a:lnTo>
                    <a:lnTo>
                      <a:pt x="90" y="469"/>
                    </a:lnTo>
                    <a:lnTo>
                      <a:pt x="92" y="465"/>
                    </a:lnTo>
                    <a:lnTo>
                      <a:pt x="93" y="459"/>
                    </a:lnTo>
                    <a:lnTo>
                      <a:pt x="93" y="451"/>
                    </a:lnTo>
                    <a:lnTo>
                      <a:pt x="93" y="444"/>
                    </a:lnTo>
                    <a:lnTo>
                      <a:pt x="99" y="438"/>
                    </a:lnTo>
                    <a:lnTo>
                      <a:pt x="104" y="432"/>
                    </a:lnTo>
                    <a:lnTo>
                      <a:pt x="112" y="427"/>
                    </a:lnTo>
                    <a:lnTo>
                      <a:pt x="119" y="422"/>
                    </a:lnTo>
                    <a:lnTo>
                      <a:pt x="136" y="414"/>
                    </a:lnTo>
                    <a:lnTo>
                      <a:pt x="152" y="404"/>
                    </a:lnTo>
                    <a:lnTo>
                      <a:pt x="160" y="399"/>
                    </a:lnTo>
                    <a:lnTo>
                      <a:pt x="168" y="394"/>
                    </a:lnTo>
                    <a:lnTo>
                      <a:pt x="174" y="388"/>
                    </a:lnTo>
                    <a:lnTo>
                      <a:pt x="181" y="382"/>
                    </a:lnTo>
                    <a:lnTo>
                      <a:pt x="185" y="375"/>
                    </a:lnTo>
                    <a:lnTo>
                      <a:pt x="189" y="366"/>
                    </a:lnTo>
                    <a:lnTo>
                      <a:pt x="192" y="357"/>
                    </a:lnTo>
                    <a:lnTo>
                      <a:pt x="192" y="345"/>
                    </a:lnTo>
                    <a:lnTo>
                      <a:pt x="193" y="332"/>
                    </a:lnTo>
                    <a:lnTo>
                      <a:pt x="193" y="316"/>
                    </a:lnTo>
                    <a:lnTo>
                      <a:pt x="194" y="296"/>
                    </a:lnTo>
                    <a:lnTo>
                      <a:pt x="195" y="275"/>
                    </a:lnTo>
                    <a:lnTo>
                      <a:pt x="195" y="254"/>
                    </a:lnTo>
                    <a:lnTo>
                      <a:pt x="195" y="232"/>
                    </a:lnTo>
                    <a:lnTo>
                      <a:pt x="194" y="211"/>
                    </a:lnTo>
                    <a:lnTo>
                      <a:pt x="192" y="192"/>
                    </a:lnTo>
                    <a:lnTo>
                      <a:pt x="201" y="192"/>
                    </a:lnTo>
                    <a:lnTo>
                      <a:pt x="207" y="190"/>
                    </a:lnTo>
                    <a:lnTo>
                      <a:pt x="214" y="189"/>
                    </a:lnTo>
                    <a:lnTo>
                      <a:pt x="219" y="185"/>
                    </a:lnTo>
                    <a:lnTo>
                      <a:pt x="224" y="182"/>
                    </a:lnTo>
                    <a:lnTo>
                      <a:pt x="228" y="179"/>
                    </a:lnTo>
                    <a:lnTo>
                      <a:pt x="232" y="176"/>
                    </a:lnTo>
                    <a:lnTo>
                      <a:pt x="236" y="172"/>
                    </a:lnTo>
                    <a:lnTo>
                      <a:pt x="241" y="165"/>
                    </a:lnTo>
                    <a:lnTo>
                      <a:pt x="247" y="158"/>
                    </a:lnTo>
                    <a:lnTo>
                      <a:pt x="249" y="155"/>
                    </a:lnTo>
                    <a:lnTo>
                      <a:pt x="252" y="152"/>
                    </a:lnTo>
                    <a:lnTo>
                      <a:pt x="256" y="150"/>
                    </a:lnTo>
                    <a:lnTo>
                      <a:pt x="259" y="149"/>
                    </a:lnTo>
                    <a:lnTo>
                      <a:pt x="281" y="146"/>
                    </a:lnTo>
                    <a:lnTo>
                      <a:pt x="297" y="145"/>
                    </a:lnTo>
                    <a:lnTo>
                      <a:pt x="306" y="144"/>
                    </a:lnTo>
                    <a:lnTo>
                      <a:pt x="314" y="143"/>
                    </a:lnTo>
                    <a:lnTo>
                      <a:pt x="323" y="140"/>
                    </a:lnTo>
                    <a:lnTo>
                      <a:pt x="331" y="137"/>
                    </a:lnTo>
                    <a:lnTo>
                      <a:pt x="340" y="131"/>
                    </a:lnTo>
                    <a:lnTo>
                      <a:pt x="348" y="124"/>
                    </a:lnTo>
                    <a:lnTo>
                      <a:pt x="354" y="116"/>
                    </a:lnTo>
                    <a:lnTo>
                      <a:pt x="360" y="108"/>
                    </a:lnTo>
                    <a:lnTo>
                      <a:pt x="371" y="89"/>
                    </a:lnTo>
                    <a:lnTo>
                      <a:pt x="380" y="68"/>
                    </a:lnTo>
                    <a:lnTo>
                      <a:pt x="388" y="48"/>
                    </a:lnTo>
                    <a:lnTo>
                      <a:pt x="397" y="29"/>
                    </a:lnTo>
                    <a:lnTo>
                      <a:pt x="402" y="21"/>
                    </a:lnTo>
                    <a:lnTo>
                      <a:pt x="407" y="12"/>
                    </a:lnTo>
                    <a:lnTo>
                      <a:pt x="413" y="6"/>
                    </a:lnTo>
                    <a:lnTo>
                      <a:pt x="418" y="0"/>
                    </a:lnTo>
                    <a:lnTo>
                      <a:pt x="426" y="8"/>
                    </a:lnTo>
                    <a:lnTo>
                      <a:pt x="433" y="14"/>
                    </a:lnTo>
                    <a:lnTo>
                      <a:pt x="441" y="17"/>
                    </a:lnTo>
                    <a:lnTo>
                      <a:pt x="449" y="20"/>
                    </a:lnTo>
                    <a:lnTo>
                      <a:pt x="465" y="20"/>
                    </a:lnTo>
                    <a:lnTo>
                      <a:pt x="485" y="20"/>
                    </a:lnTo>
                    <a:lnTo>
                      <a:pt x="512" y="18"/>
                    </a:lnTo>
                    <a:lnTo>
                      <a:pt x="543" y="16"/>
                    </a:lnTo>
                    <a:lnTo>
                      <a:pt x="571" y="14"/>
                    </a:lnTo>
                    <a:lnTo>
                      <a:pt x="590" y="13"/>
                    </a:lnTo>
                    <a:lnTo>
                      <a:pt x="594" y="13"/>
                    </a:lnTo>
                    <a:lnTo>
                      <a:pt x="595" y="15"/>
                    </a:lnTo>
                    <a:lnTo>
                      <a:pt x="597" y="17"/>
                    </a:lnTo>
                    <a:lnTo>
                      <a:pt x="599" y="21"/>
                    </a:lnTo>
                    <a:lnTo>
                      <a:pt x="601" y="28"/>
                    </a:lnTo>
                    <a:lnTo>
                      <a:pt x="605" y="36"/>
                    </a:lnTo>
                    <a:lnTo>
                      <a:pt x="607" y="44"/>
                    </a:lnTo>
                    <a:lnTo>
                      <a:pt x="609" y="49"/>
                    </a:lnTo>
                    <a:lnTo>
                      <a:pt x="611" y="51"/>
                    </a:lnTo>
                    <a:lnTo>
                      <a:pt x="613" y="52"/>
                    </a:lnTo>
                    <a:lnTo>
                      <a:pt x="615" y="51"/>
                    </a:lnTo>
                    <a:lnTo>
                      <a:pt x="618" y="50"/>
                    </a:lnTo>
                    <a:lnTo>
                      <a:pt x="631" y="5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25" name="Freeform 547">
                <a:extLst>
                  <a:ext uri="{FF2B5EF4-FFF2-40B4-BE49-F238E27FC236}">
                    <a16:creationId xmlns="" xmlns:a16="http://schemas.microsoft.com/office/drawing/2014/main" id="{60303DE7-390F-4246-8F38-B8119CE3F52E}"/>
                  </a:ext>
                </a:extLst>
              </p:cNvPr>
              <p:cNvSpPr>
                <a:spLocks/>
              </p:cNvSpPr>
              <p:nvPr>
                <p:custDataLst>
                  <p:tags r:id="rId378"/>
                </p:custDataLst>
              </p:nvPr>
            </p:nvSpPr>
            <p:spPr bwMode="auto">
              <a:xfrm>
                <a:off x="4392613" y="1463675"/>
                <a:ext cx="236537" cy="92075"/>
              </a:xfrm>
              <a:custGeom>
                <a:avLst/>
                <a:gdLst>
                  <a:gd name="T0" fmla="*/ 2147483646 w 546"/>
                  <a:gd name="T1" fmla="*/ 2147483646 h 173"/>
                  <a:gd name="T2" fmla="*/ 2147483646 w 546"/>
                  <a:gd name="T3" fmla="*/ 2147483646 h 173"/>
                  <a:gd name="T4" fmla="*/ 2147483646 w 546"/>
                  <a:gd name="T5" fmla="*/ 2147483646 h 173"/>
                  <a:gd name="T6" fmla="*/ 2147483646 w 546"/>
                  <a:gd name="T7" fmla="*/ 2147483646 h 173"/>
                  <a:gd name="T8" fmla="*/ 2147483646 w 546"/>
                  <a:gd name="T9" fmla="*/ 2147483646 h 173"/>
                  <a:gd name="T10" fmla="*/ 2147483646 w 546"/>
                  <a:gd name="T11" fmla="*/ 2147483646 h 173"/>
                  <a:gd name="T12" fmla="*/ 2147483646 w 546"/>
                  <a:gd name="T13" fmla="*/ 2147483646 h 173"/>
                  <a:gd name="T14" fmla="*/ 2147483646 w 546"/>
                  <a:gd name="T15" fmla="*/ 2147483646 h 173"/>
                  <a:gd name="T16" fmla="*/ 2147483646 w 546"/>
                  <a:gd name="T17" fmla="*/ 2147483646 h 173"/>
                  <a:gd name="T18" fmla="*/ 2147483646 w 546"/>
                  <a:gd name="T19" fmla="*/ 2147483646 h 173"/>
                  <a:gd name="T20" fmla="*/ 2147483646 w 546"/>
                  <a:gd name="T21" fmla="*/ 2147483646 h 173"/>
                  <a:gd name="T22" fmla="*/ 2147483646 w 546"/>
                  <a:gd name="T23" fmla="*/ 2147483646 h 173"/>
                  <a:gd name="T24" fmla="*/ 2147483646 w 546"/>
                  <a:gd name="T25" fmla="*/ 2147483646 h 173"/>
                  <a:gd name="T26" fmla="*/ 2147483646 w 546"/>
                  <a:gd name="T27" fmla="*/ 2147483646 h 173"/>
                  <a:gd name="T28" fmla="*/ 2147483646 w 546"/>
                  <a:gd name="T29" fmla="*/ 0 h 173"/>
                  <a:gd name="T30" fmla="*/ 2147483646 w 546"/>
                  <a:gd name="T31" fmla="*/ 2147483646 h 173"/>
                  <a:gd name="T32" fmla="*/ 2147483646 w 546"/>
                  <a:gd name="T33" fmla="*/ 2147483646 h 173"/>
                  <a:gd name="T34" fmla="*/ 2147483646 w 546"/>
                  <a:gd name="T35" fmla="*/ 2147483646 h 173"/>
                  <a:gd name="T36" fmla="*/ 2147483646 w 546"/>
                  <a:gd name="T37" fmla="*/ 2147483646 h 173"/>
                  <a:gd name="T38" fmla="*/ 2147483646 w 546"/>
                  <a:gd name="T39" fmla="*/ 2147483646 h 173"/>
                  <a:gd name="T40" fmla="*/ 2147483646 w 546"/>
                  <a:gd name="T41" fmla="*/ 2147483646 h 173"/>
                  <a:gd name="T42" fmla="*/ 2147483646 w 546"/>
                  <a:gd name="T43" fmla="*/ 2147483646 h 173"/>
                  <a:gd name="T44" fmla="*/ 2147483646 w 546"/>
                  <a:gd name="T45" fmla="*/ 2147483646 h 173"/>
                  <a:gd name="T46" fmla="*/ 2147483646 w 546"/>
                  <a:gd name="T47" fmla="*/ 2147483646 h 173"/>
                  <a:gd name="T48" fmla="*/ 2147483646 w 546"/>
                  <a:gd name="T49" fmla="*/ 2147483646 h 173"/>
                  <a:gd name="T50" fmla="*/ 2147483646 w 546"/>
                  <a:gd name="T51" fmla="*/ 2147483646 h 173"/>
                  <a:gd name="T52" fmla="*/ 2147483646 w 546"/>
                  <a:gd name="T53" fmla="*/ 2147483646 h 173"/>
                  <a:gd name="T54" fmla="*/ 2147483646 w 546"/>
                  <a:gd name="T55" fmla="*/ 2147483646 h 173"/>
                  <a:gd name="T56" fmla="*/ 2147483646 w 546"/>
                  <a:gd name="T57" fmla="*/ 2147483646 h 173"/>
                  <a:gd name="T58" fmla="*/ 2147483646 w 546"/>
                  <a:gd name="T59" fmla="*/ 2147483646 h 173"/>
                  <a:gd name="T60" fmla="*/ 2147483646 w 546"/>
                  <a:gd name="T61" fmla="*/ 2147483646 h 173"/>
                  <a:gd name="T62" fmla="*/ 2147483646 w 546"/>
                  <a:gd name="T63" fmla="*/ 2147483646 h 173"/>
                  <a:gd name="T64" fmla="*/ 2147483646 w 546"/>
                  <a:gd name="T65" fmla="*/ 2147483646 h 173"/>
                  <a:gd name="T66" fmla="*/ 2147483646 w 546"/>
                  <a:gd name="T67" fmla="*/ 2147483646 h 173"/>
                  <a:gd name="T68" fmla="*/ 2147483646 w 546"/>
                  <a:gd name="T69" fmla="*/ 2147483646 h 173"/>
                  <a:gd name="T70" fmla="*/ 2147483646 w 546"/>
                  <a:gd name="T71" fmla="*/ 2147483646 h 173"/>
                  <a:gd name="T72" fmla="*/ 2147483646 w 546"/>
                  <a:gd name="T73" fmla="*/ 2147483646 h 173"/>
                  <a:gd name="T74" fmla="*/ 2147483646 w 546"/>
                  <a:gd name="T75" fmla="*/ 2147483646 h 173"/>
                  <a:gd name="T76" fmla="*/ 2147483646 w 546"/>
                  <a:gd name="T77" fmla="*/ 2147483646 h 173"/>
                  <a:gd name="T78" fmla="*/ 2147483646 w 546"/>
                  <a:gd name="T79" fmla="*/ 2147483646 h 173"/>
                  <a:gd name="T80" fmla="*/ 2147483646 w 546"/>
                  <a:gd name="T81" fmla="*/ 2147483646 h 173"/>
                  <a:gd name="T82" fmla="*/ 2147483646 w 546"/>
                  <a:gd name="T83" fmla="*/ 2147483646 h 173"/>
                  <a:gd name="T84" fmla="*/ 2147483646 w 546"/>
                  <a:gd name="T85" fmla="*/ 2147483646 h 173"/>
                  <a:gd name="T86" fmla="*/ 2147483646 w 546"/>
                  <a:gd name="T87" fmla="*/ 2147483646 h 173"/>
                  <a:gd name="T88" fmla="*/ 2147483646 w 546"/>
                  <a:gd name="T89" fmla="*/ 2147483646 h 173"/>
                  <a:gd name="T90" fmla="*/ 2147483646 w 546"/>
                  <a:gd name="T91" fmla="*/ 2147483646 h 173"/>
                  <a:gd name="T92" fmla="*/ 2147483646 w 546"/>
                  <a:gd name="T93" fmla="*/ 2147483646 h 173"/>
                  <a:gd name="T94" fmla="*/ 2147483646 w 546"/>
                  <a:gd name="T95" fmla="*/ 2147483646 h 173"/>
                  <a:gd name="T96" fmla="*/ 2147483646 w 546"/>
                  <a:gd name="T97" fmla="*/ 2147483646 h 173"/>
                  <a:gd name="T98" fmla="*/ 2147483646 w 546"/>
                  <a:gd name="T99" fmla="*/ 2147483646 h 173"/>
                  <a:gd name="T100" fmla="*/ 2147483646 w 546"/>
                  <a:gd name="T101" fmla="*/ 2147483646 h 173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546"/>
                  <a:gd name="T154" fmla="*/ 0 h 173"/>
                  <a:gd name="T155" fmla="*/ 546 w 546"/>
                  <a:gd name="T156" fmla="*/ 173 h 173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546" h="173">
                    <a:moveTo>
                      <a:pt x="47" y="12"/>
                    </a:moveTo>
                    <a:lnTo>
                      <a:pt x="61" y="15"/>
                    </a:lnTo>
                    <a:lnTo>
                      <a:pt x="74" y="19"/>
                    </a:lnTo>
                    <a:lnTo>
                      <a:pt x="61" y="38"/>
                    </a:lnTo>
                    <a:lnTo>
                      <a:pt x="87" y="38"/>
                    </a:lnTo>
                    <a:lnTo>
                      <a:pt x="94" y="34"/>
                    </a:lnTo>
                    <a:lnTo>
                      <a:pt x="102" y="31"/>
                    </a:lnTo>
                    <a:lnTo>
                      <a:pt x="107" y="29"/>
                    </a:lnTo>
                    <a:lnTo>
                      <a:pt x="110" y="27"/>
                    </a:lnTo>
                    <a:lnTo>
                      <a:pt x="112" y="23"/>
                    </a:lnTo>
                    <a:lnTo>
                      <a:pt x="113" y="19"/>
                    </a:lnTo>
                    <a:lnTo>
                      <a:pt x="132" y="27"/>
                    </a:lnTo>
                    <a:lnTo>
                      <a:pt x="142" y="32"/>
                    </a:lnTo>
                    <a:lnTo>
                      <a:pt x="150" y="36"/>
                    </a:lnTo>
                    <a:lnTo>
                      <a:pt x="161" y="44"/>
                    </a:lnTo>
                    <a:lnTo>
                      <a:pt x="161" y="19"/>
                    </a:lnTo>
                    <a:lnTo>
                      <a:pt x="188" y="19"/>
                    </a:lnTo>
                    <a:lnTo>
                      <a:pt x="209" y="19"/>
                    </a:lnTo>
                    <a:lnTo>
                      <a:pt x="224" y="19"/>
                    </a:lnTo>
                    <a:lnTo>
                      <a:pt x="233" y="19"/>
                    </a:lnTo>
                    <a:lnTo>
                      <a:pt x="243" y="19"/>
                    </a:lnTo>
                    <a:lnTo>
                      <a:pt x="253" y="19"/>
                    </a:lnTo>
                    <a:lnTo>
                      <a:pt x="256" y="17"/>
                    </a:lnTo>
                    <a:lnTo>
                      <a:pt x="260" y="16"/>
                    </a:lnTo>
                    <a:lnTo>
                      <a:pt x="264" y="14"/>
                    </a:lnTo>
                    <a:lnTo>
                      <a:pt x="266" y="12"/>
                    </a:lnTo>
                    <a:lnTo>
                      <a:pt x="269" y="14"/>
                    </a:lnTo>
                    <a:lnTo>
                      <a:pt x="273" y="14"/>
                    </a:lnTo>
                    <a:lnTo>
                      <a:pt x="276" y="13"/>
                    </a:lnTo>
                    <a:lnTo>
                      <a:pt x="279" y="11"/>
                    </a:lnTo>
                    <a:lnTo>
                      <a:pt x="281" y="8"/>
                    </a:lnTo>
                    <a:lnTo>
                      <a:pt x="285" y="6"/>
                    </a:lnTo>
                    <a:lnTo>
                      <a:pt x="286" y="3"/>
                    </a:lnTo>
                    <a:lnTo>
                      <a:pt x="287" y="0"/>
                    </a:lnTo>
                    <a:lnTo>
                      <a:pt x="320" y="0"/>
                    </a:lnTo>
                    <a:lnTo>
                      <a:pt x="321" y="5"/>
                    </a:lnTo>
                    <a:lnTo>
                      <a:pt x="324" y="9"/>
                    </a:lnTo>
                    <a:lnTo>
                      <a:pt x="329" y="11"/>
                    </a:lnTo>
                    <a:lnTo>
                      <a:pt x="333" y="12"/>
                    </a:lnTo>
                    <a:lnTo>
                      <a:pt x="338" y="11"/>
                    </a:lnTo>
                    <a:lnTo>
                      <a:pt x="345" y="9"/>
                    </a:lnTo>
                    <a:lnTo>
                      <a:pt x="348" y="7"/>
                    </a:lnTo>
                    <a:lnTo>
                      <a:pt x="351" y="5"/>
                    </a:lnTo>
                    <a:lnTo>
                      <a:pt x="353" y="3"/>
                    </a:lnTo>
                    <a:lnTo>
                      <a:pt x="353" y="0"/>
                    </a:lnTo>
                    <a:lnTo>
                      <a:pt x="358" y="3"/>
                    </a:lnTo>
                    <a:lnTo>
                      <a:pt x="363" y="6"/>
                    </a:lnTo>
                    <a:lnTo>
                      <a:pt x="367" y="7"/>
                    </a:lnTo>
                    <a:lnTo>
                      <a:pt x="371" y="8"/>
                    </a:lnTo>
                    <a:lnTo>
                      <a:pt x="380" y="8"/>
                    </a:lnTo>
                    <a:lnTo>
                      <a:pt x="389" y="7"/>
                    </a:lnTo>
                    <a:lnTo>
                      <a:pt x="404" y="3"/>
                    </a:lnTo>
                    <a:lnTo>
                      <a:pt x="420" y="0"/>
                    </a:lnTo>
                    <a:lnTo>
                      <a:pt x="436" y="1"/>
                    </a:lnTo>
                    <a:lnTo>
                      <a:pt x="453" y="2"/>
                    </a:lnTo>
                    <a:lnTo>
                      <a:pt x="467" y="4"/>
                    </a:lnTo>
                    <a:lnTo>
                      <a:pt x="482" y="6"/>
                    </a:lnTo>
                    <a:lnTo>
                      <a:pt x="498" y="9"/>
                    </a:lnTo>
                    <a:lnTo>
                      <a:pt x="513" y="11"/>
                    </a:lnTo>
                    <a:lnTo>
                      <a:pt x="528" y="12"/>
                    </a:lnTo>
                    <a:lnTo>
                      <a:pt x="546" y="12"/>
                    </a:lnTo>
                    <a:lnTo>
                      <a:pt x="546" y="44"/>
                    </a:lnTo>
                    <a:lnTo>
                      <a:pt x="545" y="49"/>
                    </a:lnTo>
                    <a:lnTo>
                      <a:pt x="542" y="55"/>
                    </a:lnTo>
                    <a:lnTo>
                      <a:pt x="539" y="58"/>
                    </a:lnTo>
                    <a:lnTo>
                      <a:pt x="537" y="60"/>
                    </a:lnTo>
                    <a:lnTo>
                      <a:pt x="535" y="61"/>
                    </a:lnTo>
                    <a:lnTo>
                      <a:pt x="533" y="62"/>
                    </a:lnTo>
                    <a:lnTo>
                      <a:pt x="513" y="62"/>
                    </a:lnTo>
                    <a:lnTo>
                      <a:pt x="498" y="60"/>
                    </a:lnTo>
                    <a:lnTo>
                      <a:pt x="490" y="57"/>
                    </a:lnTo>
                    <a:lnTo>
                      <a:pt x="483" y="54"/>
                    </a:lnTo>
                    <a:lnTo>
                      <a:pt x="478" y="50"/>
                    </a:lnTo>
                    <a:lnTo>
                      <a:pt x="472" y="44"/>
                    </a:lnTo>
                    <a:lnTo>
                      <a:pt x="413" y="44"/>
                    </a:lnTo>
                    <a:lnTo>
                      <a:pt x="421" y="58"/>
                    </a:lnTo>
                    <a:lnTo>
                      <a:pt x="428" y="70"/>
                    </a:lnTo>
                    <a:lnTo>
                      <a:pt x="438" y="81"/>
                    </a:lnTo>
                    <a:lnTo>
                      <a:pt x="448" y="89"/>
                    </a:lnTo>
                    <a:lnTo>
                      <a:pt x="459" y="96"/>
                    </a:lnTo>
                    <a:lnTo>
                      <a:pt x="471" y="102"/>
                    </a:lnTo>
                    <a:lnTo>
                      <a:pt x="484" y="107"/>
                    </a:lnTo>
                    <a:lnTo>
                      <a:pt x="499" y="111"/>
                    </a:lnTo>
                    <a:lnTo>
                      <a:pt x="493" y="119"/>
                    </a:lnTo>
                    <a:lnTo>
                      <a:pt x="488" y="126"/>
                    </a:lnTo>
                    <a:lnTo>
                      <a:pt x="481" y="132"/>
                    </a:lnTo>
                    <a:lnTo>
                      <a:pt x="475" y="136"/>
                    </a:lnTo>
                    <a:lnTo>
                      <a:pt x="466" y="139"/>
                    </a:lnTo>
                    <a:lnTo>
                      <a:pt x="458" y="141"/>
                    </a:lnTo>
                    <a:lnTo>
                      <a:pt x="449" y="142"/>
                    </a:lnTo>
                    <a:lnTo>
                      <a:pt x="439" y="142"/>
                    </a:lnTo>
                    <a:lnTo>
                      <a:pt x="432" y="142"/>
                    </a:lnTo>
                    <a:lnTo>
                      <a:pt x="426" y="141"/>
                    </a:lnTo>
                    <a:lnTo>
                      <a:pt x="421" y="139"/>
                    </a:lnTo>
                    <a:lnTo>
                      <a:pt x="416" y="136"/>
                    </a:lnTo>
                    <a:lnTo>
                      <a:pt x="412" y="134"/>
                    </a:lnTo>
                    <a:lnTo>
                      <a:pt x="409" y="132"/>
                    </a:lnTo>
                    <a:lnTo>
                      <a:pt x="404" y="131"/>
                    </a:lnTo>
                    <a:lnTo>
                      <a:pt x="399" y="130"/>
                    </a:lnTo>
                    <a:lnTo>
                      <a:pt x="394" y="128"/>
                    </a:lnTo>
                    <a:lnTo>
                      <a:pt x="390" y="125"/>
                    </a:lnTo>
                    <a:lnTo>
                      <a:pt x="385" y="121"/>
                    </a:lnTo>
                    <a:lnTo>
                      <a:pt x="381" y="116"/>
                    </a:lnTo>
                    <a:lnTo>
                      <a:pt x="378" y="110"/>
                    </a:lnTo>
                    <a:lnTo>
                      <a:pt x="375" y="104"/>
                    </a:lnTo>
                    <a:lnTo>
                      <a:pt x="374" y="98"/>
                    </a:lnTo>
                    <a:lnTo>
                      <a:pt x="372" y="93"/>
                    </a:lnTo>
                    <a:lnTo>
                      <a:pt x="365" y="92"/>
                    </a:lnTo>
                    <a:lnTo>
                      <a:pt x="358" y="90"/>
                    </a:lnTo>
                    <a:lnTo>
                      <a:pt x="351" y="87"/>
                    </a:lnTo>
                    <a:lnTo>
                      <a:pt x="344" y="84"/>
                    </a:lnTo>
                    <a:lnTo>
                      <a:pt x="337" y="81"/>
                    </a:lnTo>
                    <a:lnTo>
                      <a:pt x="331" y="78"/>
                    </a:lnTo>
                    <a:lnTo>
                      <a:pt x="325" y="76"/>
                    </a:lnTo>
                    <a:lnTo>
                      <a:pt x="320" y="75"/>
                    </a:lnTo>
                    <a:lnTo>
                      <a:pt x="314" y="78"/>
                    </a:lnTo>
                    <a:lnTo>
                      <a:pt x="303" y="87"/>
                    </a:lnTo>
                    <a:lnTo>
                      <a:pt x="289" y="101"/>
                    </a:lnTo>
                    <a:lnTo>
                      <a:pt x="274" y="117"/>
                    </a:lnTo>
                    <a:lnTo>
                      <a:pt x="258" y="134"/>
                    </a:lnTo>
                    <a:lnTo>
                      <a:pt x="246" y="150"/>
                    </a:lnTo>
                    <a:lnTo>
                      <a:pt x="241" y="157"/>
                    </a:lnTo>
                    <a:lnTo>
                      <a:pt x="236" y="163"/>
                    </a:lnTo>
                    <a:lnTo>
                      <a:pt x="234" y="169"/>
                    </a:lnTo>
                    <a:lnTo>
                      <a:pt x="233" y="173"/>
                    </a:lnTo>
                    <a:lnTo>
                      <a:pt x="220" y="172"/>
                    </a:lnTo>
                    <a:lnTo>
                      <a:pt x="209" y="171"/>
                    </a:lnTo>
                    <a:lnTo>
                      <a:pt x="198" y="169"/>
                    </a:lnTo>
                    <a:lnTo>
                      <a:pt x="188" y="167"/>
                    </a:lnTo>
                    <a:lnTo>
                      <a:pt x="180" y="163"/>
                    </a:lnTo>
                    <a:lnTo>
                      <a:pt x="172" y="160"/>
                    </a:lnTo>
                    <a:lnTo>
                      <a:pt x="165" y="155"/>
                    </a:lnTo>
                    <a:lnTo>
                      <a:pt x="158" y="151"/>
                    </a:lnTo>
                    <a:lnTo>
                      <a:pt x="136" y="128"/>
                    </a:lnTo>
                    <a:lnTo>
                      <a:pt x="113" y="105"/>
                    </a:lnTo>
                    <a:lnTo>
                      <a:pt x="108" y="100"/>
                    </a:lnTo>
                    <a:lnTo>
                      <a:pt x="101" y="95"/>
                    </a:lnTo>
                    <a:lnTo>
                      <a:pt x="95" y="91"/>
                    </a:lnTo>
                    <a:lnTo>
                      <a:pt x="88" y="87"/>
                    </a:lnTo>
                    <a:lnTo>
                      <a:pt x="74" y="81"/>
                    </a:lnTo>
                    <a:lnTo>
                      <a:pt x="60" y="76"/>
                    </a:lnTo>
                    <a:lnTo>
                      <a:pt x="45" y="70"/>
                    </a:lnTo>
                    <a:lnTo>
                      <a:pt x="31" y="64"/>
                    </a:lnTo>
                    <a:lnTo>
                      <a:pt x="16" y="58"/>
                    </a:lnTo>
                    <a:lnTo>
                      <a:pt x="0" y="50"/>
                    </a:lnTo>
                    <a:lnTo>
                      <a:pt x="6" y="41"/>
                    </a:lnTo>
                    <a:lnTo>
                      <a:pt x="11" y="34"/>
                    </a:lnTo>
                    <a:lnTo>
                      <a:pt x="16" y="28"/>
                    </a:lnTo>
                    <a:lnTo>
                      <a:pt x="21" y="22"/>
                    </a:lnTo>
                    <a:lnTo>
                      <a:pt x="28" y="19"/>
                    </a:lnTo>
                    <a:lnTo>
                      <a:pt x="33" y="15"/>
                    </a:lnTo>
                    <a:lnTo>
                      <a:pt x="40" y="13"/>
                    </a:lnTo>
                    <a:lnTo>
                      <a:pt x="47" y="12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26" name="Freeform 548">
                <a:extLst>
                  <a:ext uri="{FF2B5EF4-FFF2-40B4-BE49-F238E27FC236}">
                    <a16:creationId xmlns="" xmlns:a16="http://schemas.microsoft.com/office/drawing/2014/main" id="{0E3AF658-FC20-43B3-AEB8-032C3DCD30F0}"/>
                  </a:ext>
                </a:extLst>
              </p:cNvPr>
              <p:cNvSpPr>
                <a:spLocks/>
              </p:cNvSpPr>
              <p:nvPr>
                <p:custDataLst>
                  <p:tags r:id="rId379"/>
                </p:custDataLst>
              </p:nvPr>
            </p:nvSpPr>
            <p:spPr bwMode="auto">
              <a:xfrm>
                <a:off x="4903788" y="1447800"/>
                <a:ext cx="107950" cy="60325"/>
              </a:xfrm>
              <a:custGeom>
                <a:avLst/>
                <a:gdLst>
                  <a:gd name="T0" fmla="*/ 2147483646 w 246"/>
                  <a:gd name="T1" fmla="*/ 2147483646 h 42"/>
                  <a:gd name="T2" fmla="*/ 2147483646 w 246"/>
                  <a:gd name="T3" fmla="*/ 2147483646 h 42"/>
                  <a:gd name="T4" fmla="*/ 2147483646 w 246"/>
                  <a:gd name="T5" fmla="*/ 2147483646 h 42"/>
                  <a:gd name="T6" fmla="*/ 2147483646 w 246"/>
                  <a:gd name="T7" fmla="*/ 2147483646 h 42"/>
                  <a:gd name="T8" fmla="*/ 2147483646 w 246"/>
                  <a:gd name="T9" fmla="*/ 2147483646 h 42"/>
                  <a:gd name="T10" fmla="*/ 2147483646 w 246"/>
                  <a:gd name="T11" fmla="*/ 2147483646 h 42"/>
                  <a:gd name="T12" fmla="*/ 2147483646 w 246"/>
                  <a:gd name="T13" fmla="*/ 2147483646 h 42"/>
                  <a:gd name="T14" fmla="*/ 2147483646 w 246"/>
                  <a:gd name="T15" fmla="*/ 2147483646 h 42"/>
                  <a:gd name="T16" fmla="*/ 2147483646 w 246"/>
                  <a:gd name="T17" fmla="*/ 2147483646 h 42"/>
                  <a:gd name="T18" fmla="*/ 2147483646 w 246"/>
                  <a:gd name="T19" fmla="*/ 2147483646 h 42"/>
                  <a:gd name="T20" fmla="*/ 2147483646 w 246"/>
                  <a:gd name="T21" fmla="*/ 2147483646 h 42"/>
                  <a:gd name="T22" fmla="*/ 2147483646 w 246"/>
                  <a:gd name="T23" fmla="*/ 2147483646 h 42"/>
                  <a:gd name="T24" fmla="*/ 2147483646 w 246"/>
                  <a:gd name="T25" fmla="*/ 2147483646 h 42"/>
                  <a:gd name="T26" fmla="*/ 2147483646 w 246"/>
                  <a:gd name="T27" fmla="*/ 2147483646 h 42"/>
                  <a:gd name="T28" fmla="*/ 2147483646 w 246"/>
                  <a:gd name="T29" fmla="*/ 2147483646 h 42"/>
                  <a:gd name="T30" fmla="*/ 2147483646 w 246"/>
                  <a:gd name="T31" fmla="*/ 2147483646 h 42"/>
                  <a:gd name="T32" fmla="*/ 2147483646 w 246"/>
                  <a:gd name="T33" fmla="*/ 2147483646 h 42"/>
                  <a:gd name="T34" fmla="*/ 2147483646 w 246"/>
                  <a:gd name="T35" fmla="*/ 2147483646 h 42"/>
                  <a:gd name="T36" fmla="*/ 2147483646 w 246"/>
                  <a:gd name="T37" fmla="*/ 2147483646 h 42"/>
                  <a:gd name="T38" fmla="*/ 2147483646 w 246"/>
                  <a:gd name="T39" fmla="*/ 2147483646 h 42"/>
                  <a:gd name="T40" fmla="*/ 2147483646 w 246"/>
                  <a:gd name="T41" fmla="*/ 2147483646 h 42"/>
                  <a:gd name="T42" fmla="*/ 2147483646 w 246"/>
                  <a:gd name="T43" fmla="*/ 2147483646 h 42"/>
                  <a:gd name="T44" fmla="*/ 2147483646 w 246"/>
                  <a:gd name="T45" fmla="*/ 2147483646 h 42"/>
                  <a:gd name="T46" fmla="*/ 2147483646 w 246"/>
                  <a:gd name="T47" fmla="*/ 2147483646 h 42"/>
                  <a:gd name="T48" fmla="*/ 2147483646 w 246"/>
                  <a:gd name="T49" fmla="*/ 2147483646 h 42"/>
                  <a:gd name="T50" fmla="*/ 2147483646 w 246"/>
                  <a:gd name="T51" fmla="*/ 2147483646 h 42"/>
                  <a:gd name="T52" fmla="*/ 2147483646 w 246"/>
                  <a:gd name="T53" fmla="*/ 2147483646 h 42"/>
                  <a:gd name="T54" fmla="*/ 2147483646 w 246"/>
                  <a:gd name="T55" fmla="*/ 2147483646 h 42"/>
                  <a:gd name="T56" fmla="*/ 2147483646 w 246"/>
                  <a:gd name="T57" fmla="*/ 2147483646 h 42"/>
                  <a:gd name="T58" fmla="*/ 2147483646 w 246"/>
                  <a:gd name="T59" fmla="*/ 2147483646 h 42"/>
                  <a:gd name="T60" fmla="*/ 2147483646 w 246"/>
                  <a:gd name="T61" fmla="*/ 2147483646 h 42"/>
                  <a:gd name="T62" fmla="*/ 2147483646 w 246"/>
                  <a:gd name="T63" fmla="*/ 2147483646 h 42"/>
                  <a:gd name="T64" fmla="*/ 2147483646 w 246"/>
                  <a:gd name="T65" fmla="*/ 0 h 42"/>
                  <a:gd name="T66" fmla="*/ 2147483646 w 246"/>
                  <a:gd name="T67" fmla="*/ 2147483646 h 42"/>
                  <a:gd name="T68" fmla="*/ 2147483646 w 246"/>
                  <a:gd name="T69" fmla="*/ 2147483646 h 42"/>
                  <a:gd name="T70" fmla="*/ 2147483646 w 246"/>
                  <a:gd name="T71" fmla="*/ 2147483646 h 42"/>
                  <a:gd name="T72" fmla="*/ 2147483646 w 246"/>
                  <a:gd name="T73" fmla="*/ 2147483646 h 42"/>
                  <a:gd name="T74" fmla="*/ 2147483646 w 246"/>
                  <a:gd name="T75" fmla="*/ 2147483646 h 42"/>
                  <a:gd name="T76" fmla="*/ 2147483646 w 246"/>
                  <a:gd name="T77" fmla="*/ 2147483646 h 42"/>
                  <a:gd name="T78" fmla="*/ 2147483646 w 246"/>
                  <a:gd name="T79" fmla="*/ 2147483646 h 42"/>
                  <a:gd name="T80" fmla="*/ 2147483646 w 246"/>
                  <a:gd name="T81" fmla="*/ 2147483646 h 42"/>
                  <a:gd name="T82" fmla="*/ 2147483646 w 246"/>
                  <a:gd name="T83" fmla="*/ 2147483646 h 42"/>
                  <a:gd name="T84" fmla="*/ 2147483646 w 246"/>
                  <a:gd name="T85" fmla="*/ 2147483646 h 42"/>
                  <a:gd name="T86" fmla="*/ 2147483646 w 246"/>
                  <a:gd name="T87" fmla="*/ 2147483646 h 42"/>
                  <a:gd name="T88" fmla="*/ 2147483646 w 246"/>
                  <a:gd name="T89" fmla="*/ 2147483646 h 42"/>
                  <a:gd name="T90" fmla="*/ 2147483646 w 246"/>
                  <a:gd name="T91" fmla="*/ 2147483646 h 42"/>
                  <a:gd name="T92" fmla="*/ 0 w 246"/>
                  <a:gd name="T93" fmla="*/ 2147483646 h 42"/>
                  <a:gd name="T94" fmla="*/ 2147483646 w 246"/>
                  <a:gd name="T95" fmla="*/ 2147483646 h 42"/>
                  <a:gd name="T96" fmla="*/ 2147483646 w 246"/>
                  <a:gd name="T97" fmla="*/ 2147483646 h 42"/>
                  <a:gd name="T98" fmla="*/ 2147483646 w 246"/>
                  <a:gd name="T99" fmla="*/ 2147483646 h 42"/>
                  <a:gd name="T100" fmla="*/ 2147483646 w 246"/>
                  <a:gd name="T101" fmla="*/ 2147483646 h 42"/>
                  <a:gd name="T102" fmla="*/ 2147483646 w 246"/>
                  <a:gd name="T103" fmla="*/ 2147483646 h 42"/>
                  <a:gd name="T104" fmla="*/ 2147483646 w 246"/>
                  <a:gd name="T105" fmla="*/ 2147483646 h 4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46"/>
                  <a:gd name="T160" fmla="*/ 0 h 42"/>
                  <a:gd name="T161" fmla="*/ 246 w 246"/>
                  <a:gd name="T162" fmla="*/ 42 h 42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46" h="42">
                    <a:moveTo>
                      <a:pt x="27" y="36"/>
                    </a:moveTo>
                    <a:lnTo>
                      <a:pt x="36" y="36"/>
                    </a:lnTo>
                    <a:lnTo>
                      <a:pt x="45" y="35"/>
                    </a:lnTo>
                    <a:lnTo>
                      <a:pt x="53" y="33"/>
                    </a:lnTo>
                    <a:lnTo>
                      <a:pt x="59" y="31"/>
                    </a:lnTo>
                    <a:lnTo>
                      <a:pt x="66" y="30"/>
                    </a:lnTo>
                    <a:lnTo>
                      <a:pt x="72" y="29"/>
                    </a:lnTo>
                    <a:lnTo>
                      <a:pt x="80" y="29"/>
                    </a:lnTo>
                    <a:lnTo>
                      <a:pt x="87" y="30"/>
                    </a:lnTo>
                    <a:lnTo>
                      <a:pt x="87" y="42"/>
                    </a:lnTo>
                    <a:lnTo>
                      <a:pt x="154" y="42"/>
                    </a:lnTo>
                    <a:lnTo>
                      <a:pt x="154" y="39"/>
                    </a:lnTo>
                    <a:lnTo>
                      <a:pt x="156" y="36"/>
                    </a:lnTo>
                    <a:lnTo>
                      <a:pt x="159" y="33"/>
                    </a:lnTo>
                    <a:lnTo>
                      <a:pt x="163" y="31"/>
                    </a:lnTo>
                    <a:lnTo>
                      <a:pt x="175" y="26"/>
                    </a:lnTo>
                    <a:lnTo>
                      <a:pt x="190" y="23"/>
                    </a:lnTo>
                    <a:lnTo>
                      <a:pt x="221" y="17"/>
                    </a:lnTo>
                    <a:lnTo>
                      <a:pt x="246" y="12"/>
                    </a:lnTo>
                    <a:lnTo>
                      <a:pt x="212" y="13"/>
                    </a:lnTo>
                    <a:lnTo>
                      <a:pt x="186" y="14"/>
                    </a:lnTo>
                    <a:lnTo>
                      <a:pt x="178" y="15"/>
                    </a:lnTo>
                    <a:lnTo>
                      <a:pt x="171" y="15"/>
                    </a:lnTo>
                    <a:lnTo>
                      <a:pt x="168" y="14"/>
                    </a:lnTo>
                    <a:lnTo>
                      <a:pt x="167" y="12"/>
                    </a:lnTo>
                    <a:lnTo>
                      <a:pt x="159" y="16"/>
                    </a:lnTo>
                    <a:lnTo>
                      <a:pt x="152" y="17"/>
                    </a:lnTo>
                    <a:lnTo>
                      <a:pt x="147" y="17"/>
                    </a:lnTo>
                    <a:lnTo>
                      <a:pt x="141" y="15"/>
                    </a:lnTo>
                    <a:lnTo>
                      <a:pt x="137" y="12"/>
                    </a:lnTo>
                    <a:lnTo>
                      <a:pt x="133" y="9"/>
                    </a:lnTo>
                    <a:lnTo>
                      <a:pt x="129" y="5"/>
                    </a:lnTo>
                    <a:lnTo>
                      <a:pt x="126" y="0"/>
                    </a:lnTo>
                    <a:lnTo>
                      <a:pt x="121" y="2"/>
                    </a:lnTo>
                    <a:lnTo>
                      <a:pt x="113" y="4"/>
                    </a:lnTo>
                    <a:lnTo>
                      <a:pt x="103" y="5"/>
                    </a:lnTo>
                    <a:lnTo>
                      <a:pt x="93" y="5"/>
                    </a:lnTo>
                    <a:lnTo>
                      <a:pt x="74" y="6"/>
                    </a:lnTo>
                    <a:lnTo>
                      <a:pt x="60" y="6"/>
                    </a:lnTo>
                    <a:lnTo>
                      <a:pt x="58" y="9"/>
                    </a:lnTo>
                    <a:lnTo>
                      <a:pt x="56" y="12"/>
                    </a:lnTo>
                    <a:lnTo>
                      <a:pt x="54" y="15"/>
                    </a:lnTo>
                    <a:lnTo>
                      <a:pt x="50" y="17"/>
                    </a:lnTo>
                    <a:lnTo>
                      <a:pt x="42" y="20"/>
                    </a:lnTo>
                    <a:lnTo>
                      <a:pt x="33" y="22"/>
                    </a:lnTo>
                    <a:lnTo>
                      <a:pt x="14" y="24"/>
                    </a:lnTo>
                    <a:lnTo>
                      <a:pt x="0" y="24"/>
                    </a:lnTo>
                    <a:lnTo>
                      <a:pt x="1" y="27"/>
                    </a:lnTo>
                    <a:lnTo>
                      <a:pt x="3" y="29"/>
                    </a:lnTo>
                    <a:lnTo>
                      <a:pt x="5" y="31"/>
                    </a:lnTo>
                    <a:lnTo>
                      <a:pt x="9" y="33"/>
                    </a:lnTo>
                    <a:lnTo>
                      <a:pt x="17" y="35"/>
                    </a:lnTo>
                    <a:lnTo>
                      <a:pt x="27" y="36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27" name="Freeform 549">
                <a:extLst>
                  <a:ext uri="{FF2B5EF4-FFF2-40B4-BE49-F238E27FC236}">
                    <a16:creationId xmlns="" xmlns:a16="http://schemas.microsoft.com/office/drawing/2014/main" id="{90E3D12C-4CAB-4FCF-8C21-A02401B1FDC7}"/>
                  </a:ext>
                </a:extLst>
              </p:cNvPr>
              <p:cNvSpPr>
                <a:spLocks/>
              </p:cNvSpPr>
              <p:nvPr>
                <p:custDataLst>
                  <p:tags r:id="rId380"/>
                </p:custDataLst>
              </p:nvPr>
            </p:nvSpPr>
            <p:spPr bwMode="auto">
              <a:xfrm>
                <a:off x="5046663" y="1430338"/>
                <a:ext cx="63500" cy="57150"/>
              </a:xfrm>
              <a:custGeom>
                <a:avLst/>
                <a:gdLst>
                  <a:gd name="T0" fmla="*/ 2147483646 w 149"/>
                  <a:gd name="T1" fmla="*/ 0 h 61"/>
                  <a:gd name="T2" fmla="*/ 2147483646 w 149"/>
                  <a:gd name="T3" fmla="*/ 2147483646 h 61"/>
                  <a:gd name="T4" fmla="*/ 2147483646 w 149"/>
                  <a:gd name="T5" fmla="*/ 2147483646 h 61"/>
                  <a:gd name="T6" fmla="*/ 2147483646 w 149"/>
                  <a:gd name="T7" fmla="*/ 2147483646 h 61"/>
                  <a:gd name="T8" fmla="*/ 2147483646 w 149"/>
                  <a:gd name="T9" fmla="*/ 2147483646 h 61"/>
                  <a:gd name="T10" fmla="*/ 2147483646 w 149"/>
                  <a:gd name="T11" fmla="*/ 2147483646 h 61"/>
                  <a:gd name="T12" fmla="*/ 2147483646 w 149"/>
                  <a:gd name="T13" fmla="*/ 2147483646 h 61"/>
                  <a:gd name="T14" fmla="*/ 2147483646 w 149"/>
                  <a:gd name="T15" fmla="*/ 2147483646 h 61"/>
                  <a:gd name="T16" fmla="*/ 2147483646 w 149"/>
                  <a:gd name="T17" fmla="*/ 2147483646 h 61"/>
                  <a:gd name="T18" fmla="*/ 2147483646 w 149"/>
                  <a:gd name="T19" fmla="*/ 2147483646 h 61"/>
                  <a:gd name="T20" fmla="*/ 2147483646 w 149"/>
                  <a:gd name="T21" fmla="*/ 2147483646 h 61"/>
                  <a:gd name="T22" fmla="*/ 2147483646 w 149"/>
                  <a:gd name="T23" fmla="*/ 2147483646 h 61"/>
                  <a:gd name="T24" fmla="*/ 2147483646 w 149"/>
                  <a:gd name="T25" fmla="*/ 2147483646 h 61"/>
                  <a:gd name="T26" fmla="*/ 2147483646 w 149"/>
                  <a:gd name="T27" fmla="*/ 2147483646 h 61"/>
                  <a:gd name="T28" fmla="*/ 2147483646 w 149"/>
                  <a:gd name="T29" fmla="*/ 2147483646 h 61"/>
                  <a:gd name="T30" fmla="*/ 2147483646 w 149"/>
                  <a:gd name="T31" fmla="*/ 2147483646 h 61"/>
                  <a:gd name="T32" fmla="*/ 2147483646 w 149"/>
                  <a:gd name="T33" fmla="*/ 2147483646 h 61"/>
                  <a:gd name="T34" fmla="*/ 2147483646 w 149"/>
                  <a:gd name="T35" fmla="*/ 2147483646 h 61"/>
                  <a:gd name="T36" fmla="*/ 2147483646 w 149"/>
                  <a:gd name="T37" fmla="*/ 2147483646 h 61"/>
                  <a:gd name="T38" fmla="*/ 2147483646 w 149"/>
                  <a:gd name="T39" fmla="*/ 2147483646 h 61"/>
                  <a:gd name="T40" fmla="*/ 2147483646 w 149"/>
                  <a:gd name="T41" fmla="*/ 2147483646 h 61"/>
                  <a:gd name="T42" fmla="*/ 2147483646 w 149"/>
                  <a:gd name="T43" fmla="*/ 2147483646 h 61"/>
                  <a:gd name="T44" fmla="*/ 2147483646 w 149"/>
                  <a:gd name="T45" fmla="*/ 2147483646 h 61"/>
                  <a:gd name="T46" fmla="*/ 2147483646 w 149"/>
                  <a:gd name="T47" fmla="*/ 2147483646 h 61"/>
                  <a:gd name="T48" fmla="*/ 2147483646 w 149"/>
                  <a:gd name="T49" fmla="*/ 2147483646 h 61"/>
                  <a:gd name="T50" fmla="*/ 2147483646 w 149"/>
                  <a:gd name="T51" fmla="*/ 2147483646 h 61"/>
                  <a:gd name="T52" fmla="*/ 2147483646 w 149"/>
                  <a:gd name="T53" fmla="*/ 2147483646 h 61"/>
                  <a:gd name="T54" fmla="*/ 2147483646 w 149"/>
                  <a:gd name="T55" fmla="*/ 2147483646 h 61"/>
                  <a:gd name="T56" fmla="*/ 2147483646 w 149"/>
                  <a:gd name="T57" fmla="*/ 2147483646 h 61"/>
                  <a:gd name="T58" fmla="*/ 2147483646 w 149"/>
                  <a:gd name="T59" fmla="*/ 2147483646 h 61"/>
                  <a:gd name="T60" fmla="*/ 2147483646 w 149"/>
                  <a:gd name="T61" fmla="*/ 2147483646 h 61"/>
                  <a:gd name="T62" fmla="*/ 2147483646 w 149"/>
                  <a:gd name="T63" fmla="*/ 2147483646 h 61"/>
                  <a:gd name="T64" fmla="*/ 0 w 149"/>
                  <a:gd name="T65" fmla="*/ 2147483646 h 61"/>
                  <a:gd name="T66" fmla="*/ 0 w 149"/>
                  <a:gd name="T67" fmla="*/ 2147483646 h 61"/>
                  <a:gd name="T68" fmla="*/ 2147483646 w 149"/>
                  <a:gd name="T69" fmla="*/ 2147483646 h 61"/>
                  <a:gd name="T70" fmla="*/ 2147483646 w 149"/>
                  <a:gd name="T71" fmla="*/ 2147483646 h 61"/>
                  <a:gd name="T72" fmla="*/ 2147483646 w 149"/>
                  <a:gd name="T73" fmla="*/ 2147483646 h 61"/>
                  <a:gd name="T74" fmla="*/ 2147483646 w 149"/>
                  <a:gd name="T75" fmla="*/ 2147483646 h 61"/>
                  <a:gd name="T76" fmla="*/ 2147483646 w 149"/>
                  <a:gd name="T77" fmla="*/ 2147483646 h 61"/>
                  <a:gd name="T78" fmla="*/ 2147483646 w 149"/>
                  <a:gd name="T79" fmla="*/ 2147483646 h 61"/>
                  <a:gd name="T80" fmla="*/ 2147483646 w 149"/>
                  <a:gd name="T81" fmla="*/ 2147483646 h 61"/>
                  <a:gd name="T82" fmla="*/ 2147483646 w 149"/>
                  <a:gd name="T83" fmla="*/ 2147483646 h 61"/>
                  <a:gd name="T84" fmla="*/ 2147483646 w 149"/>
                  <a:gd name="T85" fmla="*/ 0 h 61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9"/>
                  <a:gd name="T130" fmla="*/ 0 h 61"/>
                  <a:gd name="T131" fmla="*/ 149 w 149"/>
                  <a:gd name="T132" fmla="*/ 61 h 61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9" h="61">
                    <a:moveTo>
                      <a:pt x="103" y="0"/>
                    </a:moveTo>
                    <a:lnTo>
                      <a:pt x="118" y="1"/>
                    </a:lnTo>
                    <a:lnTo>
                      <a:pt x="134" y="3"/>
                    </a:lnTo>
                    <a:lnTo>
                      <a:pt x="145" y="5"/>
                    </a:lnTo>
                    <a:lnTo>
                      <a:pt x="149" y="6"/>
                    </a:lnTo>
                    <a:lnTo>
                      <a:pt x="149" y="8"/>
                    </a:lnTo>
                    <a:lnTo>
                      <a:pt x="147" y="10"/>
                    </a:lnTo>
                    <a:lnTo>
                      <a:pt x="145" y="12"/>
                    </a:lnTo>
                    <a:lnTo>
                      <a:pt x="141" y="13"/>
                    </a:lnTo>
                    <a:lnTo>
                      <a:pt x="137" y="14"/>
                    </a:lnTo>
                    <a:lnTo>
                      <a:pt x="132" y="14"/>
                    </a:lnTo>
                    <a:lnTo>
                      <a:pt x="127" y="14"/>
                    </a:lnTo>
                    <a:lnTo>
                      <a:pt x="123" y="12"/>
                    </a:lnTo>
                    <a:lnTo>
                      <a:pt x="123" y="23"/>
                    </a:lnTo>
                    <a:lnTo>
                      <a:pt x="123" y="33"/>
                    </a:lnTo>
                    <a:lnTo>
                      <a:pt x="123" y="41"/>
                    </a:lnTo>
                    <a:lnTo>
                      <a:pt x="123" y="49"/>
                    </a:lnTo>
                    <a:lnTo>
                      <a:pt x="116" y="50"/>
                    </a:lnTo>
                    <a:lnTo>
                      <a:pt x="109" y="51"/>
                    </a:lnTo>
                    <a:lnTo>
                      <a:pt x="104" y="53"/>
                    </a:lnTo>
                    <a:lnTo>
                      <a:pt x="100" y="55"/>
                    </a:lnTo>
                    <a:lnTo>
                      <a:pt x="94" y="57"/>
                    </a:lnTo>
                    <a:lnTo>
                      <a:pt x="89" y="59"/>
                    </a:lnTo>
                    <a:lnTo>
                      <a:pt x="83" y="61"/>
                    </a:lnTo>
                    <a:lnTo>
                      <a:pt x="76" y="61"/>
                    </a:lnTo>
                    <a:lnTo>
                      <a:pt x="67" y="60"/>
                    </a:lnTo>
                    <a:lnTo>
                      <a:pt x="53" y="57"/>
                    </a:lnTo>
                    <a:lnTo>
                      <a:pt x="39" y="54"/>
                    </a:lnTo>
                    <a:lnTo>
                      <a:pt x="25" y="49"/>
                    </a:lnTo>
                    <a:lnTo>
                      <a:pt x="12" y="45"/>
                    </a:lnTo>
                    <a:lnTo>
                      <a:pt x="3" y="41"/>
                    </a:lnTo>
                    <a:lnTo>
                      <a:pt x="1" y="39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3" y="37"/>
                    </a:lnTo>
                    <a:lnTo>
                      <a:pt x="19" y="36"/>
                    </a:lnTo>
                    <a:lnTo>
                      <a:pt x="35" y="35"/>
                    </a:lnTo>
                    <a:lnTo>
                      <a:pt x="48" y="32"/>
                    </a:lnTo>
                    <a:lnTo>
                      <a:pt x="60" y="27"/>
                    </a:lnTo>
                    <a:lnTo>
                      <a:pt x="72" y="22"/>
                    </a:lnTo>
                    <a:lnTo>
                      <a:pt x="82" y="16"/>
                    </a:lnTo>
                    <a:lnTo>
                      <a:pt x="93" y="8"/>
                    </a:lnTo>
                    <a:lnTo>
                      <a:pt x="103" y="0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28" name="Freeform 550">
                <a:extLst>
                  <a:ext uri="{FF2B5EF4-FFF2-40B4-BE49-F238E27FC236}">
                    <a16:creationId xmlns="" xmlns:a16="http://schemas.microsoft.com/office/drawing/2014/main" id="{565C944C-AE51-41CC-BCD8-88AF4C1FEFF7}"/>
                  </a:ext>
                </a:extLst>
              </p:cNvPr>
              <p:cNvSpPr>
                <a:spLocks/>
              </p:cNvSpPr>
              <p:nvPr>
                <p:custDataLst>
                  <p:tags r:id="rId381"/>
                </p:custDataLst>
              </p:nvPr>
            </p:nvSpPr>
            <p:spPr bwMode="auto">
              <a:xfrm>
                <a:off x="5083175" y="1438275"/>
                <a:ext cx="130175" cy="57150"/>
              </a:xfrm>
              <a:custGeom>
                <a:avLst/>
                <a:gdLst>
                  <a:gd name="T0" fmla="*/ 2147483646 w 299"/>
                  <a:gd name="T1" fmla="*/ 2147483646 h 74"/>
                  <a:gd name="T2" fmla="*/ 2147483646 w 299"/>
                  <a:gd name="T3" fmla="*/ 2147483646 h 74"/>
                  <a:gd name="T4" fmla="*/ 2147483646 w 299"/>
                  <a:gd name="T5" fmla="*/ 2147483646 h 74"/>
                  <a:gd name="T6" fmla="*/ 2147483646 w 299"/>
                  <a:gd name="T7" fmla="*/ 2147483646 h 74"/>
                  <a:gd name="T8" fmla="*/ 2147483646 w 299"/>
                  <a:gd name="T9" fmla="*/ 2147483646 h 74"/>
                  <a:gd name="T10" fmla="*/ 2147483646 w 299"/>
                  <a:gd name="T11" fmla="*/ 2147483646 h 74"/>
                  <a:gd name="T12" fmla="*/ 2147483646 w 299"/>
                  <a:gd name="T13" fmla="*/ 2147483646 h 74"/>
                  <a:gd name="T14" fmla="*/ 2147483646 w 299"/>
                  <a:gd name="T15" fmla="*/ 2147483646 h 74"/>
                  <a:gd name="T16" fmla="*/ 2147483646 w 299"/>
                  <a:gd name="T17" fmla="*/ 2147483646 h 74"/>
                  <a:gd name="T18" fmla="*/ 2147483646 w 299"/>
                  <a:gd name="T19" fmla="*/ 2147483646 h 74"/>
                  <a:gd name="T20" fmla="*/ 2147483646 w 299"/>
                  <a:gd name="T21" fmla="*/ 2147483646 h 74"/>
                  <a:gd name="T22" fmla="*/ 2147483646 w 299"/>
                  <a:gd name="T23" fmla="*/ 2147483646 h 74"/>
                  <a:gd name="T24" fmla="*/ 2147483646 w 299"/>
                  <a:gd name="T25" fmla="*/ 2147483646 h 74"/>
                  <a:gd name="T26" fmla="*/ 2147483646 w 299"/>
                  <a:gd name="T27" fmla="*/ 2147483646 h 74"/>
                  <a:gd name="T28" fmla="*/ 2147483646 w 299"/>
                  <a:gd name="T29" fmla="*/ 2147483646 h 74"/>
                  <a:gd name="T30" fmla="*/ 2147483646 w 299"/>
                  <a:gd name="T31" fmla="*/ 2147483646 h 74"/>
                  <a:gd name="T32" fmla="*/ 2147483646 w 299"/>
                  <a:gd name="T33" fmla="*/ 2147483646 h 74"/>
                  <a:gd name="T34" fmla="*/ 2147483646 w 299"/>
                  <a:gd name="T35" fmla="*/ 2147483646 h 74"/>
                  <a:gd name="T36" fmla="*/ 2147483646 w 299"/>
                  <a:gd name="T37" fmla="*/ 2147483646 h 74"/>
                  <a:gd name="T38" fmla="*/ 2147483646 w 299"/>
                  <a:gd name="T39" fmla="*/ 2147483646 h 74"/>
                  <a:gd name="T40" fmla="*/ 2147483646 w 299"/>
                  <a:gd name="T41" fmla="*/ 2147483646 h 74"/>
                  <a:gd name="T42" fmla="*/ 2147483646 w 299"/>
                  <a:gd name="T43" fmla="*/ 2147483646 h 74"/>
                  <a:gd name="T44" fmla="*/ 2147483646 w 299"/>
                  <a:gd name="T45" fmla="*/ 0 h 74"/>
                  <a:gd name="T46" fmla="*/ 2147483646 w 299"/>
                  <a:gd name="T47" fmla="*/ 2147483646 h 74"/>
                  <a:gd name="T48" fmla="*/ 2147483646 w 299"/>
                  <a:gd name="T49" fmla="*/ 2147483646 h 74"/>
                  <a:gd name="T50" fmla="*/ 2147483646 w 299"/>
                  <a:gd name="T51" fmla="*/ 2147483646 h 74"/>
                  <a:gd name="T52" fmla="*/ 2147483646 w 299"/>
                  <a:gd name="T53" fmla="*/ 2147483646 h 74"/>
                  <a:gd name="T54" fmla="*/ 2147483646 w 299"/>
                  <a:gd name="T55" fmla="*/ 2147483646 h 74"/>
                  <a:gd name="T56" fmla="*/ 2147483646 w 299"/>
                  <a:gd name="T57" fmla="*/ 2147483646 h 74"/>
                  <a:gd name="T58" fmla="*/ 2147483646 w 299"/>
                  <a:gd name="T59" fmla="*/ 2147483646 h 74"/>
                  <a:gd name="T60" fmla="*/ 2147483646 w 299"/>
                  <a:gd name="T61" fmla="*/ 2147483646 h 74"/>
                  <a:gd name="T62" fmla="*/ 2147483646 w 299"/>
                  <a:gd name="T63" fmla="*/ 2147483646 h 74"/>
                  <a:gd name="T64" fmla="*/ 2147483646 w 299"/>
                  <a:gd name="T65" fmla="*/ 2147483646 h 74"/>
                  <a:gd name="T66" fmla="*/ 2147483646 w 299"/>
                  <a:gd name="T67" fmla="*/ 2147483646 h 74"/>
                  <a:gd name="T68" fmla="*/ 2147483646 w 299"/>
                  <a:gd name="T69" fmla="*/ 2147483646 h 74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299"/>
                  <a:gd name="T106" fmla="*/ 0 h 74"/>
                  <a:gd name="T107" fmla="*/ 299 w 299"/>
                  <a:gd name="T108" fmla="*/ 74 h 74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299" h="74">
                    <a:moveTo>
                      <a:pt x="126" y="74"/>
                    </a:moveTo>
                    <a:lnTo>
                      <a:pt x="133" y="72"/>
                    </a:lnTo>
                    <a:lnTo>
                      <a:pt x="142" y="69"/>
                    </a:lnTo>
                    <a:lnTo>
                      <a:pt x="154" y="65"/>
                    </a:lnTo>
                    <a:lnTo>
                      <a:pt x="166" y="60"/>
                    </a:lnTo>
                    <a:lnTo>
                      <a:pt x="178" y="54"/>
                    </a:lnTo>
                    <a:lnTo>
                      <a:pt x="189" y="48"/>
                    </a:lnTo>
                    <a:lnTo>
                      <a:pt x="199" y="42"/>
                    </a:lnTo>
                    <a:lnTo>
                      <a:pt x="205" y="37"/>
                    </a:lnTo>
                    <a:lnTo>
                      <a:pt x="207" y="40"/>
                    </a:lnTo>
                    <a:lnTo>
                      <a:pt x="209" y="43"/>
                    </a:lnTo>
                    <a:lnTo>
                      <a:pt x="211" y="46"/>
                    </a:lnTo>
                    <a:lnTo>
                      <a:pt x="214" y="48"/>
                    </a:lnTo>
                    <a:lnTo>
                      <a:pt x="220" y="51"/>
                    </a:lnTo>
                    <a:lnTo>
                      <a:pt x="227" y="53"/>
                    </a:lnTo>
                    <a:lnTo>
                      <a:pt x="243" y="55"/>
                    </a:lnTo>
                    <a:lnTo>
                      <a:pt x="259" y="55"/>
                    </a:lnTo>
                    <a:lnTo>
                      <a:pt x="269" y="55"/>
                    </a:lnTo>
                    <a:lnTo>
                      <a:pt x="278" y="55"/>
                    </a:lnTo>
                    <a:lnTo>
                      <a:pt x="286" y="55"/>
                    </a:lnTo>
                    <a:lnTo>
                      <a:pt x="292" y="55"/>
                    </a:lnTo>
                    <a:lnTo>
                      <a:pt x="293" y="46"/>
                    </a:lnTo>
                    <a:lnTo>
                      <a:pt x="295" y="38"/>
                    </a:lnTo>
                    <a:lnTo>
                      <a:pt x="298" y="31"/>
                    </a:lnTo>
                    <a:lnTo>
                      <a:pt x="299" y="25"/>
                    </a:lnTo>
                    <a:lnTo>
                      <a:pt x="279" y="25"/>
                    </a:lnTo>
                    <a:lnTo>
                      <a:pt x="260" y="25"/>
                    </a:lnTo>
                    <a:lnTo>
                      <a:pt x="244" y="25"/>
                    </a:lnTo>
                    <a:lnTo>
                      <a:pt x="232" y="25"/>
                    </a:lnTo>
                    <a:lnTo>
                      <a:pt x="225" y="25"/>
                    </a:lnTo>
                    <a:lnTo>
                      <a:pt x="220" y="26"/>
                    </a:lnTo>
                    <a:lnTo>
                      <a:pt x="214" y="27"/>
                    </a:lnTo>
                    <a:lnTo>
                      <a:pt x="211" y="29"/>
                    </a:lnTo>
                    <a:lnTo>
                      <a:pt x="204" y="33"/>
                    </a:lnTo>
                    <a:lnTo>
                      <a:pt x="199" y="37"/>
                    </a:lnTo>
                    <a:lnTo>
                      <a:pt x="172" y="37"/>
                    </a:lnTo>
                    <a:lnTo>
                      <a:pt x="174" y="32"/>
                    </a:lnTo>
                    <a:lnTo>
                      <a:pt x="176" y="28"/>
                    </a:lnTo>
                    <a:lnTo>
                      <a:pt x="178" y="24"/>
                    </a:lnTo>
                    <a:lnTo>
                      <a:pt x="180" y="21"/>
                    </a:lnTo>
                    <a:lnTo>
                      <a:pt x="187" y="16"/>
                    </a:lnTo>
                    <a:lnTo>
                      <a:pt x="194" y="13"/>
                    </a:lnTo>
                    <a:lnTo>
                      <a:pt x="202" y="11"/>
                    </a:lnTo>
                    <a:lnTo>
                      <a:pt x="210" y="9"/>
                    </a:lnTo>
                    <a:lnTo>
                      <a:pt x="217" y="5"/>
                    </a:lnTo>
                    <a:lnTo>
                      <a:pt x="225" y="0"/>
                    </a:lnTo>
                    <a:lnTo>
                      <a:pt x="199" y="0"/>
                    </a:lnTo>
                    <a:lnTo>
                      <a:pt x="185" y="3"/>
                    </a:lnTo>
                    <a:lnTo>
                      <a:pt x="170" y="7"/>
                    </a:lnTo>
                    <a:lnTo>
                      <a:pt x="157" y="11"/>
                    </a:lnTo>
                    <a:lnTo>
                      <a:pt x="145" y="18"/>
                    </a:lnTo>
                    <a:lnTo>
                      <a:pt x="134" y="25"/>
                    </a:lnTo>
                    <a:lnTo>
                      <a:pt x="123" y="32"/>
                    </a:lnTo>
                    <a:lnTo>
                      <a:pt x="114" y="40"/>
                    </a:lnTo>
                    <a:lnTo>
                      <a:pt x="105" y="49"/>
                    </a:lnTo>
                    <a:lnTo>
                      <a:pt x="100" y="53"/>
                    </a:lnTo>
                    <a:lnTo>
                      <a:pt x="95" y="56"/>
                    </a:lnTo>
                    <a:lnTo>
                      <a:pt x="87" y="59"/>
                    </a:lnTo>
                    <a:lnTo>
                      <a:pt x="80" y="61"/>
                    </a:lnTo>
                    <a:lnTo>
                      <a:pt x="64" y="63"/>
                    </a:lnTo>
                    <a:lnTo>
                      <a:pt x="47" y="64"/>
                    </a:lnTo>
                    <a:lnTo>
                      <a:pt x="32" y="64"/>
                    </a:lnTo>
                    <a:lnTo>
                      <a:pt x="18" y="65"/>
                    </a:lnTo>
                    <a:lnTo>
                      <a:pt x="12" y="67"/>
                    </a:lnTo>
                    <a:lnTo>
                      <a:pt x="7" y="68"/>
                    </a:lnTo>
                    <a:lnTo>
                      <a:pt x="2" y="70"/>
                    </a:lnTo>
                    <a:lnTo>
                      <a:pt x="0" y="74"/>
                    </a:lnTo>
                    <a:lnTo>
                      <a:pt x="39" y="74"/>
                    </a:lnTo>
                    <a:lnTo>
                      <a:pt x="73" y="74"/>
                    </a:lnTo>
                    <a:lnTo>
                      <a:pt x="102" y="74"/>
                    </a:lnTo>
                    <a:lnTo>
                      <a:pt x="126" y="74"/>
                    </a:lnTo>
                  </a:path>
                </a:pathLst>
              </a:custGeom>
              <a:solidFill>
                <a:srgbClr val="FFFFFF">
                  <a:lumMod val="75000"/>
                </a:srgb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2231" name="1023 Arco">
              <a:extLst>
                <a:ext uri="{FF2B5EF4-FFF2-40B4-BE49-F238E27FC236}">
                  <a16:creationId xmlns="" xmlns:a16="http://schemas.microsoft.com/office/drawing/2014/main" id="{F1159A2A-5223-417D-8C53-1AA30F52B447}"/>
                </a:ext>
              </a:extLst>
            </p:cNvPr>
            <p:cNvSpPr/>
            <p:nvPr/>
          </p:nvSpPr>
          <p:spPr>
            <a:xfrm rot="8267390" flipH="1">
              <a:off x="803545" y="1414145"/>
              <a:ext cx="1597327" cy="3609399"/>
            </a:xfrm>
            <a:prstGeom prst="arc">
              <a:avLst>
                <a:gd name="adj1" fmla="val 16295787"/>
                <a:gd name="adj2" fmla="val 20719809"/>
              </a:avLst>
            </a:prstGeom>
            <a:ln w="25400">
              <a:prstDash val="sysDash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AR"/>
            </a:p>
          </p:txBody>
        </p:sp>
        <p:sp>
          <p:nvSpPr>
            <p:cNvPr id="5" name="Arco 4">
              <a:extLst>
                <a:ext uri="{FF2B5EF4-FFF2-40B4-BE49-F238E27FC236}">
                  <a16:creationId xmlns="" xmlns:a16="http://schemas.microsoft.com/office/drawing/2014/main" id="{D36B5A19-5E86-42A9-A5EC-86CC8D93E365}"/>
                </a:ext>
              </a:extLst>
            </p:cNvPr>
            <p:cNvSpPr/>
            <p:nvPr/>
          </p:nvSpPr>
          <p:spPr>
            <a:xfrm flipH="1">
              <a:off x="3022112" y="2249885"/>
              <a:ext cx="2666264" cy="4392000"/>
            </a:xfrm>
            <a:prstGeom prst="arc">
              <a:avLst/>
            </a:prstGeom>
            <a:ln w="25400">
              <a:prstDash val="sysDash"/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234" name="Arco 2233">
              <a:extLst>
                <a:ext uri="{FF2B5EF4-FFF2-40B4-BE49-F238E27FC236}">
                  <a16:creationId xmlns="" xmlns:a16="http://schemas.microsoft.com/office/drawing/2014/main" id="{309AC834-A21B-4EC7-A580-1FD5C73C52A3}"/>
                </a:ext>
              </a:extLst>
            </p:cNvPr>
            <p:cNvSpPr/>
            <p:nvPr/>
          </p:nvSpPr>
          <p:spPr>
            <a:xfrm flipH="1">
              <a:off x="3010785" y="2906528"/>
              <a:ext cx="5044241" cy="3420000"/>
            </a:xfrm>
            <a:prstGeom prst="arc">
              <a:avLst/>
            </a:prstGeom>
            <a:ln w="25400">
              <a:prstDash val="sysDash"/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" name="Arco 5">
              <a:extLst>
                <a:ext uri="{FF2B5EF4-FFF2-40B4-BE49-F238E27FC236}">
                  <a16:creationId xmlns="" xmlns:a16="http://schemas.microsoft.com/office/drawing/2014/main" id="{A271DA5B-4786-4665-871B-BD6DDE42CD53}"/>
                </a:ext>
              </a:extLst>
            </p:cNvPr>
            <p:cNvSpPr/>
            <p:nvPr/>
          </p:nvSpPr>
          <p:spPr>
            <a:xfrm flipV="1">
              <a:off x="-804856" y="1529586"/>
              <a:ext cx="7733943" cy="2856419"/>
            </a:xfrm>
            <a:prstGeom prst="arc">
              <a:avLst/>
            </a:prstGeom>
            <a:ln w="25400"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237" name="Shape 96">
              <a:extLst>
                <a:ext uri="{FF2B5EF4-FFF2-40B4-BE49-F238E27FC236}">
                  <a16:creationId xmlns="" xmlns:a16="http://schemas.microsoft.com/office/drawing/2014/main" id="{053C8792-3764-4BFD-84DC-79032B87E363}"/>
                </a:ext>
              </a:extLst>
            </p:cNvPr>
            <p:cNvSpPr txBox="1"/>
            <p:nvPr/>
          </p:nvSpPr>
          <p:spPr>
            <a:xfrm>
              <a:off x="6326001" y="2174566"/>
              <a:ext cx="1634566" cy="3214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ct val="25000"/>
                <a:buFont typeface="Arial"/>
                <a:buNone/>
              </a:pPr>
              <a:r>
                <a:rPr lang="es-ES" sz="1200" b="1" i="0" u="none" strike="noStrike" cap="none" dirty="0">
                  <a:solidFill>
                    <a:schemeClr val="accent1">
                      <a:lumMod val="50000"/>
                    </a:schemeClr>
                  </a:solidFill>
                  <a:latin typeface="Montserrat"/>
                  <a:ea typeface="Montserrat"/>
                  <a:cs typeface="Montserrat"/>
                  <a:sym typeface="Montserrat"/>
                </a:rPr>
                <a:t>China</a:t>
              </a:r>
              <a:endParaRPr lang="es" sz="1200" b="1" i="0" u="none" strike="noStrike" cap="none" dirty="0">
                <a:solidFill>
                  <a:schemeClr val="accent1">
                    <a:lumMod val="50000"/>
                  </a:schemeClr>
                </a:solidFill>
                <a:latin typeface="Montserrat"/>
                <a:ea typeface="Montserrat"/>
                <a:cs typeface="Montserrat"/>
                <a:sym typeface="Montserrat"/>
              </a:endParaRPr>
            </a:p>
          </p:txBody>
        </p:sp>
        <p:sp>
          <p:nvSpPr>
            <p:cNvPr id="2239" name="Shape 96">
              <a:extLst>
                <a:ext uri="{FF2B5EF4-FFF2-40B4-BE49-F238E27FC236}">
                  <a16:creationId xmlns="" xmlns:a16="http://schemas.microsoft.com/office/drawing/2014/main" id="{23B37575-CFCB-4C3C-B4AF-4D16926C23D9}"/>
                </a:ext>
              </a:extLst>
            </p:cNvPr>
            <p:cNvSpPr txBox="1"/>
            <p:nvPr/>
          </p:nvSpPr>
          <p:spPr>
            <a:xfrm>
              <a:off x="4571313" y="2931453"/>
              <a:ext cx="2162700" cy="3214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ct val="25000"/>
                <a:buFont typeface="Arial"/>
                <a:buNone/>
              </a:pPr>
              <a:r>
                <a:rPr lang="es-ES" sz="1200" b="1" i="0" u="none" strike="noStrike" cap="none" dirty="0">
                  <a:solidFill>
                    <a:schemeClr val="accent1">
                      <a:lumMod val="50000"/>
                    </a:schemeClr>
                  </a:solidFill>
                  <a:latin typeface="Montserrat"/>
                  <a:ea typeface="Montserrat"/>
                  <a:cs typeface="Montserrat"/>
                  <a:sym typeface="Montserrat"/>
                </a:rPr>
                <a:t>Emiratos </a:t>
              </a:r>
              <a:r>
                <a:rPr lang="es-ES" sz="1200" b="1" dirty="0">
                  <a:solidFill>
                    <a:schemeClr val="accent1">
                      <a:lumMod val="50000"/>
                    </a:schemeClr>
                  </a:solidFill>
                  <a:latin typeface="Montserrat"/>
                  <a:ea typeface="Montserrat"/>
                  <a:cs typeface="Montserrat"/>
                  <a:sym typeface="Montserrat"/>
                </a:rPr>
                <a:t>Árabes </a:t>
              </a:r>
              <a:r>
                <a:rPr lang="es-ES" sz="1200" b="1" i="0" u="none" strike="noStrike" cap="none" dirty="0">
                  <a:solidFill>
                    <a:schemeClr val="accent1">
                      <a:lumMod val="50000"/>
                    </a:schemeClr>
                  </a:solidFill>
                  <a:latin typeface="Montserrat"/>
                  <a:ea typeface="Montserrat"/>
                  <a:cs typeface="Montserrat"/>
                  <a:sym typeface="Montserrat"/>
                </a:rPr>
                <a:t>Unidos</a:t>
              </a:r>
              <a:endParaRPr lang="es" sz="1200" b="1" i="0" u="none" strike="noStrike" cap="none" dirty="0">
                <a:solidFill>
                  <a:schemeClr val="accent1">
                    <a:lumMod val="50000"/>
                  </a:schemeClr>
                </a:solidFill>
                <a:latin typeface="Montserrat"/>
                <a:ea typeface="Montserrat"/>
                <a:cs typeface="Montserrat"/>
                <a:sym typeface="Montserrat"/>
              </a:endParaRPr>
            </a:p>
          </p:txBody>
        </p:sp>
        <p:sp>
          <p:nvSpPr>
            <p:cNvPr id="2241" name="Shape 96">
              <a:extLst>
                <a:ext uri="{FF2B5EF4-FFF2-40B4-BE49-F238E27FC236}">
                  <a16:creationId xmlns="" xmlns:a16="http://schemas.microsoft.com/office/drawing/2014/main" id="{13799843-1C56-46A1-B725-B4EF9154A928}"/>
                </a:ext>
              </a:extLst>
            </p:cNvPr>
            <p:cNvSpPr txBox="1"/>
            <p:nvPr/>
          </p:nvSpPr>
          <p:spPr>
            <a:xfrm>
              <a:off x="4154959" y="1682753"/>
              <a:ext cx="1634566" cy="3214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ct val="25000"/>
                <a:buFont typeface="Arial"/>
                <a:buNone/>
              </a:pPr>
              <a:r>
                <a:rPr lang="es-ES" sz="1200" b="1" i="0" u="none" strike="noStrike" cap="none" dirty="0">
                  <a:solidFill>
                    <a:schemeClr val="accent1">
                      <a:lumMod val="50000"/>
                    </a:schemeClr>
                  </a:solidFill>
                  <a:latin typeface="Montserrat"/>
                  <a:ea typeface="Montserrat"/>
                  <a:cs typeface="Montserrat"/>
                  <a:sym typeface="Montserrat"/>
                </a:rPr>
                <a:t>Bélgica</a:t>
              </a:r>
              <a:endParaRPr lang="es" sz="1200" b="1" i="0" u="none" strike="noStrike" cap="none" dirty="0">
                <a:solidFill>
                  <a:schemeClr val="accent1">
                    <a:lumMod val="50000"/>
                  </a:schemeClr>
                </a:solidFill>
                <a:latin typeface="Montserrat"/>
                <a:ea typeface="Montserrat"/>
                <a:cs typeface="Montserrat"/>
                <a:sym typeface="Montserrat"/>
              </a:endParaRPr>
            </a:p>
          </p:txBody>
        </p:sp>
        <p:sp>
          <p:nvSpPr>
            <p:cNvPr id="2243" name="Shape 96">
              <a:extLst>
                <a:ext uri="{FF2B5EF4-FFF2-40B4-BE49-F238E27FC236}">
                  <a16:creationId xmlns="" xmlns:a16="http://schemas.microsoft.com/office/drawing/2014/main" id="{E23D9702-DF6E-4C6D-8697-5D93B3C8FA99}"/>
                </a:ext>
              </a:extLst>
            </p:cNvPr>
            <p:cNvSpPr txBox="1"/>
            <p:nvPr/>
          </p:nvSpPr>
          <p:spPr>
            <a:xfrm>
              <a:off x="7177539" y="2624933"/>
              <a:ext cx="1634566" cy="3214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0" indent="0">
                <a:buClr>
                  <a:schemeClr val="dk1"/>
                </a:buClr>
                <a:buSzPct val="25000"/>
                <a:buFont typeface="Arial"/>
                <a:defRPr sz="900" b="1">
                  <a:solidFill>
                    <a:schemeClr val="accent1">
                      <a:lumMod val="75000"/>
                    </a:schemeClr>
                  </a:solidFill>
                  <a:latin typeface="Montserrat"/>
                  <a:ea typeface="Montserrat"/>
                  <a:cs typeface="Montserrat"/>
                </a:defRPr>
              </a:lvl1pPr>
            </a:lstStyle>
            <a:p>
              <a:r>
                <a:rPr lang="es-ES" sz="1200" dirty="0">
                  <a:sym typeface="Montserrat"/>
                </a:rPr>
                <a:t>Shanghái</a:t>
              </a:r>
              <a:endParaRPr lang="es" sz="1200" dirty="0">
                <a:sym typeface="Montserrat"/>
              </a:endParaRPr>
            </a:p>
          </p:txBody>
        </p:sp>
        <p:pic>
          <p:nvPicPr>
            <p:cNvPr id="2246" name="Imagen 2245">
              <a:extLst>
                <a:ext uri="{FF2B5EF4-FFF2-40B4-BE49-F238E27FC236}">
                  <a16:creationId xmlns="" xmlns:a16="http://schemas.microsoft.com/office/drawing/2014/main" id="{CB183E06-6255-4A98-A02A-86A3DA746E2D}"/>
                </a:ext>
              </a:extLst>
            </p:cNvPr>
            <p:cNvPicPr>
              <a:picLocks noChangeAspect="1"/>
            </p:cNvPicPr>
            <p:nvPr/>
          </p:nvPicPr>
          <p:blipFill>
            <a:blip r:embed="rId384"/>
            <a:stretch>
              <a:fillRect/>
            </a:stretch>
          </p:blipFill>
          <p:spPr>
            <a:xfrm>
              <a:off x="7088199" y="2655206"/>
              <a:ext cx="144000" cy="144000"/>
            </a:xfrm>
            <a:prstGeom prst="rect">
              <a:avLst/>
            </a:prstGeom>
          </p:spPr>
        </p:pic>
        <p:sp>
          <p:nvSpPr>
            <p:cNvPr id="2250" name="Shape 96">
              <a:extLst>
                <a:ext uri="{FF2B5EF4-FFF2-40B4-BE49-F238E27FC236}">
                  <a16:creationId xmlns="" xmlns:a16="http://schemas.microsoft.com/office/drawing/2014/main" id="{7E4B8719-1AE2-4D29-ADCE-C61227FE66E4}"/>
                </a:ext>
              </a:extLst>
            </p:cNvPr>
            <p:cNvSpPr txBox="1"/>
            <p:nvPr/>
          </p:nvSpPr>
          <p:spPr>
            <a:xfrm>
              <a:off x="5516247" y="3111492"/>
              <a:ext cx="526015" cy="248247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>
                <a:defRPr sz="900" b="1">
                  <a:solidFill>
                    <a:schemeClr val="accent1">
                      <a:lumMod val="75000"/>
                    </a:schemeClr>
                  </a:solidFill>
                  <a:latin typeface="Montserrat" panose="020B0604020202020204" charset="0"/>
                </a:defRPr>
              </a:lvl1pPr>
            </a:lstStyle>
            <a:p>
              <a:r>
                <a:rPr lang="es-ES" sz="1200" dirty="0">
                  <a:sym typeface="Montserrat"/>
                </a:rPr>
                <a:t>Dubái</a:t>
              </a:r>
              <a:endParaRPr lang="es" sz="1200" dirty="0">
                <a:sym typeface="Montserrat"/>
              </a:endParaRPr>
            </a:p>
          </p:txBody>
        </p:sp>
        <p:pic>
          <p:nvPicPr>
            <p:cNvPr id="2251" name="Imagen 2250">
              <a:extLst>
                <a:ext uri="{FF2B5EF4-FFF2-40B4-BE49-F238E27FC236}">
                  <a16:creationId xmlns="" xmlns:a16="http://schemas.microsoft.com/office/drawing/2014/main" id="{AE5C615B-B5AD-444E-B023-92387DF8D643}"/>
                </a:ext>
              </a:extLst>
            </p:cNvPr>
            <p:cNvPicPr>
              <a:picLocks noChangeAspect="1"/>
            </p:cNvPicPr>
            <p:nvPr/>
          </p:nvPicPr>
          <p:blipFill>
            <a:blip r:embed="rId384"/>
            <a:stretch>
              <a:fillRect/>
            </a:stretch>
          </p:blipFill>
          <p:spPr>
            <a:xfrm>
              <a:off x="6954001" y="2851225"/>
              <a:ext cx="144000" cy="144000"/>
            </a:xfrm>
            <a:prstGeom prst="rect">
              <a:avLst/>
            </a:prstGeom>
          </p:spPr>
        </p:pic>
        <p:sp>
          <p:nvSpPr>
            <p:cNvPr id="2252" name="Shape 96">
              <a:extLst>
                <a:ext uri="{FF2B5EF4-FFF2-40B4-BE49-F238E27FC236}">
                  <a16:creationId xmlns="" xmlns:a16="http://schemas.microsoft.com/office/drawing/2014/main" id="{7446A9DA-169B-4FEB-A7FE-F4C26F2BA0E0}"/>
                </a:ext>
              </a:extLst>
            </p:cNvPr>
            <p:cNvSpPr txBox="1"/>
            <p:nvPr/>
          </p:nvSpPr>
          <p:spPr>
            <a:xfrm>
              <a:off x="6977191" y="3002313"/>
              <a:ext cx="849531" cy="248247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>
                <a:defRPr sz="900" b="1">
                  <a:solidFill>
                    <a:schemeClr val="accent1">
                      <a:lumMod val="75000"/>
                    </a:schemeClr>
                  </a:solidFill>
                  <a:latin typeface="Montserrat" panose="020B0604020202020204" charset="0"/>
                </a:defRPr>
              </a:lvl1pPr>
            </a:lstStyle>
            <a:p>
              <a:r>
                <a:rPr lang="es-ES" sz="1200" dirty="0">
                  <a:sym typeface="Montserrat"/>
                </a:rPr>
                <a:t>Guangzhou</a:t>
              </a:r>
              <a:endParaRPr lang="es" sz="1200" dirty="0">
                <a:sym typeface="Montserrat"/>
              </a:endParaRPr>
            </a:p>
          </p:txBody>
        </p:sp>
        <p:sp>
          <p:nvSpPr>
            <p:cNvPr id="14" name="Rectángulo 13">
              <a:extLst>
                <a:ext uri="{FF2B5EF4-FFF2-40B4-BE49-F238E27FC236}">
                  <a16:creationId xmlns="" xmlns:a16="http://schemas.microsoft.com/office/drawing/2014/main" id="{EC27949C-194B-40DD-8706-F3899C4F7E78}"/>
                </a:ext>
              </a:extLst>
            </p:cNvPr>
            <p:cNvSpPr/>
            <p:nvPr/>
          </p:nvSpPr>
          <p:spPr>
            <a:xfrm>
              <a:off x="4148057" y="1855233"/>
              <a:ext cx="738697" cy="24824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s-ES" sz="1200" b="1" dirty="0">
                  <a:solidFill>
                    <a:schemeClr val="accent1">
                      <a:lumMod val="75000"/>
                    </a:schemeClr>
                  </a:solidFill>
                  <a:latin typeface="Montserrat" panose="020B0604020202020204" charset="0"/>
                </a:rPr>
                <a:t>Amberes </a:t>
              </a:r>
            </a:p>
          </p:txBody>
        </p:sp>
        <p:sp>
          <p:nvSpPr>
            <p:cNvPr id="2229" name="Shape 96">
              <a:extLst>
                <a:ext uri="{FF2B5EF4-FFF2-40B4-BE49-F238E27FC236}">
                  <a16:creationId xmlns="" xmlns:a16="http://schemas.microsoft.com/office/drawing/2014/main" id="{5C0F8C80-D313-4D8F-84DB-25848E8B6D0C}"/>
                </a:ext>
              </a:extLst>
            </p:cNvPr>
            <p:cNvSpPr txBox="1"/>
            <p:nvPr/>
          </p:nvSpPr>
          <p:spPr>
            <a:xfrm>
              <a:off x="1579196" y="2074501"/>
              <a:ext cx="1634566" cy="3214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ct val="25000"/>
                <a:buFont typeface="Arial"/>
                <a:buNone/>
              </a:pPr>
              <a:r>
                <a:rPr lang="es-ES" sz="1200" b="1" i="0" u="none" strike="noStrike" cap="none" dirty="0">
                  <a:solidFill>
                    <a:schemeClr val="accent1">
                      <a:lumMod val="50000"/>
                    </a:schemeClr>
                  </a:solidFill>
                  <a:latin typeface="Montserrat"/>
                  <a:ea typeface="Montserrat"/>
                  <a:cs typeface="Montserrat"/>
                  <a:sym typeface="Montserrat"/>
                </a:rPr>
                <a:t>Estados Unidos</a:t>
              </a:r>
              <a:endParaRPr lang="es" sz="1200" b="1" i="0" u="none" strike="noStrike" cap="none" dirty="0">
                <a:solidFill>
                  <a:schemeClr val="accent1">
                    <a:lumMod val="50000"/>
                  </a:schemeClr>
                </a:solidFill>
                <a:latin typeface="Montserrat"/>
                <a:ea typeface="Montserrat"/>
                <a:cs typeface="Montserrat"/>
                <a:sym typeface="Montserrat"/>
              </a:endParaRPr>
            </a:p>
          </p:txBody>
        </p:sp>
      </p:grpSp>
      <p:pic>
        <p:nvPicPr>
          <p:cNvPr id="2808" name="Imagen 2807">
            <a:extLst>
              <a:ext uri="{FF2B5EF4-FFF2-40B4-BE49-F238E27FC236}">
                <a16:creationId xmlns="" xmlns:a16="http://schemas.microsoft.com/office/drawing/2014/main" id="{C8AFE58D-BA7B-41BF-98BD-043DAB6F1E4C}"/>
              </a:ext>
            </a:extLst>
          </p:cNvPr>
          <p:cNvPicPr>
            <a:picLocks noChangeAspect="1"/>
          </p:cNvPicPr>
          <p:nvPr/>
        </p:nvPicPr>
        <p:blipFill>
          <a:blip r:embed="rId384"/>
          <a:stretch>
            <a:fillRect/>
          </a:stretch>
        </p:blipFill>
        <p:spPr>
          <a:xfrm>
            <a:off x="794440" y="792281"/>
            <a:ext cx="154118" cy="160678"/>
          </a:xfrm>
          <a:prstGeom prst="rect">
            <a:avLst/>
          </a:prstGeom>
        </p:spPr>
      </p:pic>
      <p:sp>
        <p:nvSpPr>
          <p:cNvPr id="2809" name="Rectángulo 2808">
            <a:extLst>
              <a:ext uri="{FF2B5EF4-FFF2-40B4-BE49-F238E27FC236}">
                <a16:creationId xmlns="" xmlns:a16="http://schemas.microsoft.com/office/drawing/2014/main" id="{4897A7C6-C34D-496D-961C-7BF7BC257C9D}"/>
              </a:ext>
            </a:extLst>
          </p:cNvPr>
          <p:cNvSpPr/>
          <p:nvPr/>
        </p:nvSpPr>
        <p:spPr>
          <a:xfrm>
            <a:off x="2468699" y="2523118"/>
            <a:ext cx="59663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ES" sz="1200" b="1" dirty="0">
                <a:solidFill>
                  <a:schemeClr val="accent1">
                    <a:lumMod val="75000"/>
                  </a:schemeClr>
                </a:solidFill>
                <a:latin typeface="Montserrat" panose="020B0604020202020204" charset="0"/>
              </a:rPr>
              <a:t>Miami</a:t>
            </a:r>
          </a:p>
        </p:txBody>
      </p:sp>
      <p:pic>
        <p:nvPicPr>
          <p:cNvPr id="2811" name="Imagen 2810">
            <a:extLst>
              <a:ext uri="{FF2B5EF4-FFF2-40B4-BE49-F238E27FC236}">
                <a16:creationId xmlns="" xmlns:a16="http://schemas.microsoft.com/office/drawing/2014/main" id="{930E0A4A-5A53-47E1-A77C-0451267A471B}"/>
              </a:ext>
            </a:extLst>
          </p:cNvPr>
          <p:cNvPicPr>
            <a:picLocks noChangeAspect="1"/>
          </p:cNvPicPr>
          <p:nvPr/>
        </p:nvPicPr>
        <p:blipFill>
          <a:blip r:embed="rId384"/>
          <a:stretch>
            <a:fillRect/>
          </a:stretch>
        </p:blipFill>
        <p:spPr>
          <a:xfrm>
            <a:off x="5769897" y="2582184"/>
            <a:ext cx="154118" cy="160678"/>
          </a:xfrm>
          <a:prstGeom prst="rect">
            <a:avLst/>
          </a:prstGeom>
        </p:spPr>
      </p:pic>
      <p:pic>
        <p:nvPicPr>
          <p:cNvPr id="2812" name="Imagen 2811">
            <a:extLst>
              <a:ext uri="{FF2B5EF4-FFF2-40B4-BE49-F238E27FC236}">
                <a16:creationId xmlns="" xmlns:a16="http://schemas.microsoft.com/office/drawing/2014/main" id="{0017E2B4-F6AE-4F5E-8C0E-15850A8B483A}"/>
              </a:ext>
            </a:extLst>
          </p:cNvPr>
          <p:cNvPicPr>
            <a:picLocks noChangeAspect="1"/>
          </p:cNvPicPr>
          <p:nvPr/>
        </p:nvPicPr>
        <p:blipFill>
          <a:blip r:embed="rId384"/>
          <a:stretch>
            <a:fillRect/>
          </a:stretch>
        </p:blipFill>
        <p:spPr>
          <a:xfrm>
            <a:off x="4547831" y="1724708"/>
            <a:ext cx="154118" cy="160678"/>
          </a:xfrm>
          <a:prstGeom prst="rect">
            <a:avLst/>
          </a:prstGeom>
        </p:spPr>
      </p:pic>
      <p:pic>
        <p:nvPicPr>
          <p:cNvPr id="601" name="Imagen 600">
            <a:extLst>
              <a:ext uri="{FF2B5EF4-FFF2-40B4-BE49-F238E27FC236}">
                <a16:creationId xmlns="" xmlns:a16="http://schemas.microsoft.com/office/drawing/2014/main" id="{411CEB5C-9964-4A17-91F4-DCA5B9B7352B}"/>
              </a:ext>
            </a:extLst>
          </p:cNvPr>
          <p:cNvPicPr>
            <a:picLocks noChangeAspect="1"/>
          </p:cNvPicPr>
          <p:nvPr/>
        </p:nvPicPr>
        <p:blipFill>
          <a:blip r:embed="rId384"/>
          <a:stretch>
            <a:fillRect/>
          </a:stretch>
        </p:blipFill>
        <p:spPr>
          <a:xfrm>
            <a:off x="2274898" y="3025447"/>
            <a:ext cx="154118" cy="160678"/>
          </a:xfrm>
          <a:prstGeom prst="rect">
            <a:avLst/>
          </a:prstGeom>
        </p:spPr>
      </p:pic>
      <p:sp>
        <p:nvSpPr>
          <p:cNvPr id="602" name="Rectángulo 601">
            <a:extLst>
              <a:ext uri="{FF2B5EF4-FFF2-40B4-BE49-F238E27FC236}">
                <a16:creationId xmlns="" xmlns:a16="http://schemas.microsoft.com/office/drawing/2014/main" id="{DEAD53AB-E93D-4DDC-81E9-3AB21157C656}"/>
              </a:ext>
            </a:extLst>
          </p:cNvPr>
          <p:cNvSpPr/>
          <p:nvPr/>
        </p:nvSpPr>
        <p:spPr>
          <a:xfrm>
            <a:off x="1820447" y="3192197"/>
            <a:ext cx="5549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ES" sz="1200" b="1" dirty="0">
                <a:solidFill>
                  <a:schemeClr val="accent1">
                    <a:lumMod val="75000"/>
                  </a:schemeClr>
                </a:solidFill>
                <a:latin typeface="Montserrat" panose="020B0604020202020204" charset="0"/>
              </a:rPr>
              <a:t>Colón</a:t>
            </a:r>
          </a:p>
        </p:txBody>
      </p:sp>
      <p:sp>
        <p:nvSpPr>
          <p:cNvPr id="603" name="Shape 96">
            <a:extLst>
              <a:ext uri="{FF2B5EF4-FFF2-40B4-BE49-F238E27FC236}">
                <a16:creationId xmlns="" xmlns:a16="http://schemas.microsoft.com/office/drawing/2014/main" id="{FB873DBE-2BA7-419B-92AC-8E6F8774F5B2}"/>
              </a:ext>
            </a:extLst>
          </p:cNvPr>
          <p:cNvSpPr txBox="1"/>
          <p:nvPr/>
        </p:nvSpPr>
        <p:spPr>
          <a:xfrm>
            <a:off x="1487173" y="2982071"/>
            <a:ext cx="1749419" cy="358694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r>
              <a:rPr lang="es-ES" sz="1200" b="1" dirty="0">
                <a:solidFill>
                  <a:schemeClr val="accent1">
                    <a:lumMod val="50000"/>
                  </a:schemeClr>
                </a:solidFill>
                <a:latin typeface="Montserrat"/>
                <a:ea typeface="Montserrat"/>
                <a:cs typeface="Montserrat"/>
                <a:sym typeface="Montserrat"/>
              </a:rPr>
              <a:t>Panamá</a:t>
            </a:r>
            <a:endParaRPr lang="es" sz="1200" b="1" i="0" u="none" strike="noStrike" cap="none" dirty="0">
              <a:solidFill>
                <a:schemeClr val="accent1">
                  <a:lumMod val="50000"/>
                </a:schemeClr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604" name="1023 Arco">
            <a:extLst>
              <a:ext uri="{FF2B5EF4-FFF2-40B4-BE49-F238E27FC236}">
                <a16:creationId xmlns="" xmlns:a16="http://schemas.microsoft.com/office/drawing/2014/main" id="{E36B12B0-D0F8-4311-A133-E86D33BC6C00}"/>
              </a:ext>
            </a:extLst>
          </p:cNvPr>
          <p:cNvSpPr/>
          <p:nvPr/>
        </p:nvSpPr>
        <p:spPr>
          <a:xfrm rot="6820596" flipH="1">
            <a:off x="1088853" y="2560628"/>
            <a:ext cx="1500878" cy="2604398"/>
          </a:xfrm>
          <a:prstGeom prst="arc">
            <a:avLst>
              <a:gd name="adj1" fmla="val 16295787"/>
              <a:gd name="adj2" fmla="val 20719809"/>
            </a:avLst>
          </a:prstGeom>
          <a:ln w="25400">
            <a:prstDash val="sys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605" name="Shape 96">
            <a:extLst>
              <a:ext uri="{FF2B5EF4-FFF2-40B4-BE49-F238E27FC236}">
                <a16:creationId xmlns="" xmlns:a16="http://schemas.microsoft.com/office/drawing/2014/main" id="{357C0F61-76F2-473B-AAB0-9AEFBA1B3BAE}"/>
              </a:ext>
            </a:extLst>
          </p:cNvPr>
          <p:cNvSpPr txBox="1"/>
          <p:nvPr/>
        </p:nvSpPr>
        <p:spPr>
          <a:xfrm>
            <a:off x="3524579" y="3479164"/>
            <a:ext cx="1749419" cy="358694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r>
              <a:rPr lang="es-ES" sz="1200" b="1" dirty="0">
                <a:solidFill>
                  <a:schemeClr val="accent1">
                    <a:lumMod val="50000"/>
                  </a:schemeClr>
                </a:solidFill>
                <a:latin typeface="Montserrat"/>
                <a:ea typeface="Montserrat"/>
                <a:cs typeface="Montserrat"/>
                <a:sym typeface="Montserrat"/>
              </a:rPr>
              <a:t>Brasil</a:t>
            </a:r>
            <a:endParaRPr lang="es" sz="1200" b="1" i="0" u="none" strike="noStrike" cap="none" dirty="0">
              <a:solidFill>
                <a:schemeClr val="accent1">
                  <a:lumMod val="50000"/>
                </a:schemeClr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607" name="Rectángulo 606">
            <a:extLst>
              <a:ext uri="{FF2B5EF4-FFF2-40B4-BE49-F238E27FC236}">
                <a16:creationId xmlns="" xmlns:a16="http://schemas.microsoft.com/office/drawing/2014/main" id="{DC361AF6-CA23-4EC3-BD07-41ECC15F94FA}"/>
              </a:ext>
            </a:extLst>
          </p:cNvPr>
          <p:cNvSpPr/>
          <p:nvPr/>
        </p:nvSpPr>
        <p:spPr>
          <a:xfrm>
            <a:off x="3522241" y="3693077"/>
            <a:ext cx="5757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ES" sz="1200" b="1" dirty="0">
                <a:solidFill>
                  <a:schemeClr val="accent1">
                    <a:lumMod val="75000"/>
                  </a:schemeClr>
                </a:solidFill>
                <a:latin typeface="Montserrat" panose="020B0604020202020204" charset="0"/>
              </a:rPr>
              <a:t>Recife</a:t>
            </a:r>
          </a:p>
        </p:txBody>
      </p:sp>
      <p:pic>
        <p:nvPicPr>
          <p:cNvPr id="608" name="Imagen 607">
            <a:extLst>
              <a:ext uri="{FF2B5EF4-FFF2-40B4-BE49-F238E27FC236}">
                <a16:creationId xmlns="" xmlns:a16="http://schemas.microsoft.com/office/drawing/2014/main" id="{533F3F7D-E9E1-454B-995B-60A1025602F8}"/>
              </a:ext>
            </a:extLst>
          </p:cNvPr>
          <p:cNvPicPr>
            <a:picLocks noChangeAspect="1"/>
          </p:cNvPicPr>
          <p:nvPr/>
        </p:nvPicPr>
        <p:blipFill>
          <a:blip r:embed="rId384"/>
          <a:stretch>
            <a:fillRect/>
          </a:stretch>
        </p:blipFill>
        <p:spPr>
          <a:xfrm>
            <a:off x="6893367" y="3186348"/>
            <a:ext cx="154118" cy="160678"/>
          </a:xfrm>
          <a:prstGeom prst="rect">
            <a:avLst/>
          </a:prstGeom>
        </p:spPr>
      </p:pic>
      <p:sp>
        <p:nvSpPr>
          <p:cNvPr id="610" name="Shape 96">
            <a:extLst>
              <a:ext uri="{FF2B5EF4-FFF2-40B4-BE49-F238E27FC236}">
                <a16:creationId xmlns="" xmlns:a16="http://schemas.microsoft.com/office/drawing/2014/main" id="{442E1508-0DBB-4ADF-891A-2725342B82B4}"/>
              </a:ext>
            </a:extLst>
          </p:cNvPr>
          <p:cNvSpPr txBox="1"/>
          <p:nvPr/>
        </p:nvSpPr>
        <p:spPr>
          <a:xfrm>
            <a:off x="6901342" y="3256605"/>
            <a:ext cx="1749418" cy="358694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r>
              <a:rPr lang="es-ES" sz="1200" b="1" i="0" u="none" strike="noStrike" cap="none" dirty="0">
                <a:solidFill>
                  <a:schemeClr val="accent1">
                    <a:lumMod val="50000"/>
                  </a:schemeClr>
                </a:solidFill>
                <a:latin typeface="Montserrat"/>
                <a:ea typeface="Montserrat"/>
                <a:cs typeface="Montserrat"/>
                <a:sym typeface="Montserrat"/>
              </a:rPr>
              <a:t>Singapur</a:t>
            </a:r>
            <a:endParaRPr lang="es" sz="1200" b="1" i="0" u="none" strike="noStrike" cap="none" dirty="0">
              <a:solidFill>
                <a:schemeClr val="accent1">
                  <a:lumMod val="50000"/>
                </a:schemeClr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611" name="Arco 610">
            <a:extLst>
              <a:ext uri="{FF2B5EF4-FFF2-40B4-BE49-F238E27FC236}">
                <a16:creationId xmlns="" xmlns:a16="http://schemas.microsoft.com/office/drawing/2014/main" id="{C0ACD846-76FD-4131-80F5-D8E4E8D57DD1}"/>
              </a:ext>
            </a:extLst>
          </p:cNvPr>
          <p:cNvSpPr/>
          <p:nvPr/>
        </p:nvSpPr>
        <p:spPr>
          <a:xfrm flipV="1">
            <a:off x="-1003852" y="2391359"/>
            <a:ext cx="7958075" cy="1932513"/>
          </a:xfrm>
          <a:prstGeom prst="arc">
            <a:avLst/>
          </a:prstGeom>
          <a:ln w="254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92" name="Rectángulo 4"/>
          <p:cNvSpPr/>
          <p:nvPr/>
        </p:nvSpPr>
        <p:spPr>
          <a:xfrm>
            <a:off x="2030" y="811"/>
            <a:ext cx="9144000" cy="685009"/>
          </a:xfrm>
          <a:prstGeom prst="rect">
            <a:avLst/>
          </a:prstGeom>
          <a:solidFill>
            <a:srgbClr val="0075B2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s-ES" sz="1800" b="0" i="0" u="none" strike="noStrike" kern="1200" cap="none" spc="0" baseline="0">
              <a:solidFill>
                <a:srgbClr val="5B9BD5"/>
              </a:solidFill>
              <a:uFillTx/>
              <a:latin typeface="Calibri"/>
            </a:endParaRPr>
          </a:p>
        </p:txBody>
      </p:sp>
      <p:pic>
        <p:nvPicPr>
          <p:cNvPr id="593" name="Imagen 592"/>
          <p:cNvPicPr>
            <a:picLocks noChangeAspect="1"/>
          </p:cNvPicPr>
          <p:nvPr/>
        </p:nvPicPr>
        <p:blipFill>
          <a:blip r:embed="rId385"/>
          <a:stretch>
            <a:fillRect/>
          </a:stretch>
        </p:blipFill>
        <p:spPr>
          <a:xfrm>
            <a:off x="7015722" y="152719"/>
            <a:ext cx="1746737" cy="388035"/>
          </a:xfrm>
          <a:prstGeom prst="rect">
            <a:avLst/>
          </a:prstGeom>
        </p:spPr>
      </p:pic>
      <p:sp>
        <p:nvSpPr>
          <p:cNvPr id="594" name="Shape 184"/>
          <p:cNvSpPr txBox="1"/>
          <p:nvPr/>
        </p:nvSpPr>
        <p:spPr>
          <a:xfrm>
            <a:off x="565177" y="115645"/>
            <a:ext cx="4298133" cy="254399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-ES" sz="1000" b="0" i="0" u="none" strike="noStrike" cap="none" dirty="0">
                <a:solidFill>
                  <a:schemeClr val="bg1"/>
                </a:solidFill>
                <a:latin typeface="Panton" charset="0"/>
                <a:ea typeface="Panton" charset="0"/>
                <a:cs typeface="Panton" charset="0"/>
                <a:sym typeface="Montserrat"/>
              </a:rPr>
              <a:t>PROGRAMA DE ACCESO A HUBS LOGÍSTICOS</a:t>
            </a:r>
            <a:endParaRPr lang="es" sz="1000" b="0" i="0" u="none" strike="noStrike" cap="none" dirty="0">
              <a:solidFill>
                <a:schemeClr val="bg1"/>
              </a:solidFill>
              <a:latin typeface="Panton" charset="0"/>
              <a:ea typeface="Panton" charset="0"/>
              <a:cs typeface="Panton" charset="0"/>
              <a:sym typeface="Montserra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 b="0" i="0" u="none" strike="noStrike" cap="none" dirty="0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  <p:sp>
        <p:nvSpPr>
          <p:cNvPr id="595" name="Shape 185"/>
          <p:cNvSpPr txBox="1"/>
          <p:nvPr/>
        </p:nvSpPr>
        <p:spPr>
          <a:xfrm>
            <a:off x="556864" y="253858"/>
            <a:ext cx="6835181" cy="331727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-ES" sz="2000" b="1" dirty="0">
                <a:solidFill>
                  <a:schemeClr val="bg1"/>
                </a:solidFill>
                <a:latin typeface="Panton ExtraBold" charset="0"/>
                <a:ea typeface="Panton ExtraBold" charset="0"/>
                <a:cs typeface="Panton ExtraBold" charset="0"/>
                <a:sym typeface="Montserrat Black"/>
              </a:rPr>
              <a:t>DESTINOS ESTRATÉGICOS</a:t>
            </a:r>
            <a:endParaRPr lang="es" sz="2000" b="1" u="none" strike="noStrike" cap="none" dirty="0">
              <a:solidFill>
                <a:schemeClr val="bg1"/>
              </a:solidFill>
              <a:latin typeface="Panton ExtraBold" charset="0"/>
              <a:ea typeface="Panton ExtraBold" charset="0"/>
              <a:cs typeface="Panton ExtraBold" charset="0"/>
              <a:sym typeface="Montserrat Black"/>
            </a:endParaRPr>
          </a:p>
        </p:txBody>
      </p:sp>
      <p:pic>
        <p:nvPicPr>
          <p:cNvPr id="587" name="Imagen 586">
            <a:extLst>
              <a:ext uri="{FF2B5EF4-FFF2-40B4-BE49-F238E27FC236}">
                <a16:creationId xmlns="" xmlns:a16="http://schemas.microsoft.com/office/drawing/2014/main" id="{E4FC4D22-2549-41A3-9CD7-0FF2AAE09895}"/>
              </a:ext>
            </a:extLst>
          </p:cNvPr>
          <p:cNvPicPr>
            <a:picLocks noChangeAspect="1"/>
          </p:cNvPicPr>
          <p:nvPr/>
        </p:nvPicPr>
        <p:blipFill>
          <a:blip r:embed="rId384"/>
          <a:stretch>
            <a:fillRect/>
          </a:stretch>
        </p:blipFill>
        <p:spPr>
          <a:xfrm>
            <a:off x="7271219" y="2095171"/>
            <a:ext cx="154118" cy="160678"/>
          </a:xfrm>
          <a:prstGeom prst="rect">
            <a:avLst/>
          </a:prstGeom>
        </p:spPr>
      </p:pic>
      <p:sp>
        <p:nvSpPr>
          <p:cNvPr id="588" name="Shape 96">
            <a:extLst>
              <a:ext uri="{FF2B5EF4-FFF2-40B4-BE49-F238E27FC236}">
                <a16:creationId xmlns="" xmlns:a16="http://schemas.microsoft.com/office/drawing/2014/main" id="{0C767EAD-F5E3-4F1A-879B-0A01392AF509}"/>
              </a:ext>
            </a:extLst>
          </p:cNvPr>
          <p:cNvSpPr txBox="1"/>
          <p:nvPr/>
        </p:nvSpPr>
        <p:spPr>
          <a:xfrm>
            <a:off x="7500525" y="2091145"/>
            <a:ext cx="1749418" cy="358694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>
              <a:buClr>
                <a:schemeClr val="dk1"/>
              </a:buClr>
              <a:buSzPct val="25000"/>
              <a:buFont typeface="Arial"/>
              <a:defRPr sz="900" b="1">
                <a:solidFill>
                  <a:schemeClr val="accent1">
                    <a:lumMod val="75000"/>
                  </a:schemeClr>
                </a:solidFill>
                <a:latin typeface="Montserrat"/>
                <a:ea typeface="Montserrat"/>
                <a:cs typeface="Montserrat"/>
              </a:defRPr>
            </a:lvl1pPr>
          </a:lstStyle>
          <a:p>
            <a:r>
              <a:rPr lang="es-ES" sz="1200" dirty="0">
                <a:sym typeface="Montserrat"/>
              </a:rPr>
              <a:t>Tianjin</a:t>
            </a:r>
            <a:endParaRPr lang="es" sz="1200" dirty="0">
              <a:sym typeface="Montserrat"/>
            </a:endParaRPr>
          </a:p>
        </p:txBody>
      </p:sp>
      <p:pic>
        <p:nvPicPr>
          <p:cNvPr id="8" name="Gráfico 7" descr="Marcador">
            <a:extLst>
              <a:ext uri="{FF2B5EF4-FFF2-40B4-BE49-F238E27FC236}">
                <a16:creationId xmlns="" xmlns:a16="http://schemas.microsoft.com/office/drawing/2014/main" id="{3749A674-FF99-4157-B4DB-393CEE616CF7}"/>
              </a:ext>
            </a:extLst>
          </p:cNvPr>
          <p:cNvPicPr>
            <a:picLocks noChangeAspect="1"/>
          </p:cNvPicPr>
          <p:nvPr/>
        </p:nvPicPr>
        <p:blipFill>
          <a:blip r:embed="rId386">
            <a:extLst>
              <a:ext uri="{96DAC541-7B7A-43D3-8B79-37D633B846F1}">
                <asvg:svgBlip xmlns:asvg="http://schemas.microsoft.com/office/drawing/2016/SVG/main" xmlns="" r:embed="rId387"/>
              </a:ext>
            </a:extLst>
          </a:blip>
          <a:stretch>
            <a:fillRect/>
          </a:stretch>
        </p:blipFill>
        <p:spPr>
          <a:xfrm>
            <a:off x="3387735" y="3570368"/>
            <a:ext cx="273278" cy="213555"/>
          </a:xfrm>
          <a:prstGeom prst="rect">
            <a:avLst/>
          </a:prstGeom>
        </p:spPr>
      </p:pic>
      <p:pic>
        <p:nvPicPr>
          <p:cNvPr id="1177" name="Gráfico 1176" descr="Marcador">
            <a:extLst>
              <a:ext uri="{FF2B5EF4-FFF2-40B4-BE49-F238E27FC236}">
                <a16:creationId xmlns="" xmlns:a16="http://schemas.microsoft.com/office/drawing/2014/main" id="{96C542A1-2F8F-4037-ADEA-C6B25C9B2029}"/>
              </a:ext>
            </a:extLst>
          </p:cNvPr>
          <p:cNvPicPr>
            <a:picLocks noChangeAspect="1"/>
          </p:cNvPicPr>
          <p:nvPr/>
        </p:nvPicPr>
        <p:blipFill>
          <a:blip r:embed="rId388">
            <a:extLst>
              <a:ext uri="{96DAC541-7B7A-43D3-8B79-37D633B846F1}">
                <asvg:svgBlip xmlns:asvg="http://schemas.microsoft.com/office/drawing/2016/SVG/main" xmlns="" r:embed="rId389"/>
              </a:ext>
            </a:extLst>
          </a:blip>
          <a:stretch>
            <a:fillRect/>
          </a:stretch>
        </p:blipFill>
        <p:spPr>
          <a:xfrm>
            <a:off x="722576" y="1021972"/>
            <a:ext cx="307078" cy="239968"/>
          </a:xfrm>
          <a:prstGeom prst="rect">
            <a:avLst/>
          </a:prstGeom>
        </p:spPr>
      </p:pic>
      <p:sp>
        <p:nvSpPr>
          <p:cNvPr id="1178" name="Shape 96">
            <a:extLst>
              <a:ext uri="{FF2B5EF4-FFF2-40B4-BE49-F238E27FC236}">
                <a16:creationId xmlns="" xmlns:a16="http://schemas.microsoft.com/office/drawing/2014/main" id="{B85A2C40-AFBF-4862-A748-EE67A47EEE43}"/>
              </a:ext>
            </a:extLst>
          </p:cNvPr>
          <p:cNvSpPr txBox="1"/>
          <p:nvPr/>
        </p:nvSpPr>
        <p:spPr>
          <a:xfrm>
            <a:off x="910784" y="964997"/>
            <a:ext cx="1749419" cy="358694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r>
              <a:rPr lang="es-ES" sz="1200" b="1" dirty="0">
                <a:solidFill>
                  <a:schemeClr val="tx2">
                    <a:lumMod val="50000"/>
                  </a:schemeClr>
                </a:solidFill>
                <a:latin typeface="Montserrat"/>
                <a:ea typeface="Montserrat"/>
                <a:cs typeface="Montserrat"/>
                <a:sym typeface="Montserrat"/>
              </a:rPr>
              <a:t>En negociación</a:t>
            </a:r>
            <a:endParaRPr lang="es" sz="1200" b="1" i="0" u="none" strike="noStrike" cap="none" dirty="0">
              <a:solidFill>
                <a:schemeClr val="tx2">
                  <a:lumMod val="50000"/>
                </a:schemeClr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1179" name="Gráfico 1178" descr="Marcador">
            <a:extLst>
              <a:ext uri="{FF2B5EF4-FFF2-40B4-BE49-F238E27FC236}">
                <a16:creationId xmlns="" xmlns:a16="http://schemas.microsoft.com/office/drawing/2014/main" id="{A232E4E4-01EC-405D-B693-AA6688641504}"/>
              </a:ext>
            </a:extLst>
          </p:cNvPr>
          <p:cNvPicPr>
            <a:picLocks noChangeAspect="1"/>
          </p:cNvPicPr>
          <p:nvPr/>
        </p:nvPicPr>
        <p:blipFill>
          <a:blip r:embed="rId388">
            <a:extLst>
              <a:ext uri="{96DAC541-7B7A-43D3-8B79-37D633B846F1}">
                <asvg:svgBlip xmlns:asvg="http://schemas.microsoft.com/office/drawing/2016/SVG/main" xmlns="" r:embed="rId389"/>
              </a:ext>
            </a:extLst>
          </a:blip>
          <a:stretch>
            <a:fillRect/>
          </a:stretch>
        </p:blipFill>
        <p:spPr>
          <a:xfrm>
            <a:off x="2306758" y="2443004"/>
            <a:ext cx="273278" cy="213555"/>
          </a:xfrm>
          <a:prstGeom prst="rect">
            <a:avLst/>
          </a:prstGeom>
        </p:spPr>
      </p:pic>
      <p:sp>
        <p:nvSpPr>
          <p:cNvPr id="1180" name="Shape 96">
            <a:extLst>
              <a:ext uri="{FF2B5EF4-FFF2-40B4-BE49-F238E27FC236}">
                <a16:creationId xmlns="" xmlns:a16="http://schemas.microsoft.com/office/drawing/2014/main" id="{28FE22C4-A116-4B54-A279-3C2E0642B1CE}"/>
              </a:ext>
            </a:extLst>
          </p:cNvPr>
          <p:cNvSpPr txBox="1"/>
          <p:nvPr/>
        </p:nvSpPr>
        <p:spPr>
          <a:xfrm>
            <a:off x="923615" y="719599"/>
            <a:ext cx="1749419" cy="358694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r>
              <a:rPr lang="es-ES" sz="1200" b="1" dirty="0" err="1">
                <a:solidFill>
                  <a:schemeClr val="tx2">
                    <a:lumMod val="50000"/>
                  </a:schemeClr>
                </a:solidFill>
                <a:latin typeface="Montserrat"/>
                <a:ea typeface="Montserrat"/>
                <a:cs typeface="Montserrat"/>
                <a:sym typeface="Montserrat"/>
              </a:rPr>
              <a:t>Hubs</a:t>
            </a:r>
            <a:r>
              <a:rPr lang="es-ES" sz="1200" b="1" dirty="0">
                <a:solidFill>
                  <a:schemeClr val="tx2">
                    <a:lumMod val="50000"/>
                  </a:schemeClr>
                </a:solidFill>
                <a:latin typeface="Montserrat"/>
                <a:ea typeface="Montserrat"/>
                <a:cs typeface="Montserrat"/>
                <a:sym typeface="Montserrat"/>
              </a:rPr>
              <a:t> operativos</a:t>
            </a:r>
            <a:endParaRPr lang="es" sz="1200" b="1" i="0" u="none" strike="noStrike" cap="none" dirty="0">
              <a:solidFill>
                <a:schemeClr val="tx2">
                  <a:lumMod val="50000"/>
                </a:schemeClr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1181" name="Gráfico 1180" descr="Marcador">
            <a:extLst>
              <a:ext uri="{FF2B5EF4-FFF2-40B4-BE49-F238E27FC236}">
                <a16:creationId xmlns="" xmlns:a16="http://schemas.microsoft.com/office/drawing/2014/main" id="{C8339307-15A6-42E4-B45D-3E99BED7B6F7}"/>
              </a:ext>
            </a:extLst>
          </p:cNvPr>
          <p:cNvPicPr>
            <a:picLocks noChangeAspect="1"/>
          </p:cNvPicPr>
          <p:nvPr/>
        </p:nvPicPr>
        <p:blipFill>
          <a:blip r:embed="rId386">
            <a:extLst>
              <a:ext uri="{96DAC541-7B7A-43D3-8B79-37D633B846F1}">
                <asvg:svgBlip xmlns:asvg="http://schemas.microsoft.com/office/drawing/2016/SVG/main" xmlns="" r:embed="rId387"/>
              </a:ext>
            </a:extLst>
          </a:blip>
          <a:stretch>
            <a:fillRect/>
          </a:stretch>
        </p:blipFill>
        <p:spPr>
          <a:xfrm>
            <a:off x="3109818" y="4066083"/>
            <a:ext cx="273278" cy="213555"/>
          </a:xfrm>
          <a:prstGeom prst="rect">
            <a:avLst/>
          </a:prstGeom>
        </p:spPr>
      </p:pic>
      <p:sp>
        <p:nvSpPr>
          <p:cNvPr id="1182" name="Rectángulo 1181">
            <a:extLst>
              <a:ext uri="{FF2B5EF4-FFF2-40B4-BE49-F238E27FC236}">
                <a16:creationId xmlns="" xmlns:a16="http://schemas.microsoft.com/office/drawing/2014/main" id="{D5903979-43B3-45AB-8E70-3588CDFD2403}"/>
              </a:ext>
            </a:extLst>
          </p:cNvPr>
          <p:cNvSpPr/>
          <p:nvPr/>
        </p:nvSpPr>
        <p:spPr>
          <a:xfrm>
            <a:off x="3349823" y="4019118"/>
            <a:ext cx="111601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ES" sz="1200" b="1" dirty="0">
                <a:solidFill>
                  <a:schemeClr val="accent1">
                    <a:lumMod val="75000"/>
                  </a:schemeClr>
                </a:solidFill>
                <a:latin typeface="Montserrat" panose="020B0604020202020204" charset="0"/>
              </a:rPr>
              <a:t>Santa Catarina</a:t>
            </a:r>
          </a:p>
        </p:txBody>
      </p:sp>
    </p:spTree>
    <p:extLst>
      <p:ext uri="{BB962C8B-B14F-4D97-AF65-F5344CB8AC3E}">
        <p14:creationId xmlns:p14="http://schemas.microsoft.com/office/powerpoint/2010/main" val="131619639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>
            <a:extLst>
              <a:ext uri="{FF2B5EF4-FFF2-40B4-BE49-F238E27FC236}">
                <a16:creationId xmlns="" xmlns:a16="http://schemas.microsoft.com/office/drawing/2014/main" id="{88CD14C6-DF27-455C-B059-F4204D15D78C}"/>
              </a:ext>
            </a:extLst>
          </p:cNvPr>
          <p:cNvSpPr/>
          <p:nvPr/>
        </p:nvSpPr>
        <p:spPr>
          <a:xfrm>
            <a:off x="1433367" y="1655590"/>
            <a:ext cx="6563478" cy="59169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Autofit/>
          </a:bodyPr>
          <a:lstStyle/>
          <a:p>
            <a:pPr>
              <a:buClr>
                <a:srgbClr val="44546A"/>
              </a:buClr>
              <a:buSzPct val="25000"/>
              <a:buFont typeface="Montserrat"/>
            </a:pPr>
            <a:r>
              <a:rPr lang="es-AR" sz="1600" b="1" dirty="0">
                <a:solidFill>
                  <a:srgbClr val="44546A"/>
                </a:solidFill>
                <a:latin typeface="Calibri" charset="0"/>
                <a:cs typeface="Calibri" charset="0"/>
                <a:sym typeface="Montserrat"/>
              </a:rPr>
              <a:t>Recepción de la mercadería, despacho, declaración e inspección en aduana.</a:t>
            </a:r>
            <a:endParaRPr lang="es-ES" sz="1600" b="1" dirty="0">
              <a:solidFill>
                <a:srgbClr val="44546A"/>
              </a:solidFill>
              <a:latin typeface="Calibri" charset="0"/>
              <a:cs typeface="Calibri" charset="0"/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="" xmlns:a16="http://schemas.microsoft.com/office/drawing/2014/main" id="{A42E73EB-FC38-45D1-9132-A921ABFDADBF}"/>
              </a:ext>
            </a:extLst>
          </p:cNvPr>
          <p:cNvSpPr/>
          <p:nvPr/>
        </p:nvSpPr>
        <p:spPr>
          <a:xfrm>
            <a:off x="1442925" y="2364598"/>
            <a:ext cx="6811613" cy="59169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Autofit/>
          </a:bodyPr>
          <a:lstStyle/>
          <a:p>
            <a:pPr>
              <a:buClr>
                <a:srgbClr val="44546A"/>
              </a:buClr>
              <a:buSzPct val="25000"/>
              <a:buFont typeface="Montserrat"/>
            </a:pPr>
            <a:r>
              <a:rPr lang="es-AR" sz="1600" b="1" dirty="0">
                <a:solidFill>
                  <a:srgbClr val="44546A"/>
                </a:solidFill>
                <a:latin typeface="Calibri" charset="0"/>
                <a:cs typeface="Calibri" charset="0"/>
                <a:sym typeface="Montserrat"/>
              </a:rPr>
              <a:t>Transporte de la mercadería, carga y descarga del contenedor, entrada y salida al depósito, y gestión del inventario.</a:t>
            </a:r>
            <a:endParaRPr lang="es-ES" sz="1600" b="1" dirty="0">
              <a:solidFill>
                <a:srgbClr val="44546A"/>
              </a:solidFill>
              <a:latin typeface="Calibri" charset="0"/>
              <a:cs typeface="Calibri" charset="0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C869039D-5CA2-4F31-9F55-0A8187A5D24D}"/>
              </a:ext>
            </a:extLst>
          </p:cNvPr>
          <p:cNvSpPr/>
          <p:nvPr/>
        </p:nvSpPr>
        <p:spPr>
          <a:xfrm>
            <a:off x="1459350" y="3033525"/>
            <a:ext cx="5847537" cy="59169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Autofit/>
          </a:bodyPr>
          <a:lstStyle/>
          <a:p>
            <a:pPr>
              <a:buClr>
                <a:srgbClr val="44546A"/>
              </a:buClr>
              <a:buSzPct val="25000"/>
              <a:buFont typeface="Montserrat"/>
            </a:pPr>
            <a:r>
              <a:rPr lang="es-AR" sz="1600" b="1" dirty="0">
                <a:solidFill>
                  <a:srgbClr val="44546A"/>
                </a:solidFill>
                <a:latin typeface="Calibri" charset="0"/>
                <a:cs typeface="Calibri" charset="0"/>
                <a:sym typeface="Montserrat"/>
              </a:rPr>
              <a:t>Almacenamiento de productos secos, refrigerados y congelados</a:t>
            </a:r>
            <a:r>
              <a:rPr lang="es-ES" sz="1600" b="1" dirty="0">
                <a:solidFill>
                  <a:srgbClr val="44546A"/>
                </a:solidFill>
                <a:latin typeface="Calibri" charset="0"/>
                <a:cs typeface="Calibri" charset="0"/>
                <a:sym typeface="Montserrat"/>
              </a:rPr>
              <a:t>.</a:t>
            </a:r>
            <a:endParaRPr lang="es-ES" sz="1600" b="1" dirty="0">
              <a:solidFill>
                <a:srgbClr val="44546A"/>
              </a:solidFill>
              <a:latin typeface="Calibri" charset="0"/>
              <a:cs typeface="Calibri" charset="0"/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="" xmlns:a16="http://schemas.microsoft.com/office/drawing/2014/main" id="{12F0E996-4D62-44E9-97BC-9EC18905E326}"/>
              </a:ext>
            </a:extLst>
          </p:cNvPr>
          <p:cNvSpPr/>
          <p:nvPr/>
        </p:nvSpPr>
        <p:spPr>
          <a:xfrm>
            <a:off x="1449470" y="3568929"/>
            <a:ext cx="5942575" cy="59169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Autofit/>
          </a:bodyPr>
          <a:lstStyle/>
          <a:p>
            <a:pPr>
              <a:buClr>
                <a:srgbClr val="44546A"/>
              </a:buClr>
              <a:buSzPct val="25000"/>
              <a:buFont typeface="Montserrat"/>
            </a:pPr>
            <a:r>
              <a:rPr lang="es-AR" sz="1600" b="1" dirty="0">
                <a:solidFill>
                  <a:srgbClr val="44546A"/>
                </a:solidFill>
                <a:latin typeface="Calibri" charset="0"/>
                <a:cs typeface="Calibri" charset="0"/>
                <a:sym typeface="Montserrat"/>
              </a:rPr>
              <a:t>Acondicionamiento de mercadería (impresión de etiquetas, etiquetado, re-empaquetado, etc.). </a:t>
            </a:r>
            <a:endParaRPr lang="es-ES" sz="1600" b="1" dirty="0">
              <a:solidFill>
                <a:srgbClr val="44546A"/>
              </a:solidFill>
              <a:latin typeface="Calibri" charset="0"/>
              <a:cs typeface="Calibri" charset="0"/>
            </a:endParaRPr>
          </a:p>
        </p:txBody>
      </p:sp>
      <p:sp>
        <p:nvSpPr>
          <p:cNvPr id="16" name="Rectángulo 15">
            <a:extLst>
              <a:ext uri="{FF2B5EF4-FFF2-40B4-BE49-F238E27FC236}">
                <a16:creationId xmlns="" xmlns:a16="http://schemas.microsoft.com/office/drawing/2014/main" id="{376A2B3E-4D8A-4341-AD6E-CF67C28BEDEF}"/>
              </a:ext>
            </a:extLst>
          </p:cNvPr>
          <p:cNvSpPr/>
          <p:nvPr/>
        </p:nvSpPr>
        <p:spPr>
          <a:xfrm>
            <a:off x="1465050" y="4080757"/>
            <a:ext cx="2042922" cy="59169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Autofit/>
          </a:bodyPr>
          <a:lstStyle/>
          <a:p>
            <a:pPr>
              <a:buClr>
                <a:srgbClr val="44546A"/>
              </a:buClr>
              <a:buSzPct val="25000"/>
              <a:buFont typeface="Montserrat"/>
            </a:pPr>
            <a:r>
              <a:rPr lang="es-AR" sz="1600" b="1" dirty="0">
                <a:solidFill>
                  <a:srgbClr val="44546A"/>
                </a:solidFill>
                <a:latin typeface="Calibri" charset="0"/>
                <a:cs typeface="Calibri" charset="0"/>
                <a:sym typeface="Montserrat"/>
              </a:rPr>
              <a:t>Showroom.</a:t>
            </a:r>
            <a:endParaRPr lang="es-ES" sz="1600" b="1" dirty="0">
              <a:solidFill>
                <a:srgbClr val="44546A"/>
              </a:solidFill>
              <a:latin typeface="Calibri" charset="0"/>
              <a:cs typeface="Calibri" charset="0"/>
            </a:endParaRPr>
          </a:p>
        </p:txBody>
      </p:sp>
      <p:pic>
        <p:nvPicPr>
          <p:cNvPr id="22" name="Imagen 21">
            <a:extLst>
              <a:ext uri="{FF2B5EF4-FFF2-40B4-BE49-F238E27FC236}">
                <a16:creationId xmlns="" xmlns:a16="http://schemas.microsoft.com/office/drawing/2014/main" id="{605369E7-0145-4709-A392-D8B2C3DABD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843" y="4071229"/>
            <a:ext cx="449148" cy="456512"/>
          </a:xfrm>
          <a:prstGeom prst="rect">
            <a:avLst/>
          </a:prstGeom>
        </p:spPr>
      </p:pic>
      <p:sp>
        <p:nvSpPr>
          <p:cNvPr id="19" name="Rectángulo 18">
            <a:extLst>
              <a:ext uri="{FF2B5EF4-FFF2-40B4-BE49-F238E27FC236}">
                <a16:creationId xmlns="" xmlns:a16="http://schemas.microsoft.com/office/drawing/2014/main" id="{948B147F-8EA0-45E5-A8DF-0471F0CF39FF}"/>
              </a:ext>
            </a:extLst>
          </p:cNvPr>
          <p:cNvSpPr/>
          <p:nvPr/>
        </p:nvSpPr>
        <p:spPr>
          <a:xfrm>
            <a:off x="1436682" y="1142065"/>
            <a:ext cx="5687326" cy="59169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Autofit/>
          </a:bodyPr>
          <a:lstStyle/>
          <a:p>
            <a:pPr>
              <a:buClr>
                <a:srgbClr val="44546A"/>
              </a:buClr>
              <a:buSzPct val="25000"/>
              <a:buFont typeface="Montserrat"/>
            </a:pPr>
            <a:r>
              <a:rPr lang="es-AR" sz="1600" b="1" dirty="0">
                <a:solidFill>
                  <a:srgbClr val="44546A"/>
                </a:solidFill>
                <a:latin typeface="Calibri" charset="0"/>
                <a:cs typeface="Calibri" charset="0"/>
                <a:sym typeface="Montserrat"/>
              </a:rPr>
              <a:t>Asesoramiento y coordinación para el ingreso de la mercadería.</a:t>
            </a:r>
            <a:endParaRPr lang="es-ES" sz="1600" b="1" dirty="0">
              <a:solidFill>
                <a:srgbClr val="44546A"/>
              </a:solidFill>
              <a:latin typeface="Calibri" charset="0"/>
              <a:cs typeface="Calibri" charset="0"/>
            </a:endParaRPr>
          </a:p>
        </p:txBody>
      </p:sp>
      <p:pic>
        <p:nvPicPr>
          <p:cNvPr id="17" name="Imagen 16">
            <a:extLst>
              <a:ext uri="{FF2B5EF4-FFF2-40B4-BE49-F238E27FC236}">
                <a16:creationId xmlns="" xmlns:a16="http://schemas.microsoft.com/office/drawing/2014/main" id="{D3A3B4EB-28A0-43BD-9247-AFD5438AD7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843" y="1142065"/>
            <a:ext cx="445509" cy="438880"/>
          </a:xfrm>
          <a:prstGeom prst="rect">
            <a:avLst/>
          </a:prstGeom>
          <a:solidFill>
            <a:schemeClr val="lt1"/>
          </a:solidFill>
        </p:spPr>
      </p:pic>
      <p:pic>
        <p:nvPicPr>
          <p:cNvPr id="20" name="Imagen 19">
            <a:extLst>
              <a:ext uri="{FF2B5EF4-FFF2-40B4-BE49-F238E27FC236}">
                <a16:creationId xmlns="" xmlns:a16="http://schemas.microsoft.com/office/drawing/2014/main" id="{7D7E8358-6C31-4676-A65C-25A298E70C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7775" y="1761633"/>
            <a:ext cx="518577" cy="537549"/>
          </a:xfrm>
          <a:prstGeom prst="rect">
            <a:avLst/>
          </a:prstGeom>
        </p:spPr>
      </p:pic>
      <p:pic>
        <p:nvPicPr>
          <p:cNvPr id="21" name="Imagen 20">
            <a:extLst>
              <a:ext uri="{FF2B5EF4-FFF2-40B4-BE49-F238E27FC236}">
                <a16:creationId xmlns="" xmlns:a16="http://schemas.microsoft.com/office/drawing/2014/main" id="{074C75CA-6789-45C4-B7B4-1309F0ED0D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5719" y="2589775"/>
            <a:ext cx="529721" cy="390238"/>
          </a:xfrm>
          <a:prstGeom prst="rect">
            <a:avLst/>
          </a:prstGeom>
        </p:spPr>
      </p:pic>
      <p:pic>
        <p:nvPicPr>
          <p:cNvPr id="24" name="Imagen 23">
            <a:extLst>
              <a:ext uri="{FF2B5EF4-FFF2-40B4-BE49-F238E27FC236}">
                <a16:creationId xmlns="" xmlns:a16="http://schemas.microsoft.com/office/drawing/2014/main" id="{3DC3E42E-CAC5-4256-B028-449D25B9AF5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7470" y="3311616"/>
            <a:ext cx="478821" cy="478821"/>
          </a:xfrm>
          <a:prstGeom prst="rect">
            <a:avLst/>
          </a:prstGeom>
        </p:spPr>
      </p:pic>
      <p:sp>
        <p:nvSpPr>
          <p:cNvPr id="25" name="Flecha: hacia abajo 24">
            <a:extLst>
              <a:ext uri="{FF2B5EF4-FFF2-40B4-BE49-F238E27FC236}">
                <a16:creationId xmlns="" xmlns:a16="http://schemas.microsoft.com/office/drawing/2014/main" id="{9EC6828D-B507-48FE-B9B7-C26765A895B8}"/>
              </a:ext>
            </a:extLst>
          </p:cNvPr>
          <p:cNvSpPr/>
          <p:nvPr/>
        </p:nvSpPr>
        <p:spPr>
          <a:xfrm>
            <a:off x="825721" y="1600823"/>
            <a:ext cx="110087" cy="143935"/>
          </a:xfrm>
          <a:prstGeom prst="downArrow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6" name="Flecha: hacia abajo 25">
            <a:extLst>
              <a:ext uri="{FF2B5EF4-FFF2-40B4-BE49-F238E27FC236}">
                <a16:creationId xmlns="" xmlns:a16="http://schemas.microsoft.com/office/drawing/2014/main" id="{4C17BDB8-A43A-4630-9B49-B01E17CA7AD4}"/>
              </a:ext>
            </a:extLst>
          </p:cNvPr>
          <p:cNvSpPr/>
          <p:nvPr/>
        </p:nvSpPr>
        <p:spPr>
          <a:xfrm>
            <a:off x="838974" y="2399266"/>
            <a:ext cx="110087" cy="143935"/>
          </a:xfrm>
          <a:prstGeom prst="downArrow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7" name="Flecha: hacia abajo 26">
            <a:extLst>
              <a:ext uri="{FF2B5EF4-FFF2-40B4-BE49-F238E27FC236}">
                <a16:creationId xmlns="" xmlns:a16="http://schemas.microsoft.com/office/drawing/2014/main" id="{E6E37688-7018-407F-9441-EAB0E95F48BC}"/>
              </a:ext>
            </a:extLst>
          </p:cNvPr>
          <p:cNvSpPr/>
          <p:nvPr/>
        </p:nvSpPr>
        <p:spPr>
          <a:xfrm>
            <a:off x="842288" y="3088378"/>
            <a:ext cx="110087" cy="143935"/>
          </a:xfrm>
          <a:prstGeom prst="downArrow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8" name="Flecha: hacia abajo 27">
            <a:extLst>
              <a:ext uri="{FF2B5EF4-FFF2-40B4-BE49-F238E27FC236}">
                <a16:creationId xmlns="" xmlns:a16="http://schemas.microsoft.com/office/drawing/2014/main" id="{5D6CA63A-4D2E-40A1-819D-2E4D2BED95D3}"/>
              </a:ext>
            </a:extLst>
          </p:cNvPr>
          <p:cNvSpPr/>
          <p:nvPr/>
        </p:nvSpPr>
        <p:spPr>
          <a:xfrm>
            <a:off x="835663" y="3916642"/>
            <a:ext cx="110087" cy="143935"/>
          </a:xfrm>
          <a:prstGeom prst="downArrow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3" name="Rectángulo 4"/>
          <p:cNvSpPr/>
          <p:nvPr/>
        </p:nvSpPr>
        <p:spPr>
          <a:xfrm>
            <a:off x="2030" y="811"/>
            <a:ext cx="9144000" cy="685009"/>
          </a:xfrm>
          <a:prstGeom prst="rect">
            <a:avLst/>
          </a:prstGeom>
          <a:solidFill>
            <a:srgbClr val="0075B2"/>
          </a:solidFill>
          <a:ln cap="flat">
            <a:noFill/>
            <a:prstDash val="solid"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s-ES" sz="1800" b="0" i="0" u="none" strike="noStrike" kern="1200" cap="none" spc="0" baseline="0">
              <a:solidFill>
                <a:srgbClr val="5B9BD5"/>
              </a:solidFill>
              <a:uFillTx/>
              <a:latin typeface="Calibri"/>
            </a:endParaRPr>
          </a:p>
        </p:txBody>
      </p:sp>
      <p:pic>
        <p:nvPicPr>
          <p:cNvPr id="29" name="Imagen 2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15722" y="152719"/>
            <a:ext cx="1746737" cy="388035"/>
          </a:xfrm>
          <a:prstGeom prst="rect">
            <a:avLst/>
          </a:prstGeom>
        </p:spPr>
      </p:pic>
      <p:sp>
        <p:nvSpPr>
          <p:cNvPr id="30" name="Shape 184"/>
          <p:cNvSpPr txBox="1"/>
          <p:nvPr/>
        </p:nvSpPr>
        <p:spPr>
          <a:xfrm>
            <a:off x="565177" y="115645"/>
            <a:ext cx="4298133" cy="254399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-ES" sz="1000" b="0" i="0" u="none" strike="noStrike" cap="none" dirty="0">
                <a:solidFill>
                  <a:schemeClr val="bg1"/>
                </a:solidFill>
                <a:latin typeface="Panton" charset="0"/>
                <a:ea typeface="Panton" charset="0"/>
                <a:cs typeface="Panton" charset="0"/>
                <a:sym typeface="Montserrat"/>
              </a:rPr>
              <a:t>PROGRAMA DE ACCESO A HUBS LOGÍSTICOS</a:t>
            </a:r>
            <a:endParaRPr lang="es" sz="1000" b="0" i="0" u="none" strike="noStrike" cap="none" dirty="0">
              <a:solidFill>
                <a:schemeClr val="bg1"/>
              </a:solidFill>
              <a:latin typeface="Panton" charset="0"/>
              <a:ea typeface="Panton" charset="0"/>
              <a:cs typeface="Panton" charset="0"/>
              <a:sym typeface="Montserra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Font typeface="Arial"/>
              <a:buNone/>
            </a:pPr>
            <a:endParaRPr sz="1200" b="0" i="0" u="none" strike="noStrike" cap="none" dirty="0">
              <a:solidFill>
                <a:srgbClr val="374756"/>
              </a:solidFill>
              <a:latin typeface="Montserrat ExtraLight"/>
              <a:ea typeface="Montserrat ExtraLight"/>
              <a:cs typeface="Montserrat ExtraLight"/>
              <a:sym typeface="Montserrat ExtraLight"/>
            </a:endParaRPr>
          </a:p>
        </p:txBody>
      </p:sp>
      <p:sp>
        <p:nvSpPr>
          <p:cNvPr id="31" name="Shape 185"/>
          <p:cNvSpPr txBox="1"/>
          <p:nvPr/>
        </p:nvSpPr>
        <p:spPr>
          <a:xfrm>
            <a:off x="556864" y="253858"/>
            <a:ext cx="6835181" cy="331727"/>
          </a:xfrm>
          <a:prstGeom prst="rect">
            <a:avLst/>
          </a:prstGeom>
          <a:noFill/>
          <a:ln>
            <a:noFill/>
          </a:ln>
        </p:spPr>
        <p:txBody>
          <a:bodyPr wrap="square" lIns="41575" tIns="41575" rIns="41575" bIns="4157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ct val="25000"/>
              <a:buFont typeface="Arial"/>
              <a:buNone/>
            </a:pPr>
            <a:r>
              <a:rPr lang="es-ES" sz="2000" b="1" dirty="0">
                <a:solidFill>
                  <a:schemeClr val="bg1"/>
                </a:solidFill>
                <a:latin typeface="Panton ExtraBold" charset="0"/>
                <a:ea typeface="Panton ExtraBold" charset="0"/>
                <a:cs typeface="Panton ExtraBold" charset="0"/>
                <a:sym typeface="Montserrat Black"/>
              </a:rPr>
              <a:t>SERVICIOS BÁSICOS INCLUIDOS</a:t>
            </a:r>
            <a:endParaRPr lang="es" sz="2000" b="1" u="none" strike="noStrike" cap="none" dirty="0">
              <a:solidFill>
                <a:schemeClr val="bg1"/>
              </a:solidFill>
              <a:latin typeface="Panton ExtraBold" charset="0"/>
              <a:ea typeface="Panton ExtraBold" charset="0"/>
              <a:cs typeface="Panton ExtraBold" charset="0"/>
              <a:sym typeface="Montserrat Black"/>
            </a:endParaRPr>
          </a:p>
        </p:txBody>
      </p:sp>
    </p:spTree>
    <p:extLst>
      <p:ext uri="{BB962C8B-B14F-4D97-AF65-F5344CB8AC3E}">
        <p14:creationId xmlns:p14="http://schemas.microsoft.com/office/powerpoint/2010/main" val="22927924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Google Shape;211;p55"/>
          <p:cNvSpPr/>
          <p:nvPr/>
        </p:nvSpPr>
        <p:spPr>
          <a:xfrm>
            <a:off x="0" y="948900"/>
            <a:ext cx="5978400" cy="4000500"/>
          </a:xfrm>
          <a:prstGeom prst="rect">
            <a:avLst/>
          </a:prstGeom>
          <a:solidFill>
            <a:srgbClr val="00B38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12" name="Google Shape;212;p55"/>
          <p:cNvPicPr preferRelativeResize="0"/>
          <p:nvPr/>
        </p:nvPicPr>
        <p:blipFill>
          <a:blip r:embed="rId3">
            <a:alphaModFix amt="29000"/>
          </a:blip>
          <a:stretch>
            <a:fillRect/>
          </a:stretch>
        </p:blipFill>
        <p:spPr>
          <a:xfrm>
            <a:off x="-416487" y="376938"/>
            <a:ext cx="3035524" cy="3035524"/>
          </a:xfrm>
          <a:prstGeom prst="rect">
            <a:avLst/>
          </a:prstGeom>
          <a:noFill/>
          <a:ln>
            <a:noFill/>
          </a:ln>
        </p:spPr>
      </p:pic>
      <p:pic>
        <p:nvPicPr>
          <p:cNvPr id="213" name="Google Shape;213;p5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0" y="5101750"/>
            <a:ext cx="9144001" cy="41750"/>
          </a:xfrm>
          <a:prstGeom prst="rect">
            <a:avLst/>
          </a:prstGeom>
          <a:noFill/>
          <a:ln>
            <a:noFill/>
          </a:ln>
        </p:spPr>
      </p:pic>
      <p:sp>
        <p:nvSpPr>
          <p:cNvPr id="214" name="Google Shape;214;p55"/>
          <p:cNvSpPr/>
          <p:nvPr/>
        </p:nvSpPr>
        <p:spPr>
          <a:xfrm>
            <a:off x="6339800" y="1836200"/>
            <a:ext cx="2431200" cy="2100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rgbClr val="757070"/>
                </a:solidFill>
                <a:latin typeface="+mn-lt"/>
                <a:ea typeface="Nunito"/>
                <a:cs typeface="Nunito"/>
                <a:sym typeface="Nunito"/>
              </a:rPr>
              <a:t>Impulsor financiero de los </a:t>
            </a:r>
            <a:r>
              <a:rPr lang="en" sz="1800" b="1" dirty="0">
                <a:solidFill>
                  <a:srgbClr val="757070"/>
                </a:solidFill>
                <a:latin typeface="+mn-lt"/>
                <a:ea typeface="Nunito"/>
                <a:cs typeface="Nunito"/>
                <a:sym typeface="Nunito"/>
              </a:rPr>
              <a:t>proyectos estratégicos</a:t>
            </a:r>
            <a:r>
              <a:rPr lang="en" sz="1800" dirty="0">
                <a:solidFill>
                  <a:srgbClr val="757070"/>
                </a:solidFill>
                <a:latin typeface="+mn-lt"/>
                <a:ea typeface="Nunito"/>
                <a:cs typeface="Nunito"/>
                <a:sym typeface="Nunito"/>
              </a:rPr>
              <a:t> del país</a:t>
            </a:r>
            <a:endParaRPr sz="1800" dirty="0">
              <a:solidFill>
                <a:srgbClr val="757070"/>
              </a:solidFill>
              <a:latin typeface="+mn-lt"/>
              <a:ea typeface="Nunito"/>
              <a:cs typeface="Nunito"/>
              <a:sym typeface="Nunito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rgbClr val="757070"/>
              </a:solidFill>
              <a:latin typeface="+mn-lt"/>
              <a:ea typeface="Nunito"/>
              <a:cs typeface="Nunito"/>
              <a:sym typeface="Nunito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rgbClr val="757070"/>
              </a:solidFill>
              <a:latin typeface="+mn-lt"/>
              <a:ea typeface="Nunito"/>
              <a:cs typeface="Nunito"/>
              <a:sym typeface="Nunito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rgbClr val="757070"/>
                </a:solidFill>
                <a:latin typeface="+mn-lt"/>
                <a:ea typeface="Nunito"/>
                <a:cs typeface="Nunito"/>
                <a:sym typeface="Nunito"/>
              </a:rPr>
              <a:t>Actor que </a:t>
            </a:r>
            <a:r>
              <a:rPr lang="en" sz="1800" b="1" dirty="0">
                <a:solidFill>
                  <a:srgbClr val="757070"/>
                </a:solidFill>
                <a:latin typeface="+mn-lt"/>
                <a:ea typeface="Nunito"/>
                <a:cs typeface="Nunito"/>
                <a:sym typeface="Nunito"/>
              </a:rPr>
              <a:t>completa mercados</a:t>
            </a:r>
            <a:endParaRPr sz="1800" b="1" dirty="0">
              <a:solidFill>
                <a:srgbClr val="757070"/>
              </a:solidFill>
              <a:latin typeface="+mn-lt"/>
              <a:ea typeface="Nunito"/>
              <a:cs typeface="Nunito"/>
              <a:sym typeface="Nunito"/>
            </a:endParaRPr>
          </a:p>
        </p:txBody>
      </p:sp>
      <p:cxnSp>
        <p:nvCxnSpPr>
          <p:cNvPr id="215" name="Google Shape;215;p55"/>
          <p:cNvCxnSpPr/>
          <p:nvPr/>
        </p:nvCxnSpPr>
        <p:spPr>
          <a:xfrm>
            <a:off x="494675" y="3617525"/>
            <a:ext cx="1213200" cy="0"/>
          </a:xfrm>
          <a:prstGeom prst="straightConnector1">
            <a:avLst/>
          </a:prstGeom>
          <a:noFill/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6" name="Google Shape;216;p55"/>
          <p:cNvSpPr/>
          <p:nvPr/>
        </p:nvSpPr>
        <p:spPr>
          <a:xfrm rot="5400000">
            <a:off x="6041550" y="2942375"/>
            <a:ext cx="192000" cy="165900"/>
          </a:xfrm>
          <a:prstGeom prst="triangle">
            <a:avLst>
              <a:gd name="adj" fmla="val 50000"/>
            </a:avLst>
          </a:prstGeom>
          <a:solidFill>
            <a:srgbClr val="FFB81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7" name="Google Shape;217;p55"/>
          <p:cNvSpPr/>
          <p:nvPr/>
        </p:nvSpPr>
        <p:spPr>
          <a:xfrm>
            <a:off x="494675" y="2471250"/>
            <a:ext cx="4687500" cy="494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8" name="Google Shape;218;p55"/>
          <p:cNvSpPr/>
          <p:nvPr/>
        </p:nvSpPr>
        <p:spPr>
          <a:xfrm>
            <a:off x="494675" y="3016430"/>
            <a:ext cx="5054100" cy="4944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219" name="Google Shape;219;p55"/>
          <p:cNvCxnSpPr/>
          <p:nvPr/>
        </p:nvCxnSpPr>
        <p:spPr>
          <a:xfrm>
            <a:off x="6339800" y="3023125"/>
            <a:ext cx="2476800" cy="0"/>
          </a:xfrm>
          <a:prstGeom prst="straightConnector1">
            <a:avLst/>
          </a:prstGeom>
          <a:noFill/>
          <a:ln w="9525" cap="flat" cmpd="sng">
            <a:solidFill>
              <a:srgbClr val="999999"/>
            </a:solidFill>
            <a:prstDash val="dot"/>
            <a:round/>
            <a:headEnd type="none" w="sm" len="sm"/>
            <a:tailEnd type="none" w="sm" len="sm"/>
          </a:ln>
        </p:spPr>
      </p:cxnSp>
      <p:sp>
        <p:nvSpPr>
          <p:cNvPr id="220" name="Google Shape;220;p55"/>
          <p:cNvSpPr/>
          <p:nvPr/>
        </p:nvSpPr>
        <p:spPr>
          <a:xfrm rot="-5400000" flipH="1">
            <a:off x="4017150" y="-4030500"/>
            <a:ext cx="1101300" cy="9162300"/>
          </a:xfrm>
          <a:prstGeom prst="rect">
            <a:avLst/>
          </a:prstGeom>
          <a:solidFill>
            <a:srgbClr val="5BC2E7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1" name="Google Shape;221;p55"/>
          <p:cNvSpPr txBox="1"/>
          <p:nvPr/>
        </p:nvSpPr>
        <p:spPr>
          <a:xfrm>
            <a:off x="442275" y="506177"/>
            <a:ext cx="6724200" cy="52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r>
              <a:rPr lang="en" sz="2800" dirty="0">
                <a:solidFill>
                  <a:srgbClr val="FFFFFF"/>
                </a:solidFill>
                <a:latin typeface="+mn-lt"/>
                <a:ea typeface="Open Sans"/>
                <a:cs typeface="Open Sans"/>
                <a:sym typeface="Open Sans"/>
              </a:rPr>
              <a:t>Misión y objetivos</a:t>
            </a:r>
            <a:endParaRPr sz="2800" i="0" u="none" strike="noStrike" cap="none" dirty="0">
              <a:solidFill>
                <a:srgbClr val="FFFFFF"/>
              </a:solidFill>
              <a:latin typeface="+mn-lt"/>
              <a:ea typeface="Open Sans"/>
              <a:cs typeface="Open Sans"/>
              <a:sym typeface="Open Sans"/>
            </a:endParaRPr>
          </a:p>
        </p:txBody>
      </p:sp>
      <p:sp>
        <p:nvSpPr>
          <p:cNvPr id="222" name="Google Shape;222;p55"/>
          <p:cNvSpPr txBox="1"/>
          <p:nvPr/>
        </p:nvSpPr>
        <p:spPr>
          <a:xfrm>
            <a:off x="442274" y="173625"/>
            <a:ext cx="3237600" cy="25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" sz="1200" dirty="0">
                <a:solidFill>
                  <a:srgbClr val="FFFFFF"/>
                </a:solidFill>
                <a:latin typeface="Calibri" panose="020F0502020204030204" pitchFamily="34" charset="0"/>
                <a:ea typeface="Nunito"/>
                <a:cs typeface="Nunito"/>
                <a:sym typeface="Nunito"/>
              </a:rPr>
              <a:t>BICE 2019</a:t>
            </a:r>
            <a:endParaRPr sz="1200" i="0" u="none" strike="noStrike" cap="none" dirty="0">
              <a:solidFill>
                <a:srgbClr val="FFFFFF"/>
              </a:solidFill>
              <a:latin typeface="Calibri" panose="020F0502020204030204" pitchFamily="34" charset="0"/>
              <a:ea typeface="Nunito"/>
              <a:cs typeface="Nunito"/>
              <a:sym typeface="Nunito"/>
            </a:endParaRPr>
          </a:p>
        </p:txBody>
      </p:sp>
      <p:cxnSp>
        <p:nvCxnSpPr>
          <p:cNvPr id="223" name="Google Shape;223;p55"/>
          <p:cNvCxnSpPr/>
          <p:nvPr/>
        </p:nvCxnSpPr>
        <p:spPr>
          <a:xfrm>
            <a:off x="519765" y="441780"/>
            <a:ext cx="510300" cy="0"/>
          </a:xfrm>
          <a:prstGeom prst="straightConnector1">
            <a:avLst/>
          </a:prstGeom>
          <a:noFill/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24" name="Google Shape;224;p55"/>
          <p:cNvSpPr/>
          <p:nvPr/>
        </p:nvSpPr>
        <p:spPr>
          <a:xfrm>
            <a:off x="519775" y="2430470"/>
            <a:ext cx="5054100" cy="110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2800" dirty="0">
                <a:solidFill>
                  <a:srgbClr val="00BCF1"/>
                </a:solidFill>
                <a:latin typeface="+mn-lt"/>
                <a:ea typeface="Open Sans"/>
                <a:cs typeface="Open Sans"/>
                <a:sym typeface="Open Sans"/>
              </a:rPr>
              <a:t>Banco para el </a:t>
            </a:r>
            <a:r>
              <a:rPr lang="en" sz="2800" b="1" dirty="0">
                <a:solidFill>
                  <a:srgbClr val="00BCF1"/>
                </a:solidFill>
                <a:latin typeface="+mn-lt"/>
                <a:ea typeface="Open Sans"/>
                <a:cs typeface="Open Sans"/>
                <a:sym typeface="Open Sans"/>
              </a:rPr>
              <a:t>desarrollo productivo </a:t>
            </a:r>
            <a:r>
              <a:rPr lang="en" sz="2800" dirty="0">
                <a:solidFill>
                  <a:srgbClr val="00BCF1"/>
                </a:solidFill>
                <a:latin typeface="+mn-lt"/>
                <a:ea typeface="Open Sans"/>
                <a:cs typeface="Open Sans"/>
                <a:sym typeface="Open Sans"/>
              </a:rPr>
              <a:t>de la Argentina</a:t>
            </a:r>
            <a:endParaRPr sz="2800" i="0" strike="noStrike" cap="none" dirty="0">
              <a:solidFill>
                <a:srgbClr val="00BCF1"/>
              </a:solidFill>
              <a:latin typeface="+mn-lt"/>
              <a:ea typeface="Open Sans"/>
              <a:cs typeface="Open Sans"/>
              <a:sym typeface="Open Sans"/>
            </a:endParaRPr>
          </a:p>
        </p:txBody>
      </p:sp>
      <p:sp>
        <p:nvSpPr>
          <p:cNvPr id="225" name="Google Shape;225;p55"/>
          <p:cNvSpPr/>
          <p:nvPr/>
        </p:nvSpPr>
        <p:spPr>
          <a:xfrm rot="-5400000" flipH="1">
            <a:off x="4206300" y="159250"/>
            <a:ext cx="736200" cy="9148800"/>
          </a:xfrm>
          <a:prstGeom prst="rect">
            <a:avLst/>
          </a:prstGeom>
          <a:solidFill>
            <a:srgbClr val="1A509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+mn-lt"/>
              <a:ea typeface="Arial"/>
              <a:cs typeface="Arial"/>
              <a:sym typeface="Arial"/>
            </a:endParaRPr>
          </a:p>
        </p:txBody>
      </p:sp>
      <p:sp>
        <p:nvSpPr>
          <p:cNvPr id="226" name="Google Shape;226;p55"/>
          <p:cNvSpPr/>
          <p:nvPr/>
        </p:nvSpPr>
        <p:spPr>
          <a:xfrm>
            <a:off x="590350" y="4567300"/>
            <a:ext cx="8180700" cy="33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500" dirty="0">
                <a:solidFill>
                  <a:schemeClr val="lt1"/>
                </a:solidFill>
                <a:latin typeface="+mn-lt"/>
                <a:ea typeface="Nunito"/>
                <a:cs typeface="Nunito"/>
                <a:sym typeface="Nunito"/>
              </a:rPr>
              <a:t>Desarrollamos una estrategia con dos pilares: </a:t>
            </a:r>
            <a:r>
              <a:rPr lang="en" sz="1500" b="1" dirty="0">
                <a:solidFill>
                  <a:schemeClr val="lt1"/>
                </a:solidFill>
                <a:latin typeface="+mn-lt"/>
                <a:ea typeface="Nunito"/>
                <a:cs typeface="Nunito"/>
                <a:sym typeface="Nunito"/>
              </a:rPr>
              <a:t>Crecimiento + Fondeo sustentable</a:t>
            </a:r>
            <a:endParaRPr sz="1500" b="1" dirty="0">
              <a:solidFill>
                <a:schemeClr val="lt1"/>
              </a:solidFill>
              <a:latin typeface="+mn-lt"/>
              <a:ea typeface="Nunito"/>
              <a:cs typeface="Nunito"/>
              <a:sym typeface="Nunito"/>
            </a:endParaRPr>
          </a:p>
        </p:txBody>
      </p:sp>
    </p:spTree>
    <p:extLst>
      <p:ext uri="{BB962C8B-B14F-4D97-AF65-F5344CB8AC3E}">
        <p14:creationId xmlns:p14="http://schemas.microsoft.com/office/powerpoint/2010/main" val="31006092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0" name="Google Shape;530;p4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2850" y="5075405"/>
            <a:ext cx="9143998" cy="68081"/>
          </a:xfrm>
          <a:prstGeom prst="rect">
            <a:avLst/>
          </a:prstGeom>
          <a:noFill/>
          <a:ln>
            <a:noFill/>
          </a:ln>
        </p:spPr>
      </p:pic>
      <p:sp>
        <p:nvSpPr>
          <p:cNvPr id="531" name="Google Shape;531;p45"/>
          <p:cNvSpPr/>
          <p:nvPr/>
        </p:nvSpPr>
        <p:spPr>
          <a:xfrm rot="-5400000" flipH="1">
            <a:off x="4017150" y="-4062031"/>
            <a:ext cx="1101300" cy="9162300"/>
          </a:xfrm>
          <a:prstGeom prst="rect">
            <a:avLst/>
          </a:prstGeom>
          <a:solidFill>
            <a:srgbClr val="5BC2E7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2" name="Google Shape;532;p45"/>
          <p:cNvSpPr txBox="1"/>
          <p:nvPr/>
        </p:nvSpPr>
        <p:spPr>
          <a:xfrm>
            <a:off x="442275" y="506177"/>
            <a:ext cx="6724200" cy="52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>
              <a:buSzPts val="3600"/>
            </a:pPr>
            <a:r>
              <a:rPr lang="es-AR" sz="2800" dirty="0" smtClean="0">
                <a:solidFill>
                  <a:srgbClr val="FFFFFF"/>
                </a:solidFill>
                <a:latin typeface="Arial" panose="020B0604020202020204" pitchFamily="34" charset="0"/>
                <a:ea typeface="Open Sans"/>
                <a:cs typeface="Arial" panose="020B0604020202020204" pitchFamily="34" charset="0"/>
                <a:sym typeface="Open Sans"/>
              </a:rPr>
              <a:t>Cobertura:</a:t>
            </a:r>
            <a:endParaRPr lang="es-AR" sz="2800" dirty="0">
              <a:solidFill>
                <a:srgbClr val="FFFFFF"/>
              </a:solidFill>
              <a:latin typeface="Arial" panose="020B0604020202020204" pitchFamily="34" charset="0"/>
              <a:ea typeface="Open Sans"/>
              <a:cs typeface="Arial" panose="020B0604020202020204" pitchFamily="34" charset="0"/>
              <a:sym typeface="Open Sans"/>
            </a:endParaRPr>
          </a:p>
        </p:txBody>
      </p:sp>
      <p:sp>
        <p:nvSpPr>
          <p:cNvPr id="533" name="Google Shape;533;p45"/>
          <p:cNvSpPr txBox="1"/>
          <p:nvPr/>
        </p:nvSpPr>
        <p:spPr>
          <a:xfrm>
            <a:off x="442274" y="173625"/>
            <a:ext cx="3237600" cy="25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>
              <a:buSzPts val="1400"/>
            </a:pPr>
            <a:r>
              <a:rPr lang="es-AR" sz="1200" dirty="0" smtClean="0">
                <a:solidFill>
                  <a:srgbClr val="FFFFFF"/>
                </a:solidFill>
                <a:latin typeface="Arial" panose="020B0604020202020204" pitchFamily="34" charset="0"/>
                <a:ea typeface="Nunito"/>
                <a:cs typeface="Arial" panose="020B0604020202020204" pitchFamily="34" charset="0"/>
                <a:sym typeface="Nunito"/>
              </a:rPr>
              <a:t>Banco de Desarrollo Productivo</a:t>
            </a:r>
            <a:endParaRPr lang="es-AR" sz="1200" dirty="0">
              <a:solidFill>
                <a:srgbClr val="FFFFFF"/>
              </a:solidFill>
              <a:latin typeface="Arial" panose="020B0604020202020204" pitchFamily="34" charset="0"/>
              <a:ea typeface="Nunito"/>
              <a:cs typeface="Arial" panose="020B0604020202020204" pitchFamily="34" charset="0"/>
              <a:sym typeface="Nunito"/>
            </a:endParaRPr>
          </a:p>
        </p:txBody>
      </p:sp>
      <p:cxnSp>
        <p:nvCxnSpPr>
          <p:cNvPr id="534" name="Google Shape;534;p45"/>
          <p:cNvCxnSpPr/>
          <p:nvPr/>
        </p:nvCxnSpPr>
        <p:spPr>
          <a:xfrm>
            <a:off x="519765" y="441780"/>
            <a:ext cx="510300" cy="0"/>
          </a:xfrm>
          <a:prstGeom prst="straightConnector1">
            <a:avLst/>
          </a:prstGeom>
          <a:noFill/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35" name="Google Shape;535;p4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568850" y="1249543"/>
            <a:ext cx="3691510" cy="3669305"/>
          </a:xfrm>
          <a:prstGeom prst="rect">
            <a:avLst/>
          </a:prstGeom>
          <a:noFill/>
          <a:ln>
            <a:noFill/>
          </a:ln>
        </p:spPr>
      </p:pic>
      <p:sp>
        <p:nvSpPr>
          <p:cNvPr id="536" name="Google Shape;536;p45"/>
          <p:cNvSpPr txBox="1"/>
          <p:nvPr/>
        </p:nvSpPr>
        <p:spPr>
          <a:xfrm>
            <a:off x="4681125" y="1673100"/>
            <a:ext cx="3601800" cy="268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lnSpc>
                <a:spcPct val="115000"/>
              </a:lnSpc>
            </a:pPr>
            <a:r>
              <a:rPr lang="en" sz="1100" b="1" dirty="0" smtClean="0">
                <a:solidFill>
                  <a:srgbClr val="0091D1"/>
                </a:solidFill>
                <a:latin typeface="Arial" panose="020B0604020202020204" pitchFamily="34" charset="0"/>
                <a:ea typeface="Open Sans"/>
                <a:cs typeface="Arial" panose="020B0604020202020204" pitchFamily="34" charset="0"/>
                <a:sym typeface="Open Sans"/>
              </a:rPr>
              <a:t>Diez Puestos: </a:t>
            </a:r>
            <a:r>
              <a:rPr lang="es-AR" altLang="es-AR" sz="1100" dirty="0" smtClean="0">
                <a:solidFill>
                  <a:schemeClr val="bg1">
                    <a:lumMod val="50000"/>
                  </a:schemeClr>
                </a:solidFill>
                <a:latin typeface="Arial"/>
                <a:ea typeface="Montserrat"/>
                <a:cs typeface="Arial"/>
              </a:rPr>
              <a:t>Presencia </a:t>
            </a:r>
            <a:r>
              <a:rPr lang="es-AR" altLang="es-AR" sz="1100" dirty="0">
                <a:solidFill>
                  <a:schemeClr val="bg1">
                    <a:lumMod val="50000"/>
                  </a:schemeClr>
                </a:solidFill>
                <a:latin typeface="Arial"/>
                <a:ea typeface="Montserrat"/>
                <a:cs typeface="Arial"/>
              </a:rPr>
              <a:t>territorial a través de su Casa Central y 10 puestos de promoción permanente distribuidos en el país.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100" dirty="0">
              <a:solidFill>
                <a:srgbClr val="7F7F7F"/>
              </a:solidFill>
              <a:latin typeface="Arial" panose="020B0604020202020204" pitchFamily="34" charset="0"/>
              <a:ea typeface="Open Sans"/>
              <a:cs typeface="Arial" panose="020B0604020202020204" pitchFamily="34" charset="0"/>
              <a:sym typeface="Open Sans"/>
            </a:endParaRPr>
          </a:p>
          <a:p>
            <a:pPr>
              <a:lnSpc>
                <a:spcPct val="115000"/>
              </a:lnSpc>
            </a:pPr>
            <a:r>
              <a:rPr lang="en" sz="1100" b="1" dirty="0" smtClean="0">
                <a:solidFill>
                  <a:srgbClr val="0091D1"/>
                </a:solidFill>
                <a:latin typeface="Arial" panose="020B0604020202020204" pitchFamily="34" charset="0"/>
                <a:ea typeface="Open Sans"/>
                <a:cs typeface="Arial" panose="020B0604020202020204" pitchFamily="34" charset="0"/>
                <a:sym typeface="Open Sans"/>
              </a:rPr>
              <a:t>SGRs: </a:t>
            </a:r>
            <a:r>
              <a:rPr lang="en" sz="1100" dirty="0" smtClean="0">
                <a:solidFill>
                  <a:srgbClr val="0091D1"/>
                </a:solidFill>
                <a:latin typeface="Arial" panose="020B0604020202020204" pitchFamily="34" charset="0"/>
                <a:ea typeface="Open Sans"/>
                <a:cs typeface="Arial" panose="020B0604020202020204" pitchFamily="34" charset="0"/>
                <a:sym typeface="Open Sans"/>
              </a:rPr>
              <a:t> </a:t>
            </a:r>
            <a:r>
              <a:rPr lang="es-AR" altLang="es-AR" sz="1100" dirty="0">
                <a:solidFill>
                  <a:schemeClr val="bg1">
                    <a:lumMod val="50000"/>
                  </a:schemeClr>
                </a:solidFill>
                <a:latin typeface="Arial"/>
                <a:ea typeface="Montserrat"/>
                <a:cs typeface="Arial"/>
              </a:rPr>
              <a:t>Complementación con Sociedades de Garantía Recíprocas (</a:t>
            </a:r>
            <a:r>
              <a:rPr lang="es-AR" altLang="es-AR" sz="1100" dirty="0" err="1">
                <a:solidFill>
                  <a:schemeClr val="bg1">
                    <a:lumMod val="50000"/>
                  </a:schemeClr>
                </a:solidFill>
                <a:latin typeface="Arial"/>
                <a:ea typeface="Montserrat"/>
                <a:cs typeface="Arial"/>
              </a:rPr>
              <a:t>SGRs</a:t>
            </a:r>
            <a:r>
              <a:rPr lang="es-AR" altLang="es-AR" sz="1100" dirty="0">
                <a:solidFill>
                  <a:schemeClr val="bg1">
                    <a:lumMod val="50000"/>
                  </a:schemeClr>
                </a:solidFill>
                <a:latin typeface="Arial"/>
                <a:ea typeface="Montserrat"/>
                <a:cs typeface="Arial"/>
              </a:rPr>
              <a:t>) y Entidades Financieras (</a:t>
            </a:r>
            <a:r>
              <a:rPr lang="es-AR" altLang="es-AR" sz="1100" dirty="0" err="1">
                <a:solidFill>
                  <a:schemeClr val="bg1">
                    <a:lumMod val="50000"/>
                  </a:schemeClr>
                </a:solidFill>
                <a:latin typeface="Arial"/>
                <a:ea typeface="Montserrat"/>
                <a:cs typeface="Arial"/>
              </a:rPr>
              <a:t>EFIs</a:t>
            </a:r>
            <a:r>
              <a:rPr lang="es-AR" altLang="es-AR" sz="1100" dirty="0">
                <a:solidFill>
                  <a:schemeClr val="bg1">
                    <a:lumMod val="50000"/>
                  </a:schemeClr>
                </a:solidFill>
                <a:latin typeface="Arial"/>
                <a:ea typeface="Montserrat"/>
                <a:cs typeface="Arial"/>
              </a:rPr>
              <a:t>), que permiten  vincular al BICE con empresas de menor escala, facilitando el acceso al crédito y minimizando los costos de otorgamiento.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100" dirty="0">
              <a:solidFill>
                <a:schemeClr val="dk1"/>
              </a:solidFill>
              <a:latin typeface="Arial" panose="020B0604020202020204" pitchFamily="34" charset="0"/>
              <a:ea typeface="Open Sans"/>
              <a:cs typeface="Arial" panose="020B0604020202020204" pitchFamily="34" charset="0"/>
              <a:sym typeface="Open Sans"/>
            </a:endParaRPr>
          </a:p>
          <a:p>
            <a:pPr>
              <a:lnSpc>
                <a:spcPct val="115000"/>
              </a:lnSpc>
            </a:pPr>
            <a:r>
              <a:rPr lang="en" sz="1100" b="1" dirty="0" smtClean="0">
                <a:solidFill>
                  <a:srgbClr val="0091D1"/>
                </a:solidFill>
                <a:latin typeface="Arial" panose="020B0604020202020204" pitchFamily="34" charset="0"/>
                <a:ea typeface="Open Sans"/>
                <a:cs typeface="Arial" panose="020B0604020202020204" pitchFamily="34" charset="0"/>
                <a:sym typeface="Open Sans"/>
              </a:rPr>
              <a:t>Articulación: </a:t>
            </a:r>
            <a:r>
              <a:rPr lang="es-AR" sz="1100" dirty="0" smtClean="0">
                <a:solidFill>
                  <a:srgbClr val="7F7F7F"/>
                </a:solidFill>
                <a:latin typeface="Arial" panose="020B0604020202020204" pitchFamily="34" charset="0"/>
                <a:ea typeface="Open Sans"/>
                <a:cs typeface="Arial" panose="020B0604020202020204" pitchFamily="34" charset="0"/>
                <a:sym typeface="Open Sans"/>
              </a:rPr>
              <a:t>C</a:t>
            </a:r>
            <a:r>
              <a:rPr lang="es-AR" altLang="es-AR" sz="1100" dirty="0" smtClean="0">
                <a:solidFill>
                  <a:schemeClr val="bg1">
                    <a:lumMod val="50000"/>
                  </a:schemeClr>
                </a:solidFill>
                <a:latin typeface="Arial"/>
                <a:ea typeface="Montserrat"/>
                <a:cs typeface="Arial"/>
              </a:rPr>
              <a:t>on </a:t>
            </a:r>
            <a:r>
              <a:rPr lang="es-AR" altLang="es-AR" sz="1100" dirty="0">
                <a:solidFill>
                  <a:schemeClr val="bg1">
                    <a:lumMod val="50000"/>
                  </a:schemeClr>
                </a:solidFill>
                <a:latin typeface="Arial"/>
                <a:ea typeface="Montserrat"/>
                <a:cs typeface="Arial"/>
              </a:rPr>
              <a:t>Organismos Públicos y Gobiernos Provinciales mediante instrumentos de financiamiento con objetivos específicos</a:t>
            </a:r>
            <a:r>
              <a:rPr lang="es-AR" altLang="es-AR" sz="1100" dirty="0" smtClean="0">
                <a:solidFill>
                  <a:schemeClr val="bg1">
                    <a:lumMod val="50000"/>
                  </a:schemeClr>
                </a:solidFill>
                <a:latin typeface="Arial"/>
                <a:ea typeface="Montserrat"/>
                <a:cs typeface="Arial"/>
              </a:rPr>
              <a:t>.</a:t>
            </a:r>
            <a:endParaRPr lang="es-AR" altLang="es-AR" sz="1100" dirty="0">
              <a:solidFill>
                <a:schemeClr val="bg1">
                  <a:lumMod val="50000"/>
                </a:schemeClr>
              </a:solidFill>
              <a:latin typeface="Arial"/>
              <a:ea typeface="Montserrat"/>
              <a:cs typeface="Arial"/>
            </a:endParaRPr>
          </a:p>
        </p:txBody>
      </p:sp>
      <p:sp>
        <p:nvSpPr>
          <p:cNvPr id="537" name="Google Shape;537;p45"/>
          <p:cNvSpPr/>
          <p:nvPr/>
        </p:nvSpPr>
        <p:spPr>
          <a:xfrm rot="5400000">
            <a:off x="4616057" y="1811482"/>
            <a:ext cx="83400" cy="72000"/>
          </a:xfrm>
          <a:prstGeom prst="triangle">
            <a:avLst>
              <a:gd name="adj" fmla="val 50000"/>
            </a:avLst>
          </a:prstGeom>
          <a:solidFill>
            <a:srgbClr val="B3DEF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8" name="Google Shape;538;p45"/>
          <p:cNvSpPr/>
          <p:nvPr/>
        </p:nvSpPr>
        <p:spPr>
          <a:xfrm rot="5400000">
            <a:off x="4616057" y="2573482"/>
            <a:ext cx="83400" cy="72000"/>
          </a:xfrm>
          <a:prstGeom prst="triangle">
            <a:avLst>
              <a:gd name="adj" fmla="val 50000"/>
            </a:avLst>
          </a:prstGeom>
          <a:solidFill>
            <a:srgbClr val="B3DEF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9" name="Google Shape;539;p45"/>
          <p:cNvSpPr/>
          <p:nvPr/>
        </p:nvSpPr>
        <p:spPr>
          <a:xfrm rot="5400000">
            <a:off x="4616057" y="3719621"/>
            <a:ext cx="83400" cy="72000"/>
          </a:xfrm>
          <a:prstGeom prst="triangle">
            <a:avLst>
              <a:gd name="adj" fmla="val 50000"/>
            </a:avLst>
          </a:prstGeom>
          <a:solidFill>
            <a:srgbClr val="B3DEF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899434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8" name="Google Shape;318;p58"/>
          <p:cNvPicPr preferRelativeResize="0"/>
          <p:nvPr/>
        </p:nvPicPr>
        <p:blipFill rotWithShape="1">
          <a:blip r:embed="rId3">
            <a:alphaModFix/>
          </a:blip>
          <a:srcRect l="12830" r="12830"/>
          <a:stretch/>
        </p:blipFill>
        <p:spPr>
          <a:xfrm>
            <a:off x="-13350" y="1100375"/>
            <a:ext cx="5356751" cy="404902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19" name="Google Shape;319;p58"/>
          <p:cNvGrpSpPr/>
          <p:nvPr/>
        </p:nvGrpSpPr>
        <p:grpSpPr>
          <a:xfrm>
            <a:off x="5885213" y="2709559"/>
            <a:ext cx="2711227" cy="643356"/>
            <a:chOff x="4472838" y="1571534"/>
            <a:chExt cx="2711227" cy="643356"/>
          </a:xfrm>
        </p:grpSpPr>
        <p:pic>
          <p:nvPicPr>
            <p:cNvPr id="320" name="Google Shape;320;p58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5970442" y="1838848"/>
              <a:ext cx="375746" cy="352754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21" name="Google Shape;321;p58"/>
            <p:cNvSpPr/>
            <p:nvPr/>
          </p:nvSpPr>
          <p:spPr>
            <a:xfrm flipH="1">
              <a:off x="5163022" y="1571550"/>
              <a:ext cx="1419000" cy="642600"/>
            </a:xfrm>
            <a:prstGeom prst="rect">
              <a:avLst/>
            </a:prstGeom>
            <a:solidFill>
              <a:srgbClr val="00B48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Calibri" panose="020F0502020204030204" pitchFamily="34" charset="0"/>
              </a:endParaRPr>
            </a:p>
          </p:txBody>
        </p:sp>
        <p:sp>
          <p:nvSpPr>
            <p:cNvPr id="322" name="Google Shape;322;p58"/>
            <p:cNvSpPr/>
            <p:nvPr/>
          </p:nvSpPr>
          <p:spPr>
            <a:xfrm>
              <a:off x="4472838" y="1571534"/>
              <a:ext cx="690000" cy="642300"/>
            </a:xfrm>
            <a:prstGeom prst="rect">
              <a:avLst/>
            </a:prstGeom>
            <a:solidFill>
              <a:srgbClr val="B02C20"/>
            </a:solidFill>
            <a:ln>
              <a:noFill/>
            </a:ln>
            <a:effectLst>
              <a:outerShdw blurRad="71438" dist="28575" dir="2700000" algn="bl" rotWithShape="0">
                <a:srgbClr val="000000">
                  <a:alpha val="17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Calibri" panose="020F0502020204030204" pitchFamily="34" charset="0"/>
              </a:endParaRPr>
            </a:p>
          </p:txBody>
        </p:sp>
        <p:sp>
          <p:nvSpPr>
            <p:cNvPr id="323" name="Google Shape;323;p58"/>
            <p:cNvSpPr/>
            <p:nvPr/>
          </p:nvSpPr>
          <p:spPr>
            <a:xfrm>
              <a:off x="4472838" y="1571541"/>
              <a:ext cx="690000" cy="642600"/>
            </a:xfrm>
            <a:prstGeom prst="rect">
              <a:avLst/>
            </a:prstGeom>
            <a:solidFill>
              <a:srgbClr val="00B388">
                <a:alpha val="7806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600">
                <a:solidFill>
                  <a:srgbClr val="FFFFFF"/>
                </a:solidFill>
                <a:latin typeface="Calibri" panose="020F0502020204030204" pitchFamily="34" charset="0"/>
                <a:ea typeface="Roboto Thin"/>
                <a:cs typeface="Roboto Thin"/>
                <a:sym typeface="Roboto Thin"/>
              </a:endParaRPr>
            </a:p>
          </p:txBody>
        </p:sp>
        <p:sp>
          <p:nvSpPr>
            <p:cNvPr id="324" name="Google Shape;324;p58"/>
            <p:cNvSpPr/>
            <p:nvPr/>
          </p:nvSpPr>
          <p:spPr>
            <a:xfrm rot="-5400000">
              <a:off x="6152812" y="1183637"/>
              <a:ext cx="643356" cy="1419149"/>
            </a:xfrm>
            <a:prstGeom prst="flowChartOffpageConnector">
              <a:avLst/>
            </a:prstGeom>
            <a:solidFill>
              <a:srgbClr val="00B487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Calibri" panose="020F0502020204030204" pitchFamily="34" charset="0"/>
              </a:endParaRPr>
            </a:p>
          </p:txBody>
        </p:sp>
        <p:sp>
          <p:nvSpPr>
            <p:cNvPr id="325" name="Google Shape;325;p58"/>
            <p:cNvSpPr/>
            <p:nvPr/>
          </p:nvSpPr>
          <p:spPr>
            <a:xfrm>
              <a:off x="5222473" y="1648925"/>
              <a:ext cx="1616400" cy="495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b="1">
                  <a:solidFill>
                    <a:srgbClr val="FFFFFF"/>
                  </a:solidFill>
                  <a:latin typeface="Calibri" panose="020F0502020204030204" pitchFamily="34" charset="0"/>
                  <a:ea typeface="Nunito"/>
                  <a:cs typeface="Nunito"/>
                  <a:sym typeface="Nunito"/>
                </a:rPr>
                <a:t>COMERCIO EXTERIOR</a:t>
              </a:r>
              <a:endParaRPr b="1">
                <a:solidFill>
                  <a:srgbClr val="FFFFFF"/>
                </a:solidFill>
                <a:latin typeface="Calibri" panose="020F0502020204030204" pitchFamily="34" charset="0"/>
                <a:ea typeface="Nunito"/>
                <a:cs typeface="Nunito"/>
                <a:sym typeface="Nunito"/>
              </a:endParaRPr>
            </a:p>
          </p:txBody>
        </p:sp>
        <p:pic>
          <p:nvPicPr>
            <p:cNvPr id="326" name="Google Shape;326;p58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4607125" y="1697551"/>
              <a:ext cx="415696" cy="39025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27" name="Google Shape;327;p58"/>
          <p:cNvSpPr/>
          <p:nvPr/>
        </p:nvSpPr>
        <p:spPr>
          <a:xfrm rot="-5400000" flipH="1">
            <a:off x="4017150" y="-4030500"/>
            <a:ext cx="1101300" cy="9162300"/>
          </a:xfrm>
          <a:prstGeom prst="rect">
            <a:avLst/>
          </a:prstGeom>
          <a:solidFill>
            <a:srgbClr val="5BC2E7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8" name="Google Shape;328;p58"/>
          <p:cNvSpPr txBox="1"/>
          <p:nvPr/>
        </p:nvSpPr>
        <p:spPr>
          <a:xfrm>
            <a:off x="442275" y="506177"/>
            <a:ext cx="6724200" cy="52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</a:pPr>
            <a:r>
              <a:rPr lang="en" sz="2800">
                <a:solidFill>
                  <a:schemeClr val="lt1"/>
                </a:solidFill>
                <a:latin typeface="+mn-lt"/>
                <a:ea typeface="Open Sans"/>
                <a:cs typeface="Open Sans"/>
                <a:sym typeface="Open Sans"/>
              </a:rPr>
              <a:t>Financiamiento con abordaje integral</a:t>
            </a:r>
            <a:endParaRPr sz="2800" i="0" u="none" strike="noStrike" cap="none">
              <a:solidFill>
                <a:srgbClr val="FFFFFF"/>
              </a:solidFill>
              <a:latin typeface="+mn-lt"/>
              <a:ea typeface="Open Sans"/>
              <a:cs typeface="Open Sans"/>
              <a:sym typeface="Open Sans"/>
            </a:endParaRPr>
          </a:p>
        </p:txBody>
      </p:sp>
      <p:sp>
        <p:nvSpPr>
          <p:cNvPr id="329" name="Google Shape;329;p58"/>
          <p:cNvSpPr txBox="1"/>
          <p:nvPr/>
        </p:nvSpPr>
        <p:spPr>
          <a:xfrm>
            <a:off x="442274" y="173625"/>
            <a:ext cx="3237600" cy="25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" sz="1200" dirty="0">
                <a:solidFill>
                  <a:srgbClr val="FFFFFF"/>
                </a:solidFill>
                <a:latin typeface="Calibri" panose="020F0502020204030204" pitchFamily="34" charset="0"/>
                <a:ea typeface="Nunito"/>
                <a:cs typeface="Nunito"/>
                <a:sym typeface="Nunito"/>
              </a:rPr>
              <a:t>LÍNEAS DE NEGOCIO</a:t>
            </a:r>
            <a:endParaRPr sz="1200" i="0" u="none" strike="noStrike" cap="none" dirty="0">
              <a:solidFill>
                <a:srgbClr val="FFFFFF"/>
              </a:solidFill>
              <a:latin typeface="Calibri" panose="020F0502020204030204" pitchFamily="34" charset="0"/>
              <a:ea typeface="Nunito"/>
              <a:cs typeface="Nunito"/>
              <a:sym typeface="Nunito"/>
            </a:endParaRPr>
          </a:p>
        </p:txBody>
      </p:sp>
      <p:cxnSp>
        <p:nvCxnSpPr>
          <p:cNvPr id="330" name="Google Shape;330;p58"/>
          <p:cNvCxnSpPr/>
          <p:nvPr/>
        </p:nvCxnSpPr>
        <p:spPr>
          <a:xfrm>
            <a:off x="519765" y="441780"/>
            <a:ext cx="510300" cy="0"/>
          </a:xfrm>
          <a:prstGeom prst="straightConnector1">
            <a:avLst/>
          </a:prstGeom>
          <a:noFill/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331" name="Google Shape;331;p58"/>
          <p:cNvGrpSpPr/>
          <p:nvPr/>
        </p:nvGrpSpPr>
        <p:grpSpPr>
          <a:xfrm>
            <a:off x="5885212" y="1994734"/>
            <a:ext cx="2711227" cy="642616"/>
            <a:chOff x="1358488" y="1571534"/>
            <a:chExt cx="2711227" cy="642616"/>
          </a:xfrm>
        </p:grpSpPr>
        <p:sp>
          <p:nvSpPr>
            <p:cNvPr id="332" name="Google Shape;332;p58"/>
            <p:cNvSpPr/>
            <p:nvPr/>
          </p:nvSpPr>
          <p:spPr>
            <a:xfrm flipH="1">
              <a:off x="2048372" y="1571550"/>
              <a:ext cx="1419300" cy="642600"/>
            </a:xfrm>
            <a:prstGeom prst="rect">
              <a:avLst/>
            </a:prstGeom>
            <a:solidFill>
              <a:srgbClr val="2C61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Calibri" panose="020F0502020204030204" pitchFamily="34" charset="0"/>
              </a:endParaRPr>
            </a:p>
          </p:txBody>
        </p:sp>
        <p:sp>
          <p:nvSpPr>
            <p:cNvPr id="333" name="Google Shape;333;p58"/>
            <p:cNvSpPr/>
            <p:nvPr/>
          </p:nvSpPr>
          <p:spPr>
            <a:xfrm>
              <a:off x="1358488" y="1571534"/>
              <a:ext cx="690000" cy="642300"/>
            </a:xfrm>
            <a:prstGeom prst="rect">
              <a:avLst/>
            </a:prstGeom>
            <a:solidFill>
              <a:srgbClr val="B02C20"/>
            </a:solidFill>
            <a:ln>
              <a:noFill/>
            </a:ln>
            <a:effectLst>
              <a:outerShdw blurRad="71438" dist="28575" dir="2700000" algn="bl" rotWithShape="0">
                <a:srgbClr val="000000">
                  <a:alpha val="17000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Calibri" panose="020F0502020204030204" pitchFamily="34" charset="0"/>
              </a:endParaRPr>
            </a:p>
          </p:txBody>
        </p:sp>
        <p:sp>
          <p:nvSpPr>
            <p:cNvPr id="334" name="Google Shape;334;p58"/>
            <p:cNvSpPr/>
            <p:nvPr/>
          </p:nvSpPr>
          <p:spPr>
            <a:xfrm>
              <a:off x="1358488" y="1571541"/>
              <a:ext cx="690000" cy="642600"/>
            </a:xfrm>
            <a:prstGeom prst="rect">
              <a:avLst/>
            </a:prstGeom>
            <a:solidFill>
              <a:srgbClr val="2C61AC">
                <a:alpha val="8498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600">
                <a:solidFill>
                  <a:srgbClr val="FFFFFF"/>
                </a:solidFill>
                <a:latin typeface="Calibri" panose="020F0502020204030204" pitchFamily="34" charset="0"/>
                <a:ea typeface="Roboto Thin"/>
                <a:cs typeface="Roboto Thin"/>
                <a:sym typeface="Roboto Thin"/>
              </a:endParaRPr>
            </a:p>
          </p:txBody>
        </p:sp>
        <p:sp>
          <p:nvSpPr>
            <p:cNvPr id="335" name="Google Shape;335;p58"/>
            <p:cNvSpPr/>
            <p:nvPr/>
          </p:nvSpPr>
          <p:spPr>
            <a:xfrm rot="16200000">
              <a:off x="3038991" y="1183109"/>
              <a:ext cx="642300" cy="1419149"/>
            </a:xfrm>
            <a:prstGeom prst="flowChartOffpageConnector">
              <a:avLst/>
            </a:prstGeom>
            <a:solidFill>
              <a:srgbClr val="2C61A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Calibri" panose="020F0502020204030204" pitchFamily="34" charset="0"/>
              </a:endParaRPr>
            </a:p>
          </p:txBody>
        </p:sp>
        <p:pic>
          <p:nvPicPr>
            <p:cNvPr id="336" name="Google Shape;336;p58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1500887" y="1697562"/>
              <a:ext cx="405227" cy="39023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37" name="Google Shape;337;p58"/>
            <p:cNvSpPr/>
            <p:nvPr/>
          </p:nvSpPr>
          <p:spPr>
            <a:xfrm>
              <a:off x="2108113" y="1648917"/>
              <a:ext cx="1940700" cy="495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" b="1">
                  <a:solidFill>
                    <a:srgbClr val="FFFFFF"/>
                  </a:solidFill>
                  <a:latin typeface="Calibri" panose="020F0502020204030204" pitchFamily="34" charset="0"/>
                  <a:ea typeface="Nunito"/>
                  <a:cs typeface="Nunito"/>
                  <a:sym typeface="Nunito"/>
                </a:rPr>
                <a:t>INVERSIONES</a:t>
              </a:r>
              <a:endParaRPr b="1">
                <a:solidFill>
                  <a:srgbClr val="FFFFFF"/>
                </a:solidFill>
                <a:latin typeface="Calibri" panose="020F0502020204030204" pitchFamily="34" charset="0"/>
                <a:ea typeface="Nunito"/>
                <a:cs typeface="Nunito"/>
                <a:sym typeface="Nunito"/>
              </a:endParaRPr>
            </a:p>
          </p:txBody>
        </p:sp>
      </p:grpSp>
      <p:grpSp>
        <p:nvGrpSpPr>
          <p:cNvPr id="338" name="Google Shape;338;p58"/>
          <p:cNvGrpSpPr/>
          <p:nvPr/>
        </p:nvGrpSpPr>
        <p:grpSpPr>
          <a:xfrm>
            <a:off x="5885212" y="1279921"/>
            <a:ext cx="2711227" cy="643356"/>
            <a:chOff x="1358488" y="2637484"/>
            <a:chExt cx="2711227" cy="643356"/>
          </a:xfrm>
        </p:grpSpPr>
        <p:grpSp>
          <p:nvGrpSpPr>
            <p:cNvPr id="339" name="Google Shape;339;p58"/>
            <p:cNvGrpSpPr/>
            <p:nvPr/>
          </p:nvGrpSpPr>
          <p:grpSpPr>
            <a:xfrm>
              <a:off x="1358488" y="2637484"/>
              <a:ext cx="2711227" cy="643356"/>
              <a:chOff x="1358488" y="1571534"/>
              <a:chExt cx="2711227" cy="643356"/>
            </a:xfrm>
          </p:grpSpPr>
          <p:sp>
            <p:nvSpPr>
              <p:cNvPr id="340" name="Google Shape;340;p58"/>
              <p:cNvSpPr/>
              <p:nvPr/>
            </p:nvSpPr>
            <p:spPr>
              <a:xfrm flipH="1">
                <a:off x="2048372" y="1571550"/>
                <a:ext cx="1419300" cy="642600"/>
              </a:xfrm>
              <a:prstGeom prst="rect">
                <a:avLst/>
              </a:prstGeom>
              <a:solidFill>
                <a:srgbClr val="FFB81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latin typeface="Calibri" panose="020F0502020204030204" pitchFamily="34" charset="0"/>
                </a:endParaRPr>
              </a:p>
            </p:txBody>
          </p:sp>
          <p:sp>
            <p:nvSpPr>
              <p:cNvPr id="341" name="Google Shape;341;p58"/>
              <p:cNvSpPr/>
              <p:nvPr/>
            </p:nvSpPr>
            <p:spPr>
              <a:xfrm>
                <a:off x="1358488" y="1571534"/>
                <a:ext cx="690000" cy="642300"/>
              </a:xfrm>
              <a:prstGeom prst="rect">
                <a:avLst/>
              </a:prstGeom>
              <a:solidFill>
                <a:srgbClr val="B02C20"/>
              </a:solidFill>
              <a:ln>
                <a:noFill/>
              </a:ln>
              <a:effectLst>
                <a:outerShdw blurRad="71438" dist="28575" dir="2700000" algn="bl" rotWithShape="0">
                  <a:srgbClr val="000000">
                    <a:alpha val="17000"/>
                  </a:srgbClr>
                </a:outerShdw>
              </a:effectLst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latin typeface="Calibri" panose="020F0502020204030204" pitchFamily="34" charset="0"/>
                </a:endParaRPr>
              </a:p>
            </p:txBody>
          </p:sp>
          <p:sp>
            <p:nvSpPr>
              <p:cNvPr id="342" name="Google Shape;342;p58"/>
              <p:cNvSpPr/>
              <p:nvPr/>
            </p:nvSpPr>
            <p:spPr>
              <a:xfrm>
                <a:off x="1358488" y="1571541"/>
                <a:ext cx="690000" cy="642600"/>
              </a:xfrm>
              <a:prstGeom prst="rect">
                <a:avLst/>
              </a:prstGeom>
              <a:solidFill>
                <a:srgbClr val="FFB81C">
                  <a:alpha val="784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600">
                  <a:solidFill>
                    <a:srgbClr val="FFFFFF"/>
                  </a:solidFill>
                  <a:latin typeface="Calibri" panose="020F0502020204030204" pitchFamily="34" charset="0"/>
                  <a:ea typeface="Roboto Thin"/>
                  <a:cs typeface="Roboto Thin"/>
                  <a:sym typeface="Roboto Thin"/>
                </a:endParaRPr>
              </a:p>
            </p:txBody>
          </p:sp>
          <p:sp>
            <p:nvSpPr>
              <p:cNvPr id="343" name="Google Shape;343;p58"/>
              <p:cNvSpPr/>
              <p:nvPr/>
            </p:nvSpPr>
            <p:spPr>
              <a:xfrm rot="-5400000">
                <a:off x="3038462" y="1183637"/>
                <a:ext cx="643356" cy="1419149"/>
              </a:xfrm>
              <a:prstGeom prst="flowChartOffpageConnector">
                <a:avLst/>
              </a:prstGeom>
              <a:solidFill>
                <a:srgbClr val="FFB81C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latin typeface="Calibri" panose="020F0502020204030204" pitchFamily="34" charset="0"/>
                </a:endParaRPr>
              </a:p>
            </p:txBody>
          </p:sp>
          <p:sp>
            <p:nvSpPr>
              <p:cNvPr id="344" name="Google Shape;344;p58"/>
              <p:cNvSpPr/>
              <p:nvPr/>
            </p:nvSpPr>
            <p:spPr>
              <a:xfrm>
                <a:off x="2108113" y="1648917"/>
                <a:ext cx="1940700" cy="495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b="1" dirty="0">
                    <a:solidFill>
                      <a:srgbClr val="FFFFFF"/>
                    </a:solidFill>
                    <a:latin typeface="Calibri" panose="020F0502020204030204" pitchFamily="34" charset="0"/>
                    <a:ea typeface="Nunito"/>
                    <a:cs typeface="Nunito"/>
                    <a:sym typeface="Nunito"/>
                  </a:rPr>
                  <a:t>CAPITAL DE TRABAJO</a:t>
                </a:r>
                <a:endParaRPr b="1" dirty="0">
                  <a:solidFill>
                    <a:srgbClr val="FFFFFF"/>
                  </a:solidFill>
                  <a:latin typeface="Calibri" panose="020F0502020204030204" pitchFamily="34" charset="0"/>
                  <a:ea typeface="Nunito"/>
                  <a:cs typeface="Nunito"/>
                  <a:sym typeface="Nunito"/>
                </a:endParaRPr>
              </a:p>
            </p:txBody>
          </p:sp>
        </p:grpSp>
        <p:pic>
          <p:nvPicPr>
            <p:cNvPr id="345" name="Google Shape;345;p58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505001" y="2792475"/>
              <a:ext cx="357425" cy="34735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346" name="Google Shape;346;p58"/>
          <p:cNvGrpSpPr/>
          <p:nvPr/>
        </p:nvGrpSpPr>
        <p:grpSpPr>
          <a:xfrm>
            <a:off x="5885212" y="3422084"/>
            <a:ext cx="2711227" cy="643356"/>
            <a:chOff x="3512113" y="2502634"/>
            <a:chExt cx="2711227" cy="643356"/>
          </a:xfrm>
        </p:grpSpPr>
        <p:grpSp>
          <p:nvGrpSpPr>
            <p:cNvPr id="347" name="Google Shape;347;p58"/>
            <p:cNvGrpSpPr/>
            <p:nvPr/>
          </p:nvGrpSpPr>
          <p:grpSpPr>
            <a:xfrm>
              <a:off x="3512113" y="2502634"/>
              <a:ext cx="2711227" cy="643356"/>
              <a:chOff x="1358488" y="1571534"/>
              <a:chExt cx="2711227" cy="643356"/>
            </a:xfrm>
          </p:grpSpPr>
          <p:sp>
            <p:nvSpPr>
              <p:cNvPr id="348" name="Google Shape;348;p58"/>
              <p:cNvSpPr/>
              <p:nvPr/>
            </p:nvSpPr>
            <p:spPr>
              <a:xfrm flipH="1">
                <a:off x="2048372" y="1571550"/>
                <a:ext cx="1419300" cy="642600"/>
              </a:xfrm>
              <a:prstGeom prst="rect">
                <a:avLst/>
              </a:prstGeom>
              <a:solidFill>
                <a:srgbClr val="008EAA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latin typeface="Calibri" panose="020F0502020204030204" pitchFamily="34" charset="0"/>
                </a:endParaRPr>
              </a:p>
            </p:txBody>
          </p:sp>
          <p:sp>
            <p:nvSpPr>
              <p:cNvPr id="349" name="Google Shape;349;p58"/>
              <p:cNvSpPr/>
              <p:nvPr/>
            </p:nvSpPr>
            <p:spPr>
              <a:xfrm>
                <a:off x="1358488" y="1571534"/>
                <a:ext cx="690000" cy="642300"/>
              </a:xfrm>
              <a:prstGeom prst="rect">
                <a:avLst/>
              </a:prstGeom>
              <a:solidFill>
                <a:srgbClr val="B02C20"/>
              </a:solidFill>
              <a:ln>
                <a:noFill/>
              </a:ln>
              <a:effectLst>
                <a:outerShdw blurRad="71438" dist="28575" dir="2700000" algn="bl" rotWithShape="0">
                  <a:srgbClr val="000000">
                    <a:alpha val="17000"/>
                  </a:srgbClr>
                </a:outerShdw>
              </a:effectLst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latin typeface="Calibri" panose="020F0502020204030204" pitchFamily="34" charset="0"/>
                </a:endParaRPr>
              </a:p>
            </p:txBody>
          </p:sp>
          <p:sp>
            <p:nvSpPr>
              <p:cNvPr id="350" name="Google Shape;350;p58"/>
              <p:cNvSpPr/>
              <p:nvPr/>
            </p:nvSpPr>
            <p:spPr>
              <a:xfrm>
                <a:off x="1358488" y="1571541"/>
                <a:ext cx="690000" cy="642600"/>
              </a:xfrm>
              <a:prstGeom prst="rect">
                <a:avLst/>
              </a:prstGeom>
              <a:solidFill>
                <a:srgbClr val="008EAA">
                  <a:alpha val="7729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600">
                  <a:solidFill>
                    <a:srgbClr val="FFFFFF"/>
                  </a:solidFill>
                  <a:latin typeface="Calibri" panose="020F0502020204030204" pitchFamily="34" charset="0"/>
                  <a:ea typeface="Roboto Thin"/>
                  <a:cs typeface="Roboto Thin"/>
                  <a:sym typeface="Roboto Thin"/>
                </a:endParaRPr>
              </a:p>
            </p:txBody>
          </p:sp>
          <p:sp>
            <p:nvSpPr>
              <p:cNvPr id="351" name="Google Shape;351;p58"/>
              <p:cNvSpPr/>
              <p:nvPr/>
            </p:nvSpPr>
            <p:spPr>
              <a:xfrm rot="-5400000">
                <a:off x="3038462" y="1183637"/>
                <a:ext cx="643356" cy="1419149"/>
              </a:xfrm>
              <a:prstGeom prst="flowChartOffpageConnector">
                <a:avLst/>
              </a:prstGeom>
              <a:solidFill>
                <a:srgbClr val="008EAA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latin typeface="Calibri" panose="020F0502020204030204" pitchFamily="34" charset="0"/>
                </a:endParaRPr>
              </a:p>
            </p:txBody>
          </p:sp>
          <p:sp>
            <p:nvSpPr>
              <p:cNvPr id="352" name="Google Shape;352;p58"/>
              <p:cNvSpPr/>
              <p:nvPr/>
            </p:nvSpPr>
            <p:spPr>
              <a:xfrm>
                <a:off x="2108113" y="1648917"/>
                <a:ext cx="1940700" cy="495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b="1">
                    <a:solidFill>
                      <a:srgbClr val="FFFFFF"/>
                    </a:solidFill>
                    <a:latin typeface="Calibri" panose="020F0502020204030204" pitchFamily="34" charset="0"/>
                    <a:ea typeface="Nunito"/>
                    <a:cs typeface="Nunito"/>
                    <a:sym typeface="Nunito"/>
                  </a:rPr>
                  <a:t>SERVICIOS FIDUCIARIOS</a:t>
                </a:r>
                <a:endParaRPr b="1">
                  <a:solidFill>
                    <a:srgbClr val="FFFFFF"/>
                  </a:solidFill>
                  <a:latin typeface="Calibri" panose="020F0502020204030204" pitchFamily="34" charset="0"/>
                  <a:ea typeface="Nunito"/>
                  <a:cs typeface="Nunito"/>
                  <a:sym typeface="Nunito"/>
                </a:endParaRPr>
              </a:p>
            </p:txBody>
          </p:sp>
        </p:grpSp>
        <p:pic>
          <p:nvPicPr>
            <p:cNvPr id="353" name="Google Shape;353;p58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3615194" y="2647937"/>
              <a:ext cx="489782" cy="35275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354" name="Google Shape;354;p58"/>
          <p:cNvGrpSpPr/>
          <p:nvPr/>
        </p:nvGrpSpPr>
        <p:grpSpPr>
          <a:xfrm>
            <a:off x="5885212" y="4145084"/>
            <a:ext cx="2711227" cy="643356"/>
            <a:chOff x="6536563" y="2502634"/>
            <a:chExt cx="2711227" cy="643356"/>
          </a:xfrm>
        </p:grpSpPr>
        <p:grpSp>
          <p:nvGrpSpPr>
            <p:cNvPr id="355" name="Google Shape;355;p58"/>
            <p:cNvGrpSpPr/>
            <p:nvPr/>
          </p:nvGrpSpPr>
          <p:grpSpPr>
            <a:xfrm>
              <a:off x="6536562" y="2502634"/>
              <a:ext cx="2711227" cy="643356"/>
              <a:chOff x="1358488" y="1571534"/>
              <a:chExt cx="2711227" cy="643356"/>
            </a:xfrm>
          </p:grpSpPr>
          <p:sp>
            <p:nvSpPr>
              <p:cNvPr id="356" name="Google Shape;356;p58"/>
              <p:cNvSpPr/>
              <p:nvPr/>
            </p:nvSpPr>
            <p:spPr>
              <a:xfrm flipH="1">
                <a:off x="2048521" y="1571550"/>
                <a:ext cx="1217700" cy="642600"/>
              </a:xfrm>
              <a:prstGeom prst="rect">
                <a:avLst/>
              </a:prstGeom>
              <a:solidFill>
                <a:srgbClr val="51468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latin typeface="Calibri" panose="020F0502020204030204" pitchFamily="34" charset="0"/>
                </a:endParaRPr>
              </a:p>
            </p:txBody>
          </p:sp>
          <p:sp>
            <p:nvSpPr>
              <p:cNvPr id="357" name="Google Shape;357;p58"/>
              <p:cNvSpPr/>
              <p:nvPr/>
            </p:nvSpPr>
            <p:spPr>
              <a:xfrm>
                <a:off x="1358488" y="1571534"/>
                <a:ext cx="690000" cy="642300"/>
              </a:xfrm>
              <a:prstGeom prst="rect">
                <a:avLst/>
              </a:prstGeom>
              <a:solidFill>
                <a:srgbClr val="B02C20"/>
              </a:solidFill>
              <a:ln>
                <a:noFill/>
              </a:ln>
              <a:effectLst>
                <a:outerShdw blurRad="71438" dist="28575" dir="2700000" algn="bl" rotWithShape="0">
                  <a:srgbClr val="000000">
                    <a:alpha val="17000"/>
                  </a:srgbClr>
                </a:outerShdw>
              </a:effectLst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latin typeface="Calibri" panose="020F0502020204030204" pitchFamily="34" charset="0"/>
                </a:endParaRPr>
              </a:p>
            </p:txBody>
          </p:sp>
          <p:sp>
            <p:nvSpPr>
              <p:cNvPr id="358" name="Google Shape;358;p58"/>
              <p:cNvSpPr/>
              <p:nvPr/>
            </p:nvSpPr>
            <p:spPr>
              <a:xfrm>
                <a:off x="1358488" y="1571541"/>
                <a:ext cx="690000" cy="642600"/>
              </a:xfrm>
              <a:prstGeom prst="rect">
                <a:avLst/>
              </a:prstGeom>
              <a:solidFill>
                <a:srgbClr val="514689">
                  <a:alpha val="7806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600">
                  <a:solidFill>
                    <a:srgbClr val="FFFFFF"/>
                  </a:solidFill>
                  <a:latin typeface="Calibri" panose="020F0502020204030204" pitchFamily="34" charset="0"/>
                  <a:ea typeface="Roboto Thin"/>
                  <a:cs typeface="Roboto Thin"/>
                  <a:sym typeface="Roboto Thin"/>
                </a:endParaRPr>
              </a:p>
            </p:txBody>
          </p:sp>
          <p:sp>
            <p:nvSpPr>
              <p:cNvPr id="359" name="Google Shape;359;p58"/>
              <p:cNvSpPr/>
              <p:nvPr/>
            </p:nvSpPr>
            <p:spPr>
              <a:xfrm rot="-5400000">
                <a:off x="3038462" y="1183637"/>
                <a:ext cx="643356" cy="1419149"/>
              </a:xfrm>
              <a:prstGeom prst="flowChartOffpageConnector">
                <a:avLst/>
              </a:prstGeom>
              <a:solidFill>
                <a:srgbClr val="514689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>
                  <a:latin typeface="Calibri" panose="020F0502020204030204" pitchFamily="34" charset="0"/>
                </a:endParaRPr>
              </a:p>
            </p:txBody>
          </p:sp>
          <p:sp>
            <p:nvSpPr>
              <p:cNvPr id="360" name="Google Shape;360;p58"/>
              <p:cNvSpPr/>
              <p:nvPr/>
            </p:nvSpPr>
            <p:spPr>
              <a:xfrm>
                <a:off x="2108113" y="1648917"/>
                <a:ext cx="1940700" cy="495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" sz="1600" b="1" dirty="0">
                    <a:solidFill>
                      <a:srgbClr val="FFFFFF"/>
                    </a:solidFill>
                    <a:latin typeface="Calibri" panose="020F0502020204030204" pitchFamily="34" charset="0"/>
                    <a:ea typeface="Nunito"/>
                    <a:cs typeface="Nunito"/>
                    <a:sym typeface="Nunito"/>
                  </a:rPr>
                  <a:t>PPP</a:t>
                </a:r>
                <a:endParaRPr sz="1600" b="1" dirty="0">
                  <a:solidFill>
                    <a:srgbClr val="FFFFFF"/>
                  </a:solidFill>
                  <a:latin typeface="Calibri" panose="020F0502020204030204" pitchFamily="34" charset="0"/>
                  <a:ea typeface="Nunito"/>
                  <a:cs typeface="Nunito"/>
                  <a:sym typeface="Nunito"/>
                </a:endParaRPr>
              </a:p>
            </p:txBody>
          </p:sp>
        </p:grpSp>
        <p:pic>
          <p:nvPicPr>
            <p:cNvPr id="361" name="Google Shape;361;p58"/>
            <p:cNvPicPr preferRelativeResize="0"/>
            <p:nvPr/>
          </p:nvPicPr>
          <p:blipFill>
            <a:blip r:embed="rId8">
              <a:alphaModFix/>
            </a:blip>
            <a:stretch>
              <a:fillRect/>
            </a:stretch>
          </p:blipFill>
          <p:spPr>
            <a:xfrm>
              <a:off x="6676825" y="2614275"/>
              <a:ext cx="420099" cy="420099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362" name="Google Shape;362;p58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0" y="5107650"/>
            <a:ext cx="9144001" cy="41750"/>
          </a:xfrm>
          <a:prstGeom prst="rect">
            <a:avLst/>
          </a:prstGeom>
          <a:noFill/>
          <a:ln>
            <a:noFill/>
          </a:ln>
        </p:spPr>
      </p:pic>
      <p:sp>
        <p:nvSpPr>
          <p:cNvPr id="363" name="Google Shape;363;p58"/>
          <p:cNvSpPr txBox="1"/>
          <p:nvPr/>
        </p:nvSpPr>
        <p:spPr>
          <a:xfrm>
            <a:off x="398500" y="3534775"/>
            <a:ext cx="4361964" cy="12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" sz="2400" dirty="0">
                <a:solidFill>
                  <a:schemeClr val="lt1"/>
                </a:solidFill>
                <a:latin typeface="+mn-lt"/>
                <a:ea typeface="Nunito"/>
                <a:cs typeface="Nunito"/>
                <a:sym typeface="Nunito"/>
              </a:rPr>
              <a:t>Para dar solución transversal a las necesidades de los sectores económicos</a:t>
            </a:r>
            <a:endParaRPr sz="2400" dirty="0">
              <a:solidFill>
                <a:schemeClr val="lt1"/>
              </a:solidFill>
              <a:latin typeface="+mn-lt"/>
              <a:ea typeface="Nunito"/>
              <a:cs typeface="Nunito"/>
              <a:sym typeface="Nunito"/>
            </a:endParaRPr>
          </a:p>
        </p:txBody>
      </p:sp>
    </p:spTree>
    <p:extLst>
      <p:ext uri="{BB962C8B-B14F-4D97-AF65-F5344CB8AC3E}">
        <p14:creationId xmlns:p14="http://schemas.microsoft.com/office/powerpoint/2010/main" val="9579024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7" name="Google Shape;667;p69"/>
          <p:cNvSpPr/>
          <p:nvPr/>
        </p:nvSpPr>
        <p:spPr>
          <a:xfrm rot="-5400000" flipH="1">
            <a:off x="3912450" y="-2811026"/>
            <a:ext cx="1310700" cy="9162300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8" name="Google Shape;668;p69"/>
          <p:cNvSpPr/>
          <p:nvPr/>
        </p:nvSpPr>
        <p:spPr>
          <a:xfrm rot="-5400000" flipH="1">
            <a:off x="4017150" y="-4030500"/>
            <a:ext cx="1101300" cy="9162300"/>
          </a:xfrm>
          <a:prstGeom prst="rect">
            <a:avLst/>
          </a:prstGeom>
          <a:solidFill>
            <a:srgbClr val="5BC2E7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9" name="Google Shape;669;p69"/>
          <p:cNvSpPr txBox="1"/>
          <p:nvPr/>
        </p:nvSpPr>
        <p:spPr>
          <a:xfrm>
            <a:off x="442275" y="506177"/>
            <a:ext cx="6724200" cy="52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2800" dirty="0">
                <a:solidFill>
                  <a:srgbClr val="FFFFFF"/>
                </a:solidFill>
                <a:latin typeface="+mn-lt"/>
                <a:ea typeface="Open Sans"/>
                <a:cs typeface="Open Sans"/>
                <a:sym typeface="Open Sans"/>
              </a:rPr>
              <a:t>Líneas de negocio</a:t>
            </a:r>
            <a:endParaRPr sz="2800" dirty="0">
              <a:solidFill>
                <a:srgbClr val="FFFFFF"/>
              </a:solidFill>
              <a:latin typeface="+mn-lt"/>
              <a:ea typeface="Open Sans"/>
              <a:cs typeface="Open Sans"/>
              <a:sym typeface="Open Sans"/>
            </a:endParaRPr>
          </a:p>
        </p:txBody>
      </p:sp>
      <p:sp>
        <p:nvSpPr>
          <p:cNvPr id="670" name="Google Shape;670;p69"/>
          <p:cNvSpPr txBox="1"/>
          <p:nvPr/>
        </p:nvSpPr>
        <p:spPr>
          <a:xfrm>
            <a:off x="442274" y="173625"/>
            <a:ext cx="3237600" cy="25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200">
                <a:solidFill>
                  <a:srgbClr val="FFFFFF"/>
                </a:solidFill>
                <a:latin typeface="Calibri" panose="020F0502020204030204" pitchFamily="34" charset="0"/>
                <a:ea typeface="Nunito"/>
                <a:cs typeface="Nunito"/>
                <a:sym typeface="Nunito"/>
              </a:rPr>
              <a:t>PRODUCTOS</a:t>
            </a:r>
            <a:endParaRPr sz="1200">
              <a:solidFill>
                <a:srgbClr val="FFFFFF"/>
              </a:solidFill>
              <a:latin typeface="Calibri" panose="020F0502020204030204" pitchFamily="34" charset="0"/>
              <a:ea typeface="Nunito"/>
              <a:cs typeface="Nunito"/>
              <a:sym typeface="Nunito"/>
            </a:endParaRPr>
          </a:p>
        </p:txBody>
      </p:sp>
      <p:cxnSp>
        <p:nvCxnSpPr>
          <p:cNvPr id="671" name="Google Shape;671;p69"/>
          <p:cNvCxnSpPr/>
          <p:nvPr/>
        </p:nvCxnSpPr>
        <p:spPr>
          <a:xfrm>
            <a:off x="519765" y="441780"/>
            <a:ext cx="510300" cy="0"/>
          </a:xfrm>
          <a:prstGeom prst="straightConnector1">
            <a:avLst/>
          </a:prstGeom>
          <a:noFill/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672" name="Google Shape;672;p6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5101750"/>
            <a:ext cx="9144001" cy="41750"/>
          </a:xfrm>
          <a:prstGeom prst="rect">
            <a:avLst/>
          </a:prstGeom>
          <a:noFill/>
          <a:ln>
            <a:noFill/>
          </a:ln>
        </p:spPr>
      </p:pic>
      <p:sp>
        <p:nvSpPr>
          <p:cNvPr id="673" name="Google Shape;673;p69"/>
          <p:cNvSpPr/>
          <p:nvPr/>
        </p:nvSpPr>
        <p:spPr>
          <a:xfrm>
            <a:off x="690050" y="1897983"/>
            <a:ext cx="19608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200" b="1" dirty="0">
                <a:solidFill>
                  <a:srgbClr val="41C2E9"/>
                </a:solidFill>
                <a:latin typeface="+mn-lt"/>
                <a:ea typeface="Nunito"/>
                <a:cs typeface="Nunito"/>
                <a:sym typeface="Nunito"/>
              </a:rPr>
              <a:t>Pre y post financiamiento</a:t>
            </a:r>
            <a:endParaRPr sz="1200" b="1" dirty="0">
              <a:solidFill>
                <a:srgbClr val="41C2E9"/>
              </a:solidFill>
              <a:latin typeface="+mn-lt"/>
              <a:ea typeface="Nunito"/>
              <a:cs typeface="Nunito"/>
              <a:sym typeface="Nunito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200" b="1" dirty="0">
                <a:solidFill>
                  <a:srgbClr val="41C2E9"/>
                </a:solidFill>
                <a:latin typeface="+mn-lt"/>
                <a:ea typeface="Nunito"/>
                <a:cs typeface="Nunito"/>
                <a:sym typeface="Nunito"/>
              </a:rPr>
              <a:t>de </a:t>
            </a:r>
            <a:r>
              <a:rPr lang="en" sz="1200" b="1" dirty="0" smtClean="0">
                <a:solidFill>
                  <a:srgbClr val="41C2E9"/>
                </a:solidFill>
                <a:latin typeface="+mn-lt"/>
                <a:ea typeface="Nunito"/>
                <a:cs typeface="Nunito"/>
                <a:sym typeface="Nunito"/>
              </a:rPr>
              <a:t>exportaciones / Exportadores Indirectos</a:t>
            </a:r>
            <a:endParaRPr sz="1200" b="1" dirty="0">
              <a:solidFill>
                <a:srgbClr val="41C2E9"/>
              </a:solidFill>
              <a:latin typeface="+mn-lt"/>
              <a:ea typeface="Nunito"/>
              <a:cs typeface="Nunito"/>
              <a:sym typeface="Nunito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200" b="1" dirty="0">
              <a:solidFill>
                <a:srgbClr val="41C2E9"/>
              </a:solidFill>
              <a:latin typeface="+mn-lt"/>
              <a:ea typeface="Nunito"/>
              <a:cs typeface="Nunito"/>
              <a:sym typeface="Nunito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200" b="1" dirty="0">
              <a:solidFill>
                <a:srgbClr val="41C2E9"/>
              </a:solidFill>
              <a:latin typeface="+mn-lt"/>
              <a:ea typeface="Nunito"/>
              <a:cs typeface="Nunito"/>
              <a:sym typeface="Nunito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200" b="1" dirty="0">
              <a:solidFill>
                <a:srgbClr val="41C2E9"/>
              </a:solidFill>
              <a:latin typeface="+mn-lt"/>
              <a:ea typeface="Nunito"/>
              <a:cs typeface="Nunito"/>
              <a:sym typeface="Nunito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200" b="1" dirty="0">
              <a:solidFill>
                <a:srgbClr val="41C2E9"/>
              </a:solidFill>
              <a:latin typeface="+mn-lt"/>
              <a:ea typeface="Nunito"/>
              <a:cs typeface="Nunito"/>
              <a:sym typeface="Nunito"/>
            </a:endParaRPr>
          </a:p>
        </p:txBody>
      </p:sp>
      <p:sp>
        <p:nvSpPr>
          <p:cNvPr id="674" name="Google Shape;674;p69"/>
          <p:cNvSpPr/>
          <p:nvPr/>
        </p:nvSpPr>
        <p:spPr>
          <a:xfrm>
            <a:off x="690050" y="2763455"/>
            <a:ext cx="1998000" cy="1763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139700" marR="0" lvl="0" indent="-1270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B487"/>
              </a:buClr>
              <a:buSzPts val="1000"/>
              <a:buFont typeface="Nunito"/>
              <a:buChar char="•"/>
            </a:pPr>
            <a:r>
              <a:rPr lang="en" sz="1000" dirty="0">
                <a:solidFill>
                  <a:srgbClr val="757070"/>
                </a:solidFill>
                <a:latin typeface="+mn-lt"/>
                <a:ea typeface="Nunito"/>
                <a:cs typeface="Nunito"/>
                <a:sym typeface="Nunito"/>
              </a:rPr>
              <a:t>Para exportadores y productores de bienes y servicios </a:t>
            </a:r>
            <a:endParaRPr sz="1000" dirty="0">
              <a:solidFill>
                <a:srgbClr val="757070"/>
              </a:solidFill>
              <a:latin typeface="+mn-lt"/>
              <a:ea typeface="Nunito"/>
              <a:cs typeface="Nunito"/>
              <a:sym typeface="Nunito"/>
            </a:endParaRPr>
          </a:p>
          <a:p>
            <a:pPr marL="139700" marR="0" lvl="0" indent="-1270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B487"/>
              </a:buClr>
              <a:buSzPts val="1000"/>
              <a:buFont typeface="Nunito"/>
              <a:buChar char="•"/>
            </a:pPr>
            <a:r>
              <a:rPr lang="en" sz="1000" dirty="0">
                <a:solidFill>
                  <a:srgbClr val="757070"/>
                </a:solidFill>
                <a:latin typeface="+mn-lt"/>
                <a:ea typeface="Nunito"/>
                <a:cs typeface="Nunito"/>
                <a:sym typeface="Nunito"/>
              </a:rPr>
              <a:t>Financiar la producción con destino al mercado externo de productos primarios, manufacturas de origen agropecuario o industrial, como también la prestación de servicios en general.</a:t>
            </a:r>
            <a:endParaRPr sz="1000" dirty="0">
              <a:solidFill>
                <a:srgbClr val="757070"/>
              </a:solidFill>
              <a:latin typeface="+mn-lt"/>
              <a:ea typeface="Nunito"/>
              <a:cs typeface="Nunito"/>
              <a:sym typeface="Nunito"/>
            </a:endParaRPr>
          </a:p>
          <a:p>
            <a:pPr marL="139700" marR="0" lvl="0" indent="-1270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B487"/>
              </a:buClr>
              <a:buSzPts val="1000"/>
              <a:buFont typeface="Nunito"/>
              <a:buChar char="•"/>
            </a:pPr>
            <a:r>
              <a:rPr lang="en" sz="1000" dirty="0" smtClean="0">
                <a:solidFill>
                  <a:srgbClr val="757070"/>
                </a:solidFill>
                <a:latin typeface="+mn-lt"/>
                <a:ea typeface="Nunito"/>
                <a:cs typeface="Nunito"/>
                <a:sym typeface="Nunito"/>
              </a:rPr>
              <a:t>Linea para Exportadores Indirectos</a:t>
            </a:r>
            <a:endParaRPr sz="1000" dirty="0">
              <a:solidFill>
                <a:srgbClr val="757070"/>
              </a:solidFill>
              <a:latin typeface="+mn-lt"/>
              <a:ea typeface="Nunito"/>
              <a:cs typeface="Nunito"/>
              <a:sym typeface="Nunito"/>
            </a:endParaRPr>
          </a:p>
        </p:txBody>
      </p:sp>
      <p:sp>
        <p:nvSpPr>
          <p:cNvPr id="675" name="Google Shape;675;p69"/>
          <p:cNvSpPr/>
          <p:nvPr/>
        </p:nvSpPr>
        <p:spPr>
          <a:xfrm>
            <a:off x="3469499" y="1897989"/>
            <a:ext cx="1908000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200" b="1">
                <a:solidFill>
                  <a:srgbClr val="41C2E9"/>
                </a:solidFill>
                <a:latin typeface="+mn-lt"/>
                <a:ea typeface="Nunito"/>
                <a:cs typeface="Nunito"/>
                <a:sym typeface="Nunito"/>
              </a:rPr>
              <a:t>Forfaiting: Exportaciones</a:t>
            </a:r>
            <a:endParaRPr sz="1200" b="1">
              <a:solidFill>
                <a:srgbClr val="41C2E9"/>
              </a:solidFill>
              <a:latin typeface="+mn-lt"/>
              <a:ea typeface="Nunito"/>
              <a:cs typeface="Nunito"/>
              <a:sym typeface="Nunito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200" b="1">
                <a:solidFill>
                  <a:srgbClr val="41C2E9"/>
                </a:solidFill>
                <a:latin typeface="+mn-lt"/>
                <a:ea typeface="Nunito"/>
                <a:cs typeface="Nunito"/>
                <a:sym typeface="Nunito"/>
              </a:rPr>
              <a:t>a largo plazo</a:t>
            </a:r>
            <a:endParaRPr sz="1200" b="1">
              <a:solidFill>
                <a:srgbClr val="41C2E9"/>
              </a:solidFill>
              <a:latin typeface="+mn-lt"/>
              <a:ea typeface="Nunito"/>
              <a:cs typeface="Nunito"/>
              <a:sym typeface="Nunito"/>
            </a:endParaRPr>
          </a:p>
        </p:txBody>
      </p:sp>
      <p:sp>
        <p:nvSpPr>
          <p:cNvPr id="676" name="Google Shape;676;p69"/>
          <p:cNvSpPr/>
          <p:nvPr/>
        </p:nvSpPr>
        <p:spPr>
          <a:xfrm>
            <a:off x="3469500" y="2763456"/>
            <a:ext cx="2034900" cy="888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171450" marR="0" lvl="0" indent="-1651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B487"/>
              </a:buClr>
              <a:buSzPts val="800"/>
              <a:buFont typeface="Nunito"/>
              <a:buChar char="●"/>
            </a:pPr>
            <a:r>
              <a:rPr lang="en" sz="1000" dirty="0">
                <a:solidFill>
                  <a:srgbClr val="757070"/>
                </a:solidFill>
                <a:latin typeface="+mn-lt"/>
                <a:ea typeface="Nunito"/>
                <a:cs typeface="Nunito"/>
                <a:sym typeface="Nunito"/>
              </a:rPr>
              <a:t>Financiación que permite al exportador vender sus productos en el exterior y otorgarle al comprador un plazo de hasta 10 años para cancelar la deuda</a:t>
            </a:r>
            <a:r>
              <a:rPr lang="en" sz="1000" dirty="0" smtClean="0">
                <a:solidFill>
                  <a:srgbClr val="757070"/>
                </a:solidFill>
                <a:latin typeface="+mn-lt"/>
                <a:ea typeface="Nunito"/>
                <a:cs typeface="Nunito"/>
                <a:sym typeface="Nunito"/>
              </a:rPr>
              <a:t>. El importador recibe el financiamiento en tanto que el exportador cobra a la vista contra la documentacion en orden.</a:t>
            </a:r>
            <a:endParaRPr sz="1000" dirty="0">
              <a:solidFill>
                <a:srgbClr val="757070"/>
              </a:solidFill>
              <a:latin typeface="+mn-lt"/>
              <a:ea typeface="Nunito"/>
              <a:cs typeface="Nunito"/>
              <a:sym typeface="Nunito"/>
            </a:endParaRPr>
          </a:p>
        </p:txBody>
      </p:sp>
      <p:sp>
        <p:nvSpPr>
          <p:cNvPr id="677" name="Google Shape;677;p69"/>
          <p:cNvSpPr/>
          <p:nvPr/>
        </p:nvSpPr>
        <p:spPr>
          <a:xfrm>
            <a:off x="6258851" y="1904824"/>
            <a:ext cx="2346062" cy="27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200" b="1" dirty="0">
                <a:solidFill>
                  <a:srgbClr val="41C2E9"/>
                </a:solidFill>
                <a:latin typeface="+mn-lt"/>
                <a:ea typeface="Nunito"/>
                <a:cs typeface="Nunito"/>
                <a:sym typeface="Nunito"/>
              </a:rPr>
              <a:t>Financiación a la distribución</a:t>
            </a:r>
            <a:endParaRPr sz="1200" b="1" dirty="0">
              <a:solidFill>
                <a:srgbClr val="41C2E9"/>
              </a:solidFill>
              <a:latin typeface="+mn-lt"/>
              <a:ea typeface="Nunito"/>
              <a:cs typeface="Nunito"/>
              <a:sym typeface="Nunito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200" b="1" dirty="0">
                <a:solidFill>
                  <a:srgbClr val="41C2E9"/>
                </a:solidFill>
                <a:latin typeface="+mn-lt"/>
                <a:ea typeface="Nunito"/>
                <a:cs typeface="Nunito"/>
                <a:sym typeface="Nunito"/>
              </a:rPr>
              <a:t>física internacional</a:t>
            </a:r>
            <a:endParaRPr sz="1200" b="1" dirty="0">
              <a:solidFill>
                <a:srgbClr val="41C2E9"/>
              </a:solidFill>
              <a:latin typeface="+mn-lt"/>
              <a:ea typeface="Nunito"/>
              <a:cs typeface="Nunito"/>
              <a:sym typeface="Nunito"/>
            </a:endParaRPr>
          </a:p>
        </p:txBody>
      </p:sp>
      <p:sp>
        <p:nvSpPr>
          <p:cNvPr id="678" name="Google Shape;678;p69"/>
          <p:cNvSpPr/>
          <p:nvPr/>
        </p:nvSpPr>
        <p:spPr>
          <a:xfrm>
            <a:off x="6258850" y="2763456"/>
            <a:ext cx="1960800" cy="16477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139700" lvl="0" indent="-127000" algn="l" rtl="0">
              <a:spcBef>
                <a:spcPts val="500"/>
              </a:spcBef>
              <a:spcAft>
                <a:spcPts val="0"/>
              </a:spcAft>
              <a:buClr>
                <a:srgbClr val="00B487"/>
              </a:buClr>
              <a:buSzPts val="1000"/>
              <a:buFont typeface="Nunito"/>
              <a:buChar char="•"/>
            </a:pPr>
            <a:r>
              <a:rPr lang="en" sz="1000" dirty="0">
                <a:solidFill>
                  <a:srgbClr val="757070"/>
                </a:solidFill>
                <a:latin typeface="+mn-lt"/>
                <a:ea typeface="Nunito"/>
                <a:cs typeface="Nunito"/>
                <a:sym typeface="Nunito"/>
              </a:rPr>
              <a:t>Financiar las exportaciones a Hubs logísticos para profundizar las ventas y mejorar la competitividad de las empresas.</a:t>
            </a:r>
            <a:endParaRPr sz="1000" dirty="0">
              <a:solidFill>
                <a:srgbClr val="757070"/>
              </a:solidFill>
              <a:latin typeface="+mn-lt"/>
              <a:ea typeface="Nunito"/>
              <a:cs typeface="Nunito"/>
              <a:sym typeface="Nunito"/>
            </a:endParaRPr>
          </a:p>
          <a:p>
            <a:pPr marL="139700" lvl="0" indent="-127000" algn="l" rtl="0">
              <a:spcBef>
                <a:spcPts val="500"/>
              </a:spcBef>
              <a:spcAft>
                <a:spcPts val="0"/>
              </a:spcAft>
              <a:buClr>
                <a:srgbClr val="00B487"/>
              </a:buClr>
              <a:buSzPts val="1000"/>
              <a:buFont typeface="Nunito"/>
              <a:buChar char="•"/>
            </a:pPr>
            <a:r>
              <a:rPr lang="en" sz="1000" dirty="0">
                <a:solidFill>
                  <a:srgbClr val="757070"/>
                </a:solidFill>
                <a:latin typeface="+mn-lt"/>
                <a:ea typeface="Nunito"/>
                <a:cs typeface="Nunito"/>
                <a:sym typeface="Nunito"/>
              </a:rPr>
              <a:t>Para empresas pertenecientes al programa de Hubs Logísticos de la Agencia Argentina de Inversiones y Comercio Internacional.</a:t>
            </a:r>
            <a:endParaRPr sz="1000" dirty="0">
              <a:solidFill>
                <a:srgbClr val="757070"/>
              </a:solidFill>
              <a:latin typeface="+mn-lt"/>
              <a:ea typeface="Nunito"/>
              <a:cs typeface="Nunito"/>
              <a:sym typeface="Nunito"/>
            </a:endParaRPr>
          </a:p>
        </p:txBody>
      </p:sp>
      <p:cxnSp>
        <p:nvCxnSpPr>
          <p:cNvPr id="679" name="Google Shape;679;p69"/>
          <p:cNvCxnSpPr/>
          <p:nvPr/>
        </p:nvCxnSpPr>
        <p:spPr>
          <a:xfrm>
            <a:off x="14100" y="2386025"/>
            <a:ext cx="9123000" cy="0"/>
          </a:xfrm>
          <a:prstGeom prst="straightConnector1">
            <a:avLst/>
          </a:prstGeom>
          <a:noFill/>
          <a:ln w="9525" cap="flat" cmpd="sng">
            <a:solidFill>
              <a:srgbClr val="FFFFFF"/>
            </a:solidFill>
            <a:prstDash val="dot"/>
            <a:round/>
            <a:headEnd type="none" w="med" len="med"/>
            <a:tailEnd type="none" w="med" len="med"/>
          </a:ln>
        </p:spPr>
      </p:cxnSp>
      <p:sp>
        <p:nvSpPr>
          <p:cNvPr id="680" name="Google Shape;680;p69"/>
          <p:cNvSpPr/>
          <p:nvPr/>
        </p:nvSpPr>
        <p:spPr>
          <a:xfrm rot="10800000">
            <a:off x="715776" y="2401458"/>
            <a:ext cx="318600" cy="139800"/>
          </a:xfrm>
          <a:prstGeom prst="triangle">
            <a:avLst>
              <a:gd name="adj" fmla="val 50000"/>
            </a:avLst>
          </a:prstGeom>
          <a:solidFill>
            <a:srgbClr val="EFEFE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81" name="Google Shape;681;p69"/>
          <p:cNvSpPr/>
          <p:nvPr/>
        </p:nvSpPr>
        <p:spPr>
          <a:xfrm rot="10800000">
            <a:off x="3469500" y="2401458"/>
            <a:ext cx="318600" cy="139800"/>
          </a:xfrm>
          <a:prstGeom prst="triangle">
            <a:avLst>
              <a:gd name="adj" fmla="val 50000"/>
            </a:avLst>
          </a:prstGeom>
          <a:solidFill>
            <a:srgbClr val="EFEFE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82" name="Google Shape;682;p69"/>
          <p:cNvSpPr/>
          <p:nvPr/>
        </p:nvSpPr>
        <p:spPr>
          <a:xfrm rot="10800000">
            <a:off x="6258850" y="2401458"/>
            <a:ext cx="318600" cy="139800"/>
          </a:xfrm>
          <a:prstGeom prst="triangle">
            <a:avLst>
              <a:gd name="adj" fmla="val 50000"/>
            </a:avLst>
          </a:prstGeom>
          <a:solidFill>
            <a:srgbClr val="EFEFE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83" name="Google Shape;683;p69"/>
          <p:cNvSpPr/>
          <p:nvPr/>
        </p:nvSpPr>
        <p:spPr>
          <a:xfrm>
            <a:off x="690050" y="4741925"/>
            <a:ext cx="466200" cy="22800"/>
          </a:xfrm>
          <a:prstGeom prst="rect">
            <a:avLst/>
          </a:prstGeom>
          <a:solidFill>
            <a:srgbClr val="00B487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85" name="Google Shape;685;p69"/>
          <p:cNvSpPr/>
          <p:nvPr/>
        </p:nvSpPr>
        <p:spPr>
          <a:xfrm>
            <a:off x="6258850" y="4596581"/>
            <a:ext cx="466200" cy="22800"/>
          </a:xfrm>
          <a:prstGeom prst="rect">
            <a:avLst/>
          </a:prstGeom>
          <a:solidFill>
            <a:srgbClr val="00B487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686" name="Google Shape;686;p69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90050" y="1367310"/>
            <a:ext cx="435075" cy="483440"/>
          </a:xfrm>
          <a:prstGeom prst="rect">
            <a:avLst/>
          </a:prstGeom>
          <a:noFill/>
          <a:ln>
            <a:noFill/>
          </a:ln>
        </p:spPr>
      </p:pic>
      <p:pic>
        <p:nvPicPr>
          <p:cNvPr id="687" name="Google Shape;687;p69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3469499" y="1364150"/>
            <a:ext cx="427924" cy="427950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Google Shape;688;p69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258851" y="1403538"/>
            <a:ext cx="446274" cy="4472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024640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0" name="Google Shape;530;p4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2850" y="5075405"/>
            <a:ext cx="9143998" cy="68081"/>
          </a:xfrm>
          <a:prstGeom prst="rect">
            <a:avLst/>
          </a:prstGeom>
          <a:noFill/>
          <a:ln>
            <a:noFill/>
          </a:ln>
        </p:spPr>
      </p:pic>
      <p:sp>
        <p:nvSpPr>
          <p:cNvPr id="531" name="Google Shape;531;p45"/>
          <p:cNvSpPr/>
          <p:nvPr/>
        </p:nvSpPr>
        <p:spPr>
          <a:xfrm rot="-5400000" flipH="1">
            <a:off x="4017150" y="-4062031"/>
            <a:ext cx="1101300" cy="9162300"/>
          </a:xfrm>
          <a:prstGeom prst="rect">
            <a:avLst/>
          </a:prstGeom>
          <a:solidFill>
            <a:srgbClr val="5BC2E7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2" name="Google Shape;532;p45"/>
          <p:cNvSpPr txBox="1"/>
          <p:nvPr/>
        </p:nvSpPr>
        <p:spPr>
          <a:xfrm>
            <a:off x="442275" y="506177"/>
            <a:ext cx="6724200" cy="52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>
              <a:buSzPts val="3600"/>
            </a:pPr>
            <a:r>
              <a:rPr lang="es-AR" sz="2800" dirty="0" smtClean="0">
                <a:solidFill>
                  <a:srgbClr val="FFFFFF"/>
                </a:solidFill>
                <a:latin typeface="Arial" panose="020B0604020202020204" pitchFamily="34" charset="0"/>
                <a:ea typeface="Open Sans"/>
                <a:cs typeface="Arial" panose="020B0604020202020204" pitchFamily="34" charset="0"/>
                <a:sym typeface="Open Sans"/>
              </a:rPr>
              <a:t>Líneas de Financiación de Corto Plazo:</a:t>
            </a:r>
            <a:endParaRPr lang="es-AR" sz="2800" dirty="0">
              <a:solidFill>
                <a:srgbClr val="FFFFFF"/>
              </a:solidFill>
              <a:latin typeface="Arial" panose="020B0604020202020204" pitchFamily="34" charset="0"/>
              <a:ea typeface="Open Sans"/>
              <a:cs typeface="Arial" panose="020B0604020202020204" pitchFamily="34" charset="0"/>
              <a:sym typeface="Open Sans"/>
            </a:endParaRPr>
          </a:p>
        </p:txBody>
      </p:sp>
      <p:sp>
        <p:nvSpPr>
          <p:cNvPr id="533" name="Google Shape;533;p45"/>
          <p:cNvSpPr txBox="1"/>
          <p:nvPr/>
        </p:nvSpPr>
        <p:spPr>
          <a:xfrm>
            <a:off x="442274" y="173625"/>
            <a:ext cx="3237600" cy="25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>
              <a:buSzPts val="1400"/>
            </a:pPr>
            <a:r>
              <a:rPr lang="es-AR" sz="1200" dirty="0" smtClean="0">
                <a:solidFill>
                  <a:srgbClr val="FFFFFF"/>
                </a:solidFill>
                <a:latin typeface="Arial" panose="020B0604020202020204" pitchFamily="34" charset="0"/>
                <a:ea typeface="Nunito"/>
                <a:cs typeface="Arial" panose="020B0604020202020204" pitchFamily="34" charset="0"/>
                <a:sym typeface="Nunito"/>
              </a:rPr>
              <a:t>Banco de Desarrollo Productivo</a:t>
            </a:r>
            <a:endParaRPr lang="es-AR" sz="1200" dirty="0">
              <a:solidFill>
                <a:srgbClr val="FFFFFF"/>
              </a:solidFill>
              <a:latin typeface="Arial" panose="020B0604020202020204" pitchFamily="34" charset="0"/>
              <a:ea typeface="Nunito"/>
              <a:cs typeface="Arial" panose="020B0604020202020204" pitchFamily="34" charset="0"/>
              <a:sym typeface="Nunito"/>
            </a:endParaRPr>
          </a:p>
        </p:txBody>
      </p:sp>
      <p:cxnSp>
        <p:nvCxnSpPr>
          <p:cNvPr id="534" name="Google Shape;534;p45"/>
          <p:cNvCxnSpPr/>
          <p:nvPr/>
        </p:nvCxnSpPr>
        <p:spPr>
          <a:xfrm>
            <a:off x="519765" y="441780"/>
            <a:ext cx="510300" cy="0"/>
          </a:xfrm>
          <a:prstGeom prst="straightConnector1">
            <a:avLst/>
          </a:prstGeom>
          <a:noFill/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37" name="Google Shape;537;p45"/>
          <p:cNvSpPr/>
          <p:nvPr/>
        </p:nvSpPr>
        <p:spPr>
          <a:xfrm rot="5400000">
            <a:off x="4616057" y="1811482"/>
            <a:ext cx="83400" cy="72000"/>
          </a:xfrm>
          <a:prstGeom prst="triangle">
            <a:avLst>
              <a:gd name="adj" fmla="val 50000"/>
            </a:avLst>
          </a:prstGeom>
          <a:solidFill>
            <a:srgbClr val="B3DEF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8" name="Google Shape;538;p45"/>
          <p:cNvSpPr/>
          <p:nvPr/>
        </p:nvSpPr>
        <p:spPr>
          <a:xfrm rot="5400000">
            <a:off x="4616057" y="2573482"/>
            <a:ext cx="83400" cy="72000"/>
          </a:xfrm>
          <a:prstGeom prst="triangle">
            <a:avLst>
              <a:gd name="adj" fmla="val 50000"/>
            </a:avLst>
          </a:prstGeom>
          <a:solidFill>
            <a:srgbClr val="B3DEF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9" name="Google Shape;539;p45"/>
          <p:cNvSpPr/>
          <p:nvPr/>
        </p:nvSpPr>
        <p:spPr>
          <a:xfrm rot="5400000">
            <a:off x="4616057" y="3719621"/>
            <a:ext cx="83400" cy="72000"/>
          </a:xfrm>
          <a:prstGeom prst="triangle">
            <a:avLst>
              <a:gd name="adj" fmla="val 50000"/>
            </a:avLst>
          </a:prstGeom>
          <a:solidFill>
            <a:srgbClr val="B3DEF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12" name="Google Shape;873;p71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0" y="1576552"/>
            <a:ext cx="9144000" cy="226873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Box 5"/>
          <p:cNvSpPr txBox="1"/>
          <p:nvPr/>
        </p:nvSpPr>
        <p:spPr>
          <a:xfrm>
            <a:off x="162848" y="3949533"/>
            <a:ext cx="8483882" cy="86177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buClr>
                <a:schemeClr val="bg1">
                  <a:lumMod val="75000"/>
                </a:schemeClr>
              </a:buClr>
              <a:buSzPct val="100000"/>
            </a:pPr>
            <a:r>
              <a:rPr lang="es-AR" altLang="es-AR" sz="1400" b="1" dirty="0" smtClean="0">
                <a:solidFill>
                  <a:srgbClr val="00A4C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 </a:t>
            </a:r>
            <a:r>
              <a:rPr lang="es-AR" altLang="es-AR" sz="1400" b="1" dirty="0">
                <a:solidFill>
                  <a:srgbClr val="00A4C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 Post Financiación de </a:t>
            </a:r>
            <a:r>
              <a:rPr lang="es-AR" altLang="es-AR" sz="1400" b="1" dirty="0" smtClean="0">
                <a:solidFill>
                  <a:srgbClr val="00A4C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ortaciones </a:t>
            </a:r>
            <a:br>
              <a:rPr lang="es-AR" altLang="es-AR" sz="1400" b="1" dirty="0" smtClean="0">
                <a:solidFill>
                  <a:srgbClr val="00A4CA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-AR" altLang="es-AR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tinadas </a:t>
            </a:r>
            <a:r>
              <a:rPr lang="es-AR" altLang="es-A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inanciar </a:t>
            </a:r>
            <a:r>
              <a:rPr lang="es-AR" altLang="es-AR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 </a:t>
            </a:r>
            <a:r>
              <a:rPr lang="es-AR" altLang="es-A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fuerzo de producir y embarcar </a:t>
            </a:r>
            <a:r>
              <a:rPr lang="es-AR" altLang="es-AR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caderías (Prefinanciación</a:t>
            </a:r>
            <a:r>
              <a:rPr lang="es-AR" altLang="es-A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como </a:t>
            </a:r>
            <a:r>
              <a:rPr lang="es-AR" altLang="es-AR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í </a:t>
            </a:r>
            <a:r>
              <a:rPr lang="es-AR" altLang="es-A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mbién acompañar el esfuerzo </a:t>
            </a:r>
            <a:r>
              <a:rPr lang="es-AR" altLang="es-AR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es-AR" altLang="es-A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ercialización brindando herramientas destinadas a financiar luego de producido el embarque (Post Financiación</a:t>
            </a:r>
            <a:r>
              <a:rPr lang="es-AR" altLang="es-AR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  <a:endParaRPr lang="es-AR" altLang="es-AR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24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Imagen 30" descr="barra_degradé_colores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95333"/>
            <a:ext cx="9144000" cy="155864"/>
          </a:xfrm>
          <a:prstGeom prst="rect">
            <a:avLst/>
          </a:prstGeom>
        </p:spPr>
      </p:pic>
      <p:cxnSp>
        <p:nvCxnSpPr>
          <p:cNvPr id="52" name="Shape 1618"/>
          <p:cNvCxnSpPr/>
          <p:nvPr/>
        </p:nvCxnSpPr>
        <p:spPr>
          <a:xfrm>
            <a:off x="446306" y="2325810"/>
            <a:ext cx="8153850" cy="0"/>
          </a:xfrm>
          <a:prstGeom prst="straightConnector1">
            <a:avLst/>
          </a:prstGeom>
          <a:noFill/>
          <a:ln w="28575" cap="flat" cmpd="sng">
            <a:solidFill>
              <a:srgbClr val="FFFFFF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17" name="TextBox 3"/>
          <p:cNvSpPr txBox="1"/>
          <p:nvPr/>
        </p:nvSpPr>
        <p:spPr>
          <a:xfrm>
            <a:off x="446306" y="644525"/>
            <a:ext cx="40286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spc="300" dirty="0" err="1" smtClean="0">
                <a:solidFill>
                  <a:srgbClr val="2C61AC"/>
                </a:solidFill>
                <a:latin typeface="Arial"/>
                <a:cs typeface="Arial"/>
              </a:rPr>
              <a:t>Productos</a:t>
            </a:r>
            <a:r>
              <a:rPr lang="en-US" sz="1400" b="1" spc="300" dirty="0" smtClean="0">
                <a:solidFill>
                  <a:srgbClr val="2C61AC"/>
                </a:solidFill>
                <a:latin typeface="Arial"/>
                <a:cs typeface="Arial"/>
              </a:rPr>
              <a:t> primer </a:t>
            </a:r>
            <a:r>
              <a:rPr lang="en-US" sz="1400" b="1" spc="300" dirty="0" err="1" smtClean="0">
                <a:solidFill>
                  <a:srgbClr val="2C61AC"/>
                </a:solidFill>
                <a:latin typeface="Arial"/>
                <a:cs typeface="Arial"/>
              </a:rPr>
              <a:t>piso</a:t>
            </a:r>
            <a:r>
              <a:rPr lang="en-US" sz="1400" b="1" spc="300" dirty="0" smtClean="0">
                <a:solidFill>
                  <a:srgbClr val="2C61AC"/>
                </a:solidFill>
                <a:latin typeface="Arial"/>
                <a:cs typeface="Arial"/>
              </a:rPr>
              <a:t> - COMEX</a:t>
            </a:r>
            <a:endParaRPr lang="en-US" sz="1400" b="1" spc="300" dirty="0">
              <a:solidFill>
                <a:srgbClr val="2C61AC"/>
              </a:solidFill>
              <a:latin typeface="Arial"/>
              <a:cs typeface="Arial"/>
            </a:endParaRPr>
          </a:p>
        </p:txBody>
      </p:sp>
      <p:pic>
        <p:nvPicPr>
          <p:cNvPr id="19" name="Imagen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1477" y="390551"/>
            <a:ext cx="821624" cy="230832"/>
          </a:xfrm>
          <a:prstGeom prst="rect">
            <a:avLst/>
          </a:prstGeom>
        </p:spPr>
      </p:pic>
      <p:pic>
        <p:nvPicPr>
          <p:cNvPr id="20" name="Imagen 1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140" y="390551"/>
            <a:ext cx="2348491" cy="91149"/>
          </a:xfrm>
          <a:prstGeom prst="rect">
            <a:avLst/>
          </a:prstGeom>
        </p:spPr>
      </p:pic>
      <p:graphicFrame>
        <p:nvGraphicFramePr>
          <p:cNvPr id="18" name="2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2575657"/>
              </p:ext>
            </p:extLst>
          </p:nvPr>
        </p:nvGraphicFramePr>
        <p:xfrm>
          <a:off x="3264752" y="1765495"/>
          <a:ext cx="3981297" cy="2013304"/>
        </p:xfrm>
        <a:graphic>
          <a:graphicData uri="http://schemas.openxmlformats.org/drawingml/2006/table">
            <a:tbl>
              <a:tblPr firstRow="1" bandRow="1">
                <a:tableStyleId>{74C1A8A3-306A-4EB7-A6B1-4F7E0EB9C5D6}</a:tableStyleId>
              </a:tblPr>
              <a:tblGrid>
                <a:gridCol w="146495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8466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4124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9044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876186">
                <a:tc>
                  <a:txBody>
                    <a:bodyPr/>
                    <a:lstStyle/>
                    <a:p>
                      <a:endParaRPr lang="es-AR" sz="1500" dirty="0"/>
                    </a:p>
                  </a:txBody>
                  <a:tcPr marL="83510" marR="83510" marT="41744" marB="41744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75C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1500" dirty="0" smtClean="0"/>
                        <a:t>A</a:t>
                      </a:r>
                      <a:endParaRPr lang="es-AR" sz="1500" dirty="0"/>
                    </a:p>
                  </a:txBody>
                  <a:tcPr marL="83510" marR="83510" marT="41744" marB="41744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75C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1500" dirty="0" smtClean="0"/>
                        <a:t>B</a:t>
                      </a:r>
                      <a:endParaRPr lang="es-AR" sz="1500" dirty="0"/>
                    </a:p>
                  </a:txBody>
                  <a:tcPr marL="83510" marR="83510" marT="41744" marB="41744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75C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1500" dirty="0" smtClean="0"/>
                        <a:t>C</a:t>
                      </a:r>
                      <a:endParaRPr lang="es-AR" sz="1500" dirty="0"/>
                    </a:p>
                  </a:txBody>
                  <a:tcPr marL="83510" marR="83510" marT="41744" marB="41744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75C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68559">
                <a:tc>
                  <a:txBody>
                    <a:bodyPr/>
                    <a:lstStyle/>
                    <a:p>
                      <a:r>
                        <a:rPr lang="es-AR" sz="1000" dirty="0" smtClean="0">
                          <a:solidFill>
                            <a:srgbClr val="4F4F4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sta 210 días</a:t>
                      </a:r>
                    </a:p>
                  </a:txBody>
                  <a:tcPr marL="83510" marR="83510" marT="41744" marB="41744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1000" dirty="0" smtClean="0">
                          <a:solidFill>
                            <a:srgbClr val="4F4F4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50%</a:t>
                      </a:r>
                    </a:p>
                    <a:p>
                      <a:pPr algn="ctr"/>
                      <a:r>
                        <a:rPr lang="es-AR" sz="1000" dirty="0" smtClean="0">
                          <a:solidFill>
                            <a:srgbClr val="4F4F4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75%</a:t>
                      </a:r>
                      <a:endParaRPr lang="es-AR" sz="1000" dirty="0">
                        <a:solidFill>
                          <a:srgbClr val="4F4F4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510" marR="83510" marT="41744" marB="41744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1000" dirty="0" smtClean="0">
                          <a:solidFill>
                            <a:srgbClr val="4F4F4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00%</a:t>
                      </a:r>
                    </a:p>
                    <a:p>
                      <a:pPr algn="ctr"/>
                      <a:r>
                        <a:rPr lang="es-AR" sz="1000" dirty="0" smtClean="0">
                          <a:solidFill>
                            <a:srgbClr val="4F4F4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25%</a:t>
                      </a:r>
                      <a:endParaRPr lang="es-AR" sz="1000" dirty="0">
                        <a:solidFill>
                          <a:srgbClr val="4F4F4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510" marR="83510" marT="41744" marB="41744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1000" dirty="0" smtClean="0">
                          <a:solidFill>
                            <a:srgbClr val="4F4F4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00%</a:t>
                      </a:r>
                    </a:p>
                    <a:p>
                      <a:pPr algn="ctr"/>
                      <a:r>
                        <a:rPr lang="es-AR" sz="1000" dirty="0" smtClean="0">
                          <a:solidFill>
                            <a:srgbClr val="4F4F4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25%</a:t>
                      </a:r>
                      <a:endParaRPr lang="es-AR" sz="1000" dirty="0">
                        <a:solidFill>
                          <a:srgbClr val="4F4F4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510" marR="83510" marT="41744" marB="41744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6855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AR" sz="1000" dirty="0" smtClean="0">
                          <a:solidFill>
                            <a:srgbClr val="4F4F4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ás de</a:t>
                      </a:r>
                      <a:r>
                        <a:rPr lang="es-AR" sz="1000" baseline="0" dirty="0" smtClean="0">
                          <a:solidFill>
                            <a:srgbClr val="4F4F4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10 días</a:t>
                      </a:r>
                    </a:p>
                  </a:txBody>
                  <a:tcPr marL="83510" marR="83510" marT="41744" marB="4174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1000" dirty="0" smtClean="0">
                          <a:solidFill>
                            <a:srgbClr val="4F4F4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00%</a:t>
                      </a:r>
                    </a:p>
                    <a:p>
                      <a:pPr algn="ctr"/>
                      <a:r>
                        <a:rPr lang="es-AR" sz="1000" dirty="0" smtClean="0">
                          <a:solidFill>
                            <a:srgbClr val="4F4F4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25%</a:t>
                      </a:r>
                      <a:endParaRPr lang="es-AR" sz="1000" dirty="0">
                        <a:solidFill>
                          <a:srgbClr val="4F4F4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510" marR="83510" marT="41744" marB="4174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1000" dirty="0" smtClean="0">
                          <a:solidFill>
                            <a:srgbClr val="4F4F4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50%</a:t>
                      </a:r>
                    </a:p>
                    <a:p>
                      <a:pPr algn="ctr"/>
                      <a:r>
                        <a:rPr lang="es-AR" sz="1000" dirty="0" smtClean="0">
                          <a:solidFill>
                            <a:srgbClr val="4F4F4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75%</a:t>
                      </a:r>
                      <a:endParaRPr lang="es-AR" sz="1000" dirty="0">
                        <a:solidFill>
                          <a:srgbClr val="4F4F4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510" marR="83510" marT="41744" marB="4174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AR" sz="1000" dirty="0" smtClean="0">
                          <a:solidFill>
                            <a:srgbClr val="4F4F4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50%</a:t>
                      </a:r>
                    </a:p>
                    <a:p>
                      <a:pPr algn="ctr"/>
                      <a:r>
                        <a:rPr lang="es-AR" sz="1000" dirty="0" smtClean="0">
                          <a:solidFill>
                            <a:srgbClr val="4F4F4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75%</a:t>
                      </a:r>
                      <a:endParaRPr lang="es-AR" sz="1000" dirty="0">
                        <a:solidFill>
                          <a:srgbClr val="4F4F4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510" marR="83510" marT="41744" marB="4174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21" name="Grupo 20"/>
          <p:cNvGrpSpPr/>
          <p:nvPr/>
        </p:nvGrpSpPr>
        <p:grpSpPr>
          <a:xfrm>
            <a:off x="3273459" y="1753856"/>
            <a:ext cx="1778429" cy="888972"/>
            <a:chOff x="4864087" y="2345553"/>
            <a:chExt cx="1947796" cy="973633"/>
          </a:xfrm>
        </p:grpSpPr>
        <p:cxnSp>
          <p:nvCxnSpPr>
            <p:cNvPr id="22" name="9 Conector recto"/>
            <p:cNvCxnSpPr/>
            <p:nvPr/>
          </p:nvCxnSpPr>
          <p:spPr>
            <a:xfrm>
              <a:off x="4864087" y="2345553"/>
              <a:ext cx="1471594" cy="973633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7 CuadroTexto"/>
            <p:cNvSpPr txBox="1">
              <a:spLocks noChangeArrowheads="1"/>
            </p:cNvSpPr>
            <p:nvPr/>
          </p:nvSpPr>
          <p:spPr bwMode="auto">
            <a:xfrm>
              <a:off x="5587922" y="2485582"/>
              <a:ext cx="1223961" cy="2696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es-AR" altLang="es-AR" sz="10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iesgo</a:t>
              </a:r>
            </a:p>
          </p:txBody>
        </p:sp>
        <p:sp>
          <p:nvSpPr>
            <p:cNvPr id="24" name="18 CuadroTexto"/>
            <p:cNvSpPr txBox="1">
              <a:spLocks noChangeArrowheads="1"/>
            </p:cNvSpPr>
            <p:nvPr/>
          </p:nvSpPr>
          <p:spPr bwMode="auto">
            <a:xfrm>
              <a:off x="4984747" y="3015807"/>
              <a:ext cx="1223961" cy="2696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es-AR" altLang="es-AR" sz="10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lazo</a:t>
              </a:r>
            </a:p>
          </p:txBody>
        </p:sp>
      </p:grpSp>
      <p:grpSp>
        <p:nvGrpSpPr>
          <p:cNvPr id="25" name="Grupo 24"/>
          <p:cNvGrpSpPr/>
          <p:nvPr/>
        </p:nvGrpSpPr>
        <p:grpSpPr>
          <a:xfrm>
            <a:off x="7523936" y="481700"/>
            <a:ext cx="1417385" cy="3685242"/>
            <a:chOff x="8784859" y="1542278"/>
            <a:chExt cx="1715790" cy="4036205"/>
          </a:xfrm>
        </p:grpSpPr>
        <p:sp>
          <p:nvSpPr>
            <p:cNvPr id="26" name="12 Abrir llave"/>
            <p:cNvSpPr/>
            <p:nvPr/>
          </p:nvSpPr>
          <p:spPr>
            <a:xfrm rot="10800000">
              <a:off x="8784859" y="1542278"/>
              <a:ext cx="239712" cy="4036205"/>
            </a:xfrm>
            <a:prstGeom prst="leftBrace">
              <a:avLst>
                <a:gd name="adj1" fmla="val 64429"/>
                <a:gd name="adj2" fmla="val 50405"/>
              </a:avLst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s-AR" sz="10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Forma libre 26"/>
            <p:cNvSpPr/>
            <p:nvPr/>
          </p:nvSpPr>
          <p:spPr>
            <a:xfrm>
              <a:off x="9266382" y="2559436"/>
              <a:ext cx="1215759" cy="708883"/>
            </a:xfrm>
            <a:custGeom>
              <a:avLst/>
              <a:gdLst>
                <a:gd name="connsiteX0" fmla="*/ 0 w 1512167"/>
                <a:gd name="connsiteY0" fmla="*/ 63961 h 383760"/>
                <a:gd name="connsiteX1" fmla="*/ 63961 w 1512167"/>
                <a:gd name="connsiteY1" fmla="*/ 0 h 383760"/>
                <a:gd name="connsiteX2" fmla="*/ 1448206 w 1512167"/>
                <a:gd name="connsiteY2" fmla="*/ 0 h 383760"/>
                <a:gd name="connsiteX3" fmla="*/ 1512167 w 1512167"/>
                <a:gd name="connsiteY3" fmla="*/ 63961 h 383760"/>
                <a:gd name="connsiteX4" fmla="*/ 1512167 w 1512167"/>
                <a:gd name="connsiteY4" fmla="*/ 319799 h 383760"/>
                <a:gd name="connsiteX5" fmla="*/ 1448206 w 1512167"/>
                <a:gd name="connsiteY5" fmla="*/ 383760 h 383760"/>
                <a:gd name="connsiteX6" fmla="*/ 63961 w 1512167"/>
                <a:gd name="connsiteY6" fmla="*/ 383760 h 383760"/>
                <a:gd name="connsiteX7" fmla="*/ 0 w 1512167"/>
                <a:gd name="connsiteY7" fmla="*/ 319799 h 383760"/>
                <a:gd name="connsiteX8" fmla="*/ 0 w 1512167"/>
                <a:gd name="connsiteY8" fmla="*/ 63961 h 383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2167" h="383760">
                  <a:moveTo>
                    <a:pt x="0" y="63961"/>
                  </a:moveTo>
                  <a:cubicBezTo>
                    <a:pt x="0" y="28636"/>
                    <a:pt x="28636" y="0"/>
                    <a:pt x="63961" y="0"/>
                  </a:cubicBezTo>
                  <a:lnTo>
                    <a:pt x="1448206" y="0"/>
                  </a:lnTo>
                  <a:cubicBezTo>
                    <a:pt x="1483531" y="0"/>
                    <a:pt x="1512167" y="28636"/>
                    <a:pt x="1512167" y="63961"/>
                  </a:cubicBezTo>
                  <a:lnTo>
                    <a:pt x="1512167" y="319799"/>
                  </a:lnTo>
                  <a:cubicBezTo>
                    <a:pt x="1512167" y="355124"/>
                    <a:pt x="1483531" y="383760"/>
                    <a:pt x="1448206" y="383760"/>
                  </a:cubicBezTo>
                  <a:lnTo>
                    <a:pt x="63961" y="383760"/>
                  </a:lnTo>
                  <a:cubicBezTo>
                    <a:pt x="28636" y="383760"/>
                    <a:pt x="0" y="355124"/>
                    <a:pt x="0" y="319799"/>
                  </a:cubicBezTo>
                  <a:lnTo>
                    <a:pt x="0" y="63961"/>
                  </a:lnTo>
                  <a:close/>
                </a:path>
              </a:pathLst>
            </a:custGeom>
            <a:solidFill>
              <a:srgbClr val="64CBC8"/>
            </a:solidFill>
          </p:spPr>
          <p:style>
            <a:lnRef idx="0">
              <a:schemeClr val="accent5">
                <a:shade val="80000"/>
                <a:hueOff val="0"/>
                <a:satOff val="0"/>
                <a:lumOff val="0"/>
                <a:alphaOff val="0"/>
              </a:schemeClr>
            </a:lnRef>
            <a:fillRef idx="3">
              <a:schemeClr val="lt1">
                <a:hueOff val="0"/>
                <a:satOff val="0"/>
                <a:lumOff val="0"/>
                <a:alphaOff val="0"/>
              </a:schemeClr>
            </a:fillRef>
            <a:effectRef idx="2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9694" tIns="79694" rIns="79694" bIns="79694" numCol="1" spcCol="1270" anchor="ctr" anchorCtr="0">
              <a:noAutofit/>
            </a:bodyPr>
            <a:lstStyle/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AR" sz="1000" b="1" i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ra </a:t>
              </a:r>
            </a:p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AR" sz="1000" b="1" i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+ 100%</a:t>
              </a:r>
              <a:endParaRPr lang="es-AR" sz="10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orma libre 27"/>
            <p:cNvSpPr/>
            <p:nvPr/>
          </p:nvSpPr>
          <p:spPr>
            <a:xfrm>
              <a:off x="9284890" y="3378888"/>
              <a:ext cx="1215759" cy="618447"/>
            </a:xfrm>
            <a:custGeom>
              <a:avLst/>
              <a:gdLst>
                <a:gd name="connsiteX0" fmla="*/ 0 w 1512167"/>
                <a:gd name="connsiteY0" fmla="*/ 63961 h 383760"/>
                <a:gd name="connsiteX1" fmla="*/ 63961 w 1512167"/>
                <a:gd name="connsiteY1" fmla="*/ 0 h 383760"/>
                <a:gd name="connsiteX2" fmla="*/ 1448206 w 1512167"/>
                <a:gd name="connsiteY2" fmla="*/ 0 h 383760"/>
                <a:gd name="connsiteX3" fmla="*/ 1512167 w 1512167"/>
                <a:gd name="connsiteY3" fmla="*/ 63961 h 383760"/>
                <a:gd name="connsiteX4" fmla="*/ 1512167 w 1512167"/>
                <a:gd name="connsiteY4" fmla="*/ 319799 h 383760"/>
                <a:gd name="connsiteX5" fmla="*/ 1448206 w 1512167"/>
                <a:gd name="connsiteY5" fmla="*/ 383760 h 383760"/>
                <a:gd name="connsiteX6" fmla="*/ 63961 w 1512167"/>
                <a:gd name="connsiteY6" fmla="*/ 383760 h 383760"/>
                <a:gd name="connsiteX7" fmla="*/ 0 w 1512167"/>
                <a:gd name="connsiteY7" fmla="*/ 319799 h 383760"/>
                <a:gd name="connsiteX8" fmla="*/ 0 w 1512167"/>
                <a:gd name="connsiteY8" fmla="*/ 63961 h 383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12167" h="383760">
                  <a:moveTo>
                    <a:pt x="0" y="63961"/>
                  </a:moveTo>
                  <a:cubicBezTo>
                    <a:pt x="0" y="28636"/>
                    <a:pt x="28636" y="0"/>
                    <a:pt x="63961" y="0"/>
                  </a:cubicBezTo>
                  <a:lnTo>
                    <a:pt x="1448206" y="0"/>
                  </a:lnTo>
                  <a:cubicBezTo>
                    <a:pt x="1483531" y="0"/>
                    <a:pt x="1512167" y="28636"/>
                    <a:pt x="1512167" y="63961"/>
                  </a:cubicBezTo>
                  <a:lnTo>
                    <a:pt x="1512167" y="319799"/>
                  </a:lnTo>
                  <a:cubicBezTo>
                    <a:pt x="1512167" y="355124"/>
                    <a:pt x="1483531" y="383760"/>
                    <a:pt x="1448206" y="383760"/>
                  </a:cubicBezTo>
                  <a:lnTo>
                    <a:pt x="63961" y="383760"/>
                  </a:lnTo>
                  <a:cubicBezTo>
                    <a:pt x="28636" y="383760"/>
                    <a:pt x="0" y="355124"/>
                    <a:pt x="0" y="319799"/>
                  </a:cubicBezTo>
                  <a:lnTo>
                    <a:pt x="0" y="63961"/>
                  </a:lnTo>
                  <a:close/>
                </a:path>
              </a:pathLst>
            </a:custGeom>
            <a:solidFill>
              <a:srgbClr val="64CBC8"/>
            </a:solidFill>
          </p:spPr>
          <p:style>
            <a:lnRef idx="0">
              <a:schemeClr val="accent5">
                <a:shade val="80000"/>
                <a:hueOff val="0"/>
                <a:satOff val="0"/>
                <a:lumOff val="0"/>
                <a:alphaOff val="0"/>
              </a:schemeClr>
            </a:lnRef>
            <a:fillRef idx="3">
              <a:schemeClr val="lt1">
                <a:hueOff val="0"/>
                <a:satOff val="0"/>
                <a:lumOff val="0"/>
                <a:alphaOff val="0"/>
              </a:schemeClr>
            </a:fillRef>
            <a:effectRef idx="2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9694" tIns="79694" rIns="79694" bIns="79694" numCol="1" spcCol="1270" anchor="ctr" anchorCtr="0">
              <a:noAutofit/>
            </a:bodyPr>
            <a:lstStyle/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AR" sz="1000" b="1" i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órroga + 50%</a:t>
              </a:r>
              <a:endParaRPr lang="es-AR" sz="1000" i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9" name="Grupo 28"/>
          <p:cNvGrpSpPr/>
          <p:nvPr/>
        </p:nvGrpSpPr>
        <p:grpSpPr>
          <a:xfrm>
            <a:off x="332498" y="1078664"/>
            <a:ext cx="2754892" cy="3704747"/>
            <a:chOff x="1437071" y="1771015"/>
            <a:chExt cx="3233157" cy="4057568"/>
          </a:xfrm>
        </p:grpSpPr>
        <p:sp>
          <p:nvSpPr>
            <p:cNvPr id="30" name="3 Abrir llave"/>
            <p:cNvSpPr/>
            <p:nvPr/>
          </p:nvSpPr>
          <p:spPr>
            <a:xfrm>
              <a:off x="4460992" y="3672715"/>
              <a:ext cx="209236" cy="1800587"/>
            </a:xfrm>
            <a:prstGeom prst="leftBrace">
              <a:avLst>
                <a:gd name="adj1" fmla="val 38251"/>
                <a:gd name="adj2" fmla="val 50000"/>
              </a:avLst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s-AR" sz="10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6 Abrir llave"/>
            <p:cNvSpPr/>
            <p:nvPr/>
          </p:nvSpPr>
          <p:spPr>
            <a:xfrm>
              <a:off x="2470479" y="1771015"/>
              <a:ext cx="190928" cy="4057568"/>
            </a:xfrm>
            <a:prstGeom prst="leftBrace">
              <a:avLst>
                <a:gd name="adj1" fmla="val 38251"/>
                <a:gd name="adj2" fmla="val 50000"/>
              </a:avLst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s-AR" sz="10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orma libre 32"/>
            <p:cNvSpPr/>
            <p:nvPr/>
          </p:nvSpPr>
          <p:spPr>
            <a:xfrm>
              <a:off x="2688973" y="2032036"/>
              <a:ext cx="1615086" cy="923330"/>
            </a:xfrm>
            <a:custGeom>
              <a:avLst/>
              <a:gdLst>
                <a:gd name="connsiteX0" fmla="*/ 0 w 923330"/>
                <a:gd name="connsiteY0" fmla="*/ 461665 h 923330"/>
                <a:gd name="connsiteX1" fmla="*/ 461665 w 923330"/>
                <a:gd name="connsiteY1" fmla="*/ 0 h 923330"/>
                <a:gd name="connsiteX2" fmla="*/ 923330 w 923330"/>
                <a:gd name="connsiteY2" fmla="*/ 461665 h 923330"/>
                <a:gd name="connsiteX3" fmla="*/ 461665 w 923330"/>
                <a:gd name="connsiteY3" fmla="*/ 923330 h 923330"/>
                <a:gd name="connsiteX4" fmla="*/ 0 w 923330"/>
                <a:gd name="connsiteY4" fmla="*/ 461665 h 923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3330" h="923330">
                  <a:moveTo>
                    <a:pt x="0" y="461665"/>
                  </a:moveTo>
                  <a:cubicBezTo>
                    <a:pt x="0" y="206694"/>
                    <a:pt x="206694" y="0"/>
                    <a:pt x="461665" y="0"/>
                  </a:cubicBezTo>
                  <a:cubicBezTo>
                    <a:pt x="716636" y="0"/>
                    <a:pt x="923330" y="206694"/>
                    <a:pt x="923330" y="461665"/>
                  </a:cubicBezTo>
                  <a:cubicBezTo>
                    <a:pt x="923330" y="716636"/>
                    <a:pt x="716636" y="923330"/>
                    <a:pt x="461665" y="923330"/>
                  </a:cubicBezTo>
                  <a:cubicBezTo>
                    <a:pt x="206694" y="923330"/>
                    <a:pt x="0" y="716636"/>
                    <a:pt x="0" y="461665"/>
                  </a:cubicBezTo>
                  <a:close/>
                </a:path>
              </a:pathLst>
            </a:custGeom>
            <a:solidFill>
              <a:srgbClr val="64CBC8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5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135219" tIns="135219" rIns="135219" bIns="135219" numCol="1" spcCol="1270" anchor="ctr" anchorCtr="0">
              <a:noAutofit/>
            </a:bodyPr>
            <a:lstStyle/>
            <a:p>
              <a:pPr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AR" sz="10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</a:t>
              </a:r>
            </a:p>
            <a:p>
              <a:pPr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AR" sz="10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anciación</a:t>
              </a:r>
              <a:endParaRPr lang="es-AR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8 Abrir llave"/>
            <p:cNvSpPr/>
            <p:nvPr/>
          </p:nvSpPr>
          <p:spPr>
            <a:xfrm>
              <a:off x="4443564" y="1930622"/>
              <a:ext cx="196192" cy="1641634"/>
            </a:xfrm>
            <a:prstGeom prst="leftBrace">
              <a:avLst>
                <a:gd name="adj1" fmla="val 38251"/>
                <a:gd name="adj2" fmla="val 50000"/>
              </a:avLst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s-AR" sz="10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orma libre 34"/>
            <p:cNvSpPr/>
            <p:nvPr/>
          </p:nvSpPr>
          <p:spPr>
            <a:xfrm>
              <a:off x="2688973" y="4328776"/>
              <a:ext cx="1615086" cy="923330"/>
            </a:xfrm>
            <a:custGeom>
              <a:avLst/>
              <a:gdLst>
                <a:gd name="connsiteX0" fmla="*/ 0 w 1062531"/>
                <a:gd name="connsiteY0" fmla="*/ 461665 h 923330"/>
                <a:gd name="connsiteX1" fmla="*/ 531266 w 1062531"/>
                <a:gd name="connsiteY1" fmla="*/ 0 h 923330"/>
                <a:gd name="connsiteX2" fmla="*/ 1062532 w 1062531"/>
                <a:gd name="connsiteY2" fmla="*/ 461665 h 923330"/>
                <a:gd name="connsiteX3" fmla="*/ 531266 w 1062531"/>
                <a:gd name="connsiteY3" fmla="*/ 923330 h 923330"/>
                <a:gd name="connsiteX4" fmla="*/ 0 w 1062531"/>
                <a:gd name="connsiteY4" fmla="*/ 461665 h 923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2531" h="923330">
                  <a:moveTo>
                    <a:pt x="0" y="461665"/>
                  </a:moveTo>
                  <a:cubicBezTo>
                    <a:pt x="0" y="206694"/>
                    <a:pt x="237856" y="0"/>
                    <a:pt x="531266" y="0"/>
                  </a:cubicBezTo>
                  <a:cubicBezTo>
                    <a:pt x="824676" y="0"/>
                    <a:pt x="1062532" y="206694"/>
                    <a:pt x="1062532" y="461665"/>
                  </a:cubicBezTo>
                  <a:cubicBezTo>
                    <a:pt x="1062532" y="716636"/>
                    <a:pt x="824676" y="923330"/>
                    <a:pt x="531266" y="923330"/>
                  </a:cubicBezTo>
                  <a:cubicBezTo>
                    <a:pt x="237856" y="923330"/>
                    <a:pt x="0" y="716636"/>
                    <a:pt x="0" y="461665"/>
                  </a:cubicBezTo>
                  <a:close/>
                </a:path>
              </a:pathLst>
            </a:custGeom>
            <a:solidFill>
              <a:srgbClr val="64CBC8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5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155604" tIns="135219" rIns="155604" bIns="135219" numCol="1" spcCol="1270" anchor="ctr" anchorCtr="0">
              <a:noAutofit/>
            </a:bodyPr>
            <a:lstStyle/>
            <a:p>
              <a:pPr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AR" sz="10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t</a:t>
              </a:r>
            </a:p>
            <a:p>
              <a:pPr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AR" sz="10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anciación</a:t>
              </a:r>
              <a:endParaRPr lang="es-AR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Rectángulo 35"/>
            <p:cNvSpPr/>
            <p:nvPr/>
          </p:nvSpPr>
          <p:spPr>
            <a:xfrm rot="16200000">
              <a:off x="465039" y="3270473"/>
              <a:ext cx="2802229" cy="858166"/>
            </a:xfrm>
            <a:prstGeom prst="rect">
              <a:avLst/>
            </a:prstGeom>
            <a:solidFill>
              <a:srgbClr val="00A4CA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87630" tIns="87630" rIns="87630" bIns="87630" numCol="1" spcCol="1270" anchor="ctr" anchorCtr="0">
              <a:noAutofit/>
            </a:bodyPr>
            <a:lstStyle/>
            <a:p>
              <a:pPr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AR" sz="10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ama de Comercio Exterior</a:t>
              </a:r>
              <a:endParaRPr lang="es-AR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0" name="Forma libre 39"/>
          <p:cNvSpPr/>
          <p:nvPr/>
        </p:nvSpPr>
        <p:spPr>
          <a:xfrm>
            <a:off x="7950909" y="2846042"/>
            <a:ext cx="1004318" cy="564671"/>
          </a:xfrm>
          <a:custGeom>
            <a:avLst/>
            <a:gdLst>
              <a:gd name="connsiteX0" fmla="*/ 0 w 1512167"/>
              <a:gd name="connsiteY0" fmla="*/ 63961 h 383760"/>
              <a:gd name="connsiteX1" fmla="*/ 63961 w 1512167"/>
              <a:gd name="connsiteY1" fmla="*/ 0 h 383760"/>
              <a:gd name="connsiteX2" fmla="*/ 1448206 w 1512167"/>
              <a:gd name="connsiteY2" fmla="*/ 0 h 383760"/>
              <a:gd name="connsiteX3" fmla="*/ 1512167 w 1512167"/>
              <a:gd name="connsiteY3" fmla="*/ 63961 h 383760"/>
              <a:gd name="connsiteX4" fmla="*/ 1512167 w 1512167"/>
              <a:gd name="connsiteY4" fmla="*/ 319799 h 383760"/>
              <a:gd name="connsiteX5" fmla="*/ 1448206 w 1512167"/>
              <a:gd name="connsiteY5" fmla="*/ 383760 h 383760"/>
              <a:gd name="connsiteX6" fmla="*/ 63961 w 1512167"/>
              <a:gd name="connsiteY6" fmla="*/ 383760 h 383760"/>
              <a:gd name="connsiteX7" fmla="*/ 0 w 1512167"/>
              <a:gd name="connsiteY7" fmla="*/ 319799 h 383760"/>
              <a:gd name="connsiteX8" fmla="*/ 0 w 1512167"/>
              <a:gd name="connsiteY8" fmla="*/ 63961 h 383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12167" h="383760">
                <a:moveTo>
                  <a:pt x="0" y="63961"/>
                </a:moveTo>
                <a:cubicBezTo>
                  <a:pt x="0" y="28636"/>
                  <a:pt x="28636" y="0"/>
                  <a:pt x="63961" y="0"/>
                </a:cubicBezTo>
                <a:lnTo>
                  <a:pt x="1448206" y="0"/>
                </a:lnTo>
                <a:cubicBezTo>
                  <a:pt x="1483531" y="0"/>
                  <a:pt x="1512167" y="28636"/>
                  <a:pt x="1512167" y="63961"/>
                </a:cubicBezTo>
                <a:lnTo>
                  <a:pt x="1512167" y="319799"/>
                </a:lnTo>
                <a:cubicBezTo>
                  <a:pt x="1512167" y="355124"/>
                  <a:pt x="1483531" y="383760"/>
                  <a:pt x="1448206" y="383760"/>
                </a:cubicBezTo>
                <a:lnTo>
                  <a:pt x="63961" y="383760"/>
                </a:lnTo>
                <a:cubicBezTo>
                  <a:pt x="28636" y="383760"/>
                  <a:pt x="0" y="355124"/>
                  <a:pt x="0" y="319799"/>
                </a:cubicBezTo>
                <a:lnTo>
                  <a:pt x="0" y="63961"/>
                </a:lnTo>
                <a:close/>
              </a:path>
            </a:pathLst>
          </a:custGeom>
          <a:solidFill>
            <a:srgbClr val="64CBC8"/>
          </a:solidFill>
        </p:spPr>
        <p:style>
          <a:lnRef idx="0">
            <a:schemeClr val="accent5">
              <a:shade val="80000"/>
              <a:hueOff val="0"/>
              <a:satOff val="0"/>
              <a:lumOff val="0"/>
              <a:alphaOff val="0"/>
            </a:schemeClr>
          </a:lnRef>
          <a:fillRef idx="3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9694" tIns="79694" rIns="79694" bIns="79694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AR" sz="1000" b="1" i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sión de desembolso 0,30%</a:t>
            </a:r>
            <a:endParaRPr lang="es-AR" sz="1000" i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8646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Elipse 53"/>
          <p:cNvSpPr/>
          <p:nvPr/>
        </p:nvSpPr>
        <p:spPr>
          <a:xfrm>
            <a:off x="7371574" y="2470727"/>
            <a:ext cx="886532" cy="886532"/>
          </a:xfrm>
          <a:prstGeom prst="ellipse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53" name="Shape 1900"/>
          <p:cNvSpPr/>
          <p:nvPr/>
        </p:nvSpPr>
        <p:spPr>
          <a:xfrm>
            <a:off x="7044056" y="2984734"/>
            <a:ext cx="1556100" cy="16899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grpSp>
        <p:nvGrpSpPr>
          <p:cNvPr id="46" name="Agrupar 45"/>
          <p:cNvGrpSpPr/>
          <p:nvPr/>
        </p:nvGrpSpPr>
        <p:grpSpPr>
          <a:xfrm>
            <a:off x="3793950" y="2470727"/>
            <a:ext cx="1556100" cy="2203907"/>
            <a:chOff x="622368" y="2581643"/>
            <a:chExt cx="1556100" cy="2203907"/>
          </a:xfrm>
          <a:solidFill>
            <a:srgbClr val="F2F2F2"/>
          </a:solidFill>
        </p:grpSpPr>
        <p:sp>
          <p:nvSpPr>
            <p:cNvPr id="47" name="Shape 1900"/>
            <p:cNvSpPr/>
            <p:nvPr/>
          </p:nvSpPr>
          <p:spPr>
            <a:xfrm>
              <a:off x="622368" y="3095650"/>
              <a:ext cx="1556100" cy="168990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48" name="Elipse 47"/>
            <p:cNvSpPr/>
            <p:nvPr/>
          </p:nvSpPr>
          <p:spPr>
            <a:xfrm>
              <a:off x="949886" y="2581643"/>
              <a:ext cx="886532" cy="886532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grpSp>
        <p:nvGrpSpPr>
          <p:cNvPr id="3" name="Agrupar 2"/>
          <p:cNvGrpSpPr/>
          <p:nvPr/>
        </p:nvGrpSpPr>
        <p:grpSpPr>
          <a:xfrm>
            <a:off x="543845" y="2466188"/>
            <a:ext cx="1556100" cy="2203907"/>
            <a:chOff x="622368" y="2581643"/>
            <a:chExt cx="1556100" cy="2203907"/>
          </a:xfrm>
          <a:solidFill>
            <a:srgbClr val="F2F2F2"/>
          </a:solidFill>
        </p:grpSpPr>
        <p:sp>
          <p:nvSpPr>
            <p:cNvPr id="21" name="Shape 1900"/>
            <p:cNvSpPr/>
            <p:nvPr/>
          </p:nvSpPr>
          <p:spPr>
            <a:xfrm>
              <a:off x="622368" y="3095650"/>
              <a:ext cx="1556100" cy="168990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2" name="Elipse 1"/>
            <p:cNvSpPr/>
            <p:nvPr/>
          </p:nvSpPr>
          <p:spPr>
            <a:xfrm>
              <a:off x="949886" y="2581643"/>
              <a:ext cx="886532" cy="886532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grpSp>
        <p:nvGrpSpPr>
          <p:cNvPr id="49" name="Agrupar 48"/>
          <p:cNvGrpSpPr/>
          <p:nvPr/>
        </p:nvGrpSpPr>
        <p:grpSpPr>
          <a:xfrm>
            <a:off x="5411306" y="2470727"/>
            <a:ext cx="1556100" cy="2203907"/>
            <a:chOff x="622368" y="2581643"/>
            <a:chExt cx="1556100" cy="2203907"/>
          </a:xfrm>
          <a:solidFill>
            <a:srgbClr val="F2F2F2"/>
          </a:solidFill>
        </p:grpSpPr>
        <p:sp>
          <p:nvSpPr>
            <p:cNvPr id="50" name="Shape 1900"/>
            <p:cNvSpPr/>
            <p:nvPr/>
          </p:nvSpPr>
          <p:spPr>
            <a:xfrm>
              <a:off x="622368" y="3095650"/>
              <a:ext cx="1556100" cy="168990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51" name="Elipse 50"/>
            <p:cNvSpPr/>
            <p:nvPr/>
          </p:nvSpPr>
          <p:spPr>
            <a:xfrm>
              <a:off x="949886" y="2581643"/>
              <a:ext cx="886532" cy="886532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grpSp>
        <p:nvGrpSpPr>
          <p:cNvPr id="43" name="Agrupar 42"/>
          <p:cNvGrpSpPr/>
          <p:nvPr/>
        </p:nvGrpSpPr>
        <p:grpSpPr>
          <a:xfrm>
            <a:off x="2175345" y="2466188"/>
            <a:ext cx="1556100" cy="2203907"/>
            <a:chOff x="622368" y="2581643"/>
            <a:chExt cx="1556100" cy="2203907"/>
          </a:xfrm>
          <a:solidFill>
            <a:srgbClr val="F2F2F2"/>
          </a:solidFill>
        </p:grpSpPr>
        <p:sp>
          <p:nvSpPr>
            <p:cNvPr id="44" name="Shape 1900"/>
            <p:cNvSpPr/>
            <p:nvPr/>
          </p:nvSpPr>
          <p:spPr>
            <a:xfrm>
              <a:off x="622368" y="3095650"/>
              <a:ext cx="1556100" cy="168990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45" name="Elipse 44"/>
            <p:cNvSpPr/>
            <p:nvPr/>
          </p:nvSpPr>
          <p:spPr>
            <a:xfrm>
              <a:off x="949886" y="2581643"/>
              <a:ext cx="886532" cy="886532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</p:grpSp>
      <p:pic>
        <p:nvPicPr>
          <p:cNvPr id="39" name="Imagen 38" descr="barra_degradé_colores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95333"/>
            <a:ext cx="9144000" cy="155864"/>
          </a:xfrm>
          <a:prstGeom prst="rect">
            <a:avLst/>
          </a:prstGeom>
        </p:spPr>
      </p:pic>
      <p:sp>
        <p:nvSpPr>
          <p:cNvPr id="36" name="TextBox 3"/>
          <p:cNvSpPr txBox="1"/>
          <p:nvPr/>
        </p:nvSpPr>
        <p:spPr>
          <a:xfrm>
            <a:off x="446306" y="644525"/>
            <a:ext cx="80061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spc="300" dirty="0" smtClean="0">
                <a:solidFill>
                  <a:srgbClr val="2C61AC"/>
                </a:solidFill>
                <a:latin typeface="Arial"/>
                <a:cs typeface="Arial"/>
              </a:rPr>
              <a:t>FINANCIACIÓN DE EXPORTACIONES A MEDIANO Y LARGO PLAZO</a:t>
            </a:r>
            <a:endParaRPr lang="en-US" sz="1400" b="1" spc="300" dirty="0">
              <a:solidFill>
                <a:srgbClr val="2C61AC"/>
              </a:solidFill>
              <a:latin typeface="Arial"/>
              <a:cs typeface="Arial"/>
            </a:endParaRPr>
          </a:p>
        </p:txBody>
      </p:sp>
      <p:pic>
        <p:nvPicPr>
          <p:cNvPr id="37" name="Imagen 3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1477" y="390551"/>
            <a:ext cx="821624" cy="230832"/>
          </a:xfrm>
          <a:prstGeom prst="rect">
            <a:avLst/>
          </a:prstGeom>
        </p:spPr>
      </p:pic>
      <p:pic>
        <p:nvPicPr>
          <p:cNvPr id="38" name="Imagen 3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140" y="390551"/>
            <a:ext cx="2348491" cy="91149"/>
          </a:xfrm>
          <a:prstGeom prst="rect">
            <a:avLst/>
          </a:prstGeom>
        </p:spPr>
      </p:pic>
      <p:pic>
        <p:nvPicPr>
          <p:cNvPr id="40" name="Imagen 3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43845"/>
          <a:stretch/>
        </p:blipFill>
        <p:spPr>
          <a:xfrm>
            <a:off x="-5470" y="1105224"/>
            <a:ext cx="9144000" cy="1373572"/>
          </a:xfrm>
          <a:prstGeom prst="rect">
            <a:avLst/>
          </a:prstGeom>
        </p:spPr>
      </p:pic>
      <p:sp>
        <p:nvSpPr>
          <p:cNvPr id="41" name="TextBox 5"/>
          <p:cNvSpPr txBox="1"/>
          <p:nvPr/>
        </p:nvSpPr>
        <p:spPr>
          <a:xfrm>
            <a:off x="398524" y="2808976"/>
            <a:ext cx="8740006" cy="1954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rramienta </a:t>
            </a:r>
            <a:r>
              <a:rPr lang="es-AR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financiación de exportaciones </a:t>
            </a:r>
            <a:r>
              <a:rPr lang="es-AR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yo cometido es apoyar, impulsar e incrementar los volúmenes de nuestros productos en los mercados externos. Con tasas competitivas y plazos adecuados, mediante un “Descuento sin Recurso”.</a:t>
            </a:r>
          </a:p>
          <a:p>
            <a:endParaRPr lang="es-AR" sz="11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AR" sz="1100" b="1" dirty="0">
                <a:solidFill>
                  <a:srgbClr val="00A4C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¿Qué significa descuento </a:t>
            </a:r>
            <a:r>
              <a:rPr lang="es-AR" sz="1100" b="1" dirty="0" smtClean="0">
                <a:solidFill>
                  <a:srgbClr val="00A4C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 </a:t>
            </a:r>
            <a:r>
              <a:rPr lang="es-AR" sz="1100" b="1" dirty="0">
                <a:solidFill>
                  <a:srgbClr val="00A4C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urso</a:t>
            </a:r>
            <a:r>
              <a:rPr lang="es-AR" sz="1100" b="1" dirty="0" smtClean="0">
                <a:solidFill>
                  <a:srgbClr val="00A4C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endParaRPr lang="es-AR" sz="1100" b="1" dirty="0">
              <a:solidFill>
                <a:srgbClr val="00A4C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AR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o implica que un exportador que, habiendo obtenido un instrumento de pago Elegible (Carta de Crédito/ Pagaré / Letra Avalada) sale del tiempo de espera, que supone una venta a plazo, así como también de los riesgos asociados a la cobranza de la misma, para cobrar a la vista, contra documentación en orden, luego de haber realizado la Exportación. </a:t>
            </a:r>
          </a:p>
          <a:p>
            <a:endParaRPr lang="es-AR" sz="11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AR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CE efectúa el descuento, ya que la deuda de mediano plazo queda en cabeza de una Entidad Financiera del Exterior y no del Exportador, no afectando de esta forma su capacidad de endeudamiento.</a:t>
            </a:r>
          </a:p>
        </p:txBody>
      </p:sp>
    </p:spTree>
    <p:extLst>
      <p:ext uri="{BB962C8B-B14F-4D97-AF65-F5344CB8AC3E}">
        <p14:creationId xmlns:p14="http://schemas.microsoft.com/office/powerpoint/2010/main" val="3595468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n 38" descr="barra_degradé_colores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95333"/>
            <a:ext cx="9144000" cy="155864"/>
          </a:xfrm>
          <a:prstGeom prst="rect">
            <a:avLst/>
          </a:prstGeom>
        </p:spPr>
      </p:pic>
      <p:sp>
        <p:nvSpPr>
          <p:cNvPr id="36" name="TextBox 3"/>
          <p:cNvSpPr txBox="1"/>
          <p:nvPr/>
        </p:nvSpPr>
        <p:spPr>
          <a:xfrm>
            <a:off x="446306" y="644525"/>
            <a:ext cx="75813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spc="300" dirty="0" smtClean="0">
                <a:solidFill>
                  <a:srgbClr val="2C61AC"/>
                </a:solidFill>
                <a:latin typeface="Arial"/>
                <a:cs typeface="Arial"/>
              </a:rPr>
              <a:t>FINANCIÓN DE EXPORTACIONES A MEDIANO Y LARGO PLAZO</a:t>
            </a:r>
            <a:endParaRPr lang="en-US" sz="1400" b="1" spc="300" dirty="0">
              <a:solidFill>
                <a:srgbClr val="2C61AC"/>
              </a:solidFill>
              <a:latin typeface="Arial"/>
              <a:cs typeface="Arial"/>
            </a:endParaRPr>
          </a:p>
        </p:txBody>
      </p:sp>
      <p:pic>
        <p:nvPicPr>
          <p:cNvPr id="37" name="Imagen 3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1477" y="390551"/>
            <a:ext cx="821624" cy="230832"/>
          </a:xfrm>
          <a:prstGeom prst="rect">
            <a:avLst/>
          </a:prstGeom>
        </p:spPr>
      </p:pic>
      <p:pic>
        <p:nvPicPr>
          <p:cNvPr id="38" name="Imagen 3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140" y="390551"/>
            <a:ext cx="2348491" cy="91149"/>
          </a:xfrm>
          <a:prstGeom prst="rect">
            <a:avLst/>
          </a:prstGeom>
        </p:spPr>
      </p:pic>
      <p:grpSp>
        <p:nvGrpSpPr>
          <p:cNvPr id="95" name="Grupo 94"/>
          <p:cNvGrpSpPr/>
          <p:nvPr/>
        </p:nvGrpSpPr>
        <p:grpSpPr>
          <a:xfrm>
            <a:off x="315966" y="1195137"/>
            <a:ext cx="8497133" cy="3660794"/>
            <a:chOff x="900474" y="2174009"/>
            <a:chExt cx="11127977" cy="4007555"/>
          </a:xfrm>
        </p:grpSpPr>
        <p:sp>
          <p:nvSpPr>
            <p:cNvPr id="96" name="TextBox 19"/>
            <p:cNvSpPr txBox="1"/>
            <p:nvPr/>
          </p:nvSpPr>
          <p:spPr>
            <a:xfrm>
              <a:off x="919497" y="2174009"/>
              <a:ext cx="10519179" cy="842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ct val="0"/>
                </a:spcBef>
                <a:buClr>
                  <a:schemeClr val="bg1">
                    <a:lumMod val="75000"/>
                  </a:schemeClr>
                </a:buClr>
              </a:pPr>
              <a:r>
                <a:rPr lang="es-AR" sz="11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stinada </a:t>
              </a:r>
              <a:r>
                <a:rPr lang="es-AR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 financiar la exportación </a:t>
              </a:r>
              <a:r>
                <a:rPr lang="es-AR" sz="11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 MOI, </a:t>
              </a:r>
              <a:r>
                <a:rPr lang="es-AR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ienes de Capital y de Contratos de exportación Llave en mano </a:t>
              </a:r>
              <a:r>
                <a:rPr lang="es-AR" sz="11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 </a:t>
              </a:r>
              <a:r>
                <a:rPr lang="es-AR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rigen </a:t>
              </a:r>
              <a:r>
                <a:rPr lang="es-AR" sz="11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rgentino.</a:t>
              </a:r>
            </a:p>
            <a:p>
              <a:pPr>
                <a:spcBef>
                  <a:spcPct val="0"/>
                </a:spcBef>
                <a:buClr>
                  <a:schemeClr val="bg1">
                    <a:lumMod val="75000"/>
                  </a:schemeClr>
                </a:buClr>
              </a:pPr>
              <a:r>
                <a:rPr lang="es-AR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l financiamiento es SIN recurso, permite al Exportador vender a largo plazo y competir en los mercados externos con </a:t>
              </a:r>
              <a:r>
                <a:rPr lang="es-AR" sz="11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l precio </a:t>
              </a:r>
              <a:r>
                <a:rPr lang="es-AR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 la calidad de sus productos, adicionando la posibilidad de otorgar plazo de financiamiento.</a:t>
              </a:r>
              <a:endParaRPr lang="es-MX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Rectángulo 96"/>
            <p:cNvSpPr/>
            <p:nvPr/>
          </p:nvSpPr>
          <p:spPr>
            <a:xfrm>
              <a:off x="919498" y="4579031"/>
              <a:ext cx="2595593" cy="502058"/>
            </a:xfrm>
            <a:prstGeom prst="rect">
              <a:avLst/>
            </a:prstGeom>
            <a:solidFill>
              <a:srgbClr val="4698AB"/>
            </a:solidFill>
          </p:spPr>
          <p:txBody>
            <a:bodyPr wrap="square">
              <a:spAutoFit/>
            </a:bodyPr>
            <a:lstStyle/>
            <a:p>
              <a:pPr marL="269875" indent="-269875" algn="ctr">
                <a:spcBef>
                  <a:spcPts val="1200"/>
                </a:spcBef>
                <a:buClr>
                  <a:srgbClr val="00ABCD"/>
                </a:buClr>
                <a:buSzPct val="125000"/>
                <a:defRPr/>
              </a:pPr>
              <a:endParaRPr lang="es-AR" altLang="es-AR" b="1" dirty="0">
                <a:solidFill>
                  <a:prstClr val="white"/>
                </a:solidFill>
              </a:endParaRPr>
            </a:p>
          </p:txBody>
        </p:sp>
        <p:sp>
          <p:nvSpPr>
            <p:cNvPr id="98" name="Rectángulo 97"/>
            <p:cNvSpPr/>
            <p:nvPr/>
          </p:nvSpPr>
          <p:spPr>
            <a:xfrm>
              <a:off x="921244" y="3364420"/>
              <a:ext cx="2609736" cy="540569"/>
            </a:xfrm>
            <a:prstGeom prst="rect">
              <a:avLst/>
            </a:prstGeom>
            <a:solidFill>
              <a:srgbClr val="00A4CA"/>
            </a:solidFill>
          </p:spPr>
          <p:txBody>
            <a:bodyPr wrap="square">
              <a:spAutoFit/>
            </a:bodyPr>
            <a:lstStyle/>
            <a:p>
              <a:pPr marL="269875" indent="-269875" algn="ctr">
                <a:spcBef>
                  <a:spcPts val="1200"/>
                </a:spcBef>
                <a:buClr>
                  <a:srgbClr val="00ABCD"/>
                </a:buClr>
                <a:buSzPct val="125000"/>
                <a:defRPr/>
              </a:pPr>
              <a:endParaRPr lang="es-AR" altLang="es-AR" b="1" dirty="0">
                <a:solidFill>
                  <a:prstClr val="white"/>
                </a:solidFill>
              </a:endParaRPr>
            </a:p>
          </p:txBody>
        </p:sp>
        <p:sp>
          <p:nvSpPr>
            <p:cNvPr id="99" name="Rectángulo 98"/>
            <p:cNvSpPr/>
            <p:nvPr/>
          </p:nvSpPr>
          <p:spPr>
            <a:xfrm>
              <a:off x="1127515" y="3366100"/>
              <a:ext cx="2235647" cy="50539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AR" altLang="es-AR" sz="1200" b="1" dirty="0" smtClean="0">
                  <a:solidFill>
                    <a:prstClr val="white"/>
                  </a:solidFill>
                  <a:latin typeface="Arial" panose="020B0604020202020204" pitchFamily="34" charset="0"/>
                  <a:ea typeface="Gotham Light"/>
                  <a:cs typeface="Arial" panose="020B0604020202020204" pitchFamily="34" charset="0"/>
                </a:rPr>
                <a:t>INSTRUMENTO DESCONTABLE</a:t>
              </a:r>
              <a:endParaRPr lang="es-AR" altLang="es-AR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00" name="Imagen 9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698678" y="3401488"/>
              <a:ext cx="7740000" cy="426668"/>
            </a:xfrm>
            <a:prstGeom prst="rect">
              <a:avLst/>
            </a:prstGeom>
          </p:spPr>
        </p:pic>
        <p:grpSp>
          <p:nvGrpSpPr>
            <p:cNvPr id="101" name="Grupo 100"/>
            <p:cNvGrpSpPr/>
            <p:nvPr/>
          </p:nvGrpSpPr>
          <p:grpSpPr>
            <a:xfrm>
              <a:off x="919498" y="3973268"/>
              <a:ext cx="10524447" cy="513321"/>
              <a:chOff x="933813" y="5188995"/>
              <a:chExt cx="10691139" cy="513321"/>
            </a:xfrm>
          </p:grpSpPr>
          <p:pic>
            <p:nvPicPr>
              <p:cNvPr id="115" name="Imagen 114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762362" y="5188996"/>
                <a:ext cx="7862590" cy="480090"/>
              </a:xfrm>
              <a:prstGeom prst="rect">
                <a:avLst/>
              </a:prstGeom>
            </p:spPr>
          </p:pic>
          <p:sp>
            <p:nvSpPr>
              <p:cNvPr id="116" name="Rectángulo 115"/>
              <p:cNvSpPr/>
              <p:nvPr/>
            </p:nvSpPr>
            <p:spPr>
              <a:xfrm>
                <a:off x="933813" y="5188995"/>
                <a:ext cx="2636701" cy="479530"/>
              </a:xfrm>
              <a:prstGeom prst="rect">
                <a:avLst/>
              </a:prstGeom>
              <a:solidFill>
                <a:srgbClr val="69C3C4"/>
              </a:solidFill>
            </p:spPr>
            <p:txBody>
              <a:bodyPr wrap="square">
                <a:spAutoFit/>
              </a:bodyPr>
              <a:lstStyle/>
              <a:p>
                <a:pPr marL="269875" indent="-269875" algn="ctr">
                  <a:spcBef>
                    <a:spcPts val="1200"/>
                  </a:spcBef>
                  <a:buClr>
                    <a:srgbClr val="00ABCD"/>
                  </a:buClr>
                  <a:buSzPct val="125000"/>
                  <a:defRPr/>
                </a:pPr>
                <a:endParaRPr lang="es-AR" altLang="es-AR" b="1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7" name="Rectángulo 116"/>
              <p:cNvSpPr/>
              <p:nvPr/>
            </p:nvSpPr>
            <p:spPr>
              <a:xfrm>
                <a:off x="1254369" y="5289962"/>
                <a:ext cx="2298518" cy="30323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s-AR" altLang="es-AR" sz="1200" b="1" dirty="0" smtClean="0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FINANCIAMIENTO</a:t>
                </a:r>
                <a:endParaRPr lang="es-AR" altLang="es-AR" sz="12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8" name="Rectángulo 117"/>
              <p:cNvSpPr/>
              <p:nvPr/>
            </p:nvSpPr>
            <p:spPr>
              <a:xfrm>
                <a:off x="3744735" y="5196920"/>
                <a:ext cx="7862583" cy="50539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spcBef>
                    <a:spcPts val="1200"/>
                  </a:spcBef>
                  <a:buClr>
                    <a:srgbClr val="00ABCD"/>
                  </a:buClr>
                  <a:buSzPct val="125000"/>
                  <a:defRPr/>
                </a:pPr>
                <a:r>
                  <a:rPr lang="es-AR" sz="1200" dirty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asta 100% de la operación (+ hasta 10% </a:t>
                </a:r>
                <a:r>
                  <a:rPr lang="es-AR" sz="1200" dirty="0" smtClean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e SV. </a:t>
                </a:r>
                <a:r>
                  <a:rPr lang="es-AR" sz="1200" dirty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écnico, Prima Seguro, Repuestos)</a:t>
                </a:r>
              </a:p>
            </p:txBody>
          </p:sp>
        </p:grpSp>
        <p:grpSp>
          <p:nvGrpSpPr>
            <p:cNvPr id="102" name="Grupo 101"/>
            <p:cNvGrpSpPr/>
            <p:nvPr/>
          </p:nvGrpSpPr>
          <p:grpSpPr>
            <a:xfrm>
              <a:off x="1071786" y="4547171"/>
              <a:ext cx="10956665" cy="512437"/>
              <a:chOff x="1644848" y="5826927"/>
              <a:chExt cx="9952491" cy="488860"/>
            </a:xfrm>
          </p:grpSpPr>
          <p:sp>
            <p:nvSpPr>
              <p:cNvPr id="112" name="Rectángulo 111"/>
              <p:cNvSpPr/>
              <p:nvPr/>
            </p:nvSpPr>
            <p:spPr>
              <a:xfrm>
                <a:off x="1644848" y="5826927"/>
                <a:ext cx="2084945" cy="48214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s-AR" altLang="es-AR" sz="1200" b="1" dirty="0" smtClean="0">
                    <a:solidFill>
                      <a:prstClr val="white"/>
                    </a:solidFill>
                    <a:latin typeface="Arial" panose="020B0604020202020204" pitchFamily="34" charset="0"/>
                    <a:ea typeface="Gotham Light"/>
                    <a:cs typeface="Arial" panose="020B0604020202020204" pitchFamily="34" charset="0"/>
                  </a:rPr>
                  <a:t>BIENES DE CAPITAL </a:t>
                </a:r>
              </a:p>
              <a:p>
                <a:pPr algn="ctr"/>
                <a:r>
                  <a:rPr lang="es-AR" altLang="es-AR" sz="1200" b="1" dirty="0" smtClean="0">
                    <a:solidFill>
                      <a:prstClr val="white"/>
                    </a:solidFill>
                    <a:latin typeface="Arial" panose="020B0604020202020204" pitchFamily="34" charset="0"/>
                    <a:ea typeface="Gotham Light"/>
                    <a:cs typeface="Arial" panose="020B0604020202020204" pitchFamily="34" charset="0"/>
                  </a:rPr>
                  <a:t>Y SERVICIOS</a:t>
                </a:r>
                <a:endParaRPr lang="es-AR" altLang="es-AR" sz="12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13" name="Imagen 112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030987" y="5881124"/>
                <a:ext cx="7030632" cy="434663"/>
              </a:xfrm>
              <a:prstGeom prst="rect">
                <a:avLst/>
              </a:prstGeom>
            </p:spPr>
          </p:pic>
          <p:sp>
            <p:nvSpPr>
              <p:cNvPr id="114" name="Rectángulo 113"/>
              <p:cNvSpPr/>
              <p:nvPr/>
            </p:nvSpPr>
            <p:spPr>
              <a:xfrm>
                <a:off x="4030989" y="5927695"/>
                <a:ext cx="7566350" cy="28928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spcBef>
                    <a:spcPts val="1200"/>
                  </a:spcBef>
                  <a:buClr>
                    <a:srgbClr val="00ABCD"/>
                  </a:buClr>
                  <a:buSzPct val="125000"/>
                  <a:defRPr/>
                </a:pPr>
                <a:r>
                  <a:rPr lang="es-AR" sz="1200" dirty="0" smtClean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OI Bienes </a:t>
                </a:r>
                <a:r>
                  <a:rPr lang="es-AR" sz="1200" dirty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e capital y Servicios </a:t>
                </a:r>
                <a:r>
                  <a:rPr lang="es-AR" sz="1200" dirty="0" smtClean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Vinculados: Mín. </a:t>
                </a:r>
                <a:r>
                  <a:rPr lang="es-AR" sz="1200" dirty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USD </a:t>
                </a:r>
                <a:r>
                  <a:rPr lang="es-AR" sz="1200" dirty="0" smtClean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 Mil </a:t>
                </a:r>
                <a:r>
                  <a:rPr lang="es-AR" sz="1200" dirty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y </a:t>
                </a:r>
                <a:r>
                  <a:rPr lang="es-AR" sz="1200" dirty="0" smtClean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áx. </a:t>
                </a:r>
                <a:r>
                  <a:rPr lang="es-AR" sz="1200" dirty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USD </a:t>
                </a:r>
                <a:r>
                  <a:rPr lang="es-AR" sz="1200" dirty="0" smtClean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7 </a:t>
                </a:r>
                <a:r>
                  <a:rPr lang="es-AR" sz="1200" dirty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M </a:t>
                </a:r>
              </a:p>
            </p:txBody>
          </p:sp>
        </p:grpSp>
        <p:sp>
          <p:nvSpPr>
            <p:cNvPr id="103" name="Rectángulo 102"/>
            <p:cNvSpPr/>
            <p:nvPr/>
          </p:nvSpPr>
          <p:spPr>
            <a:xfrm>
              <a:off x="3710876" y="3435003"/>
              <a:ext cx="7840605" cy="30323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1200"/>
                </a:spcBef>
                <a:buClr>
                  <a:srgbClr val="00ABCD"/>
                </a:buClr>
                <a:buSzPct val="125000"/>
                <a:defRPr/>
              </a:pPr>
              <a:r>
                <a:rPr lang="es-AR" sz="1200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rta </a:t>
              </a:r>
              <a:r>
                <a:rPr lang="es-AR" sz="12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 Crédito </a:t>
              </a:r>
              <a:r>
                <a:rPr lang="es-AR" sz="1200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mitidas por </a:t>
              </a:r>
              <a:r>
                <a:rPr lang="es-AR" sz="12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ancos </a:t>
              </a:r>
              <a:r>
                <a:rPr lang="es-AR" sz="1200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legibles</a:t>
              </a:r>
              <a:endParaRPr lang="es-AR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Rectángulo 103"/>
            <p:cNvSpPr/>
            <p:nvPr/>
          </p:nvSpPr>
          <p:spPr>
            <a:xfrm>
              <a:off x="919499" y="5155817"/>
              <a:ext cx="2578240" cy="495383"/>
            </a:xfrm>
            <a:prstGeom prst="rect">
              <a:avLst/>
            </a:prstGeom>
            <a:solidFill>
              <a:srgbClr val="0078BF"/>
            </a:solidFill>
          </p:spPr>
          <p:txBody>
            <a:bodyPr wrap="square">
              <a:spAutoFit/>
            </a:bodyPr>
            <a:lstStyle/>
            <a:p>
              <a:pPr marL="269875" indent="-269875" algn="ctr">
                <a:spcBef>
                  <a:spcPts val="1200"/>
                </a:spcBef>
                <a:buClr>
                  <a:srgbClr val="00ABCD"/>
                </a:buClr>
                <a:buSzPct val="125000"/>
                <a:defRPr/>
              </a:pPr>
              <a:endParaRPr lang="es-AR" altLang="es-AR" b="1" dirty="0">
                <a:solidFill>
                  <a:prstClr val="white"/>
                </a:solidFill>
              </a:endParaRPr>
            </a:p>
          </p:txBody>
        </p:sp>
        <p:sp>
          <p:nvSpPr>
            <p:cNvPr id="105" name="Rectángulo 104"/>
            <p:cNvSpPr/>
            <p:nvPr/>
          </p:nvSpPr>
          <p:spPr>
            <a:xfrm>
              <a:off x="976038" y="5154847"/>
              <a:ext cx="2665971" cy="4380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AR" altLang="es-AR" sz="1000" b="1" dirty="0" smtClean="0">
                  <a:solidFill>
                    <a:prstClr val="white"/>
                  </a:solidFill>
                  <a:latin typeface="Arial" panose="020B0604020202020204" pitchFamily="34" charset="0"/>
                  <a:ea typeface="Gotham Light"/>
                  <a:cs typeface="Arial" panose="020B0604020202020204" pitchFamily="34" charset="0"/>
                </a:rPr>
                <a:t>PLANTAS INDUSTRIALES </a:t>
              </a:r>
            </a:p>
            <a:p>
              <a:pPr algn="ctr"/>
              <a:r>
                <a:rPr lang="es-AR" altLang="es-AR" sz="1000" b="1" dirty="0" smtClean="0">
                  <a:solidFill>
                    <a:prstClr val="white"/>
                  </a:solidFill>
                  <a:latin typeface="Arial" panose="020B0604020202020204" pitchFamily="34" charset="0"/>
                  <a:ea typeface="Gotham Light"/>
                  <a:cs typeface="Arial" panose="020B0604020202020204" pitchFamily="34" charset="0"/>
                </a:rPr>
                <a:t>Y  LLAVE EN MANO</a:t>
              </a:r>
              <a:endParaRPr lang="es-AR" altLang="es-AR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Rectángulo 105"/>
            <p:cNvSpPr/>
            <p:nvPr/>
          </p:nvSpPr>
          <p:spPr>
            <a:xfrm>
              <a:off x="3710876" y="5141382"/>
              <a:ext cx="7727804" cy="50981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>
              <a:spAutoFit/>
            </a:bodyPr>
            <a:lstStyle/>
            <a:p>
              <a:pPr marL="269875" indent="-269875" algn="ctr">
                <a:spcBef>
                  <a:spcPts val="1200"/>
                </a:spcBef>
                <a:buClr>
                  <a:srgbClr val="00ABCD"/>
                </a:buClr>
                <a:buSzPct val="125000"/>
                <a:defRPr/>
              </a:pPr>
              <a:endParaRPr lang="es-AR" altLang="es-AR" b="1" dirty="0">
                <a:solidFill>
                  <a:prstClr val="white"/>
                </a:solidFill>
              </a:endParaRPr>
            </a:p>
          </p:txBody>
        </p:sp>
        <p:sp>
          <p:nvSpPr>
            <p:cNvPr id="107" name="Rectángulo 106"/>
            <p:cNvSpPr/>
            <p:nvPr/>
          </p:nvSpPr>
          <p:spPr>
            <a:xfrm>
              <a:off x="3747687" y="5234231"/>
              <a:ext cx="4100386" cy="3032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ts val="1200"/>
                </a:spcBef>
                <a:buClr>
                  <a:srgbClr val="00ABCD"/>
                </a:buClr>
                <a:buSzPct val="125000"/>
                <a:defRPr/>
              </a:pPr>
              <a:r>
                <a:rPr lang="es-AR" sz="1200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ínimo </a:t>
              </a:r>
              <a:r>
                <a:rPr lang="es-AR" sz="12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SD </a:t>
              </a:r>
              <a:r>
                <a:rPr lang="es-AR" sz="1200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 Mil </a:t>
              </a:r>
              <a:r>
                <a:rPr lang="es-AR" sz="12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 Máximo USD </a:t>
              </a:r>
              <a:r>
                <a:rPr lang="es-AR" sz="1200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7 </a:t>
              </a:r>
              <a:r>
                <a:rPr lang="es-AR" sz="12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M </a:t>
              </a:r>
            </a:p>
          </p:txBody>
        </p:sp>
        <p:sp>
          <p:nvSpPr>
            <p:cNvPr id="108" name="Rectángulo 107"/>
            <p:cNvSpPr/>
            <p:nvPr/>
          </p:nvSpPr>
          <p:spPr>
            <a:xfrm>
              <a:off x="919499" y="5716598"/>
              <a:ext cx="2578240" cy="464966"/>
            </a:xfrm>
            <a:prstGeom prst="rect">
              <a:avLst/>
            </a:prstGeom>
            <a:solidFill>
              <a:srgbClr val="00A4CA"/>
            </a:solidFill>
          </p:spPr>
          <p:txBody>
            <a:bodyPr wrap="square">
              <a:spAutoFit/>
            </a:bodyPr>
            <a:lstStyle/>
            <a:p>
              <a:pPr marL="269875" indent="-269875" algn="ctr">
                <a:spcBef>
                  <a:spcPts val="1200"/>
                </a:spcBef>
                <a:buClr>
                  <a:srgbClr val="00ABCD"/>
                </a:buClr>
                <a:buSzPct val="125000"/>
                <a:defRPr/>
              </a:pPr>
              <a:endParaRPr lang="es-AR" altLang="es-AR" b="1" dirty="0">
                <a:solidFill>
                  <a:prstClr val="white"/>
                </a:solidFill>
              </a:endParaRPr>
            </a:p>
          </p:txBody>
        </p:sp>
        <p:sp>
          <p:nvSpPr>
            <p:cNvPr id="109" name="Rectángulo 108"/>
            <p:cNvSpPr/>
            <p:nvPr/>
          </p:nvSpPr>
          <p:spPr>
            <a:xfrm>
              <a:off x="900474" y="5716598"/>
              <a:ext cx="2646673" cy="30323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AR" altLang="es-AR" sz="1200" b="1" dirty="0" smtClean="0">
                  <a:solidFill>
                    <a:prstClr val="white"/>
                  </a:solidFill>
                  <a:latin typeface="Arial" panose="020B0604020202020204" pitchFamily="34" charset="0"/>
                  <a:ea typeface="Gotham Light"/>
                  <a:cs typeface="Arial" panose="020B0604020202020204" pitchFamily="34" charset="0"/>
                </a:rPr>
                <a:t>PLAZO</a:t>
              </a:r>
              <a:endParaRPr lang="es-AR" altLang="es-AR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10" name="Imagen 10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698678" y="5733514"/>
              <a:ext cx="7740000" cy="436153"/>
            </a:xfrm>
            <a:prstGeom prst="rect">
              <a:avLst/>
            </a:prstGeom>
          </p:spPr>
        </p:pic>
        <p:sp>
          <p:nvSpPr>
            <p:cNvPr id="111" name="Rectángulo 110"/>
            <p:cNvSpPr/>
            <p:nvPr/>
          </p:nvSpPr>
          <p:spPr>
            <a:xfrm>
              <a:off x="3737109" y="5751887"/>
              <a:ext cx="7840605" cy="30323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1200"/>
                </a:spcBef>
                <a:buClr>
                  <a:srgbClr val="00ABCD"/>
                </a:buClr>
                <a:buSzPct val="125000"/>
                <a:defRPr/>
              </a:pPr>
              <a:r>
                <a:rPr lang="es-AR" sz="1200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asta </a:t>
              </a:r>
              <a:r>
                <a:rPr lang="es-AR" sz="12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 años </a:t>
              </a:r>
              <a:r>
                <a:rPr lang="es-AR" sz="1200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 </a:t>
              </a:r>
              <a:r>
                <a:rPr lang="es-AR" sz="12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tar de la fecha del </a:t>
              </a:r>
              <a:r>
                <a:rPr lang="es-AR" sz="1200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mbarque</a:t>
              </a:r>
              <a:endParaRPr lang="es-AR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8867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000" spc="300" dirty="0">
            <a:solidFill>
              <a:srgbClr val="7F7F7F"/>
            </a:solidFill>
            <a:latin typeface="Arial"/>
            <a:cs typeface="Arial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44</TotalTime>
  <Words>1311</Words>
  <Application>Microsoft Office PowerPoint</Application>
  <PresentationFormat>Presentación en pantalla (16:9)</PresentationFormat>
  <Paragraphs>353</Paragraphs>
  <Slides>18</Slides>
  <Notes>7</Notes>
  <HiddenSlides>0</HiddenSlides>
  <MMClips>0</MMClips>
  <ScaleCrop>false</ScaleCrop>
  <HeadingPairs>
    <vt:vector size="6" baseType="variant">
      <vt:variant>
        <vt:lpstr>Fuentes usadas</vt:lpstr>
      </vt:variant>
      <vt:variant>
        <vt:i4>12</vt:i4>
      </vt:variant>
      <vt:variant>
        <vt:lpstr>Tema</vt:lpstr>
      </vt:variant>
      <vt:variant>
        <vt:i4>2</vt:i4>
      </vt:variant>
      <vt:variant>
        <vt:lpstr>Títulos de diapositiva</vt:lpstr>
      </vt:variant>
      <vt:variant>
        <vt:i4>18</vt:i4>
      </vt:variant>
    </vt:vector>
  </HeadingPairs>
  <TitlesOfParts>
    <vt:vector size="32" baseType="lpstr">
      <vt:lpstr>Arial</vt:lpstr>
      <vt:lpstr>Calibri</vt:lpstr>
      <vt:lpstr>Gotham Light</vt:lpstr>
      <vt:lpstr>Montserrat</vt:lpstr>
      <vt:lpstr>Montserrat Black</vt:lpstr>
      <vt:lpstr>Montserrat ExtraLight</vt:lpstr>
      <vt:lpstr>Nunito</vt:lpstr>
      <vt:lpstr>Nunito SemiBold</vt:lpstr>
      <vt:lpstr>Open Sans</vt:lpstr>
      <vt:lpstr>Panton</vt:lpstr>
      <vt:lpstr>Panton ExtraBold</vt:lpstr>
      <vt:lpstr>Roboto Thin</vt:lpstr>
      <vt:lpstr>Office Theme</vt:lpstr>
      <vt:lpstr>Diseño personalizad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osta</dc:creator>
  <cp:lastModifiedBy>Diego Rivas</cp:lastModifiedBy>
  <cp:revision>572</cp:revision>
  <dcterms:created xsi:type="dcterms:W3CDTF">2017-10-10T13:58:44Z</dcterms:created>
  <dcterms:modified xsi:type="dcterms:W3CDTF">2019-05-30T01:05:56Z</dcterms:modified>
</cp:coreProperties>
</file>